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2.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3.xml" ContentType="application/vnd.openxmlformats-officedocument.them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101.xml" ContentType="application/vnd.openxmlformats-officedocument.presentationml.tags+xml"/>
  <Override PartName="/ppt/notesSlides/notesSlide1.xml" ContentType="application/vnd.openxmlformats-officedocument.presentationml.notesSlide+xml"/>
  <Override PartName="/ppt/tags/tag102.xml" ContentType="application/vnd.openxmlformats-officedocument.presentationml.tags+xml"/>
  <Override PartName="/ppt/notesSlides/notesSlide2.xml" ContentType="application/vnd.openxmlformats-officedocument.presentationml.notesSlide+xml"/>
  <Override PartName="/ppt/tags/tag10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04.xml" ContentType="application/vnd.openxmlformats-officedocument.presentationml.tags+xml"/>
  <Override PartName="/ppt/notesSlides/notesSlide5.xml" ContentType="application/vnd.openxmlformats-officedocument.presentationml.notesSlide+xml"/>
  <Override PartName="/ppt/tags/tag105.xml" ContentType="application/vnd.openxmlformats-officedocument.presentationml.tags+xml"/>
  <Override PartName="/ppt/notesSlides/notesSlide6.xml" ContentType="application/vnd.openxmlformats-officedocument.presentationml.notesSlide+xml"/>
  <Override PartName="/ppt/tags/tag10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48" r:id="rId4"/>
    <p:sldMasterId id="2147483884" r:id="rId5"/>
    <p:sldMasterId id="2147484257" r:id="rId6"/>
    <p:sldMasterId id="2147484361" r:id="rId7"/>
  </p:sldMasterIdLst>
  <p:notesMasterIdLst>
    <p:notesMasterId r:id="rId16"/>
  </p:notesMasterIdLst>
  <p:handoutMasterIdLst>
    <p:handoutMasterId r:id="rId17"/>
  </p:handoutMasterIdLst>
  <p:sldIdLst>
    <p:sldId id="2147482695" r:id="rId8"/>
    <p:sldId id="2147483279" r:id="rId9"/>
    <p:sldId id="287" r:id="rId10"/>
    <p:sldId id="309" r:id="rId11"/>
    <p:sldId id="310" r:id="rId12"/>
    <p:sldId id="311" r:id="rId13"/>
    <p:sldId id="313" r:id="rId14"/>
    <p:sldId id="272" r:id="rId15"/>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2BBE51E-DFEC-08AD-9FA5-A40D04F2459F}" name="Barbieri, Roberta {PEP}" initials="BR{" userId="S::Roberta.Barbieri@pepsico.com::02d463e3-31be-4543-9635-215167b37761" providerId="AD"/>
  <p188:author id="{BEDB8A1F-86FE-81C5-1C08-43C7778120C3}" name="Simoglou, Christopher {PEP}" initials="SC{" userId="S::Christopher.Simoglou@pepsico.com::9252f5cc-4145-4d6a-8c3f-916fb1da6b1b" providerId="AD"/>
  <p188:author id="{74B89E25-8C51-F0AD-3952-842FFE6A0C5E}" name="Jones, Melissa {PEP}" initials="JM{" userId="S::Melissa.Jones@pepsico.com::76dbaf36-b9c3-4a64-b475-32e5a5a638fe" providerId="AD"/>
  <p188:author id="{44E24B56-B785-32DF-6D49-DC3D9E5320DC}" name="Chung, Chloe {PEP}" initials="CC{" userId="S::Chloe.Chung@pepsico.com::66693c35-e055-4c4c-b8f8-1335b6aef442" providerId="AD"/>
  <p188:author id="{C35FB062-1372-6CC3-4DA9-5A615159EEC5}" name="Walton, Catherine {PEP}" initials="WC{" userId="S::Catherine.Walton@pepsico.com::bfbd9cd2-703c-4afc-a58b-8c117451c638" providerId="AD"/>
  <p188:author id="{91272876-CAD9-F43B-7FA6-0F78C3C12259}" name="Parra, Shanna {PEP}" initials="PS{" userId="S::Shanna.Parra@pepsico.com::2808970f-6f44-4696-b120-4137f2ed6749" providerId="AD"/>
  <p188:author id="{07616177-2559-45F1-6BD4-2B46B40EC08C}" name="Jani, Victoria {PEP}" initials="J{" userId="S::victoria.jani@pepsico.com::1821d261-42d2-466f-b425-82b890a47147" providerId="AD"/>
  <p188:author id="{37A6C086-DC88-1E32-AFC9-2A6D3665B9BD}" name="Barbieri, Roberta {PEP}" initials="B{" userId="S::roberta.barbieri@pepsico.com::02d463e3-31be-4543-9635-215167b37761" providerId="AD"/>
  <p188:author id="{08D04289-D94C-2580-AA90-781D62DA2A33}" name="Haverson, Olivia {PEP}" initials="HO{" userId="S::Olivia.Haverson@pepsico.com::19f4feec-5d63-4129-b409-92df7b183df4" providerId="AD"/>
  <p188:author id="{717E7189-94F3-10E4-1BF2-6DFA6F8A996C}" name="Suarez Paz, Mariela {PEP}" initials="SPM{" userId="S::Mariela.SuarezPaz@pepsico.com::7fc53ac8-d257-482c-89c1-a5fb6c548cbb" providerId="AD"/>
  <p188:author id="{4269E78A-B7D9-ADE0-59BD-B7FADDF0A045}" name="Parra, Shanna {PEP}" initials="P{" userId="S::shanna.parra@pepsico.com::2808970f-6f44-4696-b120-4137f2ed6749" providerId="AD"/>
  <p188:author id="{60CD5EB0-C63D-7322-BF68-708685A402F4}" name="Chung, Chloe {PEP}" initials="C{" userId="S::chloe.chung@pepsico.com::66693c35-e055-4c4c-b8f8-1335b6aef442" providerId="AD"/>
  <p188:author id="{6A23FFB7-F0CC-045C-B7B9-63AFB4D7C22F}" name="Tamburro, Joseph {PEP}" initials="TJ{" userId="S::Joseph.Tamburro@pepsico.com::17333bd9-7b19-47d4-9bb2-dbef4fb4c8f5" providerId="AD"/>
  <p188:author id="{FBFA2BD0-B80B-34F3-23E4-E5054ED2392B}" name="Stradling, Emma {PEP}" initials="SE{" userId="S::Emma.Stradling@pepsico.com::1e0ef241-33a3-48c0-9a6d-5d9cb728139c" providerId="AD"/>
  <p188:author id="{6C5AD8E3-B43C-6081-2F53-2F3F3E98B37E}" name="Guest User" initials="GU" userId="S::urn:spo:anon#74c9fb912c562d2a38b593b1d5e373bc001b858958569d356fab648bc20dd16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mith, Meagan {PEP}" initials="SM{" lastIdx="26" clrIdx="0">
    <p:extLst>
      <p:ext uri="{19B8F6BF-5375-455C-9EA6-DF929625EA0E}">
        <p15:presenceInfo xmlns:p15="http://schemas.microsoft.com/office/powerpoint/2012/main" userId="S::Meagan.Smith@pepsico.com::330715a8-4d2f-4e72-b189-3d9c3c36dd13" providerId="AD"/>
      </p:ext>
    </p:extLst>
  </p:cmAuthor>
  <p:cmAuthor id="2" name="Kim, Wooyoung - Contractor {PEP}" initials="KW-C{" lastIdx="2" clrIdx="1">
    <p:extLst>
      <p:ext uri="{19B8F6BF-5375-455C-9EA6-DF929625EA0E}">
        <p15:presenceInfo xmlns:p15="http://schemas.microsoft.com/office/powerpoint/2012/main" userId="S::wooyoung.kim.contractor@pepsico.com::90e0b37e-577e-4be9-a5f4-d14d4d592b1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B3FC"/>
    <a:srgbClr val="0065E5"/>
    <a:srgbClr val="092188"/>
    <a:srgbClr val="FFC62C"/>
    <a:srgbClr val="133CCF"/>
    <a:srgbClr val="011C89"/>
    <a:srgbClr val="0052DB"/>
    <a:srgbClr val="8FC0FF"/>
    <a:srgbClr val="011464"/>
    <a:srgbClr val="011D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DC80FEA-F2FC-4421-9F4E-506B77E06909}" v="1" dt="2025-04-08T21:36:56.600"/>
  </p1510:revLst>
</p1510:revInfo>
</file>

<file path=ppt/tableStyles.xml><?xml version="1.0" encoding="utf-8"?>
<a:tblStyleLst xmlns:a="http://schemas.openxmlformats.org/drawingml/2006/main" def="{5C22544A-7EE6-4342-B048-85BDC9FD1C3A}">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5278" autoAdjust="0"/>
  </p:normalViewPr>
  <p:slideViewPr>
    <p:cSldViewPr snapToGrid="0">
      <p:cViewPr varScale="1">
        <p:scale>
          <a:sx n="105" d="100"/>
          <a:sy n="105" d="100"/>
        </p:scale>
        <p:origin x="798" y="10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handoutMaster" Target="handoutMasters/handoutMaster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BE21223-66CE-4215-A63F-27079EE36F6F}" type="datetimeFigureOut">
              <a:rPr lang="en-US" smtClean="0"/>
              <a:t>4/8/2025</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2A7104-55CD-419E-B506-583C6A786296}" type="slidenum">
              <a:rPr lang="en-US" smtClean="0"/>
              <a:t>‹#›</a:t>
            </a:fld>
            <a:endParaRPr lang="en-US"/>
          </a:p>
        </p:txBody>
      </p:sp>
    </p:spTree>
    <p:extLst>
      <p:ext uri="{BB962C8B-B14F-4D97-AF65-F5344CB8AC3E}">
        <p14:creationId xmlns:p14="http://schemas.microsoft.com/office/powerpoint/2010/main" val="166072090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mn-lt"/>
                <a:ea typeface="+mn-ea"/>
                <a:cs typeface="+mn-cs"/>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mn-lt"/>
                <a:ea typeface="+mn-ea"/>
                <a:cs typeface="+mn-cs"/>
              </a:defRPr>
            </a:lvl1pPr>
          </a:lstStyle>
          <a:p>
            <a:fld id="{B1574492-103F-B34E-BE3B-6122011F1595}" type="datetimeFigureOut">
              <a:rPr lang="en-US" smtClean="0"/>
              <a:pPr/>
              <a:t>4/8/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mn-lt"/>
                <a:ea typeface="+mn-ea"/>
                <a:cs typeface="+mn-cs"/>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mn-lt"/>
                <a:ea typeface="+mn-ea"/>
                <a:cs typeface="+mn-cs"/>
              </a:defRPr>
            </a:lvl1pPr>
          </a:lstStyle>
          <a:p>
            <a:fld id="{712622A2-3E00-2A4D-8E5C-1BC3C6BDB7A5}" type="slidenum">
              <a:rPr lang="en-US" smtClean="0"/>
              <a:pPr/>
              <a:t>‹#›</a:t>
            </a:fld>
            <a:endParaRPr lang="en-US"/>
          </a:p>
        </p:txBody>
      </p:sp>
    </p:spTree>
    <p:extLst>
      <p:ext uri="{BB962C8B-B14F-4D97-AF65-F5344CB8AC3E}">
        <p14:creationId xmlns:p14="http://schemas.microsoft.com/office/powerpoint/2010/main" val="19240978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docsend.com/view/hmtgbsgrgf5zmncf"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CB868C-22C3-4AC1-9B68-0ADE30B9B17D}" type="slidenum">
              <a:rPr kumimoji="0" lang="en-US" sz="1200" b="0" i="0" u="none" strike="noStrike" kern="1200" cap="none" spc="0" normalizeH="0" baseline="0" noProof="0" smtClean="0">
                <a:ln>
                  <a:noFill/>
                </a:ln>
                <a:solidFill>
                  <a:prstClr val="black"/>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9616421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Partners for Tomorrow – a suite of sustainability solutions available to value chain partners, notably our customers. The program was named the “sustainability initiative of the year” by Business Intelligence Group.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We have launched programs with partners in agriculture, we have a number of sources available for our customers and partners to leverage – e.g. the sustainability summit and the sustainability action center and we launched pep+ renew which helps our partners to convert to renewable energy. The two categories of solutions we’re going to focus on today are packaging and recycl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www.partnersfortomorrow.com</a:t>
            </a:r>
          </a:p>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2</a:t>
            </a:fld>
            <a:endParaRPr lang="en-US"/>
          </a:p>
        </p:txBody>
      </p:sp>
    </p:spTree>
    <p:extLst>
      <p:ext uri="{BB962C8B-B14F-4D97-AF65-F5344CB8AC3E}">
        <p14:creationId xmlns:p14="http://schemas.microsoft.com/office/powerpoint/2010/main" val="29979651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03F4C"/>
                </a:solidFill>
                <a:effectLst/>
                <a:uLnTx/>
                <a:uFillTx/>
                <a:sym typeface="Montserrat"/>
                <a:hlinkClick r:id="rId3"/>
              </a:rPr>
              <a:t>See Oscar in Action</a:t>
            </a:r>
            <a:endParaRPr kumimoji="0" lang="en-US" sz="1200" b="0" i="0" u="none" strike="noStrike" kern="1200" cap="none" spc="0" normalizeH="0" baseline="0" noProof="0">
              <a:ln>
                <a:noFill/>
              </a:ln>
              <a:solidFill>
                <a:srgbClr val="103F4C"/>
              </a:solidFill>
              <a:effectLst/>
              <a:uLnTx/>
              <a:uFillTx/>
              <a:sym typeface="Montserrat"/>
            </a:endParaRPr>
          </a:p>
          <a:p>
            <a:pPr marL="171450" indent="-171450">
              <a:buFont typeface="Arial" panose="020B0604020202020204" pitchFamily="34" charset="0"/>
              <a:buChar char="•"/>
            </a:pPr>
            <a:r>
              <a:rPr lang="en-US" b="0" i="0">
                <a:solidFill>
                  <a:srgbClr val="2C2A29"/>
                </a:solidFill>
                <a:effectLst/>
                <a:latin typeface="Georgia" panose="02040502050405020303" pitchFamily="18" charset="0"/>
              </a:rPr>
              <a:t>Oscar Sort, an artificial intelligence fun/entertaining waste-sorting system to aid consumer error on which bin to use</a:t>
            </a:r>
          </a:p>
          <a:p>
            <a:pPr marL="171450" indent="-171450">
              <a:buFont typeface="Arial" panose="020B0604020202020204" pitchFamily="34" charset="0"/>
              <a:buChar char="•"/>
            </a:pPr>
            <a:r>
              <a:rPr lang="en-US" b="0" i="0">
                <a:solidFill>
                  <a:srgbClr val="2C2A29"/>
                </a:solidFill>
                <a:effectLst/>
                <a:latin typeface="Georgia" panose="02040502050405020303" pitchFamily="18" charset="0"/>
              </a:rPr>
              <a:t>Zero touch – zero waste </a:t>
            </a:r>
          </a:p>
          <a:p>
            <a:pPr marL="171450" indent="-171450">
              <a:buFont typeface="Arial" panose="020B0604020202020204" pitchFamily="34" charset="0"/>
              <a:buChar char="•"/>
            </a:pPr>
            <a:r>
              <a:rPr lang="en-US" b="0" i="0">
                <a:solidFill>
                  <a:srgbClr val="2C2A29"/>
                </a:solidFill>
                <a:effectLst/>
                <a:latin typeface="Georgia" panose="02040502050405020303" pitchFamily="18" charset="0"/>
              </a:rPr>
              <a:t>Automatically identifies recyclables from waste, by using AI tech to understand the item that a person is trying to dispose of</a:t>
            </a:r>
          </a:p>
          <a:p>
            <a:pPr marL="171450" indent="-171450">
              <a:buFont typeface="Arial" panose="020B0604020202020204" pitchFamily="34" charset="0"/>
              <a:buChar char="•"/>
            </a:pPr>
            <a:r>
              <a:rPr lang="en-US" b="0" i="0">
                <a:solidFill>
                  <a:srgbClr val="2C2A29"/>
                </a:solidFill>
                <a:effectLst/>
                <a:latin typeface="Georgia" panose="02040502050405020303" pitchFamily="18" charset="0"/>
              </a:rPr>
              <a:t>Instruct users on which waste bin to u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03F4C"/>
              </a:solidFill>
              <a:effectLst/>
              <a:uLnTx/>
              <a:uFillTx/>
              <a:sym typeface="Montserrat"/>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D17A41-0924-42F6-93CC-664B3686E3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6093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ow makes a difference/or is a solution in pep+ agend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D17A41-0924-42F6-93CC-664B3686E3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14000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D17A41-0924-42F6-93CC-664B3686E3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10017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eature/benefits of participating as a partn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D17A41-0924-42F6-93CC-664B3686E3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03698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Shape 123"/>
          <p:cNvSpPr>
            <a:spLocks noGrp="1" noRot="1" noChangeAspect="1"/>
          </p:cNvSpPr>
          <p:nvPr>
            <p:ph type="sldImg"/>
          </p:nvPr>
        </p:nvSpPr>
        <p:spPr>
          <a:xfrm>
            <a:off x="381000" y="685800"/>
            <a:ext cx="6096000" cy="3429000"/>
          </a:xfrm>
          <a:prstGeom prst="rect">
            <a:avLst/>
          </a:prstGeom>
        </p:spPr>
        <p:txBody>
          <a:bodyPr/>
          <a:lstStyle/>
          <a:p>
            <a:endParaRPr/>
          </a:p>
        </p:txBody>
      </p:sp>
      <p:sp>
        <p:nvSpPr>
          <p:cNvPr id="124" name="Shape 124"/>
          <p:cNvSpPr>
            <a:spLocks noGrp="1"/>
          </p:cNvSpPr>
          <p:nvPr>
            <p:ph type="body" sz="quarter" idx="1"/>
          </p:nvPr>
        </p:nvSpPr>
        <p:spPr>
          <a:prstGeom prst="rect">
            <a:avLst/>
          </a:prstGeom>
        </p:spPr>
        <p:txBody>
          <a:bodyPr/>
          <a:lstStyle/>
          <a:p>
            <a:endParaRPr/>
          </a:p>
        </p:txBody>
      </p:sp>
    </p:spTree>
    <p:extLst>
      <p:ext uri="{BB962C8B-B14F-4D97-AF65-F5344CB8AC3E}">
        <p14:creationId xmlns:p14="http://schemas.microsoft.com/office/powerpoint/2010/main" val="12808612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a:t>
            </a:r>
            <a:r>
              <a:rPr lang="en-US" err="1"/>
              <a:t>Pree</a:t>
            </a:r>
            <a:r>
              <a:rPr lang="en-US"/>
              <a:t>?</a:t>
            </a:r>
          </a:p>
        </p:txBody>
      </p:sp>
      <p:sp>
        <p:nvSpPr>
          <p:cNvPr id="4" name="Slide Number Placeholder 3"/>
          <p:cNvSpPr>
            <a:spLocks noGrp="1"/>
          </p:cNvSpPr>
          <p:nvPr>
            <p:ph type="sldNum" sz="quarter" idx="5"/>
          </p:nvPr>
        </p:nvSpPr>
        <p:spPr/>
        <p:txBody>
          <a:bodyPr/>
          <a:lstStyle/>
          <a:p>
            <a:fld id="{712622A2-3E00-2A4D-8E5C-1BC3C6BDB7A5}" type="slidenum">
              <a:rPr lang="en-US" smtClean="0"/>
              <a:pPr/>
              <a:t>8</a:t>
            </a:fld>
            <a:endParaRPr lang="en-US"/>
          </a:p>
        </p:txBody>
      </p:sp>
    </p:spTree>
    <p:extLst>
      <p:ext uri="{BB962C8B-B14F-4D97-AF65-F5344CB8AC3E}">
        <p14:creationId xmlns:p14="http://schemas.microsoft.com/office/powerpoint/2010/main" val="36009558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oleObject" Target="../embeddings/oleObject11.bin"/><Relationship Id="rId7"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17.png"/><Relationship Id="rId5" Type="http://schemas.openxmlformats.org/officeDocument/2006/relationships/image" Target="../media/image3.emf"/><Relationship Id="rId4" Type="http://schemas.openxmlformats.org/officeDocument/2006/relationships/image" Target="../media/image2.emf"/></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slideMaster" Target="../slideMasters/slideMaster3.xml"/><Relationship Id="rId1" Type="http://schemas.openxmlformats.org/officeDocument/2006/relationships/tags" Target="../tags/tag84.xml"/><Relationship Id="rId5" Type="http://schemas.openxmlformats.org/officeDocument/2006/relationships/image" Target="../media/image122.emf"/><Relationship Id="rId4" Type="http://schemas.openxmlformats.org/officeDocument/2006/relationships/oleObject" Target="../embeddings/oleObject82.bin"/></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slideMaster" Target="../slideMasters/slideMaster3.xml"/><Relationship Id="rId1" Type="http://schemas.openxmlformats.org/officeDocument/2006/relationships/tags" Target="../tags/tag85.xml"/><Relationship Id="rId5" Type="http://schemas.openxmlformats.org/officeDocument/2006/relationships/image" Target="../media/image122.emf"/><Relationship Id="rId4" Type="http://schemas.openxmlformats.org/officeDocument/2006/relationships/oleObject" Target="../embeddings/oleObject83.bin"/></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slideMaster" Target="../slideMasters/slideMaster3.xml"/><Relationship Id="rId1" Type="http://schemas.openxmlformats.org/officeDocument/2006/relationships/tags" Target="../tags/tag86.xml"/><Relationship Id="rId5" Type="http://schemas.openxmlformats.org/officeDocument/2006/relationships/image" Target="../media/image122.emf"/><Relationship Id="rId4" Type="http://schemas.openxmlformats.org/officeDocument/2006/relationships/oleObject" Target="../embeddings/oleObject84.bin"/></Relationships>
</file>

<file path=ppt/slideLayouts/_rels/slideLayout103.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oleObject" Target="../embeddings/oleObject85.bin"/><Relationship Id="rId7" Type="http://schemas.openxmlformats.org/officeDocument/2006/relationships/image" Target="../media/image139.png"/><Relationship Id="rId2" Type="http://schemas.openxmlformats.org/officeDocument/2006/relationships/slideMaster" Target="../slideMasters/slideMaster3.xml"/><Relationship Id="rId1" Type="http://schemas.openxmlformats.org/officeDocument/2006/relationships/tags" Target="../tags/tag87.xml"/><Relationship Id="rId6" Type="http://schemas.openxmlformats.org/officeDocument/2006/relationships/image" Target="../media/image128.png"/><Relationship Id="rId5" Type="http://schemas.openxmlformats.org/officeDocument/2006/relationships/image" Target="../media/image138.png"/><Relationship Id="rId10" Type="http://schemas.openxmlformats.org/officeDocument/2006/relationships/image" Target="../media/image141.png"/><Relationship Id="rId4" Type="http://schemas.openxmlformats.org/officeDocument/2006/relationships/image" Target="../media/image125.emf"/><Relationship Id="rId9" Type="http://schemas.openxmlformats.org/officeDocument/2006/relationships/image" Target="../media/image141.png"/></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3.xml"/><Relationship Id="rId1" Type="http://schemas.openxmlformats.org/officeDocument/2006/relationships/tags" Target="../tags/tag88.xml"/><Relationship Id="rId6" Type="http://schemas.openxmlformats.org/officeDocument/2006/relationships/image" Target="../media/image128.png"/><Relationship Id="rId5" Type="http://schemas.openxmlformats.org/officeDocument/2006/relationships/image" Target="../media/image142.jpeg"/><Relationship Id="rId4" Type="http://schemas.openxmlformats.org/officeDocument/2006/relationships/image" Target="../media/image125.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3.xml"/><Relationship Id="rId1" Type="http://schemas.openxmlformats.org/officeDocument/2006/relationships/tags" Target="../tags/tag89.xml"/><Relationship Id="rId6" Type="http://schemas.openxmlformats.org/officeDocument/2006/relationships/image" Target="../media/image144.png"/><Relationship Id="rId5" Type="http://schemas.openxmlformats.org/officeDocument/2006/relationships/image" Target="../media/image135.jpeg"/><Relationship Id="rId4" Type="http://schemas.openxmlformats.org/officeDocument/2006/relationships/image" Target="../media/image143.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3.xml"/><Relationship Id="rId1" Type="http://schemas.openxmlformats.org/officeDocument/2006/relationships/tags" Target="../tags/tag90.xml"/><Relationship Id="rId5" Type="http://schemas.openxmlformats.org/officeDocument/2006/relationships/image" Target="../media/image128.png"/><Relationship Id="rId4" Type="http://schemas.openxmlformats.org/officeDocument/2006/relationships/image" Target="../media/image125.emf"/></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slideMaster" Target="../slideMasters/slideMaster3.xml"/><Relationship Id="rId1" Type="http://schemas.openxmlformats.org/officeDocument/2006/relationships/tags" Target="../tags/tag91.xml"/><Relationship Id="rId6" Type="http://schemas.openxmlformats.org/officeDocument/2006/relationships/image" Target="../media/image146.png"/><Relationship Id="rId5" Type="http://schemas.openxmlformats.org/officeDocument/2006/relationships/image" Target="../media/image122.emf"/><Relationship Id="rId4" Type="http://schemas.openxmlformats.org/officeDocument/2006/relationships/oleObject" Target="../embeddings/oleObject89.bin"/></Relationships>
</file>

<file path=ppt/slideLayouts/_rels/slideLayout108.xml.rels><?xml version="1.0" encoding="UTF-8" standalone="yes"?>
<Relationships xmlns="http://schemas.openxmlformats.org/package/2006/relationships"><Relationship Id="rId8" Type="http://schemas.openxmlformats.org/officeDocument/2006/relationships/image" Target="../media/image150.png"/><Relationship Id="rId3" Type="http://schemas.openxmlformats.org/officeDocument/2006/relationships/oleObject" Target="../embeddings/oleObject90.bin"/><Relationship Id="rId7" Type="http://schemas.openxmlformats.org/officeDocument/2006/relationships/image" Target="../media/image149.png"/><Relationship Id="rId2" Type="http://schemas.openxmlformats.org/officeDocument/2006/relationships/slideMaster" Target="../slideMasters/slideMaster3.xml"/><Relationship Id="rId1" Type="http://schemas.openxmlformats.org/officeDocument/2006/relationships/tags" Target="../tags/tag92.xml"/><Relationship Id="rId6" Type="http://schemas.openxmlformats.org/officeDocument/2006/relationships/image" Target="../media/image148.png"/><Relationship Id="rId11" Type="http://schemas.openxmlformats.org/officeDocument/2006/relationships/slide" Target="../slides/slide6.xml"/><Relationship Id="rId5" Type="http://schemas.openxmlformats.org/officeDocument/2006/relationships/image" Target="../media/image147.png"/><Relationship Id="rId10" Type="http://schemas.openxmlformats.org/officeDocument/2006/relationships/image" Target="../media/image152.png"/><Relationship Id="rId4" Type="http://schemas.openxmlformats.org/officeDocument/2006/relationships/image" Target="../media/image143.emf"/><Relationship Id="rId9" Type="http://schemas.openxmlformats.org/officeDocument/2006/relationships/image" Target="../media/image151.png"/></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156.png"/><Relationship Id="rId3" Type="http://schemas.openxmlformats.org/officeDocument/2006/relationships/oleObject" Target="../embeddings/oleObject91.bin"/><Relationship Id="rId7" Type="http://schemas.openxmlformats.org/officeDocument/2006/relationships/image" Target="../media/image155.png"/><Relationship Id="rId2" Type="http://schemas.openxmlformats.org/officeDocument/2006/relationships/slideMaster" Target="../slideMasters/slideMaster3.xml"/><Relationship Id="rId1" Type="http://schemas.openxmlformats.org/officeDocument/2006/relationships/tags" Target="../tags/tag93.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43.emf"/></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12.bin"/><Relationship Id="rId7" Type="http://schemas.openxmlformats.org/officeDocument/2006/relationships/image" Target="../media/image4.emf"/><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18.jpeg"/><Relationship Id="rId5" Type="http://schemas.openxmlformats.org/officeDocument/2006/relationships/image" Target="../media/image3.emf"/><Relationship Id="rId4" Type="http://schemas.openxmlformats.org/officeDocument/2006/relationships/image" Target="../media/image2.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3.xml"/><Relationship Id="rId1" Type="http://schemas.openxmlformats.org/officeDocument/2006/relationships/tags" Target="../tags/tag94.xml"/><Relationship Id="rId5" Type="http://schemas.openxmlformats.org/officeDocument/2006/relationships/image" Target="../media/image157.png"/><Relationship Id="rId4" Type="http://schemas.openxmlformats.org/officeDocument/2006/relationships/image" Target="../media/image143.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3.xml"/><Relationship Id="rId1" Type="http://schemas.openxmlformats.org/officeDocument/2006/relationships/tags" Target="../tags/tag95.xml"/><Relationship Id="rId5" Type="http://schemas.openxmlformats.org/officeDocument/2006/relationships/slide" Target="../slides/slide6.xml"/><Relationship Id="rId4" Type="http://schemas.openxmlformats.org/officeDocument/2006/relationships/image" Target="../media/image122.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3.xml"/><Relationship Id="rId1" Type="http://schemas.openxmlformats.org/officeDocument/2006/relationships/tags" Target="../tags/tag96.xml"/><Relationship Id="rId5" Type="http://schemas.openxmlformats.org/officeDocument/2006/relationships/slide" Target="../slides/slide6.xml"/><Relationship Id="rId4" Type="http://schemas.openxmlformats.org/officeDocument/2006/relationships/image" Target="../media/image143.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3.xml"/><Relationship Id="rId1" Type="http://schemas.openxmlformats.org/officeDocument/2006/relationships/tags" Target="../tags/tag97.xml"/><Relationship Id="rId5" Type="http://schemas.openxmlformats.org/officeDocument/2006/relationships/slide" Target="../slides/slide6.xml"/><Relationship Id="rId4" Type="http://schemas.openxmlformats.org/officeDocument/2006/relationships/image" Target="../media/image143.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3.xml"/><Relationship Id="rId1" Type="http://schemas.openxmlformats.org/officeDocument/2006/relationships/tags" Target="../tags/tag98.xml"/><Relationship Id="rId5" Type="http://schemas.openxmlformats.org/officeDocument/2006/relationships/slide" Target="../slides/slide6.xml"/><Relationship Id="rId4" Type="http://schemas.openxmlformats.org/officeDocument/2006/relationships/image" Target="../media/image143.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3.xml"/><Relationship Id="rId1" Type="http://schemas.openxmlformats.org/officeDocument/2006/relationships/tags" Target="../tags/tag99.xml"/><Relationship Id="rId5" Type="http://schemas.openxmlformats.org/officeDocument/2006/relationships/slide" Target="../slides/slide6.xml"/><Relationship Id="rId4" Type="http://schemas.openxmlformats.org/officeDocument/2006/relationships/image" Target="../media/image122.emf"/></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slideMaster" Target="../slideMasters/slideMaster3.xml"/><Relationship Id="rId1" Type="http://schemas.openxmlformats.org/officeDocument/2006/relationships/tags" Target="../tags/tag100.xml"/><Relationship Id="rId6" Type="http://schemas.openxmlformats.org/officeDocument/2006/relationships/slide" Target="../slides/slide6.xml"/><Relationship Id="rId5" Type="http://schemas.openxmlformats.org/officeDocument/2006/relationships/image" Target="../media/image122.emf"/><Relationship Id="rId4" Type="http://schemas.openxmlformats.org/officeDocument/2006/relationships/oleObject" Target="../embeddings/oleObject98.bin"/></Relationships>
</file>

<file path=ppt/slideLayouts/_rels/slideLayout117.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13.bin"/><Relationship Id="rId7" Type="http://schemas.openxmlformats.org/officeDocument/2006/relationships/image" Target="../media/image4.emf"/><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19.png"/><Relationship Id="rId5" Type="http://schemas.openxmlformats.org/officeDocument/2006/relationships/image" Target="../media/image3.emf"/><Relationship Id="rId4" Type="http://schemas.openxmlformats.org/officeDocument/2006/relationships/image" Target="../media/image2.emf"/></Relationships>
</file>

<file path=ppt/slideLayouts/_rels/slideLayout120.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63.svg"/><Relationship Id="rId2" Type="http://schemas.openxmlformats.org/officeDocument/2006/relationships/image" Target="../media/image162.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169.png"/><Relationship Id="rId13" Type="http://schemas.openxmlformats.org/officeDocument/2006/relationships/image" Target="../media/image174.png"/><Relationship Id="rId3" Type="http://schemas.openxmlformats.org/officeDocument/2006/relationships/image" Target="../media/image165.svg"/><Relationship Id="rId7" Type="http://schemas.openxmlformats.org/officeDocument/2006/relationships/image" Target="../media/image168.svg"/><Relationship Id="rId12" Type="http://schemas.openxmlformats.org/officeDocument/2006/relationships/image" Target="../media/image173.svg"/><Relationship Id="rId2" Type="http://schemas.openxmlformats.org/officeDocument/2006/relationships/image" Target="../media/image164.png"/><Relationship Id="rId16" Type="http://schemas.openxmlformats.org/officeDocument/2006/relationships/image" Target="../media/image177.svg"/><Relationship Id="rId1" Type="http://schemas.openxmlformats.org/officeDocument/2006/relationships/slideMaster" Target="../slideMasters/slideMaster4.xml"/><Relationship Id="rId6" Type="http://schemas.openxmlformats.org/officeDocument/2006/relationships/image" Target="../media/image162.png"/><Relationship Id="rId11" Type="http://schemas.openxmlformats.org/officeDocument/2006/relationships/image" Target="../media/image172.png"/><Relationship Id="rId5" Type="http://schemas.openxmlformats.org/officeDocument/2006/relationships/image" Target="../media/image167.svg"/><Relationship Id="rId15" Type="http://schemas.openxmlformats.org/officeDocument/2006/relationships/image" Target="../media/image176.png"/><Relationship Id="rId10" Type="http://schemas.openxmlformats.org/officeDocument/2006/relationships/image" Target="../media/image171.png"/><Relationship Id="rId4" Type="http://schemas.openxmlformats.org/officeDocument/2006/relationships/image" Target="../media/image166.png"/><Relationship Id="rId9" Type="http://schemas.openxmlformats.org/officeDocument/2006/relationships/image" Target="../media/image170.png"/><Relationship Id="rId14" Type="http://schemas.openxmlformats.org/officeDocument/2006/relationships/image" Target="../media/image175.svg"/></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78.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80.svg"/><Relationship Id="rId2" Type="http://schemas.openxmlformats.org/officeDocument/2006/relationships/image" Target="../media/image179.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187.jpeg"/><Relationship Id="rId13" Type="http://schemas.openxmlformats.org/officeDocument/2006/relationships/image" Target="../media/image192.svg"/><Relationship Id="rId18" Type="http://schemas.openxmlformats.org/officeDocument/2006/relationships/image" Target="../media/image197.png"/><Relationship Id="rId3" Type="http://schemas.openxmlformats.org/officeDocument/2006/relationships/image" Target="../media/image182.png"/><Relationship Id="rId21" Type="http://schemas.openxmlformats.org/officeDocument/2006/relationships/hyperlink" Target="https://www.pepsico.com/our-impact/esg-topics-a-z/calculation-methodology" TargetMode="External"/><Relationship Id="rId7" Type="http://schemas.openxmlformats.org/officeDocument/2006/relationships/image" Target="../media/image186.jpeg"/><Relationship Id="rId12" Type="http://schemas.openxmlformats.org/officeDocument/2006/relationships/image" Target="../media/image191.png"/><Relationship Id="rId17" Type="http://schemas.openxmlformats.org/officeDocument/2006/relationships/image" Target="../media/image196.svg"/><Relationship Id="rId2" Type="http://schemas.openxmlformats.org/officeDocument/2006/relationships/image" Target="../media/image181.jpeg"/><Relationship Id="rId16" Type="http://schemas.openxmlformats.org/officeDocument/2006/relationships/image" Target="../media/image195.png"/><Relationship Id="rId20" Type="http://schemas.openxmlformats.org/officeDocument/2006/relationships/image" Target="../media/image199.png"/><Relationship Id="rId1" Type="http://schemas.openxmlformats.org/officeDocument/2006/relationships/slideMaster" Target="../slideMasters/slideMaster4.xml"/><Relationship Id="rId6" Type="http://schemas.openxmlformats.org/officeDocument/2006/relationships/image" Target="../media/image185.svg"/><Relationship Id="rId11" Type="http://schemas.openxmlformats.org/officeDocument/2006/relationships/image" Target="../media/image190.svg"/><Relationship Id="rId5" Type="http://schemas.openxmlformats.org/officeDocument/2006/relationships/image" Target="../media/image184.png"/><Relationship Id="rId15" Type="http://schemas.openxmlformats.org/officeDocument/2006/relationships/image" Target="../media/image194.svg"/><Relationship Id="rId10" Type="http://schemas.openxmlformats.org/officeDocument/2006/relationships/image" Target="../media/image189.png"/><Relationship Id="rId19" Type="http://schemas.openxmlformats.org/officeDocument/2006/relationships/image" Target="../media/image198.png"/><Relationship Id="rId4" Type="http://schemas.openxmlformats.org/officeDocument/2006/relationships/image" Target="../media/image183.svg"/><Relationship Id="rId9" Type="http://schemas.openxmlformats.org/officeDocument/2006/relationships/image" Target="../media/image188.jpeg"/><Relationship Id="rId14" Type="http://schemas.openxmlformats.org/officeDocument/2006/relationships/image" Target="../media/image193.pn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14.bin"/><Relationship Id="rId7" Type="http://schemas.openxmlformats.org/officeDocument/2006/relationships/image" Target="../media/image4.emf"/><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20.jpeg"/><Relationship Id="rId5" Type="http://schemas.openxmlformats.org/officeDocument/2006/relationships/image" Target="../media/image3.emf"/><Relationship Id="rId4" Type="http://schemas.openxmlformats.org/officeDocument/2006/relationships/image" Target="../media/image2.emf"/></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80.svg"/><Relationship Id="rId2" Type="http://schemas.openxmlformats.org/officeDocument/2006/relationships/image" Target="../media/image179.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80.svg"/><Relationship Id="rId2" Type="http://schemas.openxmlformats.org/officeDocument/2006/relationships/image" Target="../media/image179.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80.svg"/><Relationship Id="rId2" Type="http://schemas.openxmlformats.org/officeDocument/2006/relationships/image" Target="../media/image179.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80.svg"/><Relationship Id="rId2" Type="http://schemas.openxmlformats.org/officeDocument/2006/relationships/image" Target="../media/image179.pn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8" Type="http://schemas.openxmlformats.org/officeDocument/2006/relationships/image" Target="../media/image204.svg"/><Relationship Id="rId3" Type="http://schemas.openxmlformats.org/officeDocument/2006/relationships/image" Target="../media/image201.svg"/><Relationship Id="rId7" Type="http://schemas.openxmlformats.org/officeDocument/2006/relationships/image" Target="../media/image203.png"/><Relationship Id="rId12" Type="http://schemas.openxmlformats.org/officeDocument/2006/relationships/image" Target="../media/image206.svg"/><Relationship Id="rId2" Type="http://schemas.openxmlformats.org/officeDocument/2006/relationships/image" Target="../media/image200.png"/><Relationship Id="rId1" Type="http://schemas.openxmlformats.org/officeDocument/2006/relationships/slideMaster" Target="../slideMasters/slideMaster4.xml"/><Relationship Id="rId6" Type="http://schemas.openxmlformats.org/officeDocument/2006/relationships/image" Target="../media/image202.png"/><Relationship Id="rId11" Type="http://schemas.openxmlformats.org/officeDocument/2006/relationships/image" Target="../media/image205.png"/><Relationship Id="rId5" Type="http://schemas.openxmlformats.org/officeDocument/2006/relationships/image" Target="../media/image180.svg"/><Relationship Id="rId10" Type="http://schemas.openxmlformats.org/officeDocument/2006/relationships/image" Target="../media/image183.svg"/><Relationship Id="rId4" Type="http://schemas.openxmlformats.org/officeDocument/2006/relationships/image" Target="../media/image179.png"/><Relationship Id="rId9" Type="http://schemas.openxmlformats.org/officeDocument/2006/relationships/image" Target="../media/image182.pn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22.emf"/><Relationship Id="rId5" Type="http://schemas.openxmlformats.org/officeDocument/2006/relationships/image" Target="../media/image21.emf"/><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16.bin"/><Relationship Id="rId7"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oleObject" Target="../embeddings/oleObject17.bin"/><Relationship Id="rId7" Type="http://schemas.openxmlformats.org/officeDocument/2006/relationships/image" Target="../media/image26.emf"/><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25.emf"/><Relationship Id="rId5" Type="http://schemas.openxmlformats.org/officeDocument/2006/relationships/image" Target="../media/image23.emf"/><Relationship Id="rId4" Type="http://schemas.openxmlformats.org/officeDocument/2006/relationships/image" Target="../media/image2.emf"/><Relationship Id="rId9" Type="http://schemas.openxmlformats.org/officeDocument/2006/relationships/image" Target="../media/image7.png"/></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7" Type="http://schemas.openxmlformats.org/officeDocument/2006/relationships/image" Target="../media/image28.emf"/><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22.emf"/><Relationship Id="rId5" Type="http://schemas.openxmlformats.org/officeDocument/2006/relationships/image" Target="../media/image27.emf"/><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7" Type="http://schemas.openxmlformats.org/officeDocument/2006/relationships/image" Target="../media/image29.emf"/><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22.emf"/><Relationship Id="rId5" Type="http://schemas.openxmlformats.org/officeDocument/2006/relationships/image" Target="../media/image27.emf"/><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28.emf"/><Relationship Id="rId5" Type="http://schemas.openxmlformats.org/officeDocument/2006/relationships/image" Target="../media/image22.emf"/><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oleObject" Target="../embeddings/oleObject3.bin"/><Relationship Id="rId7"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image" Target="../media/image2.emf"/><Relationship Id="rId9"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7"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31.emf"/><Relationship Id="rId5" Type="http://schemas.openxmlformats.org/officeDocument/2006/relationships/image" Target="../media/image30.emf"/><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35.emf"/><Relationship Id="rId3" Type="http://schemas.openxmlformats.org/officeDocument/2006/relationships/oleObject" Target="../embeddings/oleObject22.bin"/><Relationship Id="rId7" Type="http://schemas.openxmlformats.org/officeDocument/2006/relationships/image" Target="../media/image34.jpe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33.jpeg"/><Relationship Id="rId11" Type="http://schemas.openxmlformats.org/officeDocument/2006/relationships/image" Target="../media/image38.emf"/><Relationship Id="rId5" Type="http://schemas.openxmlformats.org/officeDocument/2006/relationships/image" Target="../media/image32.emf"/><Relationship Id="rId10" Type="http://schemas.openxmlformats.org/officeDocument/2006/relationships/image" Target="../media/image37.emf"/><Relationship Id="rId4" Type="http://schemas.openxmlformats.org/officeDocument/2006/relationships/image" Target="../media/image2.emf"/><Relationship Id="rId9" Type="http://schemas.openxmlformats.org/officeDocument/2006/relationships/image" Target="../media/image36.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image" Target="../media/image32.emf"/><Relationship Id="rId7" Type="http://schemas.openxmlformats.org/officeDocument/2006/relationships/image" Target="../media/image35.emf"/><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39.jpeg"/><Relationship Id="rId5" Type="http://schemas.openxmlformats.org/officeDocument/2006/relationships/image" Target="../media/image2.emf"/><Relationship Id="rId10" Type="http://schemas.openxmlformats.org/officeDocument/2006/relationships/image" Target="../media/image38.emf"/><Relationship Id="rId4" Type="http://schemas.openxmlformats.org/officeDocument/2006/relationships/oleObject" Target="../embeddings/oleObject23.bin"/><Relationship Id="rId9" Type="http://schemas.openxmlformats.org/officeDocument/2006/relationships/image" Target="../media/image37.emf"/></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oleObject" Target="../embeddings/oleObject24.bin"/><Relationship Id="rId7" Type="http://schemas.openxmlformats.org/officeDocument/2006/relationships/image" Target="../media/image35.emf"/><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40.png"/><Relationship Id="rId5" Type="http://schemas.openxmlformats.org/officeDocument/2006/relationships/image" Target="../media/image32.emf"/><Relationship Id="rId10" Type="http://schemas.openxmlformats.org/officeDocument/2006/relationships/image" Target="../media/image38.emf"/><Relationship Id="rId4" Type="http://schemas.openxmlformats.org/officeDocument/2006/relationships/image" Target="../media/image2.emf"/><Relationship Id="rId9" Type="http://schemas.openxmlformats.org/officeDocument/2006/relationships/image" Target="../media/image37.emf"/></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oleObject" Target="../embeddings/oleObject24.bin"/><Relationship Id="rId7" Type="http://schemas.openxmlformats.org/officeDocument/2006/relationships/image" Target="../media/image35.emf"/><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41.jpeg"/><Relationship Id="rId5" Type="http://schemas.openxmlformats.org/officeDocument/2006/relationships/image" Target="../media/image32.emf"/><Relationship Id="rId10" Type="http://schemas.openxmlformats.org/officeDocument/2006/relationships/image" Target="../media/image38.emf"/><Relationship Id="rId4" Type="http://schemas.openxmlformats.org/officeDocument/2006/relationships/image" Target="../media/image2.emf"/><Relationship Id="rId9" Type="http://schemas.openxmlformats.org/officeDocument/2006/relationships/image" Target="../media/image37.emf"/></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oleObject" Target="../embeddings/oleObject25.bin"/><Relationship Id="rId7" Type="http://schemas.openxmlformats.org/officeDocument/2006/relationships/image" Target="../media/image35.emf"/><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42.jpeg"/><Relationship Id="rId5" Type="http://schemas.openxmlformats.org/officeDocument/2006/relationships/image" Target="../media/image32.emf"/><Relationship Id="rId10" Type="http://schemas.openxmlformats.org/officeDocument/2006/relationships/image" Target="../media/image38.emf"/><Relationship Id="rId4" Type="http://schemas.openxmlformats.org/officeDocument/2006/relationships/image" Target="../media/image2.emf"/><Relationship Id="rId9" Type="http://schemas.openxmlformats.org/officeDocument/2006/relationships/image" Target="../media/image37.emf"/></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oleObject" Target="../embeddings/oleObject26.bin"/><Relationship Id="rId7" Type="http://schemas.openxmlformats.org/officeDocument/2006/relationships/image" Target="../media/image35.emf"/><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43.jpeg"/><Relationship Id="rId5" Type="http://schemas.openxmlformats.org/officeDocument/2006/relationships/image" Target="../media/image32.emf"/><Relationship Id="rId10" Type="http://schemas.openxmlformats.org/officeDocument/2006/relationships/image" Target="../media/image38.emf"/><Relationship Id="rId4" Type="http://schemas.openxmlformats.org/officeDocument/2006/relationships/image" Target="../media/image2.emf"/><Relationship Id="rId9" Type="http://schemas.openxmlformats.org/officeDocument/2006/relationships/image" Target="../media/image37.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oleObject" Target="../embeddings/oleObject27.bin"/><Relationship Id="rId7" Type="http://schemas.openxmlformats.org/officeDocument/2006/relationships/image" Target="../media/image45.emf"/><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44.emf"/><Relationship Id="rId5" Type="http://schemas.openxmlformats.org/officeDocument/2006/relationships/image" Target="../media/image32.emf"/><Relationship Id="rId4" Type="http://schemas.openxmlformats.org/officeDocument/2006/relationships/image" Target="../media/image2.emf"/><Relationship Id="rId9" Type="http://schemas.openxmlformats.org/officeDocument/2006/relationships/image" Target="../media/image47.emf"/></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45.emf"/><Relationship Id="rId3" Type="http://schemas.openxmlformats.org/officeDocument/2006/relationships/oleObject" Target="../embeddings/oleObject28.bin"/><Relationship Id="rId7" Type="http://schemas.openxmlformats.org/officeDocument/2006/relationships/image" Target="../media/image44.emf"/><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48.jpeg"/><Relationship Id="rId5" Type="http://schemas.openxmlformats.org/officeDocument/2006/relationships/image" Target="../media/image32.emf"/><Relationship Id="rId4" Type="http://schemas.openxmlformats.org/officeDocument/2006/relationships/image" Target="../media/image2.emf"/><Relationship Id="rId9" Type="http://schemas.openxmlformats.org/officeDocument/2006/relationships/image" Target="../media/image47.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9.bin"/><Relationship Id="rId7" Type="http://schemas.openxmlformats.org/officeDocument/2006/relationships/image" Target="../media/image49.emf"/><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6.emf"/><Relationship Id="rId5" Type="http://schemas.openxmlformats.org/officeDocument/2006/relationships/image" Target="../media/image30.emf"/><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4.bin"/><Relationship Id="rId7" Type="http://schemas.openxmlformats.org/officeDocument/2006/relationships/image" Target="../media/image4.emf"/><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8.jpeg"/><Relationship Id="rId5" Type="http://schemas.openxmlformats.org/officeDocument/2006/relationships/image" Target="../media/image3.emf"/><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2.xml"/><Relationship Id="rId5" Type="http://schemas.openxmlformats.org/officeDocument/2006/relationships/image" Target="../media/image50.emf"/><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51.emf"/><Relationship Id="rId5" Type="http://schemas.openxmlformats.org/officeDocument/2006/relationships/image" Target="../media/image22.emf"/><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22.emf"/><Relationship Id="rId5" Type="http://schemas.openxmlformats.org/officeDocument/2006/relationships/image" Target="../media/image52.emf"/><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22.emf"/><Relationship Id="rId5" Type="http://schemas.openxmlformats.org/officeDocument/2006/relationships/image" Target="../media/image53.emf"/><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4.bin"/><Relationship Id="rId7" Type="http://schemas.openxmlformats.org/officeDocument/2006/relationships/image" Target="../media/image28.emf"/><Relationship Id="rId2" Type="http://schemas.openxmlformats.org/officeDocument/2006/relationships/slideMaster" Target="../slideMasters/slideMaster1.xml"/><Relationship Id="rId1" Type="http://schemas.openxmlformats.org/officeDocument/2006/relationships/tags" Target="../tags/tag36.xml"/><Relationship Id="rId6" Type="http://schemas.openxmlformats.org/officeDocument/2006/relationships/image" Target="../media/image22.emf"/><Relationship Id="rId5" Type="http://schemas.openxmlformats.org/officeDocument/2006/relationships/image" Target="../media/image27.emf"/><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5.bin"/><Relationship Id="rId7" Type="http://schemas.openxmlformats.org/officeDocument/2006/relationships/image" Target="../media/image28.emf"/><Relationship Id="rId2" Type="http://schemas.openxmlformats.org/officeDocument/2006/relationships/slideMaster" Target="../slideMasters/slideMaster1.xml"/><Relationship Id="rId1" Type="http://schemas.openxmlformats.org/officeDocument/2006/relationships/tags" Target="../tags/tag37.xml"/><Relationship Id="rId6" Type="http://schemas.openxmlformats.org/officeDocument/2006/relationships/image" Target="../media/image22.emf"/><Relationship Id="rId5" Type="http://schemas.openxmlformats.org/officeDocument/2006/relationships/image" Target="../media/image27.emf"/><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54.emf"/><Relationship Id="rId3" Type="http://schemas.openxmlformats.org/officeDocument/2006/relationships/oleObject" Target="../embeddings/oleObject36.bin"/><Relationship Id="rId7" Type="http://schemas.openxmlformats.org/officeDocument/2006/relationships/image" Target="../media/image29.emf"/><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22.emf"/><Relationship Id="rId5" Type="http://schemas.openxmlformats.org/officeDocument/2006/relationships/image" Target="../media/image27.emf"/><Relationship Id="rId4" Type="http://schemas.openxmlformats.org/officeDocument/2006/relationships/image" Target="../media/image2.emf"/></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oleObject" Target="../embeddings/oleObject37.bin"/><Relationship Id="rId7" Type="http://schemas.openxmlformats.org/officeDocument/2006/relationships/image" Target="../media/image54.emf"/><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29.emf"/><Relationship Id="rId5" Type="http://schemas.openxmlformats.org/officeDocument/2006/relationships/image" Target="../media/image22.emf"/><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22.emf"/><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9.bin"/><Relationship Id="rId7" Type="http://schemas.openxmlformats.org/officeDocument/2006/relationships/image" Target="../media/image56.emf"/><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22.emf"/><Relationship Id="rId5" Type="http://schemas.openxmlformats.org/officeDocument/2006/relationships/image" Target="../media/image27.emf"/><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oleObject" Target="../embeddings/oleObject5.bin"/><Relationship Id="rId7"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10.jpeg"/><Relationship Id="rId5" Type="http://schemas.openxmlformats.org/officeDocument/2006/relationships/image" Target="../media/image3.emf"/><Relationship Id="rId4"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54.emf"/><Relationship Id="rId3" Type="http://schemas.openxmlformats.org/officeDocument/2006/relationships/oleObject" Target="../embeddings/oleObject40.bin"/><Relationship Id="rId7" Type="http://schemas.openxmlformats.org/officeDocument/2006/relationships/image" Target="../media/image29.emf"/><Relationship Id="rId2" Type="http://schemas.openxmlformats.org/officeDocument/2006/relationships/slideMaster" Target="../slideMasters/slideMaster1.xml"/><Relationship Id="rId1" Type="http://schemas.openxmlformats.org/officeDocument/2006/relationships/tags" Target="../tags/tag42.xml"/><Relationship Id="rId6" Type="http://schemas.openxmlformats.org/officeDocument/2006/relationships/image" Target="../media/image22.emf"/><Relationship Id="rId5" Type="http://schemas.openxmlformats.org/officeDocument/2006/relationships/image" Target="../media/image27.emf"/><Relationship Id="rId4" Type="http://schemas.openxmlformats.org/officeDocument/2006/relationships/image" Target="../media/image2.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3.xml"/><Relationship Id="rId6" Type="http://schemas.openxmlformats.org/officeDocument/2006/relationships/image" Target="../media/image57.emf"/><Relationship Id="rId5" Type="http://schemas.openxmlformats.org/officeDocument/2006/relationships/image" Target="../media/image22.emf"/><Relationship Id="rId4" Type="http://schemas.openxmlformats.org/officeDocument/2006/relationships/image" Target="../media/image2.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4.xml"/><Relationship Id="rId6" Type="http://schemas.openxmlformats.org/officeDocument/2006/relationships/image" Target="../media/image56.emf"/><Relationship Id="rId5" Type="http://schemas.openxmlformats.org/officeDocument/2006/relationships/image" Target="../media/image22.emf"/><Relationship Id="rId4" Type="http://schemas.openxmlformats.org/officeDocument/2006/relationships/image" Target="../media/image2.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5.xml"/><Relationship Id="rId6" Type="http://schemas.openxmlformats.org/officeDocument/2006/relationships/image" Target="../media/image22.emf"/><Relationship Id="rId5" Type="http://schemas.openxmlformats.org/officeDocument/2006/relationships/image" Target="../media/image36.emf"/><Relationship Id="rId4" Type="http://schemas.openxmlformats.org/officeDocument/2006/relationships/image" Target="../media/image2.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6.xml"/><Relationship Id="rId6" Type="http://schemas.openxmlformats.org/officeDocument/2006/relationships/image" Target="../media/image22.emf"/><Relationship Id="rId5" Type="http://schemas.openxmlformats.org/officeDocument/2006/relationships/image" Target="../media/image36.emf"/><Relationship Id="rId4" Type="http://schemas.openxmlformats.org/officeDocument/2006/relationships/image" Target="../media/image2.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7.xml"/><Relationship Id="rId6" Type="http://schemas.openxmlformats.org/officeDocument/2006/relationships/image" Target="../media/image22.emf"/><Relationship Id="rId5" Type="http://schemas.openxmlformats.org/officeDocument/2006/relationships/image" Target="../media/image36.emf"/><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8.xml"/><Relationship Id="rId6" Type="http://schemas.openxmlformats.org/officeDocument/2006/relationships/image" Target="../media/image59.emf"/><Relationship Id="rId5" Type="http://schemas.openxmlformats.org/officeDocument/2006/relationships/image" Target="../media/image58.emf"/><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9.xml"/><Relationship Id="rId5" Type="http://schemas.openxmlformats.org/officeDocument/2006/relationships/image" Target="../media/image59.emf"/><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oleObject" Target="../embeddings/oleObject48.bin"/><Relationship Id="rId7"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50.xml"/><Relationship Id="rId6" Type="http://schemas.openxmlformats.org/officeDocument/2006/relationships/image" Target="../media/image61.emf"/><Relationship Id="rId5" Type="http://schemas.openxmlformats.org/officeDocument/2006/relationships/image" Target="../media/image60.png"/><Relationship Id="rId4" Type="http://schemas.openxmlformats.org/officeDocument/2006/relationships/image" Target="../media/image2.emf"/></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oleObject" Target="../embeddings/oleObject49.bin"/><Relationship Id="rId7"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51.xml"/><Relationship Id="rId6" Type="http://schemas.openxmlformats.org/officeDocument/2006/relationships/image" Target="../media/image61.emf"/><Relationship Id="rId5" Type="http://schemas.openxmlformats.org/officeDocument/2006/relationships/image" Target="../media/image62.jpeg"/><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oleObject" Target="../embeddings/oleObject6.bin"/><Relationship Id="rId7"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12.png"/><Relationship Id="rId5" Type="http://schemas.openxmlformats.org/officeDocument/2006/relationships/image" Target="../media/image3.emf"/><Relationship Id="rId4" Type="http://schemas.openxmlformats.org/officeDocument/2006/relationships/image" Target="../media/image2.emf"/></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oleObject" Target="../embeddings/oleObject50.bin"/><Relationship Id="rId7"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52.xml"/><Relationship Id="rId6" Type="http://schemas.openxmlformats.org/officeDocument/2006/relationships/image" Target="../media/image61.emf"/><Relationship Id="rId5" Type="http://schemas.openxmlformats.org/officeDocument/2006/relationships/image" Target="../media/image63.jpeg"/><Relationship Id="rId4" Type="http://schemas.openxmlformats.org/officeDocument/2006/relationships/image" Target="../media/image2.emf"/></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oleObject" Target="../embeddings/oleObject51.bin"/><Relationship Id="rId7"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53.xml"/><Relationship Id="rId6" Type="http://schemas.openxmlformats.org/officeDocument/2006/relationships/image" Target="../media/image61.emf"/><Relationship Id="rId5" Type="http://schemas.openxmlformats.org/officeDocument/2006/relationships/image" Target="../media/image64.jpe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oleObject" Target="../embeddings/oleObject52.bin"/><Relationship Id="rId7"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54.xml"/><Relationship Id="rId6" Type="http://schemas.openxmlformats.org/officeDocument/2006/relationships/image" Target="../media/image61.emf"/><Relationship Id="rId5" Type="http://schemas.openxmlformats.org/officeDocument/2006/relationships/image" Target="../media/image65.jpeg"/><Relationship Id="rId4" Type="http://schemas.openxmlformats.org/officeDocument/2006/relationships/image" Target="../media/image2.emf"/></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oleObject" Target="../embeddings/oleObject53.bin"/><Relationship Id="rId7"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55.xml"/><Relationship Id="rId6" Type="http://schemas.openxmlformats.org/officeDocument/2006/relationships/image" Target="../media/image61.emf"/><Relationship Id="rId5" Type="http://schemas.openxmlformats.org/officeDocument/2006/relationships/image" Target="../media/image66.png"/><Relationship Id="rId4" Type="http://schemas.openxmlformats.org/officeDocument/2006/relationships/image" Target="../media/image2.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4.bin"/><Relationship Id="rId7" Type="http://schemas.openxmlformats.org/officeDocument/2006/relationships/image" Target="../media/image68.png"/><Relationship Id="rId2" Type="http://schemas.openxmlformats.org/officeDocument/2006/relationships/slideMaster" Target="../slideMasters/slideMaster1.xml"/><Relationship Id="rId1" Type="http://schemas.openxmlformats.org/officeDocument/2006/relationships/tags" Target="../tags/tag56.xml"/><Relationship Id="rId6" Type="http://schemas.openxmlformats.org/officeDocument/2006/relationships/image" Target="../media/image22.emf"/><Relationship Id="rId5" Type="http://schemas.openxmlformats.org/officeDocument/2006/relationships/image" Target="../media/image67.emf"/><Relationship Id="rId4" Type="http://schemas.openxmlformats.org/officeDocument/2006/relationships/image" Target="../media/image2.emf"/></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72.emf"/><Relationship Id="rId3" Type="http://schemas.openxmlformats.org/officeDocument/2006/relationships/oleObject" Target="../embeddings/oleObject55.bin"/><Relationship Id="rId7" Type="http://schemas.openxmlformats.org/officeDocument/2006/relationships/image" Target="../media/image71.emf"/><Relationship Id="rId2" Type="http://schemas.openxmlformats.org/officeDocument/2006/relationships/slideMaster" Target="../slideMasters/slideMaster1.xml"/><Relationship Id="rId1" Type="http://schemas.openxmlformats.org/officeDocument/2006/relationships/tags" Target="../tags/tag57.xml"/><Relationship Id="rId6" Type="http://schemas.openxmlformats.org/officeDocument/2006/relationships/image" Target="../media/image70.png"/><Relationship Id="rId5" Type="http://schemas.openxmlformats.org/officeDocument/2006/relationships/image" Target="../media/image69.emf"/><Relationship Id="rId4" Type="http://schemas.openxmlformats.org/officeDocument/2006/relationships/image" Target="../media/image2.emf"/></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72.emf"/><Relationship Id="rId3" Type="http://schemas.openxmlformats.org/officeDocument/2006/relationships/oleObject" Target="../embeddings/oleObject56.bin"/><Relationship Id="rId7" Type="http://schemas.openxmlformats.org/officeDocument/2006/relationships/image" Target="../media/image71.emf"/><Relationship Id="rId2" Type="http://schemas.openxmlformats.org/officeDocument/2006/relationships/slideMaster" Target="../slideMasters/slideMaster1.xml"/><Relationship Id="rId1" Type="http://schemas.openxmlformats.org/officeDocument/2006/relationships/tags" Target="../tags/tag58.xml"/><Relationship Id="rId6" Type="http://schemas.openxmlformats.org/officeDocument/2006/relationships/image" Target="../media/image73.jpeg"/><Relationship Id="rId5" Type="http://schemas.openxmlformats.org/officeDocument/2006/relationships/image" Target="../media/image69.emf"/><Relationship Id="rId4" Type="http://schemas.openxmlformats.org/officeDocument/2006/relationships/image" Target="../media/image2.emf"/></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72.emf"/><Relationship Id="rId3" Type="http://schemas.openxmlformats.org/officeDocument/2006/relationships/oleObject" Target="../embeddings/oleObject57.bin"/><Relationship Id="rId7" Type="http://schemas.openxmlformats.org/officeDocument/2006/relationships/image" Target="../media/image71.emf"/><Relationship Id="rId2" Type="http://schemas.openxmlformats.org/officeDocument/2006/relationships/slideMaster" Target="../slideMasters/slideMaster1.xml"/><Relationship Id="rId1" Type="http://schemas.openxmlformats.org/officeDocument/2006/relationships/tags" Target="../tags/tag59.xml"/><Relationship Id="rId6" Type="http://schemas.openxmlformats.org/officeDocument/2006/relationships/image" Target="../media/image74.png"/><Relationship Id="rId5" Type="http://schemas.openxmlformats.org/officeDocument/2006/relationships/image" Target="../media/image69.emf"/><Relationship Id="rId4" Type="http://schemas.openxmlformats.org/officeDocument/2006/relationships/image" Target="../media/image2.emf"/></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72.emf"/><Relationship Id="rId3" Type="http://schemas.openxmlformats.org/officeDocument/2006/relationships/oleObject" Target="../embeddings/oleObject58.bin"/><Relationship Id="rId7" Type="http://schemas.openxmlformats.org/officeDocument/2006/relationships/image" Target="../media/image71.emf"/><Relationship Id="rId2" Type="http://schemas.openxmlformats.org/officeDocument/2006/relationships/slideMaster" Target="../slideMasters/slideMaster1.xml"/><Relationship Id="rId1" Type="http://schemas.openxmlformats.org/officeDocument/2006/relationships/tags" Target="../tags/tag60.xml"/><Relationship Id="rId6" Type="http://schemas.openxmlformats.org/officeDocument/2006/relationships/image" Target="../media/image75.jpeg"/><Relationship Id="rId5" Type="http://schemas.openxmlformats.org/officeDocument/2006/relationships/image" Target="../media/image69.emf"/><Relationship Id="rId4" Type="http://schemas.openxmlformats.org/officeDocument/2006/relationships/image" Target="../media/image2.emf"/></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78.emf"/><Relationship Id="rId3" Type="http://schemas.openxmlformats.org/officeDocument/2006/relationships/oleObject" Target="../embeddings/oleObject59.bin"/><Relationship Id="rId7" Type="http://schemas.openxmlformats.org/officeDocument/2006/relationships/image" Target="../media/image77.png"/><Relationship Id="rId2" Type="http://schemas.openxmlformats.org/officeDocument/2006/relationships/slideMaster" Target="../slideMasters/slideMaster1.xml"/><Relationship Id="rId1" Type="http://schemas.openxmlformats.org/officeDocument/2006/relationships/tags" Target="../tags/tag61.xml"/><Relationship Id="rId6" Type="http://schemas.openxmlformats.org/officeDocument/2006/relationships/image" Target="../media/image6.emf"/><Relationship Id="rId5" Type="http://schemas.openxmlformats.org/officeDocument/2006/relationships/image" Target="../media/image76.emf"/><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oleObject" Target="../embeddings/oleObject7.bin"/><Relationship Id="rId7"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13.jpeg"/><Relationship Id="rId5" Type="http://schemas.openxmlformats.org/officeDocument/2006/relationships/image" Target="../media/image3.emf"/><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78.emf"/><Relationship Id="rId3" Type="http://schemas.openxmlformats.org/officeDocument/2006/relationships/oleObject" Target="../embeddings/oleObject60.bin"/><Relationship Id="rId7"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62.xml"/><Relationship Id="rId6" Type="http://schemas.openxmlformats.org/officeDocument/2006/relationships/image" Target="../media/image79.png"/><Relationship Id="rId5" Type="http://schemas.openxmlformats.org/officeDocument/2006/relationships/image" Target="../media/image76.emf"/><Relationship Id="rId4" Type="http://schemas.openxmlformats.org/officeDocument/2006/relationships/image" Target="../media/image2.emf"/></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78.emf"/><Relationship Id="rId3" Type="http://schemas.openxmlformats.org/officeDocument/2006/relationships/oleObject" Target="../embeddings/oleObject61.bin"/><Relationship Id="rId7" Type="http://schemas.openxmlformats.org/officeDocument/2006/relationships/image" Target="../media/image80.png"/><Relationship Id="rId2" Type="http://schemas.openxmlformats.org/officeDocument/2006/relationships/slideMaster" Target="../slideMasters/slideMaster1.xml"/><Relationship Id="rId1" Type="http://schemas.openxmlformats.org/officeDocument/2006/relationships/tags" Target="../tags/tag63.xml"/><Relationship Id="rId6" Type="http://schemas.openxmlformats.org/officeDocument/2006/relationships/image" Target="../media/image6.emf"/><Relationship Id="rId5" Type="http://schemas.openxmlformats.org/officeDocument/2006/relationships/image" Target="../media/image76.emf"/><Relationship Id="rId4" Type="http://schemas.openxmlformats.org/officeDocument/2006/relationships/image" Target="../media/image2.emf"/></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62.bin"/><Relationship Id="rId7"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64.xml"/><Relationship Id="rId6" Type="http://schemas.openxmlformats.org/officeDocument/2006/relationships/image" Target="../media/image81.emf"/><Relationship Id="rId5" Type="http://schemas.openxmlformats.org/officeDocument/2006/relationships/image" Target="../media/image3.emf"/><Relationship Id="rId4" Type="http://schemas.openxmlformats.org/officeDocument/2006/relationships/image" Target="../media/image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3.bin"/><Relationship Id="rId7" Type="http://schemas.openxmlformats.org/officeDocument/2006/relationships/image" Target="../media/image84.png"/><Relationship Id="rId2" Type="http://schemas.openxmlformats.org/officeDocument/2006/relationships/slideMaster" Target="../slideMasters/slideMaster1.xml"/><Relationship Id="rId1" Type="http://schemas.openxmlformats.org/officeDocument/2006/relationships/tags" Target="../tags/tag65.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4.bin"/><Relationship Id="rId7" Type="http://schemas.openxmlformats.org/officeDocument/2006/relationships/image" Target="../media/image87.png"/><Relationship Id="rId2" Type="http://schemas.openxmlformats.org/officeDocument/2006/relationships/slideMaster" Target="../slideMasters/slideMaster1.xml"/><Relationship Id="rId1" Type="http://schemas.openxmlformats.org/officeDocument/2006/relationships/tags" Target="../tags/tag66.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2.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5.bin"/><Relationship Id="rId7" Type="http://schemas.openxmlformats.org/officeDocument/2006/relationships/image" Target="../media/image90.png"/><Relationship Id="rId2" Type="http://schemas.openxmlformats.org/officeDocument/2006/relationships/slideMaster" Target="../slideMasters/slideMaster1.xml"/><Relationship Id="rId1" Type="http://schemas.openxmlformats.org/officeDocument/2006/relationships/tags" Target="../tags/tag67.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2.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xml"/><Relationship Id="rId1" Type="http://schemas.openxmlformats.org/officeDocument/2006/relationships/tags" Target="../tags/tag68.xml"/><Relationship Id="rId4" Type="http://schemas.openxmlformats.org/officeDocument/2006/relationships/image" Target="../media/image2.emf"/></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Master" Target="../slideMasters/slideMaster2.xml"/><Relationship Id="rId4" Type="http://schemas.openxmlformats.org/officeDocument/2006/relationships/image" Target="../media/image93.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1.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1.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oleObject" Target="../embeddings/oleObject8.bin"/><Relationship Id="rId7" Type="http://schemas.openxmlformats.org/officeDocument/2006/relationships/image" Target="../media/image14.jpe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11.png"/><Relationship Id="rId5" Type="http://schemas.openxmlformats.org/officeDocument/2006/relationships/image" Target="../media/image3.emf"/><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7.png"/><Relationship Id="rId7" Type="http://schemas.openxmlformats.org/officeDocument/2006/relationships/image" Target="../media/image101.png"/><Relationship Id="rId12" Type="http://schemas.openxmlformats.org/officeDocument/2006/relationships/image" Target="../media/image106.png"/><Relationship Id="rId2" Type="http://schemas.openxmlformats.org/officeDocument/2006/relationships/image" Target="../media/image96.png"/><Relationship Id="rId1" Type="http://schemas.openxmlformats.org/officeDocument/2006/relationships/slideMaster" Target="../slideMasters/slideMaster2.xml"/><Relationship Id="rId6" Type="http://schemas.openxmlformats.org/officeDocument/2006/relationships/image" Target="../media/image100.png"/><Relationship Id="rId11" Type="http://schemas.openxmlformats.org/officeDocument/2006/relationships/image" Target="../media/image105.png"/><Relationship Id="rId5" Type="http://schemas.openxmlformats.org/officeDocument/2006/relationships/image" Target="../media/image99.png"/><Relationship Id="rId10" Type="http://schemas.openxmlformats.org/officeDocument/2006/relationships/image" Target="../media/image104.png"/><Relationship Id="rId4" Type="http://schemas.openxmlformats.org/officeDocument/2006/relationships/image" Target="../media/image98.png"/><Relationship Id="rId9" Type="http://schemas.openxmlformats.org/officeDocument/2006/relationships/image" Target="../media/image103.png"/></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Master" Target="../slideMasters/slideMaster2.xml"/><Relationship Id="rId5" Type="http://schemas.openxmlformats.org/officeDocument/2006/relationships/image" Target="../media/image107.png"/><Relationship Id="rId4" Type="http://schemas.openxmlformats.org/officeDocument/2006/relationships/image" Target="../media/image113.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1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oleObject" Target="../embeddings/oleObject9.bin"/><Relationship Id="rId7"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11.png"/><Relationship Id="rId5" Type="http://schemas.openxmlformats.org/officeDocument/2006/relationships/image" Target="../media/image3.emf"/><Relationship Id="rId4" Type="http://schemas.openxmlformats.org/officeDocument/2006/relationships/image" Target="../media/image2.emf"/></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Master" Target="../slideMasters/slideMaster2.xml"/><Relationship Id="rId4" Type="http://schemas.openxmlformats.org/officeDocument/2006/relationships/image" Target="../media/image118.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9.png"/><Relationship Id="rId1" Type="http://schemas.openxmlformats.org/officeDocument/2006/relationships/slideMaster" Target="../slideMasters/slideMaster2.xml"/><Relationship Id="rId4" Type="http://schemas.openxmlformats.org/officeDocument/2006/relationships/image" Target="../media/image117.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20.png"/><Relationship Id="rId1" Type="http://schemas.openxmlformats.org/officeDocument/2006/relationships/slideMaster" Target="../slideMasters/slideMaster2.xml"/><Relationship Id="rId4" Type="http://schemas.openxmlformats.org/officeDocument/2006/relationships/image" Target="../media/image117.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21.png"/><Relationship Id="rId1" Type="http://schemas.openxmlformats.org/officeDocument/2006/relationships/slideMaster" Target="../slideMasters/slideMaster2.xml"/><Relationship Id="rId4" Type="http://schemas.openxmlformats.org/officeDocument/2006/relationships/image" Target="../media/image117.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slideMaster" Target="../slideMasters/slideMaster3.xml"/><Relationship Id="rId1" Type="http://schemas.openxmlformats.org/officeDocument/2006/relationships/tags" Target="../tags/tag70.xml"/><Relationship Id="rId6" Type="http://schemas.openxmlformats.org/officeDocument/2006/relationships/image" Target="../media/image124.png"/><Relationship Id="rId5" Type="http://schemas.openxmlformats.org/officeDocument/2006/relationships/image" Target="../media/image122.emf"/><Relationship Id="rId4" Type="http://schemas.openxmlformats.org/officeDocument/2006/relationships/oleObject" Target="../embeddings/oleObject68.bin"/></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3.xml"/><Relationship Id="rId1" Type="http://schemas.openxmlformats.org/officeDocument/2006/relationships/tags" Target="../tags/tag71.xml"/><Relationship Id="rId5" Type="http://schemas.openxmlformats.org/officeDocument/2006/relationships/slide" Target="../slides/slide6.xml"/><Relationship Id="rId4" Type="http://schemas.openxmlformats.org/officeDocument/2006/relationships/image" Target="../media/image122.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3.xml"/><Relationship Id="rId1" Type="http://schemas.openxmlformats.org/officeDocument/2006/relationships/tags" Target="../tags/tag72.xml"/><Relationship Id="rId5" Type="http://schemas.openxmlformats.org/officeDocument/2006/relationships/slide" Target="../slides/slide6.xml"/><Relationship Id="rId4" Type="http://schemas.openxmlformats.org/officeDocument/2006/relationships/image" Target="../media/image122.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71.bin"/><Relationship Id="rId7" Type="http://schemas.openxmlformats.org/officeDocument/2006/relationships/image" Target="../media/image128.png"/><Relationship Id="rId2" Type="http://schemas.openxmlformats.org/officeDocument/2006/relationships/slideMaster" Target="../slideMasters/slideMaster3.xml"/><Relationship Id="rId1" Type="http://schemas.openxmlformats.org/officeDocument/2006/relationships/tags" Target="../tags/tag73.xml"/><Relationship Id="rId6" Type="http://schemas.openxmlformats.org/officeDocument/2006/relationships/image" Target="../media/image127.png"/><Relationship Id="rId5" Type="http://schemas.openxmlformats.org/officeDocument/2006/relationships/image" Target="../media/image126.jpeg"/><Relationship Id="rId4" Type="http://schemas.openxmlformats.org/officeDocument/2006/relationships/image" Target="../media/image125.emf"/></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oleObject" Target="../embeddings/oleObject10.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16.png"/><Relationship Id="rId5" Type="http://schemas.openxmlformats.org/officeDocument/2006/relationships/image" Target="../media/image3.emf"/><Relationship Id="rId4" Type="http://schemas.openxmlformats.org/officeDocument/2006/relationships/image" Target="../media/image2.emf"/><Relationship Id="rId9" Type="http://schemas.openxmlformats.org/officeDocument/2006/relationships/image" Target="../media/image4.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3.xml"/><Relationship Id="rId1" Type="http://schemas.openxmlformats.org/officeDocument/2006/relationships/tags" Target="../tags/tag74.xml"/><Relationship Id="rId6" Type="http://schemas.openxmlformats.org/officeDocument/2006/relationships/image" Target="../media/image129.png"/><Relationship Id="rId5" Type="http://schemas.openxmlformats.org/officeDocument/2006/relationships/image" Target="../media/image128.png"/><Relationship Id="rId4" Type="http://schemas.openxmlformats.org/officeDocument/2006/relationships/image" Target="../media/image125.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3.xml"/><Relationship Id="rId1" Type="http://schemas.openxmlformats.org/officeDocument/2006/relationships/tags" Target="../tags/tag75.xml"/><Relationship Id="rId6" Type="http://schemas.openxmlformats.org/officeDocument/2006/relationships/image" Target="../media/image130.png"/><Relationship Id="rId5" Type="http://schemas.openxmlformats.org/officeDocument/2006/relationships/image" Target="../media/image128.png"/><Relationship Id="rId4" Type="http://schemas.openxmlformats.org/officeDocument/2006/relationships/image" Target="../media/image125.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3.xml"/><Relationship Id="rId1" Type="http://schemas.openxmlformats.org/officeDocument/2006/relationships/tags" Target="../tags/tag76.xml"/><Relationship Id="rId4" Type="http://schemas.openxmlformats.org/officeDocument/2006/relationships/image" Target="../media/image122.emf"/></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slideMaster" Target="../slideMasters/slideMaster3.xml"/><Relationship Id="rId1" Type="http://schemas.openxmlformats.org/officeDocument/2006/relationships/tags" Target="../tags/tag77.xml"/><Relationship Id="rId5" Type="http://schemas.openxmlformats.org/officeDocument/2006/relationships/image" Target="../media/image122.emf"/><Relationship Id="rId4" Type="http://schemas.openxmlformats.org/officeDocument/2006/relationships/oleObject" Target="../embeddings/oleObject75.bin"/></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76.bin"/><Relationship Id="rId7" Type="http://schemas.openxmlformats.org/officeDocument/2006/relationships/image" Target="../media/image133.png"/><Relationship Id="rId2" Type="http://schemas.openxmlformats.org/officeDocument/2006/relationships/slideMaster" Target="../slideMasters/slideMaster3.xml"/><Relationship Id="rId1" Type="http://schemas.openxmlformats.org/officeDocument/2006/relationships/tags" Target="../tags/tag78.xml"/><Relationship Id="rId6" Type="http://schemas.openxmlformats.org/officeDocument/2006/relationships/image" Target="../media/image132.png"/><Relationship Id="rId5" Type="http://schemas.openxmlformats.org/officeDocument/2006/relationships/image" Target="../media/image128.png"/><Relationship Id="rId4" Type="http://schemas.openxmlformats.org/officeDocument/2006/relationships/image" Target="../media/image125.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3.xml"/><Relationship Id="rId1" Type="http://schemas.openxmlformats.org/officeDocument/2006/relationships/tags" Target="../tags/tag79.xml"/><Relationship Id="rId4" Type="http://schemas.openxmlformats.org/officeDocument/2006/relationships/image" Target="../media/image122.emf"/></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slideMaster" Target="../slideMasters/slideMaster3.xml"/><Relationship Id="rId1" Type="http://schemas.openxmlformats.org/officeDocument/2006/relationships/tags" Target="../tags/tag80.xml"/><Relationship Id="rId5" Type="http://schemas.openxmlformats.org/officeDocument/2006/relationships/image" Target="../media/image122.emf"/><Relationship Id="rId4" Type="http://schemas.openxmlformats.org/officeDocument/2006/relationships/oleObject" Target="../embeddings/oleObject78.bin"/></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3.xml"/><Relationship Id="rId1" Type="http://schemas.openxmlformats.org/officeDocument/2006/relationships/tags" Target="../tags/tag81.xml"/><Relationship Id="rId6" Type="http://schemas.openxmlformats.org/officeDocument/2006/relationships/image" Target="../media/image135.jpeg"/><Relationship Id="rId5" Type="http://schemas.openxmlformats.org/officeDocument/2006/relationships/image" Target="../media/image128.png"/><Relationship Id="rId4" Type="http://schemas.openxmlformats.org/officeDocument/2006/relationships/image" Target="../media/image125.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3.xml"/><Relationship Id="rId1" Type="http://schemas.openxmlformats.org/officeDocument/2006/relationships/tags" Target="../tags/tag82.xml"/><Relationship Id="rId4" Type="http://schemas.openxmlformats.org/officeDocument/2006/relationships/image" Target="../media/image122.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3.xml"/><Relationship Id="rId1" Type="http://schemas.openxmlformats.org/officeDocument/2006/relationships/tags" Target="../tags/tag83.xml"/><Relationship Id="rId6" Type="http://schemas.openxmlformats.org/officeDocument/2006/relationships/image" Target="../media/image128.png"/><Relationship Id="rId5" Type="http://schemas.openxmlformats.org/officeDocument/2006/relationships/image" Target="../media/image136.png"/><Relationship Id="rId4" Type="http://schemas.openxmlformats.org/officeDocument/2006/relationships/image" Target="../media/image125.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0F5283D-7852-B68B-630F-C31B84D5029B}"/>
              </a:ext>
            </a:extLst>
          </p:cNvPr>
          <p:cNvGraphicFramePr>
            <a:graphicFrameLocks noChangeAspect="1"/>
          </p:cNvGraphicFramePr>
          <p:nvPr userDrawn="1">
            <p:custDataLst>
              <p:tags r:id="rId1"/>
            </p:custDataLst>
            <p:extLst>
              <p:ext uri="{D42A27DB-BD31-4B8C-83A1-F6EECF244321}">
                <p14:modId xmlns:p14="http://schemas.microsoft.com/office/powerpoint/2010/main" val="4057389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80F5283D-7852-B68B-630F-C31B84D502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404477DA-D9A2-C10A-D38B-113AA2EAB809}"/>
              </a:ext>
            </a:extLst>
          </p:cNvPr>
          <p:cNvPicPr>
            <a:picLocks noChangeAspect="1"/>
          </p:cNvPicPr>
          <p:nvPr userDrawn="1"/>
        </p:nvPicPr>
        <p:blipFill>
          <a:blip r:embed="rId5"/>
          <a:srcRect l="3369" t="3331" r="3369" b="3369"/>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ln>
            <a:noFill/>
          </a:ln>
        </p:spPr>
      </p:pic>
      <p:sp>
        <p:nvSpPr>
          <p:cNvPr id="4" name="Rectangle 3">
            <a:extLst>
              <a:ext uri="{FF2B5EF4-FFF2-40B4-BE49-F238E27FC236}">
                <a16:creationId xmlns:a16="http://schemas.microsoft.com/office/drawing/2014/main" id="{B69AA76A-63B0-043E-9580-A15A6FEFC1AB}"/>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6" name="Rectangle 5">
            <a:extLst>
              <a:ext uri="{FF2B5EF4-FFF2-40B4-BE49-F238E27FC236}">
                <a16:creationId xmlns:a16="http://schemas.microsoft.com/office/drawing/2014/main" id="{2BE964DB-0B7D-6EBB-6725-1A820FD13642}"/>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3704CCFC-D2B6-AED8-CDA0-B163BD4463C5}"/>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8" name="Rectangle 7">
            <a:extLst>
              <a:ext uri="{FF2B5EF4-FFF2-40B4-BE49-F238E27FC236}">
                <a16:creationId xmlns:a16="http://schemas.microsoft.com/office/drawing/2014/main" id="{C9FBCCFC-0390-34AE-3F80-B46BBA62BC2A}"/>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E2168E1A-69DF-F63E-2AE8-B60DB7234A4E}"/>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36975E2E-3984-0B40-73A8-B7CC4A2B19BF}"/>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1E6261FB-107B-F06A-B395-518E576232FB}"/>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BAB54340-675F-F707-4E34-A216647E1734}"/>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3D03F967-EC41-F0EA-462E-6FA837216E20}"/>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67CDF6FE-CD83-9225-B5BE-6792B764FB13}"/>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Tree>
    <p:extLst>
      <p:ext uri="{BB962C8B-B14F-4D97-AF65-F5344CB8AC3E}">
        <p14:creationId xmlns:p14="http://schemas.microsoft.com/office/powerpoint/2010/main" val="32211844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8_Cover_1">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AA36D955-B3A7-C98D-63C4-65BC52F7814E}"/>
              </a:ext>
            </a:extLst>
          </p:cNvPr>
          <p:cNvGraphicFramePr>
            <a:graphicFrameLocks noChangeAspect="1"/>
          </p:cNvGraphicFramePr>
          <p:nvPr userDrawn="1">
            <p:custDataLst>
              <p:tags r:id="rId1"/>
            </p:custDataLst>
            <p:extLst>
              <p:ext uri="{D42A27DB-BD31-4B8C-83A1-F6EECF244321}">
                <p14:modId xmlns:p14="http://schemas.microsoft.com/office/powerpoint/2010/main" val="2142641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2" name="Object 21" hidden="1">
                        <a:extLst>
                          <a:ext uri="{FF2B5EF4-FFF2-40B4-BE49-F238E27FC236}">
                            <a16:creationId xmlns:a16="http://schemas.microsoft.com/office/drawing/2014/main" id="{AA36D955-B3A7-C98D-63C4-65BC52F781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3F9111E3-B6B3-F20D-E234-232A58D77455}"/>
              </a:ext>
            </a:extLst>
          </p:cNvPr>
          <p:cNvPicPr>
            <a:picLocks noChangeAspect="1"/>
          </p:cNvPicPr>
          <p:nvPr userDrawn="1"/>
        </p:nvPicPr>
        <p:blipFill>
          <a:blip r:embed="rId5"/>
          <a:stretch>
            <a:fillRect/>
          </a:stretch>
        </p:blipFill>
        <p:spPr>
          <a:xfrm>
            <a:off x="19504" y="2780"/>
            <a:ext cx="12192000" cy="6855220"/>
          </a:xfrm>
          <a:prstGeom prst="rect">
            <a:avLst/>
          </a:prstGeom>
        </p:spPr>
      </p:pic>
      <p:pic>
        <p:nvPicPr>
          <p:cNvPr id="6" name="Picture 5">
            <a:extLst>
              <a:ext uri="{FF2B5EF4-FFF2-40B4-BE49-F238E27FC236}">
                <a16:creationId xmlns:a16="http://schemas.microsoft.com/office/drawing/2014/main" id="{D3DA9054-7CE1-745E-E670-5377D98582B7}"/>
              </a:ext>
            </a:extLst>
          </p:cNvPr>
          <p:cNvPicPr>
            <a:picLocks noChangeAspect="1"/>
          </p:cNvPicPr>
          <p:nvPr userDrawn="1"/>
        </p:nvPicPr>
        <p:blipFill rotWithShape="1">
          <a:blip r:embed="rId6"/>
          <a:srcRect l="25091" r="11852" b="-41"/>
          <a:stretch/>
        </p:blipFill>
        <p:spPr>
          <a:xfrm>
            <a:off x="0" y="0"/>
            <a:ext cx="6483964" cy="6858000"/>
          </a:xfrm>
          <a:custGeom>
            <a:avLst/>
            <a:gdLst>
              <a:gd name="connsiteX0" fmla="*/ 0 w 6483964"/>
              <a:gd name="connsiteY0" fmla="*/ 0 h 6858000"/>
              <a:gd name="connsiteX1" fmla="*/ 6483964 w 6483964"/>
              <a:gd name="connsiteY1" fmla="*/ 0 h 6858000"/>
              <a:gd name="connsiteX2" fmla="*/ 6483964 w 6483964"/>
              <a:gd name="connsiteY2" fmla="*/ 6858000 h 6858000"/>
              <a:gd name="connsiteX3" fmla="*/ 0 w 648396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83964" h="6858000">
                <a:moveTo>
                  <a:pt x="0" y="0"/>
                </a:moveTo>
                <a:lnTo>
                  <a:pt x="6483964" y="0"/>
                </a:lnTo>
                <a:lnTo>
                  <a:pt x="6483964" y="6858000"/>
                </a:lnTo>
                <a:lnTo>
                  <a:pt x="0" y="6858000"/>
                </a:lnTo>
                <a:close/>
              </a:path>
            </a:pathLst>
          </a:custGeom>
        </p:spPr>
      </p:pic>
      <p:pic>
        <p:nvPicPr>
          <p:cNvPr id="10" name="Picture 9">
            <a:extLst>
              <a:ext uri="{FF2B5EF4-FFF2-40B4-BE49-F238E27FC236}">
                <a16:creationId xmlns:a16="http://schemas.microsoft.com/office/drawing/2014/main" id="{61359549-5A1F-9411-3B5D-0D48941C24F2}"/>
              </a:ext>
            </a:extLst>
          </p:cNvPr>
          <p:cNvPicPr>
            <a:picLocks noChangeAspect="1"/>
          </p:cNvPicPr>
          <p:nvPr userDrawn="1"/>
        </p:nvPicPr>
        <p:blipFill>
          <a:blip r:embed="rId7"/>
          <a:stretch>
            <a:fillRect/>
          </a:stretch>
        </p:blipFill>
        <p:spPr>
          <a:xfrm>
            <a:off x="6942174" y="5029200"/>
            <a:ext cx="2637118" cy="1418282"/>
          </a:xfrm>
          <a:prstGeom prst="rect">
            <a:avLst/>
          </a:prstGeom>
        </p:spPr>
      </p:pic>
      <p:sp>
        <p:nvSpPr>
          <p:cNvPr id="4" name="TextBox 3">
            <a:extLst>
              <a:ext uri="{FF2B5EF4-FFF2-40B4-BE49-F238E27FC236}">
                <a16:creationId xmlns:a16="http://schemas.microsoft.com/office/drawing/2014/main" id="{39C32344-3F64-881D-8597-493E4E19655C}"/>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mn-lt"/>
                <a:ea typeface="+mn-ea"/>
                <a:cs typeface="+mn-cs"/>
              </a:rPr>
              <a:pPr algn="r"/>
              <a:t>‹#›</a:t>
            </a:fld>
            <a:endParaRPr lang="en-US" sz="700" spc="300">
              <a:solidFill>
                <a:schemeClr val="bg1"/>
              </a:solidFill>
              <a:latin typeface="+mn-lt"/>
              <a:ea typeface="+mn-ea"/>
              <a:cs typeface="+mn-cs"/>
            </a:endParaRPr>
          </a:p>
        </p:txBody>
      </p:sp>
      <p:sp>
        <p:nvSpPr>
          <p:cNvPr id="3" name="Rectangle 2">
            <a:extLst>
              <a:ext uri="{FF2B5EF4-FFF2-40B4-BE49-F238E27FC236}">
                <a16:creationId xmlns:a16="http://schemas.microsoft.com/office/drawing/2014/main" id="{A98DFE46-B5E2-F718-94E7-DEF297DF395B}"/>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8E00E491-5360-4420-3643-DDA785916048}"/>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52670FD2-6DEE-3AD9-85AC-45AAB1C3274F}"/>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1ED70F8B-B5D8-3BA6-1B64-F30D81678066}"/>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00714F0B-729E-CAB1-D0E3-5633DF445DB1}"/>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1C1B6030-5708-896E-87F9-D9EB5A92297E}"/>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D2DD69C2-D4FE-4E6E-F4EA-F29654973D31}"/>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BC48FFBE-14CD-15D0-B311-6B84759D8C47}"/>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2A0CD2D3-A28D-3316-27BD-4D7CA492E49B}"/>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8" name="Rectangle 17">
            <a:extLst>
              <a:ext uri="{FF2B5EF4-FFF2-40B4-BE49-F238E27FC236}">
                <a16:creationId xmlns:a16="http://schemas.microsoft.com/office/drawing/2014/main" id="{2798D593-3A07-FA79-0F2D-3BA8F7D72047}"/>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9" name="Text Placeholder 6">
            <a:extLst>
              <a:ext uri="{FF2B5EF4-FFF2-40B4-BE49-F238E27FC236}">
                <a16:creationId xmlns:a16="http://schemas.microsoft.com/office/drawing/2014/main" id="{CCEE4AD4-5673-DC5D-0072-55F8141A6EE8}"/>
              </a:ext>
            </a:extLst>
          </p:cNvPr>
          <p:cNvSpPr>
            <a:spLocks noGrp="1"/>
          </p:cNvSpPr>
          <p:nvPr>
            <p:ph type="body" sz="quarter" idx="15" hasCustomPrompt="1"/>
          </p:nvPr>
        </p:nvSpPr>
        <p:spPr>
          <a:xfrm>
            <a:off x="6916416" y="1953851"/>
            <a:ext cx="4882138" cy="608864"/>
          </a:xfrm>
        </p:spPr>
        <p:txBody>
          <a:bodyPr bIns="0" anchor="b">
            <a:noAutofit/>
          </a:bodyPr>
          <a:lstStyle>
            <a:lvl1pPr marL="0" indent="0">
              <a:buNone/>
              <a:defRPr sz="4000" b="1" i="0">
                <a:solidFill>
                  <a:schemeClr val="bg1"/>
                </a:solidFill>
                <a:latin typeface="+mn-lt"/>
                <a:ea typeface="+mn-ea"/>
                <a:cs typeface="+mn-cs"/>
              </a:defRPr>
            </a:lvl1pPr>
          </a:lstStyle>
          <a:p>
            <a:pPr lvl="0"/>
            <a:r>
              <a:rPr lang="en-US"/>
              <a:t>Title text</a:t>
            </a:r>
          </a:p>
        </p:txBody>
      </p:sp>
      <p:sp>
        <p:nvSpPr>
          <p:cNvPr id="20" name="Text Placeholder 6">
            <a:extLst>
              <a:ext uri="{FF2B5EF4-FFF2-40B4-BE49-F238E27FC236}">
                <a16:creationId xmlns:a16="http://schemas.microsoft.com/office/drawing/2014/main" id="{D7AEF975-7E8E-3FB4-D358-82BE2CB20294}"/>
              </a:ext>
            </a:extLst>
          </p:cNvPr>
          <p:cNvSpPr>
            <a:spLocks noGrp="1"/>
          </p:cNvSpPr>
          <p:nvPr>
            <p:ph type="body" sz="quarter" idx="16" hasCustomPrompt="1"/>
          </p:nvPr>
        </p:nvSpPr>
        <p:spPr>
          <a:xfrm>
            <a:off x="6916416" y="2736147"/>
            <a:ext cx="4882138" cy="608864"/>
          </a:xfrm>
          <a:noFill/>
        </p:spPr>
        <p:txBody>
          <a:bodyPr>
            <a:noAutofit/>
          </a:bodyPr>
          <a:lstStyle>
            <a:lvl1pPr marL="0" indent="0">
              <a:buNone/>
              <a:defRPr sz="2800" b="0" i="0">
                <a:solidFill>
                  <a:schemeClr val="bg1"/>
                </a:solidFill>
                <a:latin typeface="+mn-lt"/>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0"/>
            <a:endParaRPr lang="en-US"/>
          </a:p>
        </p:txBody>
      </p:sp>
      <p:sp>
        <p:nvSpPr>
          <p:cNvPr id="21" name="Text Placeholder 6">
            <a:extLst>
              <a:ext uri="{FF2B5EF4-FFF2-40B4-BE49-F238E27FC236}">
                <a16:creationId xmlns:a16="http://schemas.microsoft.com/office/drawing/2014/main" id="{CDD05584-C1AB-97CD-2E18-F6E51E3A46FE}"/>
              </a:ext>
            </a:extLst>
          </p:cNvPr>
          <p:cNvSpPr>
            <a:spLocks noGrp="1"/>
          </p:cNvSpPr>
          <p:nvPr>
            <p:ph type="body" sz="quarter" idx="18" hasCustomPrompt="1"/>
          </p:nvPr>
        </p:nvSpPr>
        <p:spPr>
          <a:xfrm>
            <a:off x="6942174" y="3959640"/>
            <a:ext cx="4882138" cy="384460"/>
          </a:xfrm>
          <a:noFill/>
        </p:spPr>
        <p:txBody>
          <a:bodyPr>
            <a:noAutofit/>
          </a:bodyPr>
          <a:lstStyle>
            <a:lvl1pPr marL="0" indent="0">
              <a:buNone/>
              <a:defRPr sz="2000" b="0" i="0">
                <a:solidFill>
                  <a:schemeClr val="bg1"/>
                </a:solidFill>
                <a:latin typeface="+mn-lt"/>
                <a:ea typeface="+mn-ea"/>
                <a:cs typeface="+mn-cs"/>
              </a:defRPr>
            </a:lvl1pPr>
          </a:lstStyle>
          <a:p>
            <a:pPr lvl="0"/>
            <a:r>
              <a:rPr lang="en-US"/>
              <a:t>Date </a:t>
            </a:r>
          </a:p>
        </p:txBody>
      </p:sp>
      <p:pic>
        <p:nvPicPr>
          <p:cNvPr id="8" name="Picture 7">
            <a:extLst>
              <a:ext uri="{FF2B5EF4-FFF2-40B4-BE49-F238E27FC236}">
                <a16:creationId xmlns:a16="http://schemas.microsoft.com/office/drawing/2014/main" id="{22402783-288C-2D52-A4BA-8F45BACAE0BD}"/>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0" y="0"/>
            <a:ext cx="5214876" cy="4513432"/>
          </a:xfrm>
          <a:prstGeom prst="rect">
            <a:avLst/>
          </a:prstGeom>
        </p:spPr>
      </p:pic>
    </p:spTree>
    <p:extLst>
      <p:ext uri="{BB962C8B-B14F-4D97-AF65-F5344CB8AC3E}">
        <p14:creationId xmlns:p14="http://schemas.microsoft.com/office/powerpoint/2010/main" val="26976533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0-Subdivider-2">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306A473-E852-43C8-8FFD-BB83C54C89B6}"/>
              </a:ext>
            </a:extLst>
          </p:cNvPr>
          <p:cNvGraphicFramePr>
            <a:graphicFrameLocks noChangeAspect="1"/>
          </p:cNvGraphicFramePr>
          <p:nvPr userDrawn="1">
            <p:custDataLst>
              <p:tags r:id="rId1"/>
            </p:custDataLst>
            <p:extLst>
              <p:ext uri="{D42A27DB-BD31-4B8C-83A1-F6EECF244321}">
                <p14:modId xmlns:p14="http://schemas.microsoft.com/office/powerpoint/2010/main" val="4210160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2306A473-E852-43C8-8FFD-BB83C54C8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E38611F4-33D6-48A3-BBA6-C5988CB770D5}"/>
              </a:ext>
            </a:extLst>
          </p:cNvPr>
          <p:cNvSpPr/>
          <p:nvPr userDrawn="1"/>
        </p:nvSpPr>
        <p:spPr>
          <a:xfrm>
            <a:off x="0" y="0"/>
            <a:ext cx="12192000" cy="6858000"/>
          </a:xfrm>
          <a:prstGeom prst="rect">
            <a:avLst/>
          </a:prstGeom>
          <a:solidFill>
            <a:schemeClr val="accent3">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7" name="Rectangle 6">
            <a:extLst>
              <a:ext uri="{FF2B5EF4-FFF2-40B4-BE49-F238E27FC236}">
                <a16:creationId xmlns:a16="http://schemas.microsoft.com/office/drawing/2014/main" id="{30B1FACB-EDA9-4965-841B-DE3316F310FB}"/>
              </a:ext>
            </a:extLst>
          </p:cNvPr>
          <p:cNvSpPr/>
          <p:nvPr userDrawn="1"/>
        </p:nvSpPr>
        <p:spPr>
          <a:xfrm flipV="1">
            <a:off x="0" y="0"/>
            <a:ext cx="12192000" cy="6858000"/>
          </a:xfrm>
          <a:prstGeom prst="rect">
            <a:avLst/>
          </a:prstGeom>
          <a:gradFill flip="none" rotWithShape="1">
            <a:gsLst>
              <a:gs pos="17000">
                <a:schemeClr val="accent3">
                  <a:lumMod val="75000"/>
                  <a:alpha val="30000"/>
                </a:schemeClr>
              </a:gs>
              <a:gs pos="43000">
                <a:schemeClr val="accent3">
                  <a:alpha val="30000"/>
                </a:schemeClr>
              </a:gs>
              <a:gs pos="0">
                <a:schemeClr val="accent3">
                  <a:lumMod val="50000"/>
                  <a:alpha val="30000"/>
                </a:schemeClr>
              </a:gs>
              <a:gs pos="100000">
                <a:schemeClr val="accent3">
                  <a:lumMod val="50000"/>
                  <a:alpha val="30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9" name="Text Placeholder 3">
            <a:extLst>
              <a:ext uri="{FF2B5EF4-FFF2-40B4-BE49-F238E27FC236}">
                <a16:creationId xmlns:a16="http://schemas.microsoft.com/office/drawing/2014/main" id="{42519C45-A85B-499F-AC90-71D2B5EA0EB4}"/>
              </a:ext>
            </a:extLst>
          </p:cNvPr>
          <p:cNvSpPr>
            <a:spLocks noGrp="1"/>
          </p:cNvSpPr>
          <p:nvPr>
            <p:ph type="body" sz="quarter" idx="15" hasCustomPrompt="1"/>
          </p:nvPr>
        </p:nvSpPr>
        <p:spPr>
          <a:xfrm>
            <a:off x="3657600" y="2840474"/>
            <a:ext cx="4876800" cy="1177053"/>
          </a:xfrm>
          <a:prstGeom prst="rect">
            <a:avLst/>
          </a:prstGeom>
        </p:spPr>
        <p:txBody>
          <a:bodyPr lIns="0" tIns="0" rIns="0" bIns="0">
            <a:spAutoFit/>
          </a:bodyPr>
          <a:lstStyle>
            <a:lvl1pPr marL="7938" indent="-7938" algn="ctr" rtl="0">
              <a:lnSpc>
                <a:spcPct val="110000"/>
              </a:lnSpc>
              <a:spcBef>
                <a:spcPts val="0"/>
              </a:spcBef>
              <a:buNone/>
              <a:tabLst/>
              <a:defRPr sz="3600" b="1" i="0" spc="70" baseline="0">
                <a:solidFill>
                  <a:schemeClr val="bg1"/>
                </a:solidFill>
                <a:latin typeface="Leelawadee" panose="020B0502040204020203" pitchFamily="34" charset="-34"/>
                <a:cs typeface="Leelawadee" panose="020B0502040204020203" pitchFamily="34" charset="-34"/>
              </a:defRPr>
            </a:lvl1pPr>
          </a:lstStyle>
          <a:p>
            <a:pPr lvl="0"/>
            <a:r>
              <a:rPr lang="en-US" noProof="0"/>
              <a:t>PepsiCo Positive</a:t>
            </a:r>
          </a:p>
          <a:p>
            <a:pPr lvl="0"/>
            <a:r>
              <a:rPr lang="en-US" noProof="0"/>
              <a:t>Template</a:t>
            </a:r>
          </a:p>
        </p:txBody>
      </p:sp>
    </p:spTree>
    <p:extLst>
      <p:ext uri="{BB962C8B-B14F-4D97-AF65-F5344CB8AC3E}">
        <p14:creationId xmlns:p14="http://schemas.microsoft.com/office/powerpoint/2010/main" val="350321296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0-Subdivider-1">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306A473-E852-43C8-8FFD-BB83C54C89B6}"/>
              </a:ext>
            </a:extLst>
          </p:cNvPr>
          <p:cNvGraphicFramePr>
            <a:graphicFrameLocks noChangeAspect="1"/>
          </p:cNvGraphicFramePr>
          <p:nvPr userDrawn="1">
            <p:custDataLst>
              <p:tags r:id="rId1"/>
            </p:custDataLst>
            <p:extLst>
              <p:ext uri="{D42A27DB-BD31-4B8C-83A1-F6EECF244321}">
                <p14:modId xmlns:p14="http://schemas.microsoft.com/office/powerpoint/2010/main" val="3406055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2306A473-E852-43C8-8FFD-BB83C54C8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E38611F4-33D6-48A3-BBA6-C5988CB770D5}"/>
              </a:ext>
            </a:extLst>
          </p:cNvPr>
          <p:cNvSpPr/>
          <p:nvPr userDrawn="1"/>
        </p:nvSpPr>
        <p:spPr>
          <a:xfrm>
            <a:off x="0" y="0"/>
            <a:ext cx="12192000" cy="6858000"/>
          </a:xfrm>
          <a:prstGeom prst="rect">
            <a:avLst/>
          </a:prstGeom>
          <a:solidFill>
            <a:schemeClr val="accent4">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7" name="Rectangle 6">
            <a:extLst>
              <a:ext uri="{FF2B5EF4-FFF2-40B4-BE49-F238E27FC236}">
                <a16:creationId xmlns:a16="http://schemas.microsoft.com/office/drawing/2014/main" id="{30B1FACB-EDA9-4965-841B-DE3316F310FB}"/>
              </a:ext>
            </a:extLst>
          </p:cNvPr>
          <p:cNvSpPr/>
          <p:nvPr userDrawn="1"/>
        </p:nvSpPr>
        <p:spPr>
          <a:xfrm flipV="1">
            <a:off x="0" y="0"/>
            <a:ext cx="12192000" cy="6858000"/>
          </a:xfrm>
          <a:prstGeom prst="rect">
            <a:avLst/>
          </a:prstGeom>
          <a:gradFill flip="none" rotWithShape="1">
            <a:gsLst>
              <a:gs pos="17000">
                <a:srgbClr val="4CAF40">
                  <a:lumMod val="90000"/>
                  <a:lumOff val="10000"/>
                  <a:alpha val="30000"/>
                </a:srgbClr>
              </a:gs>
              <a:gs pos="43000">
                <a:schemeClr val="accent5">
                  <a:lumMod val="93000"/>
                  <a:lumOff val="7000"/>
                  <a:alpha val="30000"/>
                </a:schemeClr>
              </a:gs>
              <a:gs pos="0">
                <a:schemeClr val="accent4">
                  <a:lumMod val="75000"/>
                  <a:alpha val="30000"/>
                </a:schemeClr>
              </a:gs>
              <a:gs pos="100000">
                <a:schemeClr val="accent4">
                  <a:lumMod val="79000"/>
                  <a:alpha val="30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9" name="Text Placeholder 3">
            <a:extLst>
              <a:ext uri="{FF2B5EF4-FFF2-40B4-BE49-F238E27FC236}">
                <a16:creationId xmlns:a16="http://schemas.microsoft.com/office/drawing/2014/main" id="{42519C45-A85B-499F-AC90-71D2B5EA0EB4}"/>
              </a:ext>
            </a:extLst>
          </p:cNvPr>
          <p:cNvSpPr>
            <a:spLocks noGrp="1"/>
          </p:cNvSpPr>
          <p:nvPr>
            <p:ph type="body" sz="quarter" idx="15" hasCustomPrompt="1"/>
          </p:nvPr>
        </p:nvSpPr>
        <p:spPr>
          <a:xfrm>
            <a:off x="3657600" y="2840474"/>
            <a:ext cx="4876800" cy="1177053"/>
          </a:xfrm>
          <a:prstGeom prst="rect">
            <a:avLst/>
          </a:prstGeom>
        </p:spPr>
        <p:txBody>
          <a:bodyPr lIns="0" tIns="0" rIns="0" bIns="0">
            <a:spAutoFit/>
          </a:bodyPr>
          <a:lstStyle>
            <a:lvl1pPr marL="7938" indent="-7938" algn="ctr" rtl="0">
              <a:lnSpc>
                <a:spcPct val="110000"/>
              </a:lnSpc>
              <a:spcBef>
                <a:spcPts val="0"/>
              </a:spcBef>
              <a:buNone/>
              <a:tabLst/>
              <a:defRPr sz="3600" b="1" i="0" spc="70" baseline="0">
                <a:solidFill>
                  <a:schemeClr val="bg1"/>
                </a:solidFill>
                <a:latin typeface="Leelawadee" panose="020B0502040204020203" pitchFamily="34" charset="-34"/>
                <a:cs typeface="Leelawadee" panose="020B0502040204020203" pitchFamily="34" charset="-34"/>
              </a:defRPr>
            </a:lvl1pPr>
          </a:lstStyle>
          <a:p>
            <a:pPr lvl="0"/>
            <a:r>
              <a:rPr lang="en-US" noProof="0"/>
              <a:t>PepsiCo Positive</a:t>
            </a:r>
          </a:p>
          <a:p>
            <a:pPr lvl="0"/>
            <a:r>
              <a:rPr lang="en-US" noProof="0"/>
              <a:t>Template</a:t>
            </a:r>
          </a:p>
        </p:txBody>
      </p:sp>
    </p:spTree>
    <p:extLst>
      <p:ext uri="{BB962C8B-B14F-4D97-AF65-F5344CB8AC3E}">
        <p14:creationId xmlns:p14="http://schemas.microsoft.com/office/powerpoint/2010/main" val="121505619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0-Subdivider-3">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306A473-E852-43C8-8FFD-BB83C54C89B6}"/>
              </a:ext>
            </a:extLst>
          </p:cNvPr>
          <p:cNvGraphicFramePr>
            <a:graphicFrameLocks noChangeAspect="1"/>
          </p:cNvGraphicFramePr>
          <p:nvPr userDrawn="1">
            <p:custDataLst>
              <p:tags r:id="rId1"/>
            </p:custDataLst>
            <p:extLst>
              <p:ext uri="{D42A27DB-BD31-4B8C-83A1-F6EECF244321}">
                <p14:modId xmlns:p14="http://schemas.microsoft.com/office/powerpoint/2010/main" val="4108334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2306A473-E852-43C8-8FFD-BB83C54C8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E38611F4-33D6-48A3-BBA6-C5988CB770D5}"/>
              </a:ext>
            </a:extLst>
          </p:cNvPr>
          <p:cNvSpPr/>
          <p:nvPr userDrawn="1"/>
        </p:nvSpPr>
        <p:spPr>
          <a:xfrm>
            <a:off x="0" y="0"/>
            <a:ext cx="12192000" cy="6858000"/>
          </a:xfrm>
          <a:prstGeom prst="rect">
            <a:avLst/>
          </a:prstGeom>
          <a:solidFill>
            <a:schemeClr val="accent6">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7" name="Rectangle 6">
            <a:extLst>
              <a:ext uri="{FF2B5EF4-FFF2-40B4-BE49-F238E27FC236}">
                <a16:creationId xmlns:a16="http://schemas.microsoft.com/office/drawing/2014/main" id="{30B1FACB-EDA9-4965-841B-DE3316F310FB}"/>
              </a:ext>
            </a:extLst>
          </p:cNvPr>
          <p:cNvSpPr/>
          <p:nvPr userDrawn="1"/>
        </p:nvSpPr>
        <p:spPr>
          <a:xfrm flipV="1">
            <a:off x="0" y="0"/>
            <a:ext cx="12192000" cy="6858000"/>
          </a:xfrm>
          <a:prstGeom prst="rect">
            <a:avLst/>
          </a:prstGeom>
          <a:gradFill flip="none" rotWithShape="1">
            <a:gsLst>
              <a:gs pos="17000">
                <a:schemeClr val="accent6">
                  <a:alpha val="30000"/>
                </a:schemeClr>
              </a:gs>
              <a:gs pos="43000">
                <a:schemeClr val="accent6">
                  <a:lumMod val="75000"/>
                  <a:alpha val="30000"/>
                </a:schemeClr>
              </a:gs>
              <a:gs pos="0">
                <a:schemeClr val="accent6">
                  <a:lumMod val="75000"/>
                  <a:alpha val="30000"/>
                </a:schemeClr>
              </a:gs>
              <a:gs pos="100000">
                <a:schemeClr val="accent6">
                  <a:lumMod val="50000"/>
                  <a:alpha val="30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9" name="Text Placeholder 3">
            <a:extLst>
              <a:ext uri="{FF2B5EF4-FFF2-40B4-BE49-F238E27FC236}">
                <a16:creationId xmlns:a16="http://schemas.microsoft.com/office/drawing/2014/main" id="{42519C45-A85B-499F-AC90-71D2B5EA0EB4}"/>
              </a:ext>
            </a:extLst>
          </p:cNvPr>
          <p:cNvSpPr>
            <a:spLocks noGrp="1"/>
          </p:cNvSpPr>
          <p:nvPr>
            <p:ph type="body" sz="quarter" idx="15" hasCustomPrompt="1"/>
          </p:nvPr>
        </p:nvSpPr>
        <p:spPr>
          <a:xfrm>
            <a:off x="3657600" y="2840474"/>
            <a:ext cx="4876800" cy="1177053"/>
          </a:xfrm>
          <a:prstGeom prst="rect">
            <a:avLst/>
          </a:prstGeom>
        </p:spPr>
        <p:txBody>
          <a:bodyPr lIns="0" tIns="0" rIns="0" bIns="0">
            <a:spAutoFit/>
          </a:bodyPr>
          <a:lstStyle>
            <a:lvl1pPr marL="7938" indent="-7938" algn="ctr" rtl="0">
              <a:lnSpc>
                <a:spcPct val="110000"/>
              </a:lnSpc>
              <a:spcBef>
                <a:spcPts val="0"/>
              </a:spcBef>
              <a:buNone/>
              <a:tabLst/>
              <a:defRPr sz="3600" b="1" i="0" spc="70" baseline="0">
                <a:solidFill>
                  <a:schemeClr val="bg1"/>
                </a:solidFill>
                <a:latin typeface="Leelawadee" panose="020B0502040204020203" pitchFamily="34" charset="-34"/>
                <a:cs typeface="Leelawadee" panose="020B0502040204020203" pitchFamily="34" charset="-34"/>
              </a:defRPr>
            </a:lvl1pPr>
          </a:lstStyle>
          <a:p>
            <a:pPr lvl="0"/>
            <a:r>
              <a:rPr lang="en-US" noProof="0"/>
              <a:t>PepsiCo Positive</a:t>
            </a:r>
          </a:p>
          <a:p>
            <a:pPr lvl="0"/>
            <a:r>
              <a:rPr lang="en-US" noProof="0"/>
              <a:t>Template</a:t>
            </a:r>
          </a:p>
        </p:txBody>
      </p:sp>
    </p:spTree>
    <p:extLst>
      <p:ext uri="{BB962C8B-B14F-4D97-AF65-F5344CB8AC3E}">
        <p14:creationId xmlns:p14="http://schemas.microsoft.com/office/powerpoint/2010/main" val="411498453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Divider (Pepsi Bottle) ">
    <p:bg>
      <p:bgPr>
        <a:solidFill>
          <a:srgbClr val="0065E5"/>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06BCF3-DDAB-403D-8CA9-261FACF982E8}"/>
              </a:ext>
            </a:extLst>
          </p:cNvPr>
          <p:cNvGraphicFramePr>
            <a:graphicFrameLocks noChangeAspect="1"/>
          </p:cNvGraphicFramePr>
          <p:nvPr userDrawn="1">
            <p:custDataLst>
              <p:tags r:id="rId1"/>
            </p:custDataLst>
            <p:extLst>
              <p:ext uri="{D42A27DB-BD31-4B8C-83A1-F6EECF244321}">
                <p14:modId xmlns:p14="http://schemas.microsoft.com/office/powerpoint/2010/main" val="3817009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7F06BCF3-DDAB-403D-8CA9-261FACF982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45600733-47C5-4699-8308-3A99A2581CA2}"/>
              </a:ext>
            </a:extLst>
          </p:cNvPr>
          <p:cNvSpPr/>
          <p:nvPr userDrawn="1"/>
        </p:nvSpPr>
        <p:spPr>
          <a:xfrm>
            <a:off x="0" y="0"/>
            <a:ext cx="7478038"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pic>
        <p:nvPicPr>
          <p:cNvPr id="9" name="Picture 8" descr="A picture containing grass, outdoor, plant, field&#10;&#10;Description automatically generated">
            <a:extLst>
              <a:ext uri="{FF2B5EF4-FFF2-40B4-BE49-F238E27FC236}">
                <a16:creationId xmlns:a16="http://schemas.microsoft.com/office/drawing/2014/main" id="{9434E705-FDB4-474B-A09A-758A7D0574A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11048" t="13152" r="28090" b="7894"/>
          <a:stretch/>
        </p:blipFill>
        <p:spPr>
          <a:xfrm>
            <a:off x="0" y="388939"/>
            <a:ext cx="7479917" cy="6469062"/>
          </a:xfrm>
          <a:prstGeom prst="rect">
            <a:avLst/>
          </a:prstGeom>
        </p:spPr>
      </p:pic>
      <p:sp>
        <p:nvSpPr>
          <p:cNvPr id="14" name="Text Placeholder 3">
            <a:extLst>
              <a:ext uri="{FF2B5EF4-FFF2-40B4-BE49-F238E27FC236}">
                <a16:creationId xmlns:a16="http://schemas.microsoft.com/office/drawing/2014/main" id="{EC3910F1-D605-4498-A958-35982DB6AA36}"/>
              </a:ext>
            </a:extLst>
          </p:cNvPr>
          <p:cNvSpPr>
            <a:spLocks noGrp="1"/>
          </p:cNvSpPr>
          <p:nvPr>
            <p:ph type="body" sz="quarter" idx="15" hasCustomPrompt="1"/>
          </p:nvPr>
        </p:nvSpPr>
        <p:spPr>
          <a:xfrm>
            <a:off x="8029753" y="512763"/>
            <a:ext cx="3646309" cy="498598"/>
          </a:xfrm>
          <a:prstGeom prst="rect">
            <a:avLst/>
          </a:prstGeom>
        </p:spPr>
        <p:txBody>
          <a:bodyPr wrap="square" lIns="0" tIns="0" rIns="0" bIns="0">
            <a:spAutoFit/>
          </a:bodyPr>
          <a:lstStyle>
            <a:lvl1pPr marL="7938" indent="-7938" rtl="0">
              <a:spcBef>
                <a:spcPts val="0"/>
              </a:spcBef>
              <a:buNone/>
              <a:tabLst/>
              <a:defRPr sz="3600" b="1" i="0">
                <a:solidFill>
                  <a:schemeClr val="bg1"/>
                </a:solidFill>
                <a:latin typeface="Leelawadee" panose="020B0502040204020203" pitchFamily="34" charset="-34"/>
                <a:cs typeface="Leelawadee" panose="020B0502040204020203" pitchFamily="34" charset="-34"/>
              </a:defRPr>
            </a:lvl1pPr>
          </a:lstStyle>
          <a:p>
            <a:pPr lvl="0"/>
            <a:r>
              <a:rPr lang="en-US" noProof="0"/>
              <a:t>Title</a:t>
            </a:r>
          </a:p>
        </p:txBody>
      </p:sp>
      <p:pic>
        <p:nvPicPr>
          <p:cNvPr id="15" name="Picture 14" descr="Logo&#10;&#10;Description automatically generated">
            <a:extLst>
              <a:ext uri="{FF2B5EF4-FFF2-40B4-BE49-F238E27FC236}">
                <a16:creationId xmlns:a16="http://schemas.microsoft.com/office/drawing/2014/main" id="{31900DC2-D885-4DFA-9785-CFFD77135EC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287179" y="5739255"/>
            <a:ext cx="1557599" cy="729808"/>
          </a:xfrm>
          <a:prstGeom prst="rect">
            <a:avLst/>
          </a:prstGeom>
        </p:spPr>
      </p:pic>
      <p:sp>
        <p:nvSpPr>
          <p:cNvPr id="16" name="Text Placeholder 3">
            <a:extLst>
              <a:ext uri="{FF2B5EF4-FFF2-40B4-BE49-F238E27FC236}">
                <a16:creationId xmlns:a16="http://schemas.microsoft.com/office/drawing/2014/main" id="{5920EABA-9D8D-40A1-916A-855DEAACBCA3}"/>
              </a:ext>
            </a:extLst>
          </p:cNvPr>
          <p:cNvSpPr>
            <a:spLocks noGrp="1"/>
          </p:cNvSpPr>
          <p:nvPr>
            <p:ph type="body" sz="quarter" idx="16" hasCustomPrompt="1"/>
          </p:nvPr>
        </p:nvSpPr>
        <p:spPr>
          <a:xfrm>
            <a:off x="8029753" y="1835306"/>
            <a:ext cx="3646309" cy="276999"/>
          </a:xfrm>
          <a:prstGeom prst="rect">
            <a:avLst/>
          </a:prstGeom>
        </p:spPr>
        <p:txBody>
          <a:bodyPr wrap="square" lIns="0" tIns="0" rIns="0" bIns="0">
            <a:spAutoFit/>
          </a:bodyPr>
          <a:lstStyle>
            <a:lvl1pPr marL="7938" indent="-7938" algn="l" rtl="0">
              <a:spcBef>
                <a:spcPts val="0"/>
              </a:spcBef>
              <a:buNone/>
              <a:tabLst/>
              <a:defRPr sz="2000" b="0" i="0">
                <a:solidFill>
                  <a:schemeClr val="bg1"/>
                </a:solidFill>
                <a:latin typeface="Leelawadee" panose="020B0502040204020203" pitchFamily="34" charset="-34"/>
                <a:cs typeface="Leelawadee" panose="020B0502040204020203" pitchFamily="34" charset="-34"/>
              </a:defRPr>
            </a:lvl1pPr>
          </a:lstStyle>
          <a:p>
            <a:pPr lvl="0"/>
            <a:r>
              <a:rPr lang="en-US" noProof="0"/>
              <a:t>Subtitle</a:t>
            </a:r>
          </a:p>
        </p:txBody>
      </p:sp>
      <p:sp>
        <p:nvSpPr>
          <p:cNvPr id="13" name="Freeform: Shape 12">
            <a:extLst>
              <a:ext uri="{FF2B5EF4-FFF2-40B4-BE49-F238E27FC236}">
                <a16:creationId xmlns:a16="http://schemas.microsoft.com/office/drawing/2014/main" id="{0ABA205B-9E12-44B1-A996-D8A93D84D6DC}"/>
              </a:ext>
            </a:extLst>
          </p:cNvPr>
          <p:cNvSpPr/>
          <p:nvPr userDrawn="1"/>
        </p:nvSpPr>
        <p:spPr>
          <a:xfrm rot="10800000" flipH="1">
            <a:off x="-1881" y="1650380"/>
            <a:ext cx="5207620" cy="5207620"/>
          </a:xfrm>
          <a:custGeom>
            <a:avLst/>
            <a:gdLst>
              <a:gd name="connsiteX0" fmla="*/ 0 w 2298700"/>
              <a:gd name="connsiteY0" fmla="*/ 0 h 2298700"/>
              <a:gd name="connsiteX1" fmla="*/ 2298700 w 2298700"/>
              <a:gd name="connsiteY1" fmla="*/ 0 h 2298700"/>
              <a:gd name="connsiteX2" fmla="*/ 0 w 2298700"/>
              <a:gd name="connsiteY2" fmla="*/ 2298700 h 2298700"/>
              <a:gd name="connsiteX3" fmla="*/ 0 w 2298700"/>
              <a:gd name="connsiteY3" fmla="*/ 0 h 2298700"/>
            </a:gdLst>
            <a:ahLst/>
            <a:cxnLst>
              <a:cxn ang="0">
                <a:pos x="connsiteX0" y="connsiteY0"/>
              </a:cxn>
              <a:cxn ang="0">
                <a:pos x="connsiteX1" y="connsiteY1"/>
              </a:cxn>
              <a:cxn ang="0">
                <a:pos x="connsiteX2" y="connsiteY2"/>
              </a:cxn>
              <a:cxn ang="0">
                <a:pos x="connsiteX3" y="connsiteY3"/>
              </a:cxn>
            </a:cxnLst>
            <a:rect l="l" t="t" r="r" b="b"/>
            <a:pathLst>
              <a:path w="2298700" h="2298700">
                <a:moveTo>
                  <a:pt x="0" y="0"/>
                </a:moveTo>
                <a:lnTo>
                  <a:pt x="2298700" y="0"/>
                </a:lnTo>
                <a:cubicBezTo>
                  <a:pt x="1029163" y="0"/>
                  <a:pt x="0" y="1029163"/>
                  <a:pt x="0" y="2298700"/>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pic>
        <p:nvPicPr>
          <p:cNvPr id="5" name="Picture 4">
            <a:extLst>
              <a:ext uri="{FF2B5EF4-FFF2-40B4-BE49-F238E27FC236}">
                <a16:creationId xmlns:a16="http://schemas.microsoft.com/office/drawing/2014/main" id="{91BF3C2C-A662-4830-A417-279B0C469925}"/>
              </a:ext>
            </a:extLst>
          </p:cNvPr>
          <p:cNvPicPr>
            <a:picLocks noChangeAspect="1"/>
          </p:cNvPicPr>
          <p:nvPr userDrawn="1"/>
        </p:nvPicPr>
        <p:blipFill rotWithShape="1">
          <a:blip r:embed="rId7">
            <a:extLst>
              <a:ext uri="{28A0092B-C50C-407E-A947-70E740481C1C}">
                <a14:useLocalDpi xmlns:a14="http://schemas.microsoft.com/office/drawing/2010/main"/>
              </a:ext>
            </a:extLst>
          </a:blip>
          <a:srcRect l="28970" t="34147" r="15168" b="-1"/>
          <a:stretch/>
        </p:blipFill>
        <p:spPr>
          <a:xfrm>
            <a:off x="5595679" y="2419815"/>
            <a:ext cx="1882360" cy="4438185"/>
          </a:xfrm>
          <a:prstGeom prst="rect">
            <a:avLst/>
          </a:prstGeom>
        </p:spPr>
      </p:pic>
      <p:grpSp>
        <p:nvGrpSpPr>
          <p:cNvPr id="23" name="Group 22">
            <a:extLst>
              <a:ext uri="{FF2B5EF4-FFF2-40B4-BE49-F238E27FC236}">
                <a16:creationId xmlns:a16="http://schemas.microsoft.com/office/drawing/2014/main" id="{4B0CE4D4-D011-41C3-A5DB-85600DC4DDBE}"/>
              </a:ext>
            </a:extLst>
          </p:cNvPr>
          <p:cNvGrpSpPr/>
          <p:nvPr userDrawn="1"/>
        </p:nvGrpSpPr>
        <p:grpSpPr>
          <a:xfrm>
            <a:off x="815290" y="7243785"/>
            <a:ext cx="10561420" cy="4008734"/>
            <a:chOff x="300038" y="1533525"/>
            <a:chExt cx="10561420" cy="4008734"/>
          </a:xfrm>
        </p:grpSpPr>
        <mc:AlternateContent xmlns:mc="http://schemas.openxmlformats.org/markup-compatibility/2006" xmlns:pslz="http://schemas.microsoft.com/office/powerpoint/2016/slidezoom">
          <mc:Choice Requires="pslz">
            <p:graphicFrame>
              <p:nvGraphicFramePr>
                <p:cNvPr id="24" name="Slide Zoom 23">
                  <a:extLst>
                    <a:ext uri="{FF2B5EF4-FFF2-40B4-BE49-F238E27FC236}">
                      <a16:creationId xmlns:a16="http://schemas.microsoft.com/office/drawing/2014/main" id="{E3581796-FA97-44B4-A802-166D1981C238}"/>
                    </a:ext>
                  </a:extLst>
                </p:cNvPr>
                <p:cNvGraphicFramePr>
                  <a:graphicFrameLocks noChangeAspect="1"/>
                </p:cNvGraphicFramePr>
                <p:nvPr>
                  <p:extLst>
                    <p:ext uri="{D42A27DB-BD31-4B8C-83A1-F6EECF244321}">
                      <p14:modId xmlns:p14="http://schemas.microsoft.com/office/powerpoint/2010/main" val="381074920"/>
                    </p:ext>
                  </p:extLst>
                </p:nvPr>
              </p:nvGraphicFramePr>
              <p:xfrm>
                <a:off x="1941977" y="1533525"/>
                <a:ext cx="774344" cy="435569"/>
              </p:xfrm>
              <a:graphic>
                <a:graphicData uri="http://schemas.microsoft.com/office/powerpoint/2016/slidezoom">
                  <pslz:sldZm>
                    <pslz:sldZmObj sldId="2146848283" cId="4200400830">
                      <pslz:zmPr id="{0894AE9B-9B8E-4C31-83A4-2E7FB70817C4}" transitionDur="1000">
                        <p166:blipFill xmlns:p166="http://schemas.microsoft.com/office/powerpoint/2016/6/main">
                          <a:blip r:embed="rId8"/>
                          <a:stretch>
                            <a:fillRect/>
                          </a:stretch>
                        </p166:blipFill>
                        <p166:spPr xmlns:p166="http://schemas.microsoft.com/office/powerpoint/2016/6/main">
                          <a:xfrm>
                            <a:off x="0" y="0"/>
                            <a:ext cx="774344" cy="435569"/>
                          </a:xfrm>
                          <a:prstGeom prst="rect">
                            <a:avLst/>
                          </a:prstGeom>
                          <a:ln w="2222">
                            <a:solidFill>
                              <a:prstClr val="ltGray"/>
                            </a:solidFill>
                          </a:ln>
                        </p166:spPr>
                      </pslz:zmPr>
                    </pslz:sldZmObj>
                  </pslz:sldZm>
                </a:graphicData>
              </a:graphic>
            </p:graphicFrame>
          </mc:Choice>
          <mc:Fallback xmlns="">
            <p:pic>
              <p:nvPicPr>
                <p:cNvPr id="24" name="Slide Zoom 23">
                  <a:extLst>
                    <a:ext uri="{FF2B5EF4-FFF2-40B4-BE49-F238E27FC236}">
                      <a16:creationId xmlns:a16="http://schemas.microsoft.com/office/drawing/2014/main" id="{E3581796-FA97-44B4-A802-166D1981C238}"/>
                    </a:ext>
                  </a:extLst>
                </p:cNvPr>
                <p:cNvPicPr>
                  <a:picLocks noGrp="1" noRot="1" noChangeAspect="1" noMove="1" noResize="1" noEditPoints="1" noAdjustHandles="1" noChangeArrowheads="1" noChangeShapeType="1"/>
                </p:cNvPicPr>
                <p:nvPr/>
              </p:nvPicPr>
              <p:blipFill>
                <a:blip r:embed="rId9"/>
                <a:stretch>
                  <a:fillRect/>
                </a:stretch>
              </p:blipFill>
              <p:spPr>
                <a:xfrm>
                  <a:off x="2457229" y="7243785"/>
                  <a:ext cx="774344" cy="435569"/>
                </a:xfrm>
                <a:prstGeom prst="rect">
                  <a:avLst/>
                </a:prstGeom>
                <a:ln w="2222">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25" name="Slide Zoom 24">
                  <a:extLst>
                    <a:ext uri="{FF2B5EF4-FFF2-40B4-BE49-F238E27FC236}">
                      <a16:creationId xmlns:a16="http://schemas.microsoft.com/office/drawing/2014/main" id="{7A040608-7F0D-424E-A5F9-A1A6E215E15E}"/>
                    </a:ext>
                  </a:extLst>
                </p:cNvPr>
                <p:cNvGraphicFramePr>
                  <a:graphicFrameLocks noChangeAspect="1"/>
                </p:cNvGraphicFramePr>
                <p:nvPr>
                  <p:extLst>
                    <p:ext uri="{D42A27DB-BD31-4B8C-83A1-F6EECF244321}">
                      <p14:modId xmlns:p14="http://schemas.microsoft.com/office/powerpoint/2010/main" val="1559134128"/>
                    </p:ext>
                  </p:extLst>
                </p:nvPr>
              </p:nvGraphicFramePr>
              <p:xfrm>
                <a:off x="1941976" y="2087214"/>
                <a:ext cx="774344" cy="435569"/>
              </p:xfrm>
              <a:graphic>
                <a:graphicData uri="http://schemas.microsoft.com/office/powerpoint/2016/slidezoom">
                  <pslz:sldZm>
                    <pslz:sldZmObj sldId="2147470451" cId="221702242">
                      <pslz:zmPr id="{79A121F9-F9B7-4589-8254-84FFB1B349B6}" returnToParent="0" transitionDur="1000">
                        <p166:blipFill xmlns:p166="http://schemas.microsoft.com/office/powerpoint/2016/6/main">
                          <a:blip r:embed="rId10"/>
                          <a:stretch>
                            <a:fillRect/>
                          </a:stretch>
                        </p166:blipFill>
                        <p166:spPr xmlns:p166="http://schemas.microsoft.com/office/powerpoint/2016/6/main">
                          <a:xfrm>
                            <a:off x="0" y="0"/>
                            <a:ext cx="774344" cy="435569"/>
                          </a:xfrm>
                          <a:prstGeom prst="rect">
                            <a:avLst/>
                          </a:prstGeom>
                          <a:ln w="2222">
                            <a:solidFill>
                              <a:prstClr val="ltGray"/>
                            </a:solidFill>
                          </a:ln>
                        </p166:spPr>
                      </pslz:zmPr>
                    </pslz:sldZmObj>
                  </pslz:sldZm>
                </a:graphicData>
              </a:graphic>
            </p:graphicFrame>
          </mc:Choice>
          <mc:Fallback xmlns="">
            <p:pic>
              <p:nvPicPr>
                <p:cNvPr id="25" name="Slide Zoom 24">
                  <a:extLst>
                    <a:ext uri="{FF2B5EF4-FFF2-40B4-BE49-F238E27FC236}">
                      <a16:creationId xmlns:a16="http://schemas.microsoft.com/office/drawing/2014/main" id="{7A040608-7F0D-424E-A5F9-A1A6E215E15E}"/>
                    </a:ext>
                  </a:extLst>
                </p:cNvPr>
                <p:cNvPicPr>
                  <a:picLocks noGrp="1" noRot="1" noChangeAspect="1" noMove="1" noResize="1" noEditPoints="1" noAdjustHandles="1" noChangeArrowheads="1" noChangeShapeType="1"/>
                </p:cNvPicPr>
                <p:nvPr/>
              </p:nvPicPr>
              <p:blipFill>
                <a:blip r:embed="rId9"/>
                <a:stretch>
                  <a:fillRect/>
                </a:stretch>
              </p:blipFill>
              <p:spPr>
                <a:xfrm>
                  <a:off x="2457228" y="7797474"/>
                  <a:ext cx="774344" cy="435569"/>
                </a:xfrm>
                <a:prstGeom prst="rect">
                  <a:avLst/>
                </a:prstGeom>
                <a:ln w="2222">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26" name="Slide Zoom 25">
                  <a:extLst>
                    <a:ext uri="{FF2B5EF4-FFF2-40B4-BE49-F238E27FC236}">
                      <a16:creationId xmlns:a16="http://schemas.microsoft.com/office/drawing/2014/main" id="{CFD0ADE4-C544-4704-A68D-95B47E24F60A}"/>
                    </a:ext>
                  </a:extLst>
                </p:cNvPr>
                <p:cNvGraphicFramePr>
                  <a:graphicFrameLocks noChangeAspect="1"/>
                </p:cNvGraphicFramePr>
                <p:nvPr>
                  <p:extLst>
                    <p:ext uri="{D42A27DB-BD31-4B8C-83A1-F6EECF244321}">
                      <p14:modId xmlns:p14="http://schemas.microsoft.com/office/powerpoint/2010/main" val="2395075889"/>
                    </p:ext>
                  </p:extLst>
                </p:nvPr>
              </p:nvGraphicFramePr>
              <p:xfrm>
                <a:off x="2868759" y="2624497"/>
                <a:ext cx="774344" cy="435569"/>
              </p:xfrm>
              <a:graphic>
                <a:graphicData uri="http://schemas.microsoft.com/office/powerpoint/2016/slidezoom">
                  <pslz:sldZm>
                    <pslz:sldZmObj sldId="2147470604" cId="4214287328">
                      <pslz:zmPr id="{8B9D1B15-37E3-4CED-BDAC-FD3DB59F82FA}" returnToParent="0" transitionDur="1000">
                        <p166:blipFill xmlns:p166="http://schemas.microsoft.com/office/powerpoint/2016/6/main">
                          <a:blip r:embed="rId10"/>
                          <a:stretch>
                            <a:fillRect/>
                          </a:stretch>
                        </p166:blipFill>
                        <p166:spPr xmlns:p166="http://schemas.microsoft.com/office/powerpoint/2016/6/main">
                          <a:xfrm>
                            <a:off x="0" y="0"/>
                            <a:ext cx="774344" cy="435569"/>
                          </a:xfrm>
                          <a:prstGeom prst="rect">
                            <a:avLst/>
                          </a:prstGeom>
                          <a:ln w="2222">
                            <a:solidFill>
                              <a:prstClr val="ltGray"/>
                            </a:solidFill>
                          </a:ln>
                        </p166:spPr>
                      </pslz:zmPr>
                    </pslz:sldZmObj>
                  </pslz:sldZm>
                </a:graphicData>
              </a:graphic>
            </p:graphicFrame>
          </mc:Choice>
          <mc:Fallback xmlns="">
            <p:pic>
              <p:nvPicPr>
                <p:cNvPr id="26" name="Slide Zoom 25">
                  <a:extLst>
                    <a:ext uri="{FF2B5EF4-FFF2-40B4-BE49-F238E27FC236}">
                      <a16:creationId xmlns:a16="http://schemas.microsoft.com/office/drawing/2014/main" id="{CFD0ADE4-C544-4704-A68D-95B47E24F60A}"/>
                    </a:ext>
                  </a:extLst>
                </p:cNvPr>
                <p:cNvPicPr>
                  <a:picLocks noGrp="1" noRot="1" noChangeAspect="1" noMove="1" noResize="1" noEditPoints="1" noAdjustHandles="1" noChangeArrowheads="1" noChangeShapeType="1"/>
                </p:cNvPicPr>
                <p:nvPr/>
              </p:nvPicPr>
              <p:blipFill>
                <a:blip r:embed="rId9"/>
                <a:stretch>
                  <a:fillRect/>
                </a:stretch>
              </p:blipFill>
              <p:spPr>
                <a:xfrm>
                  <a:off x="3384011" y="8334757"/>
                  <a:ext cx="774344" cy="435569"/>
                </a:xfrm>
                <a:prstGeom prst="rect">
                  <a:avLst/>
                </a:prstGeom>
                <a:ln w="2222">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27" name="Slide Zoom 26">
                  <a:extLst>
                    <a:ext uri="{FF2B5EF4-FFF2-40B4-BE49-F238E27FC236}">
                      <a16:creationId xmlns:a16="http://schemas.microsoft.com/office/drawing/2014/main" id="{587085B4-EA51-4786-B9AD-A5BEF7B42976}"/>
                    </a:ext>
                  </a:extLst>
                </p:cNvPr>
                <p:cNvGraphicFramePr>
                  <a:graphicFrameLocks noChangeAspect="1"/>
                </p:cNvGraphicFramePr>
                <p:nvPr>
                  <p:extLst>
                    <p:ext uri="{D42A27DB-BD31-4B8C-83A1-F6EECF244321}">
                      <p14:modId xmlns:p14="http://schemas.microsoft.com/office/powerpoint/2010/main" val="1152830473"/>
                    </p:ext>
                  </p:extLst>
                </p:nvPr>
              </p:nvGraphicFramePr>
              <p:xfrm>
                <a:off x="3853389" y="2625341"/>
                <a:ext cx="774344" cy="435569"/>
              </p:xfrm>
              <a:graphic>
                <a:graphicData uri="http://schemas.microsoft.com/office/powerpoint/2016/slidezoom">
                  <pslz:sldZm>
                    <pslz:sldZmObj sldId="2147470586" cId="512482825">
                      <pslz:zmPr id="{0ADD2454-2617-44E1-A75D-B8F0FF337FA3}" returnToParent="0" transitionDur="1000">
                        <p166:blipFill xmlns:p166="http://schemas.microsoft.com/office/powerpoint/2016/6/main">
                          <a:blip r:embed="rId10"/>
                          <a:stretch>
                            <a:fillRect/>
                          </a:stretch>
                        </p166:blipFill>
                        <p166:spPr xmlns:p166="http://schemas.microsoft.com/office/powerpoint/2016/6/main">
                          <a:xfrm>
                            <a:off x="0" y="0"/>
                            <a:ext cx="774344" cy="435569"/>
                          </a:xfrm>
                          <a:prstGeom prst="rect">
                            <a:avLst/>
                          </a:prstGeom>
                        </p166:spPr>
                      </pslz:zmPr>
                    </pslz:sldZmObj>
                  </pslz:sldZm>
                </a:graphicData>
              </a:graphic>
            </p:graphicFrame>
          </mc:Choice>
          <mc:Fallback xmlns="">
            <p:pic>
              <p:nvPicPr>
                <p:cNvPr id="27" name="Slide Zoom 26">
                  <a:extLst>
                    <a:ext uri="{FF2B5EF4-FFF2-40B4-BE49-F238E27FC236}">
                      <a16:creationId xmlns:a16="http://schemas.microsoft.com/office/drawing/2014/main" id="{587085B4-EA51-4786-B9AD-A5BEF7B42976}"/>
                    </a:ext>
                  </a:extLst>
                </p:cNvPr>
                <p:cNvPicPr>
                  <a:picLocks noGrp="1" noRot="1" noChangeAspect="1" noMove="1" noResize="1" noEditPoints="1" noAdjustHandles="1" noChangeArrowheads="1" noChangeShapeType="1"/>
                </p:cNvPicPr>
                <p:nvPr/>
              </p:nvPicPr>
              <p:blipFill>
                <a:blip r:embed="rId9"/>
                <a:stretch>
                  <a:fillRect/>
                </a:stretch>
              </p:blipFill>
              <p:spPr>
                <a:xfrm>
                  <a:off x="4368641" y="8335601"/>
                  <a:ext cx="774344" cy="435569"/>
                </a:xfrm>
                <a:prstGeom prst="rect">
                  <a:avLst/>
                </a:prstGeom>
              </p:spPr>
            </p:pic>
          </mc:Fallback>
        </mc:AlternateContent>
        <mc:AlternateContent xmlns:mc="http://schemas.openxmlformats.org/markup-compatibility/2006" xmlns:pslz="http://schemas.microsoft.com/office/powerpoint/2016/slidezoom">
          <mc:Choice Requires="pslz">
            <p:graphicFrame>
              <p:nvGraphicFramePr>
                <p:cNvPr id="28" name="Slide Zoom 27">
                  <a:extLst>
                    <a:ext uri="{FF2B5EF4-FFF2-40B4-BE49-F238E27FC236}">
                      <a16:creationId xmlns:a16="http://schemas.microsoft.com/office/drawing/2014/main" id="{CF12A53C-129B-4452-9F78-F5C405E47710}"/>
                    </a:ext>
                  </a:extLst>
                </p:cNvPr>
                <p:cNvGraphicFramePr>
                  <a:graphicFrameLocks noChangeAspect="1"/>
                </p:cNvGraphicFramePr>
                <p:nvPr>
                  <p:extLst>
                    <p:ext uri="{D42A27DB-BD31-4B8C-83A1-F6EECF244321}">
                      <p14:modId xmlns:p14="http://schemas.microsoft.com/office/powerpoint/2010/main" val="2592031034"/>
                    </p:ext>
                  </p:extLst>
                </p:nvPr>
              </p:nvGraphicFramePr>
              <p:xfrm>
                <a:off x="4712918" y="2625947"/>
                <a:ext cx="774344" cy="435569"/>
              </p:xfrm>
              <a:graphic>
                <a:graphicData uri="http://schemas.microsoft.com/office/powerpoint/2016/slidezoom">
                  <pslz:sldZm>
                    <pslz:sldZmObj sldId="2147470587" cId="1080661050">
                      <pslz:zmPr id="{29292435-0BF5-41EE-991F-67BC7FDD7BDE}" returnToParent="0" transitionDur="1000">
                        <p166:blipFill xmlns:p166="http://schemas.microsoft.com/office/powerpoint/2016/6/main">
                          <a:blip r:embed="rId10"/>
                          <a:stretch>
                            <a:fillRect/>
                          </a:stretch>
                        </p166:blipFill>
                        <p166:spPr xmlns:p166="http://schemas.microsoft.com/office/powerpoint/2016/6/main">
                          <a:xfrm>
                            <a:off x="0" y="0"/>
                            <a:ext cx="774344" cy="435569"/>
                          </a:xfrm>
                          <a:prstGeom prst="rect">
                            <a:avLst/>
                          </a:prstGeom>
                        </p166:spPr>
                      </pslz:zmPr>
                    </pslz:sldZmObj>
                  </pslz:sldZm>
                </a:graphicData>
              </a:graphic>
            </p:graphicFrame>
          </mc:Choice>
          <mc:Fallback xmlns="">
            <p:pic>
              <p:nvPicPr>
                <p:cNvPr id="28" name="Slide Zoom 27">
                  <a:extLst>
                    <a:ext uri="{FF2B5EF4-FFF2-40B4-BE49-F238E27FC236}">
                      <a16:creationId xmlns:a16="http://schemas.microsoft.com/office/drawing/2014/main" id="{CF12A53C-129B-4452-9F78-F5C405E47710}"/>
                    </a:ext>
                  </a:extLst>
                </p:cNvPr>
                <p:cNvPicPr>
                  <a:picLocks noGrp="1" noRot="1" noChangeAspect="1" noMove="1" noResize="1" noEditPoints="1" noAdjustHandles="1" noChangeArrowheads="1" noChangeShapeType="1"/>
                </p:cNvPicPr>
                <p:nvPr/>
              </p:nvPicPr>
              <p:blipFill>
                <a:blip r:embed="rId9"/>
                <a:stretch>
                  <a:fillRect/>
                </a:stretch>
              </p:blipFill>
              <p:spPr>
                <a:xfrm>
                  <a:off x="5228170" y="8336207"/>
                  <a:ext cx="774344" cy="435569"/>
                </a:xfrm>
                <a:prstGeom prst="rect">
                  <a:avLst/>
                </a:prstGeom>
              </p:spPr>
            </p:pic>
          </mc:Fallback>
        </mc:AlternateContent>
        <mc:AlternateContent xmlns:mc="http://schemas.openxmlformats.org/markup-compatibility/2006" xmlns:pslz="http://schemas.microsoft.com/office/powerpoint/2016/slidezoom">
          <mc:Choice Requires="pslz">
            <p:graphicFrame>
              <p:nvGraphicFramePr>
                <p:cNvPr id="29" name="Slide Zoom 28">
                  <a:extLst>
                    <a:ext uri="{FF2B5EF4-FFF2-40B4-BE49-F238E27FC236}">
                      <a16:creationId xmlns:a16="http://schemas.microsoft.com/office/drawing/2014/main" id="{94C604FE-7D34-4BFF-9465-B5E709D9F9CE}"/>
                    </a:ext>
                  </a:extLst>
                </p:cNvPr>
                <p:cNvGraphicFramePr>
                  <a:graphicFrameLocks noChangeAspect="1"/>
                </p:cNvGraphicFramePr>
                <p:nvPr>
                  <p:extLst>
                    <p:ext uri="{D42A27DB-BD31-4B8C-83A1-F6EECF244321}">
                      <p14:modId xmlns:p14="http://schemas.microsoft.com/office/powerpoint/2010/main" val="555977736"/>
                    </p:ext>
                  </p:extLst>
                </p:nvPr>
              </p:nvGraphicFramePr>
              <p:xfrm>
                <a:off x="5572447" y="2618704"/>
                <a:ext cx="774344" cy="435569"/>
              </p:xfrm>
              <a:graphic>
                <a:graphicData uri="http://schemas.microsoft.com/office/powerpoint/2016/slidezoom">
                  <pslz:sldZm>
                    <pslz:sldZmObj sldId="2147470588" cId="1661454726">
                      <pslz:zmPr id="{957F4654-131C-452F-B799-C4F3122BE8D9}" returnToParent="0" transitionDur="1000">
                        <p166:blipFill xmlns:p166="http://schemas.microsoft.com/office/powerpoint/2016/6/main">
                          <a:blip r:embed="rId10"/>
                          <a:stretch>
                            <a:fillRect/>
                          </a:stretch>
                        </p166:blipFill>
                        <p166:spPr xmlns:p166="http://schemas.microsoft.com/office/powerpoint/2016/6/main">
                          <a:xfrm>
                            <a:off x="0" y="0"/>
                            <a:ext cx="774344" cy="435569"/>
                          </a:xfrm>
                          <a:prstGeom prst="rect">
                            <a:avLst/>
                          </a:prstGeom>
                        </p166:spPr>
                      </pslz:zmPr>
                    </pslz:sldZmObj>
                  </pslz:sldZm>
                </a:graphicData>
              </a:graphic>
            </p:graphicFrame>
          </mc:Choice>
          <mc:Fallback xmlns="">
            <p:pic>
              <p:nvPicPr>
                <p:cNvPr id="29" name="Slide Zoom 28">
                  <a:extLst>
                    <a:ext uri="{FF2B5EF4-FFF2-40B4-BE49-F238E27FC236}">
                      <a16:creationId xmlns:a16="http://schemas.microsoft.com/office/drawing/2014/main" id="{94C604FE-7D34-4BFF-9465-B5E709D9F9CE}"/>
                    </a:ext>
                  </a:extLst>
                </p:cNvPr>
                <p:cNvPicPr>
                  <a:picLocks noGrp="1" noRot="1" noChangeAspect="1" noMove="1" noResize="1" noEditPoints="1" noAdjustHandles="1" noChangeArrowheads="1" noChangeShapeType="1"/>
                </p:cNvPicPr>
                <p:nvPr/>
              </p:nvPicPr>
              <p:blipFill>
                <a:blip r:embed="rId9"/>
                <a:stretch>
                  <a:fillRect/>
                </a:stretch>
              </p:blipFill>
              <p:spPr>
                <a:xfrm>
                  <a:off x="6087699" y="8328964"/>
                  <a:ext cx="774344" cy="435569"/>
                </a:xfrm>
                <a:prstGeom prst="rect">
                  <a:avLst/>
                </a:prstGeom>
              </p:spPr>
            </p:pic>
          </mc:Fallback>
        </mc:AlternateContent>
        <mc:AlternateContent xmlns:mc="http://schemas.openxmlformats.org/markup-compatibility/2006" xmlns:pslz="http://schemas.microsoft.com/office/powerpoint/2016/slidezoom">
          <mc:Choice Requires="pslz">
            <p:graphicFrame>
              <p:nvGraphicFramePr>
                <p:cNvPr id="30" name="Slide Zoom 29">
                  <a:extLst>
                    <a:ext uri="{FF2B5EF4-FFF2-40B4-BE49-F238E27FC236}">
                      <a16:creationId xmlns:a16="http://schemas.microsoft.com/office/drawing/2014/main" id="{0EB54D74-56E0-43EE-AA23-5E2F276A3851}"/>
                    </a:ext>
                  </a:extLst>
                </p:cNvPr>
                <p:cNvGraphicFramePr>
                  <a:graphicFrameLocks noChangeAspect="1"/>
                </p:cNvGraphicFramePr>
                <p:nvPr>
                  <p:extLst>
                    <p:ext uri="{D42A27DB-BD31-4B8C-83A1-F6EECF244321}">
                      <p14:modId xmlns:p14="http://schemas.microsoft.com/office/powerpoint/2010/main" val="3680768022"/>
                    </p:ext>
                  </p:extLst>
                </p:nvPr>
              </p:nvGraphicFramePr>
              <p:xfrm>
                <a:off x="6465155" y="2608296"/>
                <a:ext cx="774344" cy="435569"/>
              </p:xfrm>
              <a:graphic>
                <a:graphicData uri="http://schemas.microsoft.com/office/powerpoint/2016/slidezoom">
                  <pslz:sldZm>
                    <pslz:sldZmObj sldId="2147470286" cId="4240409654">
                      <pslz:zmPr id="{9ED75409-BDBC-4AAD-A2A3-C242F26E38E9}" returnToParent="0" transitionDur="1000">
                        <p166:blipFill xmlns:p166="http://schemas.microsoft.com/office/powerpoint/2016/6/main">
                          <a:blip r:embed="rId10"/>
                          <a:stretch>
                            <a:fillRect/>
                          </a:stretch>
                        </p166:blipFill>
                        <p166:spPr xmlns:p166="http://schemas.microsoft.com/office/powerpoint/2016/6/main">
                          <a:xfrm>
                            <a:off x="0" y="0"/>
                            <a:ext cx="774344" cy="435569"/>
                          </a:xfrm>
                          <a:prstGeom prst="rect">
                            <a:avLst/>
                          </a:prstGeom>
                          <a:ln w="2222">
                            <a:solidFill>
                              <a:prstClr val="ltGray"/>
                            </a:solidFill>
                          </a:ln>
                        </p166:spPr>
                      </pslz:zmPr>
                    </pslz:sldZmObj>
                  </pslz:sldZm>
                </a:graphicData>
              </a:graphic>
            </p:graphicFrame>
          </mc:Choice>
          <mc:Fallback xmlns="">
            <p:pic>
              <p:nvPicPr>
                <p:cNvPr id="30" name="Slide Zoom 29">
                  <a:extLst>
                    <a:ext uri="{FF2B5EF4-FFF2-40B4-BE49-F238E27FC236}">
                      <a16:creationId xmlns:a16="http://schemas.microsoft.com/office/drawing/2014/main" id="{0EB54D74-56E0-43EE-AA23-5E2F276A3851}"/>
                    </a:ext>
                  </a:extLst>
                </p:cNvPr>
                <p:cNvPicPr>
                  <a:picLocks noGrp="1" noRot="1" noChangeAspect="1" noMove="1" noResize="1" noEditPoints="1" noAdjustHandles="1" noChangeArrowheads="1" noChangeShapeType="1"/>
                </p:cNvPicPr>
                <p:nvPr/>
              </p:nvPicPr>
              <p:blipFill>
                <a:blip r:embed="rId9"/>
                <a:stretch>
                  <a:fillRect/>
                </a:stretch>
              </p:blipFill>
              <p:spPr>
                <a:xfrm>
                  <a:off x="6980407" y="8318556"/>
                  <a:ext cx="774344" cy="435569"/>
                </a:xfrm>
                <a:prstGeom prst="rect">
                  <a:avLst/>
                </a:prstGeom>
                <a:ln w="2222">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31" name="Slide Zoom 30">
                  <a:extLst>
                    <a:ext uri="{FF2B5EF4-FFF2-40B4-BE49-F238E27FC236}">
                      <a16:creationId xmlns:a16="http://schemas.microsoft.com/office/drawing/2014/main" id="{E88C98BB-C948-47CD-ACFC-AE5E13AE00B4}"/>
                    </a:ext>
                  </a:extLst>
                </p:cNvPr>
                <p:cNvGraphicFramePr>
                  <a:graphicFrameLocks noChangeAspect="1"/>
                </p:cNvGraphicFramePr>
                <p:nvPr>
                  <p:extLst>
                    <p:ext uri="{D42A27DB-BD31-4B8C-83A1-F6EECF244321}">
                      <p14:modId xmlns:p14="http://schemas.microsoft.com/office/powerpoint/2010/main" val="4012894930"/>
                    </p:ext>
                  </p:extLst>
                </p:nvPr>
              </p:nvGraphicFramePr>
              <p:xfrm>
                <a:off x="7394367" y="2601454"/>
                <a:ext cx="774344" cy="435569"/>
              </p:xfrm>
              <a:graphic>
                <a:graphicData uri="http://schemas.microsoft.com/office/powerpoint/2016/slidezoom">
                  <pslz:sldZm>
                    <pslz:sldZmObj sldId="2147470364" cId="2538522832">
                      <pslz:zmPr id="{81E34B1F-4A81-4F07-94AE-B1355868311A}" returnToParent="0" transitionDur="1000">
                        <p166:blipFill xmlns:p166="http://schemas.microsoft.com/office/powerpoint/2016/6/main">
                          <a:blip r:embed="rId8"/>
                          <a:stretch>
                            <a:fillRect/>
                          </a:stretch>
                        </p166:blipFill>
                        <p166:spPr xmlns:p166="http://schemas.microsoft.com/office/powerpoint/2016/6/main">
                          <a:xfrm>
                            <a:off x="0" y="0"/>
                            <a:ext cx="774344" cy="435569"/>
                          </a:xfrm>
                          <a:prstGeom prst="rect">
                            <a:avLst/>
                          </a:prstGeom>
                        </p166:spPr>
                      </pslz:zmPr>
                    </pslz:sldZmObj>
                  </pslz:sldZm>
                </a:graphicData>
              </a:graphic>
            </p:graphicFrame>
          </mc:Choice>
          <mc:Fallback xmlns="">
            <p:pic>
              <p:nvPicPr>
                <p:cNvPr id="31" name="Slide Zoom 30">
                  <a:extLst>
                    <a:ext uri="{FF2B5EF4-FFF2-40B4-BE49-F238E27FC236}">
                      <a16:creationId xmlns:a16="http://schemas.microsoft.com/office/drawing/2014/main" id="{E88C98BB-C948-47CD-ACFC-AE5E13AE00B4}"/>
                    </a:ext>
                  </a:extLst>
                </p:cNvPr>
                <p:cNvPicPr>
                  <a:picLocks noGrp="1" noRot="1" noChangeAspect="1" noMove="1" noResize="1" noEditPoints="1" noAdjustHandles="1" noChangeArrowheads="1" noChangeShapeType="1"/>
                </p:cNvPicPr>
                <p:nvPr/>
              </p:nvPicPr>
              <p:blipFill>
                <a:blip r:embed="rId9"/>
                <a:stretch>
                  <a:fillRect/>
                </a:stretch>
              </p:blipFill>
              <p:spPr>
                <a:xfrm>
                  <a:off x="7909619" y="8311714"/>
                  <a:ext cx="774344" cy="435569"/>
                </a:xfrm>
                <a:prstGeom prst="rect">
                  <a:avLst/>
                </a:prstGeom>
              </p:spPr>
            </p:pic>
          </mc:Fallback>
        </mc:AlternateContent>
        <mc:AlternateContent xmlns:mc="http://schemas.openxmlformats.org/markup-compatibility/2006" xmlns:pslz="http://schemas.microsoft.com/office/powerpoint/2016/slidezoom">
          <mc:Choice Requires="pslz">
            <p:graphicFrame>
              <p:nvGraphicFramePr>
                <p:cNvPr id="32" name="Slide Zoom 31">
                  <a:extLst>
                    <a:ext uri="{FF2B5EF4-FFF2-40B4-BE49-F238E27FC236}">
                      <a16:creationId xmlns:a16="http://schemas.microsoft.com/office/drawing/2014/main" id="{B45FAA0E-4284-4A22-BF51-7F483CA295EF}"/>
                    </a:ext>
                  </a:extLst>
                </p:cNvPr>
                <p:cNvGraphicFramePr>
                  <a:graphicFrameLocks noChangeAspect="1"/>
                </p:cNvGraphicFramePr>
                <p:nvPr>
                  <p:extLst>
                    <p:ext uri="{D42A27DB-BD31-4B8C-83A1-F6EECF244321}">
                      <p14:modId xmlns:p14="http://schemas.microsoft.com/office/powerpoint/2010/main" val="637870975"/>
                    </p:ext>
                  </p:extLst>
                </p:nvPr>
              </p:nvGraphicFramePr>
              <p:xfrm>
                <a:off x="8276135" y="2615731"/>
                <a:ext cx="774344" cy="435569"/>
              </p:xfrm>
              <a:graphic>
                <a:graphicData uri="http://schemas.microsoft.com/office/powerpoint/2016/slidezoom">
                  <pslz:sldZm>
                    <pslz:sldZmObj sldId="2147470385" cId="754241112">
                      <pslz:zmPr id="{439E46D6-61A2-4590-AD56-3E5E9247DBD9}" returnToParent="0" transitionDur="1000">
                        <p166:blipFill xmlns:p166="http://schemas.microsoft.com/office/powerpoint/2016/6/main">
                          <a:blip r:embed="rId10"/>
                          <a:stretch>
                            <a:fillRect/>
                          </a:stretch>
                        </p166:blipFill>
                        <p166:spPr xmlns:p166="http://schemas.microsoft.com/office/powerpoint/2016/6/main">
                          <a:xfrm>
                            <a:off x="0" y="0"/>
                            <a:ext cx="774344" cy="435569"/>
                          </a:xfrm>
                          <a:prstGeom prst="rect">
                            <a:avLst/>
                          </a:prstGeom>
                        </p166:spPr>
                      </pslz:zmPr>
                    </pslz:sldZmObj>
                  </pslz:sldZm>
                </a:graphicData>
              </a:graphic>
            </p:graphicFrame>
          </mc:Choice>
          <mc:Fallback xmlns="">
            <p:pic>
              <p:nvPicPr>
                <p:cNvPr id="32" name="Slide Zoom 31">
                  <a:extLst>
                    <a:ext uri="{FF2B5EF4-FFF2-40B4-BE49-F238E27FC236}">
                      <a16:creationId xmlns:a16="http://schemas.microsoft.com/office/drawing/2014/main" id="{B45FAA0E-4284-4A22-BF51-7F483CA295EF}"/>
                    </a:ext>
                  </a:extLst>
                </p:cNvPr>
                <p:cNvPicPr>
                  <a:picLocks noGrp="1" noRot="1" noChangeAspect="1" noMove="1" noResize="1" noEditPoints="1" noAdjustHandles="1" noChangeArrowheads="1" noChangeShapeType="1"/>
                </p:cNvPicPr>
                <p:nvPr/>
              </p:nvPicPr>
              <p:blipFill>
                <a:blip r:embed="rId9"/>
                <a:stretch>
                  <a:fillRect/>
                </a:stretch>
              </p:blipFill>
              <p:spPr>
                <a:xfrm>
                  <a:off x="8791387" y="8325991"/>
                  <a:ext cx="774344" cy="435569"/>
                </a:xfrm>
                <a:prstGeom prst="rect">
                  <a:avLst/>
                </a:prstGeom>
              </p:spPr>
            </p:pic>
          </mc:Fallback>
        </mc:AlternateContent>
        <mc:AlternateContent xmlns:mc="http://schemas.openxmlformats.org/markup-compatibility/2006" xmlns:pslz="http://schemas.microsoft.com/office/powerpoint/2016/slidezoom">
          <mc:Choice Requires="pslz">
            <p:graphicFrame>
              <p:nvGraphicFramePr>
                <p:cNvPr id="33" name="Slide Zoom 32">
                  <a:extLst>
                    <a:ext uri="{FF2B5EF4-FFF2-40B4-BE49-F238E27FC236}">
                      <a16:creationId xmlns:a16="http://schemas.microsoft.com/office/drawing/2014/main" id="{38CB3183-1B24-4B4F-B0E5-8A8F1DC7D7F7}"/>
                    </a:ext>
                  </a:extLst>
                </p:cNvPr>
                <p:cNvGraphicFramePr>
                  <a:graphicFrameLocks noChangeAspect="1"/>
                </p:cNvGraphicFramePr>
                <p:nvPr>
                  <p:extLst>
                    <p:ext uri="{D42A27DB-BD31-4B8C-83A1-F6EECF244321}">
                      <p14:modId xmlns:p14="http://schemas.microsoft.com/office/powerpoint/2010/main" val="1672624513"/>
                    </p:ext>
                  </p:extLst>
                </p:nvPr>
              </p:nvGraphicFramePr>
              <p:xfrm>
                <a:off x="9157902" y="2584809"/>
                <a:ext cx="774344" cy="435569"/>
              </p:xfrm>
              <a:graphic>
                <a:graphicData uri="http://schemas.microsoft.com/office/powerpoint/2016/slidezoom">
                  <pslz:sldZm>
                    <pslz:sldZmObj sldId="2147470386" cId="3655581783">
                      <pslz:zmPr id="{0E1D668C-9F57-45E3-9945-9066D384EE34}" returnToParent="0" transitionDur="1000">
                        <p166:blipFill xmlns:p166="http://schemas.microsoft.com/office/powerpoint/2016/6/main">
                          <a:blip r:embed="rId10"/>
                          <a:stretch>
                            <a:fillRect/>
                          </a:stretch>
                        </p166:blipFill>
                        <p166:spPr xmlns:p166="http://schemas.microsoft.com/office/powerpoint/2016/6/main">
                          <a:xfrm>
                            <a:off x="0" y="0"/>
                            <a:ext cx="774344" cy="435569"/>
                          </a:xfrm>
                          <a:prstGeom prst="rect">
                            <a:avLst/>
                          </a:prstGeom>
                        </p166:spPr>
                      </pslz:zmPr>
                    </pslz:sldZmObj>
                  </pslz:sldZm>
                </a:graphicData>
              </a:graphic>
            </p:graphicFrame>
          </mc:Choice>
          <mc:Fallback xmlns="">
            <p:pic>
              <p:nvPicPr>
                <p:cNvPr id="33" name="Slide Zoom 32">
                  <a:extLst>
                    <a:ext uri="{FF2B5EF4-FFF2-40B4-BE49-F238E27FC236}">
                      <a16:creationId xmlns:a16="http://schemas.microsoft.com/office/drawing/2014/main" id="{38CB3183-1B24-4B4F-B0E5-8A8F1DC7D7F7}"/>
                    </a:ext>
                  </a:extLst>
                </p:cNvPr>
                <p:cNvPicPr>
                  <a:picLocks noGrp="1" noRot="1" noChangeAspect="1" noMove="1" noResize="1" noEditPoints="1" noAdjustHandles="1" noChangeArrowheads="1" noChangeShapeType="1"/>
                </p:cNvPicPr>
                <p:nvPr/>
              </p:nvPicPr>
              <p:blipFill>
                <a:blip r:embed="rId9"/>
                <a:stretch>
                  <a:fillRect/>
                </a:stretch>
              </p:blipFill>
              <p:spPr>
                <a:xfrm>
                  <a:off x="9673154" y="8295069"/>
                  <a:ext cx="774344" cy="435569"/>
                </a:xfrm>
                <a:prstGeom prst="rect">
                  <a:avLst/>
                </a:prstGeom>
              </p:spPr>
            </p:pic>
          </mc:Fallback>
        </mc:AlternateContent>
        <mc:AlternateContent xmlns:mc="http://schemas.openxmlformats.org/markup-compatibility/2006" xmlns:pslz="http://schemas.microsoft.com/office/powerpoint/2016/slidezoom">
          <mc:Choice Requires="pslz">
            <p:graphicFrame>
              <p:nvGraphicFramePr>
                <p:cNvPr id="34" name="Slide Zoom 33">
                  <a:extLst>
                    <a:ext uri="{FF2B5EF4-FFF2-40B4-BE49-F238E27FC236}">
                      <a16:creationId xmlns:a16="http://schemas.microsoft.com/office/drawing/2014/main" id="{5A29E2B2-F160-404F-99AF-863FBDEB658C}"/>
                    </a:ext>
                  </a:extLst>
                </p:cNvPr>
                <p:cNvGraphicFramePr>
                  <a:graphicFrameLocks noChangeAspect="1"/>
                </p:cNvGraphicFramePr>
                <p:nvPr>
                  <p:extLst>
                    <p:ext uri="{D42A27DB-BD31-4B8C-83A1-F6EECF244321}">
                      <p14:modId xmlns:p14="http://schemas.microsoft.com/office/powerpoint/2010/main" val="3645639896"/>
                    </p:ext>
                  </p:extLst>
                </p:nvPr>
              </p:nvGraphicFramePr>
              <p:xfrm>
                <a:off x="10087114" y="2601453"/>
                <a:ext cx="774344" cy="435569"/>
              </p:xfrm>
              <a:graphic>
                <a:graphicData uri="http://schemas.microsoft.com/office/powerpoint/2016/slidezoom">
                  <pslz:sldZm>
                    <pslz:sldZmObj sldId="2146848292" cId="2119390895">
                      <pslz:zmPr id="{B7FD65CC-0DCF-4BF5-A563-C3947E5B189F}" returnToParent="0" transitionDur="1000">
                        <p166:blipFill xmlns:p166="http://schemas.microsoft.com/office/powerpoint/2016/6/main">
                          <a:blip r:embed="rId10"/>
                          <a:stretch>
                            <a:fillRect/>
                          </a:stretch>
                        </p166:blipFill>
                        <p166:spPr xmlns:p166="http://schemas.microsoft.com/office/powerpoint/2016/6/main">
                          <a:xfrm>
                            <a:off x="0" y="0"/>
                            <a:ext cx="774344" cy="435569"/>
                          </a:xfrm>
                          <a:prstGeom prst="rect">
                            <a:avLst/>
                          </a:prstGeom>
                          <a:ln w="2222">
                            <a:solidFill>
                              <a:prstClr val="ltGray"/>
                            </a:solidFill>
                          </a:ln>
                        </p166:spPr>
                      </pslz:zmPr>
                    </pslz:sldZmObj>
                  </pslz:sldZm>
                </a:graphicData>
              </a:graphic>
            </p:graphicFrame>
          </mc:Choice>
          <mc:Fallback xmlns="">
            <p:pic>
              <p:nvPicPr>
                <p:cNvPr id="34" name="Slide Zoom 33">
                  <a:extLst>
                    <a:ext uri="{FF2B5EF4-FFF2-40B4-BE49-F238E27FC236}">
                      <a16:creationId xmlns:a16="http://schemas.microsoft.com/office/drawing/2014/main" id="{5A29E2B2-F160-404F-99AF-863FBDEB658C}"/>
                    </a:ext>
                  </a:extLst>
                </p:cNvPr>
                <p:cNvPicPr>
                  <a:picLocks noGrp="1" noRot="1" noChangeAspect="1" noMove="1" noResize="1" noEditPoints="1" noAdjustHandles="1" noChangeArrowheads="1" noChangeShapeType="1"/>
                </p:cNvPicPr>
                <p:nvPr/>
              </p:nvPicPr>
              <p:blipFill>
                <a:blip r:embed="rId9"/>
                <a:stretch>
                  <a:fillRect/>
                </a:stretch>
              </p:blipFill>
              <p:spPr>
                <a:xfrm>
                  <a:off x="10602366" y="8311713"/>
                  <a:ext cx="774344" cy="435569"/>
                </a:xfrm>
                <a:prstGeom prst="rect">
                  <a:avLst/>
                </a:prstGeom>
                <a:ln w="2222">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35" name="Slide Zoom 34">
                  <a:extLst>
                    <a:ext uri="{FF2B5EF4-FFF2-40B4-BE49-F238E27FC236}">
                      <a16:creationId xmlns:a16="http://schemas.microsoft.com/office/drawing/2014/main" id="{5DFDE293-D588-4579-B950-D06D29A82A71}"/>
                    </a:ext>
                  </a:extLst>
                </p:cNvPr>
                <p:cNvGraphicFramePr>
                  <a:graphicFrameLocks noChangeAspect="1"/>
                </p:cNvGraphicFramePr>
                <p:nvPr>
                  <p:extLst>
                    <p:ext uri="{D42A27DB-BD31-4B8C-83A1-F6EECF244321}">
                      <p14:modId xmlns:p14="http://schemas.microsoft.com/office/powerpoint/2010/main" val="3545933784"/>
                    </p:ext>
                  </p:extLst>
                </p:nvPr>
              </p:nvGraphicFramePr>
              <p:xfrm>
                <a:off x="1941976" y="3355896"/>
                <a:ext cx="774344" cy="435569"/>
              </p:xfrm>
              <a:graphic>
                <a:graphicData uri="http://schemas.microsoft.com/office/powerpoint/2016/slidezoom">
                  <pslz:sldZm>
                    <pslz:sldZmObj sldId="2147470591" cId="4090794730">
                      <pslz:zmPr id="{1DE1014C-DC38-4334-8346-AA32F7852D29}" returnToParent="0" transitionDur="1000">
                        <p166:blipFill xmlns:p166="http://schemas.microsoft.com/office/powerpoint/2016/6/main">
                          <a:blip r:embed="rId10"/>
                          <a:stretch>
                            <a:fillRect/>
                          </a:stretch>
                        </p166:blipFill>
                        <p166:spPr xmlns:p166="http://schemas.microsoft.com/office/powerpoint/2016/6/main">
                          <a:xfrm>
                            <a:off x="0" y="0"/>
                            <a:ext cx="774344" cy="435569"/>
                          </a:xfrm>
                          <a:prstGeom prst="rect">
                            <a:avLst/>
                          </a:prstGeom>
                          <a:ln w="2222">
                            <a:solidFill>
                              <a:prstClr val="ltGray"/>
                            </a:solidFill>
                          </a:ln>
                        </p166:spPr>
                      </pslz:zmPr>
                    </pslz:sldZmObj>
                  </pslz:sldZm>
                </a:graphicData>
              </a:graphic>
            </p:graphicFrame>
          </mc:Choice>
          <mc:Fallback xmlns="">
            <p:pic>
              <p:nvPicPr>
                <p:cNvPr id="35" name="Slide Zoom 34">
                  <a:extLst>
                    <a:ext uri="{FF2B5EF4-FFF2-40B4-BE49-F238E27FC236}">
                      <a16:creationId xmlns:a16="http://schemas.microsoft.com/office/drawing/2014/main" id="{5DFDE293-D588-4579-B950-D06D29A82A71}"/>
                    </a:ext>
                  </a:extLst>
                </p:cNvPr>
                <p:cNvPicPr>
                  <a:picLocks noGrp="1" noRot="1" noChangeAspect="1" noMove="1" noResize="1" noEditPoints="1" noAdjustHandles="1" noChangeArrowheads="1" noChangeShapeType="1"/>
                </p:cNvPicPr>
                <p:nvPr/>
              </p:nvPicPr>
              <p:blipFill>
                <a:blip r:embed="rId9"/>
                <a:stretch>
                  <a:fillRect/>
                </a:stretch>
              </p:blipFill>
              <p:spPr>
                <a:xfrm>
                  <a:off x="2457228" y="9066156"/>
                  <a:ext cx="774344" cy="435569"/>
                </a:xfrm>
                <a:prstGeom prst="rect">
                  <a:avLst/>
                </a:prstGeom>
                <a:ln w="2222">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36" name="Slide Zoom 35">
                  <a:extLst>
                    <a:ext uri="{FF2B5EF4-FFF2-40B4-BE49-F238E27FC236}">
                      <a16:creationId xmlns:a16="http://schemas.microsoft.com/office/drawing/2014/main" id="{2FA5D017-D919-4A03-AD86-D3E7D36E1C3E}"/>
                    </a:ext>
                  </a:extLst>
                </p:cNvPr>
                <p:cNvGraphicFramePr>
                  <a:graphicFrameLocks noChangeAspect="1"/>
                </p:cNvGraphicFramePr>
                <p:nvPr>
                  <p:extLst>
                    <p:ext uri="{D42A27DB-BD31-4B8C-83A1-F6EECF244321}">
                      <p14:modId xmlns:p14="http://schemas.microsoft.com/office/powerpoint/2010/main" val="3783790248"/>
                    </p:ext>
                  </p:extLst>
                </p:nvPr>
              </p:nvGraphicFramePr>
              <p:xfrm>
                <a:off x="2941064" y="3355896"/>
                <a:ext cx="774344" cy="435569"/>
              </p:xfrm>
              <a:graphic>
                <a:graphicData uri="http://schemas.microsoft.com/office/powerpoint/2016/slidezoom">
                  <pslz:sldZm>
                    <pslz:sldZmObj sldId="2147470592" cId="2670237118">
                      <pslz:zmPr id="{B044D797-2E0F-44D1-8DF3-53B23B5EE74D}" returnToParent="0" transitionDur="1000">
                        <p166:blipFill xmlns:p166="http://schemas.microsoft.com/office/powerpoint/2016/6/main">
                          <a:blip r:embed="rId10"/>
                          <a:stretch>
                            <a:fillRect/>
                          </a:stretch>
                        </p166:blipFill>
                        <p166:spPr xmlns:p166="http://schemas.microsoft.com/office/powerpoint/2016/6/main">
                          <a:xfrm>
                            <a:off x="0" y="0"/>
                            <a:ext cx="774344" cy="435569"/>
                          </a:xfrm>
                          <a:prstGeom prst="rect">
                            <a:avLst/>
                          </a:prstGeom>
                          <a:ln w="2222">
                            <a:solidFill>
                              <a:prstClr val="ltGray"/>
                            </a:solidFill>
                          </a:ln>
                        </p166:spPr>
                      </pslz:zmPr>
                    </pslz:sldZmObj>
                  </pslz:sldZm>
                </a:graphicData>
              </a:graphic>
            </p:graphicFrame>
          </mc:Choice>
          <mc:Fallback xmlns="">
            <p:pic>
              <p:nvPicPr>
                <p:cNvPr id="36" name="Slide Zoom 35">
                  <a:extLst>
                    <a:ext uri="{FF2B5EF4-FFF2-40B4-BE49-F238E27FC236}">
                      <a16:creationId xmlns:a16="http://schemas.microsoft.com/office/drawing/2014/main" id="{2FA5D017-D919-4A03-AD86-D3E7D36E1C3E}"/>
                    </a:ext>
                  </a:extLst>
                </p:cNvPr>
                <p:cNvPicPr>
                  <a:picLocks noGrp="1" noRot="1" noChangeAspect="1" noMove="1" noResize="1" noEditPoints="1" noAdjustHandles="1" noChangeArrowheads="1" noChangeShapeType="1"/>
                </p:cNvPicPr>
                <p:nvPr/>
              </p:nvPicPr>
              <p:blipFill>
                <a:blip r:embed="rId9"/>
                <a:stretch>
                  <a:fillRect/>
                </a:stretch>
              </p:blipFill>
              <p:spPr>
                <a:xfrm>
                  <a:off x="3456316" y="9066156"/>
                  <a:ext cx="774344" cy="435569"/>
                </a:xfrm>
                <a:prstGeom prst="rect">
                  <a:avLst/>
                </a:prstGeom>
                <a:ln w="2222">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37" name="Slide Zoom 36">
                  <a:extLst>
                    <a:ext uri="{FF2B5EF4-FFF2-40B4-BE49-F238E27FC236}">
                      <a16:creationId xmlns:a16="http://schemas.microsoft.com/office/drawing/2014/main" id="{2925C8D3-3952-4905-A3FB-412C79A4B15C}"/>
                    </a:ext>
                  </a:extLst>
                </p:cNvPr>
                <p:cNvGraphicFramePr>
                  <a:graphicFrameLocks noChangeAspect="1"/>
                </p:cNvGraphicFramePr>
                <p:nvPr>
                  <p:extLst>
                    <p:ext uri="{D42A27DB-BD31-4B8C-83A1-F6EECF244321}">
                      <p14:modId xmlns:p14="http://schemas.microsoft.com/office/powerpoint/2010/main" val="3909275920"/>
                    </p:ext>
                  </p:extLst>
                </p:nvPr>
              </p:nvGraphicFramePr>
              <p:xfrm>
                <a:off x="3942395" y="3356541"/>
                <a:ext cx="774344" cy="435569"/>
              </p:xfrm>
              <a:graphic>
                <a:graphicData uri="http://schemas.microsoft.com/office/powerpoint/2016/slidezoom">
                  <pslz:sldZm>
                    <pslz:sldZmObj sldId="2147470593" cId="394390103">
                      <pslz:zmPr id="{A413179C-519C-48DA-9CDC-63BDBF9A9DFB}" returnToParent="0" transitionDur="1000">
                        <p166:blipFill xmlns:p166="http://schemas.microsoft.com/office/powerpoint/2016/6/main">
                          <a:blip r:embed="rId10"/>
                          <a:stretch>
                            <a:fillRect/>
                          </a:stretch>
                        </p166:blipFill>
                        <p166:spPr xmlns:p166="http://schemas.microsoft.com/office/powerpoint/2016/6/main">
                          <a:xfrm>
                            <a:off x="0" y="0"/>
                            <a:ext cx="774344" cy="435569"/>
                          </a:xfrm>
                          <a:prstGeom prst="rect">
                            <a:avLst/>
                          </a:prstGeom>
                          <a:ln w="2222">
                            <a:solidFill>
                              <a:prstClr val="ltGray"/>
                            </a:solidFill>
                          </a:ln>
                        </p166:spPr>
                      </pslz:zmPr>
                    </pslz:sldZmObj>
                  </pslz:sldZm>
                </a:graphicData>
              </a:graphic>
            </p:graphicFrame>
          </mc:Choice>
          <mc:Fallback xmlns="">
            <p:pic>
              <p:nvPicPr>
                <p:cNvPr id="37" name="Slide Zoom 36">
                  <a:extLst>
                    <a:ext uri="{FF2B5EF4-FFF2-40B4-BE49-F238E27FC236}">
                      <a16:creationId xmlns:a16="http://schemas.microsoft.com/office/drawing/2014/main" id="{2925C8D3-3952-4905-A3FB-412C79A4B15C}"/>
                    </a:ext>
                  </a:extLst>
                </p:cNvPr>
                <p:cNvPicPr>
                  <a:picLocks noGrp="1" noRot="1" noChangeAspect="1" noMove="1" noResize="1" noEditPoints="1" noAdjustHandles="1" noChangeArrowheads="1" noChangeShapeType="1"/>
                </p:cNvPicPr>
                <p:nvPr/>
              </p:nvPicPr>
              <p:blipFill>
                <a:blip r:embed="rId9"/>
                <a:stretch>
                  <a:fillRect/>
                </a:stretch>
              </p:blipFill>
              <p:spPr>
                <a:xfrm>
                  <a:off x="4457647" y="9066801"/>
                  <a:ext cx="774344" cy="435569"/>
                </a:xfrm>
                <a:prstGeom prst="rect">
                  <a:avLst/>
                </a:prstGeom>
                <a:ln w="2222">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38" name="Slide Zoom 37">
                  <a:extLst>
                    <a:ext uri="{FF2B5EF4-FFF2-40B4-BE49-F238E27FC236}">
                      <a16:creationId xmlns:a16="http://schemas.microsoft.com/office/drawing/2014/main" id="{FFC6EEDE-820B-44D9-B362-5B8B28F987B6}"/>
                    </a:ext>
                  </a:extLst>
                </p:cNvPr>
                <p:cNvGraphicFramePr>
                  <a:graphicFrameLocks noChangeAspect="1"/>
                </p:cNvGraphicFramePr>
                <p:nvPr>
                  <p:extLst>
                    <p:ext uri="{D42A27DB-BD31-4B8C-83A1-F6EECF244321}">
                      <p14:modId xmlns:p14="http://schemas.microsoft.com/office/powerpoint/2010/main" val="4191918468"/>
                    </p:ext>
                  </p:extLst>
                </p:nvPr>
              </p:nvGraphicFramePr>
              <p:xfrm>
                <a:off x="1941976" y="3949303"/>
                <a:ext cx="774344" cy="435569"/>
              </p:xfrm>
              <a:graphic>
                <a:graphicData uri="http://schemas.microsoft.com/office/powerpoint/2016/slidezoom">
                  <pslz:sldZm>
                    <pslz:sldZmObj sldId="2147470599" cId="1735737450">
                      <pslz:zmPr id="{628212E5-1268-4ECE-8CFC-BAE489F3FEAD}" returnToParent="0" transitionDur="1000">
                        <p166:blipFill xmlns:p166="http://schemas.microsoft.com/office/powerpoint/2016/6/main">
                          <a:blip r:embed="rId10"/>
                          <a:stretch>
                            <a:fillRect/>
                          </a:stretch>
                        </p166:blipFill>
                        <p166:spPr xmlns:p166="http://schemas.microsoft.com/office/powerpoint/2016/6/main">
                          <a:xfrm>
                            <a:off x="0" y="0"/>
                            <a:ext cx="774344" cy="435569"/>
                          </a:xfrm>
                          <a:prstGeom prst="rect">
                            <a:avLst/>
                          </a:prstGeom>
                          <a:ln w="2222">
                            <a:solidFill>
                              <a:prstClr val="ltGray"/>
                            </a:solidFill>
                          </a:ln>
                        </p166:spPr>
                      </pslz:zmPr>
                    </pslz:sldZmObj>
                  </pslz:sldZm>
                </a:graphicData>
              </a:graphic>
            </p:graphicFrame>
          </mc:Choice>
          <mc:Fallback xmlns="">
            <p:pic>
              <p:nvPicPr>
                <p:cNvPr id="38" name="Slide Zoom 37">
                  <a:extLst>
                    <a:ext uri="{FF2B5EF4-FFF2-40B4-BE49-F238E27FC236}">
                      <a16:creationId xmlns:a16="http://schemas.microsoft.com/office/drawing/2014/main" id="{FFC6EEDE-820B-44D9-B362-5B8B28F987B6}"/>
                    </a:ext>
                  </a:extLst>
                </p:cNvPr>
                <p:cNvPicPr>
                  <a:picLocks noGrp="1" noRot="1" noChangeAspect="1" noMove="1" noResize="1" noEditPoints="1" noAdjustHandles="1" noChangeArrowheads="1" noChangeShapeType="1"/>
                </p:cNvPicPr>
                <p:nvPr/>
              </p:nvPicPr>
              <p:blipFill>
                <a:blip r:embed="rId9"/>
                <a:stretch>
                  <a:fillRect/>
                </a:stretch>
              </p:blipFill>
              <p:spPr>
                <a:xfrm>
                  <a:off x="2457228" y="9659563"/>
                  <a:ext cx="774344" cy="435569"/>
                </a:xfrm>
                <a:prstGeom prst="rect">
                  <a:avLst/>
                </a:prstGeom>
                <a:ln w="2222">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39" name="Slide Zoom 38">
                  <a:extLst>
                    <a:ext uri="{FF2B5EF4-FFF2-40B4-BE49-F238E27FC236}">
                      <a16:creationId xmlns:a16="http://schemas.microsoft.com/office/drawing/2014/main" id="{265A7FDA-2C6B-4B58-BDB2-6C75B25BBCF2}"/>
                    </a:ext>
                  </a:extLst>
                </p:cNvPr>
                <p:cNvGraphicFramePr>
                  <a:graphicFrameLocks noChangeAspect="1"/>
                </p:cNvGraphicFramePr>
                <p:nvPr>
                  <p:extLst>
                    <p:ext uri="{D42A27DB-BD31-4B8C-83A1-F6EECF244321}">
                      <p14:modId xmlns:p14="http://schemas.microsoft.com/office/powerpoint/2010/main" val="2194059818"/>
                    </p:ext>
                  </p:extLst>
                </p:nvPr>
              </p:nvGraphicFramePr>
              <p:xfrm>
                <a:off x="2941064" y="3979421"/>
                <a:ext cx="774344" cy="435569"/>
              </p:xfrm>
              <a:graphic>
                <a:graphicData uri="http://schemas.microsoft.com/office/powerpoint/2016/slidezoom">
                  <pslz:sldZm>
                    <pslz:sldZmObj sldId="2147470585" cId="1079425659">
                      <pslz:zmPr id="{123AC876-A129-48CC-A911-10C0125536EE}" returnToParent="0" transitionDur="1000">
                        <p166:blipFill xmlns:p166="http://schemas.microsoft.com/office/powerpoint/2016/6/main">
                          <a:blip r:embed="rId10"/>
                          <a:stretch>
                            <a:fillRect/>
                          </a:stretch>
                        </p166:blipFill>
                        <p166:spPr xmlns:p166="http://schemas.microsoft.com/office/powerpoint/2016/6/main">
                          <a:xfrm>
                            <a:off x="0" y="0"/>
                            <a:ext cx="774344" cy="435569"/>
                          </a:xfrm>
                          <a:prstGeom prst="rect">
                            <a:avLst/>
                          </a:prstGeom>
                          <a:ln w="2222">
                            <a:solidFill>
                              <a:prstClr val="ltGray"/>
                            </a:solidFill>
                          </a:ln>
                        </p166:spPr>
                      </pslz:zmPr>
                    </pslz:sldZmObj>
                  </pslz:sldZm>
                </a:graphicData>
              </a:graphic>
            </p:graphicFrame>
          </mc:Choice>
          <mc:Fallback xmlns="">
            <p:pic>
              <p:nvPicPr>
                <p:cNvPr id="39" name="Slide Zoom 38">
                  <a:extLst>
                    <a:ext uri="{FF2B5EF4-FFF2-40B4-BE49-F238E27FC236}">
                      <a16:creationId xmlns:a16="http://schemas.microsoft.com/office/drawing/2014/main" id="{265A7FDA-2C6B-4B58-BDB2-6C75B25BBCF2}"/>
                    </a:ext>
                  </a:extLst>
                </p:cNvPr>
                <p:cNvPicPr>
                  <a:picLocks noGrp="1" noRot="1" noChangeAspect="1" noMove="1" noResize="1" noEditPoints="1" noAdjustHandles="1" noChangeArrowheads="1" noChangeShapeType="1"/>
                </p:cNvPicPr>
                <p:nvPr/>
              </p:nvPicPr>
              <p:blipFill>
                <a:blip r:embed="rId9"/>
                <a:stretch>
                  <a:fillRect/>
                </a:stretch>
              </p:blipFill>
              <p:spPr>
                <a:xfrm>
                  <a:off x="3456316" y="9689681"/>
                  <a:ext cx="774344" cy="435569"/>
                </a:xfrm>
                <a:prstGeom prst="rect">
                  <a:avLst/>
                </a:prstGeom>
                <a:ln w="2222">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40" name="Slide Zoom 39">
                  <a:extLst>
                    <a:ext uri="{FF2B5EF4-FFF2-40B4-BE49-F238E27FC236}">
                      <a16:creationId xmlns:a16="http://schemas.microsoft.com/office/drawing/2014/main" id="{B5A7A157-58A2-4AF1-99B6-AC2C10C8201B}"/>
                    </a:ext>
                  </a:extLst>
                </p:cNvPr>
                <p:cNvGraphicFramePr>
                  <a:graphicFrameLocks noChangeAspect="1"/>
                </p:cNvGraphicFramePr>
                <p:nvPr>
                  <p:extLst>
                    <p:ext uri="{D42A27DB-BD31-4B8C-83A1-F6EECF244321}">
                      <p14:modId xmlns:p14="http://schemas.microsoft.com/office/powerpoint/2010/main" val="2251292580"/>
                    </p:ext>
                  </p:extLst>
                </p:nvPr>
              </p:nvGraphicFramePr>
              <p:xfrm>
                <a:off x="4009595" y="3966089"/>
                <a:ext cx="774344" cy="435569"/>
              </p:xfrm>
              <a:graphic>
                <a:graphicData uri="http://schemas.microsoft.com/office/powerpoint/2016/slidezoom">
                  <pslz:sldZm>
                    <pslz:sldZmObj sldId="2147470595" cId="1762180489">
                      <pslz:zmPr id="{EC668C0F-080F-49F3-8C44-05359A5C4DAE}" returnToParent="0" transitionDur="1000">
                        <p166:blipFill xmlns:p166="http://schemas.microsoft.com/office/powerpoint/2016/6/main">
                          <a:blip r:embed="rId8"/>
                          <a:stretch>
                            <a:fillRect/>
                          </a:stretch>
                        </p166:blipFill>
                        <p166:spPr xmlns:p166="http://schemas.microsoft.com/office/powerpoint/2016/6/main">
                          <a:xfrm>
                            <a:off x="0" y="0"/>
                            <a:ext cx="774344" cy="435569"/>
                          </a:xfrm>
                          <a:prstGeom prst="rect">
                            <a:avLst/>
                          </a:prstGeom>
                          <a:ln w="2222">
                            <a:solidFill>
                              <a:prstClr val="ltGray"/>
                            </a:solidFill>
                          </a:ln>
                        </p166:spPr>
                      </pslz:zmPr>
                    </pslz:sldZmObj>
                  </pslz:sldZm>
                </a:graphicData>
              </a:graphic>
            </p:graphicFrame>
          </mc:Choice>
          <mc:Fallback xmlns="">
            <p:pic>
              <p:nvPicPr>
                <p:cNvPr id="40" name="Slide Zoom 39">
                  <a:extLst>
                    <a:ext uri="{FF2B5EF4-FFF2-40B4-BE49-F238E27FC236}">
                      <a16:creationId xmlns:a16="http://schemas.microsoft.com/office/drawing/2014/main" id="{B5A7A157-58A2-4AF1-99B6-AC2C10C8201B}"/>
                    </a:ext>
                  </a:extLst>
                </p:cNvPr>
                <p:cNvPicPr>
                  <a:picLocks noGrp="1" noRot="1" noChangeAspect="1" noMove="1" noResize="1" noEditPoints="1" noAdjustHandles="1" noChangeArrowheads="1" noChangeShapeType="1"/>
                </p:cNvPicPr>
                <p:nvPr/>
              </p:nvPicPr>
              <p:blipFill>
                <a:blip r:embed="rId9"/>
                <a:stretch>
                  <a:fillRect/>
                </a:stretch>
              </p:blipFill>
              <p:spPr>
                <a:xfrm>
                  <a:off x="4524847" y="9676349"/>
                  <a:ext cx="774344" cy="435569"/>
                </a:xfrm>
                <a:prstGeom prst="rect">
                  <a:avLst/>
                </a:prstGeom>
                <a:ln w="2222">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41" name="Slide Zoom 40">
                  <a:extLst>
                    <a:ext uri="{FF2B5EF4-FFF2-40B4-BE49-F238E27FC236}">
                      <a16:creationId xmlns:a16="http://schemas.microsoft.com/office/drawing/2014/main" id="{B062338B-1D3D-400E-8668-C2A36FA48D13}"/>
                    </a:ext>
                  </a:extLst>
                </p:cNvPr>
                <p:cNvGraphicFramePr>
                  <a:graphicFrameLocks noChangeAspect="1"/>
                </p:cNvGraphicFramePr>
                <p:nvPr>
                  <p:extLst>
                    <p:ext uri="{D42A27DB-BD31-4B8C-83A1-F6EECF244321}">
                      <p14:modId xmlns:p14="http://schemas.microsoft.com/office/powerpoint/2010/main" val="601764955"/>
                    </p:ext>
                  </p:extLst>
                </p:nvPr>
              </p:nvGraphicFramePr>
              <p:xfrm>
                <a:off x="4910355" y="3950602"/>
                <a:ext cx="774344" cy="435569"/>
              </p:xfrm>
              <a:graphic>
                <a:graphicData uri="http://schemas.microsoft.com/office/powerpoint/2016/slidezoom">
                  <pslz:sldZm>
                    <pslz:sldZmObj sldId="2147470601" cId="3144376485">
                      <pslz:zmPr id="{28E8F3CC-5CA0-47D0-BB07-1B895BC9C21E}" returnToParent="0" transitionDur="1000">
                        <p166:blipFill xmlns:p166="http://schemas.microsoft.com/office/powerpoint/2016/6/main">
                          <a:blip r:embed="rId10"/>
                          <a:stretch>
                            <a:fillRect/>
                          </a:stretch>
                        </p166:blipFill>
                        <p166:spPr xmlns:p166="http://schemas.microsoft.com/office/powerpoint/2016/6/main">
                          <a:xfrm>
                            <a:off x="0" y="0"/>
                            <a:ext cx="774344" cy="435569"/>
                          </a:xfrm>
                          <a:prstGeom prst="rect">
                            <a:avLst/>
                          </a:prstGeom>
                          <a:ln w="2222">
                            <a:solidFill>
                              <a:prstClr val="ltGray"/>
                            </a:solidFill>
                          </a:ln>
                        </p166:spPr>
                      </pslz:zmPr>
                    </pslz:sldZmObj>
                  </pslz:sldZm>
                </a:graphicData>
              </a:graphic>
            </p:graphicFrame>
          </mc:Choice>
          <mc:Fallback xmlns="">
            <p:pic>
              <p:nvPicPr>
                <p:cNvPr id="41" name="Slide Zoom 40">
                  <a:extLst>
                    <a:ext uri="{FF2B5EF4-FFF2-40B4-BE49-F238E27FC236}">
                      <a16:creationId xmlns:a16="http://schemas.microsoft.com/office/drawing/2014/main" id="{B062338B-1D3D-400E-8668-C2A36FA48D13}"/>
                    </a:ext>
                  </a:extLst>
                </p:cNvPr>
                <p:cNvPicPr>
                  <a:picLocks noGrp="1" noRot="1" noChangeAspect="1" noMove="1" noResize="1" noEditPoints="1" noAdjustHandles="1" noChangeArrowheads="1" noChangeShapeType="1"/>
                </p:cNvPicPr>
                <p:nvPr/>
              </p:nvPicPr>
              <p:blipFill>
                <a:blip r:embed="rId9"/>
                <a:stretch>
                  <a:fillRect/>
                </a:stretch>
              </p:blipFill>
              <p:spPr>
                <a:xfrm>
                  <a:off x="5425607" y="9660862"/>
                  <a:ext cx="774344" cy="435569"/>
                </a:xfrm>
                <a:prstGeom prst="rect">
                  <a:avLst/>
                </a:prstGeom>
                <a:ln w="2222">
                  <a:solidFill>
                    <a:prstClr val="ltGray"/>
                  </a:solidFill>
                </a:ln>
              </p:spPr>
            </p:pic>
          </mc:Fallback>
        </mc:AlternateContent>
        <p:sp>
          <p:nvSpPr>
            <p:cNvPr id="42" name="Rectangle: Single Corner Rounded 41">
              <a:hlinkClick r:id="" action="ppaction://noaction"/>
              <a:extLst>
                <a:ext uri="{FF2B5EF4-FFF2-40B4-BE49-F238E27FC236}">
                  <a16:creationId xmlns:a16="http://schemas.microsoft.com/office/drawing/2014/main" id="{03BA0DD5-5BDC-4F24-B9A2-6F396DA519D9}"/>
                </a:ext>
              </a:extLst>
            </p:cNvPr>
            <p:cNvSpPr/>
            <p:nvPr/>
          </p:nvSpPr>
          <p:spPr>
            <a:xfrm>
              <a:off x="300042" y="1591094"/>
              <a:ext cx="1493990" cy="378000"/>
            </a:xfrm>
            <a:prstGeom prst="round1Rect">
              <a:avLst>
                <a:gd name="adj" fmla="val 36667"/>
              </a:avLst>
            </a:prstGeom>
            <a:solidFill>
              <a:schemeClr val="accent1"/>
            </a:solidFill>
            <a:ln w="2222">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840" b="1">
                  <a:solidFill>
                    <a:schemeClr val="bg1"/>
                  </a:solidFill>
                  <a:latin typeface="Leelawadee" panose="020B0502040204020203" pitchFamily="34" charset="-34"/>
                  <a:cs typeface="Leelawadee" panose="020B0502040204020203" pitchFamily="34" charset="-34"/>
                </a:rPr>
                <a:t>Context</a:t>
              </a:r>
              <a:br>
                <a:rPr lang="en-GB" sz="840" b="1">
                  <a:solidFill>
                    <a:schemeClr val="bg1"/>
                  </a:solidFill>
                  <a:latin typeface="Leelawadee" panose="020B0502040204020203" pitchFamily="34" charset="-34"/>
                  <a:cs typeface="Leelawadee" panose="020B0502040204020203" pitchFamily="34" charset="-34"/>
                </a:rPr>
              </a:br>
              <a:r>
                <a:rPr lang="en-GB" sz="840" b="1">
                  <a:solidFill>
                    <a:schemeClr val="bg1"/>
                  </a:solidFill>
                  <a:latin typeface="Leelawadee" panose="020B0502040204020203" pitchFamily="34" charset="-34"/>
                  <a:cs typeface="Leelawadee" panose="020B0502040204020203" pitchFamily="34" charset="-34"/>
                </a:rPr>
                <a:t>and objectives</a:t>
              </a:r>
            </a:p>
          </p:txBody>
        </p:sp>
        <p:sp>
          <p:nvSpPr>
            <p:cNvPr id="43" name="Rectangle: Single Corner Rounded 42">
              <a:hlinkClick r:id="" action="ppaction://noaction"/>
              <a:extLst>
                <a:ext uri="{FF2B5EF4-FFF2-40B4-BE49-F238E27FC236}">
                  <a16:creationId xmlns:a16="http://schemas.microsoft.com/office/drawing/2014/main" id="{C4A535A5-A09D-45DE-A08F-A45EFD9BFD9C}"/>
                </a:ext>
              </a:extLst>
            </p:cNvPr>
            <p:cNvSpPr/>
            <p:nvPr/>
          </p:nvSpPr>
          <p:spPr>
            <a:xfrm>
              <a:off x="300042" y="2110907"/>
              <a:ext cx="1493990" cy="378001"/>
            </a:xfrm>
            <a:prstGeom prst="round1Rect">
              <a:avLst>
                <a:gd name="adj" fmla="val 36667"/>
              </a:avLst>
            </a:prstGeom>
            <a:solidFill>
              <a:schemeClr val="accent5">
                <a:lumMod val="75000"/>
              </a:schemeClr>
            </a:solidFill>
            <a:ln w="2222">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840" b="1">
                  <a:solidFill>
                    <a:schemeClr val="bg1"/>
                  </a:solidFill>
                  <a:latin typeface="Leelawadee" panose="020B0502040204020203" pitchFamily="34" charset="-34"/>
                  <a:cs typeface="Leelawadee" panose="020B0502040204020203" pitchFamily="34" charset="-34"/>
                </a:rPr>
                <a:t>pep+ Introduction</a:t>
              </a:r>
            </a:p>
          </p:txBody>
        </p:sp>
        <p:sp>
          <p:nvSpPr>
            <p:cNvPr id="44" name="Rectangle: Single Corner Rounded 43">
              <a:hlinkClick r:id="" action="ppaction://noaction"/>
              <a:extLst>
                <a:ext uri="{FF2B5EF4-FFF2-40B4-BE49-F238E27FC236}">
                  <a16:creationId xmlns:a16="http://schemas.microsoft.com/office/drawing/2014/main" id="{99F68594-26B2-4B73-A8E1-8C8CA5353E66}"/>
                </a:ext>
              </a:extLst>
            </p:cNvPr>
            <p:cNvSpPr/>
            <p:nvPr/>
          </p:nvSpPr>
          <p:spPr>
            <a:xfrm>
              <a:off x="304954" y="2634679"/>
              <a:ext cx="1493989" cy="377995"/>
            </a:xfrm>
            <a:prstGeom prst="round1Rect">
              <a:avLst>
                <a:gd name="adj" fmla="val 36667"/>
              </a:avLst>
            </a:prstGeom>
            <a:solidFill>
              <a:schemeClr val="accent2">
                <a:lumMod val="75000"/>
              </a:schemeClr>
            </a:solidFill>
            <a:ln w="2222">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840" b="1">
                  <a:solidFill>
                    <a:schemeClr val="bg1"/>
                  </a:solidFill>
                  <a:latin typeface="Leelawadee" panose="020B0502040204020203" pitchFamily="34" charset="-34"/>
                  <a:cs typeface="Leelawadee" panose="020B0502040204020203" pitchFamily="34" charset="-34"/>
                </a:rPr>
                <a:t>Exploring pep+ collaboration areas</a:t>
              </a:r>
            </a:p>
          </p:txBody>
        </p:sp>
        <p:sp>
          <p:nvSpPr>
            <p:cNvPr id="45" name="Rectangle: Single Corner Rounded 44">
              <a:hlinkClick r:id="" action="ppaction://noaction"/>
              <a:extLst>
                <a:ext uri="{FF2B5EF4-FFF2-40B4-BE49-F238E27FC236}">
                  <a16:creationId xmlns:a16="http://schemas.microsoft.com/office/drawing/2014/main" id="{6EF1887F-3F94-4AE7-8B7F-F5329ECA036A}"/>
                </a:ext>
              </a:extLst>
            </p:cNvPr>
            <p:cNvSpPr/>
            <p:nvPr/>
          </p:nvSpPr>
          <p:spPr>
            <a:xfrm>
              <a:off x="300038" y="3355896"/>
              <a:ext cx="1493993" cy="377988"/>
            </a:xfrm>
            <a:prstGeom prst="round1Rect">
              <a:avLst>
                <a:gd name="adj" fmla="val 36667"/>
              </a:avLst>
            </a:prstGeom>
            <a:solidFill>
              <a:schemeClr val="accent6">
                <a:lumMod val="75000"/>
              </a:schemeClr>
            </a:solidFill>
            <a:ln w="2222">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840" b="1">
                  <a:solidFill>
                    <a:schemeClr val="bg1"/>
                  </a:solidFill>
                  <a:latin typeface="Leelawadee" panose="020B0502040204020203" pitchFamily="34" charset="-34"/>
                  <a:cs typeface="Leelawadee" panose="020B0502040204020203" pitchFamily="34" charset="-34"/>
                </a:rPr>
                <a:t>Developing pep+ collaborations</a:t>
              </a:r>
            </a:p>
          </p:txBody>
        </p:sp>
        <mc:AlternateContent xmlns:mc="http://schemas.openxmlformats.org/markup-compatibility/2006" xmlns:pslz="http://schemas.microsoft.com/office/powerpoint/2016/slidezoom">
          <mc:Choice Requires="pslz">
            <p:graphicFrame>
              <p:nvGraphicFramePr>
                <p:cNvPr id="46" name="Slide Zoom 45">
                  <a:extLst>
                    <a:ext uri="{FF2B5EF4-FFF2-40B4-BE49-F238E27FC236}">
                      <a16:creationId xmlns:a16="http://schemas.microsoft.com/office/drawing/2014/main" id="{9DC4EA64-CF44-4C3E-9BC3-EA4C665D60AE}"/>
                    </a:ext>
                  </a:extLst>
                </p:cNvPr>
                <p:cNvGraphicFramePr>
                  <a:graphicFrameLocks noChangeAspect="1"/>
                </p:cNvGraphicFramePr>
                <p:nvPr>
                  <p:extLst>
                    <p:ext uri="{D42A27DB-BD31-4B8C-83A1-F6EECF244321}">
                      <p14:modId xmlns:p14="http://schemas.microsoft.com/office/powerpoint/2010/main" val="458884455"/>
                    </p:ext>
                  </p:extLst>
                </p:nvPr>
              </p:nvGraphicFramePr>
              <p:xfrm>
                <a:off x="1941976" y="5106690"/>
                <a:ext cx="774344" cy="435569"/>
              </p:xfrm>
              <a:graphic>
                <a:graphicData uri="http://schemas.microsoft.com/office/powerpoint/2016/slidezoom">
                  <pslz:sldZm>
                    <pslz:sldZmObj sldId="2147470599" cId="1735737450">
                      <pslz:zmPr id="{628212E5-1268-4ECE-8CFC-BAE489F3FEAD}" returnToParent="0" transitionDur="1000">
                        <p166:blipFill xmlns:p166="http://schemas.microsoft.com/office/powerpoint/2016/6/main">
                          <a:blip r:embed="rId10"/>
                          <a:stretch>
                            <a:fillRect/>
                          </a:stretch>
                        </p166:blipFill>
                        <p166:spPr xmlns:p166="http://schemas.microsoft.com/office/powerpoint/2016/6/main">
                          <a:xfrm>
                            <a:off x="0" y="0"/>
                            <a:ext cx="774344" cy="435569"/>
                          </a:xfrm>
                          <a:prstGeom prst="rect">
                            <a:avLst/>
                          </a:prstGeom>
                          <a:ln w="2222">
                            <a:solidFill>
                              <a:prstClr val="ltGray"/>
                            </a:solidFill>
                          </a:ln>
                        </p166:spPr>
                      </pslz:zmPr>
                    </pslz:sldZmObj>
                  </pslz:sldZm>
                </a:graphicData>
              </a:graphic>
            </p:graphicFrame>
          </mc:Choice>
          <mc:Fallback xmlns="">
            <p:pic>
              <p:nvPicPr>
                <p:cNvPr id="46" name="Slide Zoom 45">
                  <a:extLst>
                    <a:ext uri="{FF2B5EF4-FFF2-40B4-BE49-F238E27FC236}">
                      <a16:creationId xmlns:a16="http://schemas.microsoft.com/office/drawing/2014/main" id="{9DC4EA64-CF44-4C3E-9BC3-EA4C665D60AE}"/>
                    </a:ext>
                  </a:extLst>
                </p:cNvPr>
                <p:cNvPicPr>
                  <a:picLocks noGrp="1" noRot="1" noChangeAspect="1" noMove="1" noResize="1" noEditPoints="1" noAdjustHandles="1" noChangeArrowheads="1" noChangeShapeType="1"/>
                </p:cNvPicPr>
                <p:nvPr/>
              </p:nvPicPr>
              <p:blipFill>
                <a:blip r:embed="rId9"/>
                <a:stretch>
                  <a:fillRect/>
                </a:stretch>
              </p:blipFill>
              <p:spPr>
                <a:xfrm>
                  <a:off x="2457228" y="10816950"/>
                  <a:ext cx="774344" cy="435569"/>
                </a:xfrm>
                <a:prstGeom prst="rect">
                  <a:avLst/>
                </a:prstGeom>
                <a:ln w="2222">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47" name="Slide Zoom 46">
                  <a:extLst>
                    <a:ext uri="{FF2B5EF4-FFF2-40B4-BE49-F238E27FC236}">
                      <a16:creationId xmlns:a16="http://schemas.microsoft.com/office/drawing/2014/main" id="{58C2315F-8EF6-4710-A36D-D4E30C511B30}"/>
                    </a:ext>
                  </a:extLst>
                </p:cNvPr>
                <p:cNvGraphicFramePr>
                  <a:graphicFrameLocks noChangeAspect="1"/>
                </p:cNvGraphicFramePr>
                <p:nvPr>
                  <p:extLst>
                    <p:ext uri="{D42A27DB-BD31-4B8C-83A1-F6EECF244321}">
                      <p14:modId xmlns:p14="http://schemas.microsoft.com/office/powerpoint/2010/main" val="1701766881"/>
                    </p:ext>
                  </p:extLst>
                </p:nvPr>
              </p:nvGraphicFramePr>
              <p:xfrm>
                <a:off x="2868759" y="5091349"/>
                <a:ext cx="774344" cy="435569"/>
              </p:xfrm>
              <a:graphic>
                <a:graphicData uri="http://schemas.microsoft.com/office/powerpoint/2016/slidezoom">
                  <pslz:sldZm>
                    <pslz:sldZmObj sldId="2147470592" cId="2670237118">
                      <pslz:zmPr id="{B044D797-2E0F-44D1-8DF3-53B23B5EE74D}" returnToParent="0" transitionDur="1000">
                        <p166:blipFill xmlns:p166="http://schemas.microsoft.com/office/powerpoint/2016/6/main">
                          <a:blip r:embed="rId10"/>
                          <a:stretch>
                            <a:fillRect/>
                          </a:stretch>
                        </p166:blipFill>
                        <p166:spPr xmlns:p166="http://schemas.microsoft.com/office/powerpoint/2016/6/main">
                          <a:xfrm>
                            <a:off x="0" y="0"/>
                            <a:ext cx="774344" cy="435569"/>
                          </a:xfrm>
                          <a:prstGeom prst="rect">
                            <a:avLst/>
                          </a:prstGeom>
                          <a:ln w="2222">
                            <a:solidFill>
                              <a:prstClr val="ltGray"/>
                            </a:solidFill>
                          </a:ln>
                        </p166:spPr>
                      </pslz:zmPr>
                    </pslz:sldZmObj>
                  </pslz:sldZm>
                </a:graphicData>
              </a:graphic>
            </p:graphicFrame>
          </mc:Choice>
          <mc:Fallback xmlns="">
            <p:pic>
              <p:nvPicPr>
                <p:cNvPr id="47" name="Slide Zoom 46">
                  <a:extLst>
                    <a:ext uri="{FF2B5EF4-FFF2-40B4-BE49-F238E27FC236}">
                      <a16:creationId xmlns:a16="http://schemas.microsoft.com/office/drawing/2014/main" id="{58C2315F-8EF6-4710-A36D-D4E30C511B30}"/>
                    </a:ext>
                  </a:extLst>
                </p:cNvPr>
                <p:cNvPicPr>
                  <a:picLocks noGrp="1" noRot="1" noChangeAspect="1" noMove="1" noResize="1" noEditPoints="1" noAdjustHandles="1" noChangeArrowheads="1" noChangeShapeType="1"/>
                </p:cNvPicPr>
                <p:nvPr/>
              </p:nvPicPr>
              <p:blipFill>
                <a:blip r:embed="rId9"/>
                <a:stretch>
                  <a:fillRect/>
                </a:stretch>
              </p:blipFill>
              <p:spPr>
                <a:xfrm>
                  <a:off x="3384011" y="10801609"/>
                  <a:ext cx="774344" cy="435569"/>
                </a:xfrm>
                <a:prstGeom prst="rect">
                  <a:avLst/>
                </a:prstGeom>
                <a:ln w="2222">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48" name="Slide Zoom 47">
                  <a:extLst>
                    <a:ext uri="{FF2B5EF4-FFF2-40B4-BE49-F238E27FC236}">
                      <a16:creationId xmlns:a16="http://schemas.microsoft.com/office/drawing/2014/main" id="{8EB2A623-7E8C-495D-B027-4BCA217EBF32}"/>
                    </a:ext>
                  </a:extLst>
                </p:cNvPr>
                <p:cNvGraphicFramePr>
                  <a:graphicFrameLocks noChangeAspect="1"/>
                </p:cNvGraphicFramePr>
                <p:nvPr>
                  <p:extLst>
                    <p:ext uri="{D42A27DB-BD31-4B8C-83A1-F6EECF244321}">
                      <p14:modId xmlns:p14="http://schemas.microsoft.com/office/powerpoint/2010/main" val="2113642179"/>
                    </p:ext>
                  </p:extLst>
                </p:nvPr>
              </p:nvGraphicFramePr>
              <p:xfrm>
                <a:off x="3795542" y="5088446"/>
                <a:ext cx="774344" cy="435569"/>
              </p:xfrm>
              <a:graphic>
                <a:graphicData uri="http://schemas.microsoft.com/office/powerpoint/2016/slidezoom">
                  <pslz:sldZm>
                    <pslz:sldZmObj sldId="2147470586" cId="512482825">
                      <pslz:zmPr id="{0ADD2454-2617-44E1-A75D-B8F0FF337FA3}" returnToParent="0" transitionDur="1000">
                        <p166:blipFill xmlns:p166="http://schemas.microsoft.com/office/powerpoint/2016/6/main">
                          <a:blip r:embed="rId10"/>
                          <a:stretch>
                            <a:fillRect/>
                          </a:stretch>
                        </p166:blipFill>
                        <p166:spPr xmlns:p166="http://schemas.microsoft.com/office/powerpoint/2016/6/main">
                          <a:xfrm>
                            <a:off x="0" y="0"/>
                            <a:ext cx="774344" cy="435569"/>
                          </a:xfrm>
                          <a:prstGeom prst="rect">
                            <a:avLst/>
                          </a:prstGeom>
                        </p166:spPr>
                      </pslz:zmPr>
                    </pslz:sldZmObj>
                  </pslz:sldZm>
                </a:graphicData>
              </a:graphic>
            </p:graphicFrame>
          </mc:Choice>
          <mc:Fallback xmlns="">
            <p:pic>
              <p:nvPicPr>
                <p:cNvPr id="48" name="Slide Zoom 47">
                  <a:extLst>
                    <a:ext uri="{FF2B5EF4-FFF2-40B4-BE49-F238E27FC236}">
                      <a16:creationId xmlns:a16="http://schemas.microsoft.com/office/drawing/2014/main" id="{8EB2A623-7E8C-495D-B027-4BCA217EBF32}"/>
                    </a:ext>
                  </a:extLst>
                </p:cNvPr>
                <p:cNvPicPr>
                  <a:picLocks noGrp="1" noRot="1" noChangeAspect="1" noMove="1" noResize="1" noEditPoints="1" noAdjustHandles="1" noChangeArrowheads="1" noChangeShapeType="1"/>
                </p:cNvPicPr>
                <p:nvPr/>
              </p:nvPicPr>
              <p:blipFill>
                <a:blip r:embed="rId9"/>
                <a:stretch>
                  <a:fillRect/>
                </a:stretch>
              </p:blipFill>
              <p:spPr>
                <a:xfrm>
                  <a:off x="4310794" y="10798706"/>
                  <a:ext cx="774344" cy="435569"/>
                </a:xfrm>
                <a:prstGeom prst="rect">
                  <a:avLst/>
                </a:prstGeom>
              </p:spPr>
            </p:pic>
          </mc:Fallback>
        </mc:AlternateContent>
      </p:grpSp>
    </p:spTree>
    <p:extLst>
      <p:ext uri="{BB962C8B-B14F-4D97-AF65-F5344CB8AC3E}">
        <p14:creationId xmlns:p14="http://schemas.microsoft.com/office/powerpoint/2010/main" val="2787080123"/>
      </p:ext>
    </p:extLst>
  </p:cSld>
  <p:clrMapOvr>
    <a:masterClrMapping/>
  </p:clrMapOvr>
  <p:extLst>
    <p:ext uri="{DCECCB84-F9BA-43D5-87BE-67443E8EF086}">
      <p15:sldGuideLst xmlns:p15="http://schemas.microsoft.com/office/powerpoint/2012/main">
        <p15:guide id="1" pos="325">
          <p15:clr>
            <a:srgbClr val="FBAE40"/>
          </p15:clr>
        </p15:guide>
        <p15:guide id="2" pos="7378">
          <p15:clr>
            <a:srgbClr val="FBAE40"/>
          </p15:clr>
        </p15:guide>
        <p15:guide id="3" orient="horz" pos="3997">
          <p15:clr>
            <a:srgbClr val="FBAE40"/>
          </p15:clr>
        </p15:guide>
        <p15:guide id="4" orient="horz" pos="323">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ivider (Wheat) ">
    <p:bg>
      <p:bgPr>
        <a:solidFill>
          <a:srgbClr val="0065E5"/>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06BCF3-DDAB-403D-8CA9-261FACF982E8}"/>
              </a:ext>
            </a:extLst>
          </p:cNvPr>
          <p:cNvGraphicFramePr>
            <a:graphicFrameLocks noChangeAspect="1"/>
          </p:cNvGraphicFramePr>
          <p:nvPr userDrawn="1">
            <p:custDataLst>
              <p:tags r:id="rId1"/>
            </p:custDataLst>
            <p:extLst>
              <p:ext uri="{D42A27DB-BD31-4B8C-83A1-F6EECF244321}">
                <p14:modId xmlns:p14="http://schemas.microsoft.com/office/powerpoint/2010/main" val="1019624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7F06BCF3-DDAB-403D-8CA9-261FACF982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descr="A field of wheat&#10;&#10;Description automatically generated with low confidence">
            <a:extLst>
              <a:ext uri="{FF2B5EF4-FFF2-40B4-BE49-F238E27FC236}">
                <a16:creationId xmlns:a16="http://schemas.microsoft.com/office/drawing/2014/main" id="{03C8818F-625E-4EFA-A4D2-8EAD4F7375A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r="647"/>
          <a:stretch/>
        </p:blipFill>
        <p:spPr>
          <a:xfrm>
            <a:off x="0" y="0"/>
            <a:ext cx="7478038" cy="6858000"/>
          </a:xfrm>
          <a:prstGeom prst="rect">
            <a:avLst/>
          </a:prstGeom>
        </p:spPr>
      </p:pic>
      <p:sp>
        <p:nvSpPr>
          <p:cNvPr id="14" name="Text Placeholder 3">
            <a:extLst>
              <a:ext uri="{FF2B5EF4-FFF2-40B4-BE49-F238E27FC236}">
                <a16:creationId xmlns:a16="http://schemas.microsoft.com/office/drawing/2014/main" id="{EC3910F1-D605-4498-A958-35982DB6AA36}"/>
              </a:ext>
            </a:extLst>
          </p:cNvPr>
          <p:cNvSpPr>
            <a:spLocks noGrp="1"/>
          </p:cNvSpPr>
          <p:nvPr>
            <p:ph type="body" sz="quarter" idx="15" hasCustomPrompt="1"/>
          </p:nvPr>
        </p:nvSpPr>
        <p:spPr>
          <a:xfrm>
            <a:off x="8029753" y="512763"/>
            <a:ext cx="3646309" cy="498598"/>
          </a:xfrm>
          <a:prstGeom prst="rect">
            <a:avLst/>
          </a:prstGeom>
        </p:spPr>
        <p:txBody>
          <a:bodyPr wrap="square" lIns="0" tIns="0" rIns="0" bIns="0">
            <a:spAutoFit/>
          </a:bodyPr>
          <a:lstStyle>
            <a:lvl1pPr marL="7938" indent="-7938" rtl="0">
              <a:spcBef>
                <a:spcPts val="0"/>
              </a:spcBef>
              <a:buNone/>
              <a:tabLst/>
              <a:defRPr sz="3600" b="1" i="0">
                <a:solidFill>
                  <a:schemeClr val="bg1"/>
                </a:solidFill>
                <a:latin typeface="Leelawadee" panose="020B0502040204020203" pitchFamily="34" charset="-34"/>
                <a:cs typeface="Leelawadee" panose="020B0502040204020203" pitchFamily="34" charset="-34"/>
              </a:defRPr>
            </a:lvl1pPr>
          </a:lstStyle>
          <a:p>
            <a:pPr lvl="0"/>
            <a:r>
              <a:rPr lang="en-US" noProof="0"/>
              <a:t>Title</a:t>
            </a:r>
          </a:p>
        </p:txBody>
      </p:sp>
      <p:pic>
        <p:nvPicPr>
          <p:cNvPr id="15" name="Picture 14" descr="Logo&#10;&#10;Description automatically generated">
            <a:extLst>
              <a:ext uri="{FF2B5EF4-FFF2-40B4-BE49-F238E27FC236}">
                <a16:creationId xmlns:a16="http://schemas.microsoft.com/office/drawing/2014/main" id="{31900DC2-D885-4DFA-9785-CFFD77135EC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287179" y="5739255"/>
            <a:ext cx="1557599" cy="729808"/>
          </a:xfrm>
          <a:prstGeom prst="rect">
            <a:avLst/>
          </a:prstGeom>
        </p:spPr>
      </p:pic>
      <p:sp>
        <p:nvSpPr>
          <p:cNvPr id="13" name="Freeform: Shape 12">
            <a:extLst>
              <a:ext uri="{FF2B5EF4-FFF2-40B4-BE49-F238E27FC236}">
                <a16:creationId xmlns:a16="http://schemas.microsoft.com/office/drawing/2014/main" id="{0ABA205B-9E12-44B1-A996-D8A93D84D6DC}"/>
              </a:ext>
            </a:extLst>
          </p:cNvPr>
          <p:cNvSpPr/>
          <p:nvPr userDrawn="1"/>
        </p:nvSpPr>
        <p:spPr>
          <a:xfrm rot="10800000">
            <a:off x="620038" y="0"/>
            <a:ext cx="6858000" cy="6858000"/>
          </a:xfrm>
          <a:custGeom>
            <a:avLst/>
            <a:gdLst>
              <a:gd name="connsiteX0" fmla="*/ 0 w 2298700"/>
              <a:gd name="connsiteY0" fmla="*/ 0 h 2298700"/>
              <a:gd name="connsiteX1" fmla="*/ 2298700 w 2298700"/>
              <a:gd name="connsiteY1" fmla="*/ 0 h 2298700"/>
              <a:gd name="connsiteX2" fmla="*/ 0 w 2298700"/>
              <a:gd name="connsiteY2" fmla="*/ 2298700 h 2298700"/>
              <a:gd name="connsiteX3" fmla="*/ 0 w 2298700"/>
              <a:gd name="connsiteY3" fmla="*/ 0 h 2298700"/>
            </a:gdLst>
            <a:ahLst/>
            <a:cxnLst>
              <a:cxn ang="0">
                <a:pos x="connsiteX0" y="connsiteY0"/>
              </a:cxn>
              <a:cxn ang="0">
                <a:pos x="connsiteX1" y="connsiteY1"/>
              </a:cxn>
              <a:cxn ang="0">
                <a:pos x="connsiteX2" y="connsiteY2"/>
              </a:cxn>
              <a:cxn ang="0">
                <a:pos x="connsiteX3" y="connsiteY3"/>
              </a:cxn>
            </a:cxnLst>
            <a:rect l="l" t="t" r="r" b="b"/>
            <a:pathLst>
              <a:path w="2298700" h="2298700">
                <a:moveTo>
                  <a:pt x="0" y="0"/>
                </a:moveTo>
                <a:lnTo>
                  <a:pt x="2298700" y="0"/>
                </a:lnTo>
                <a:cubicBezTo>
                  <a:pt x="1029163" y="0"/>
                  <a:pt x="0" y="1029163"/>
                  <a:pt x="0" y="2298700"/>
                </a:cubicBezTo>
                <a:lnTo>
                  <a:pt x="0" y="0"/>
                </a:lnTo>
                <a:close/>
              </a:path>
            </a:pathLst>
          </a:custGeom>
          <a:solidFill>
            <a:srgbClr val="FFC4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noProof="0"/>
          </a:p>
        </p:txBody>
      </p:sp>
      <p:sp>
        <p:nvSpPr>
          <p:cNvPr id="16" name="Text Placeholder 3">
            <a:extLst>
              <a:ext uri="{FF2B5EF4-FFF2-40B4-BE49-F238E27FC236}">
                <a16:creationId xmlns:a16="http://schemas.microsoft.com/office/drawing/2014/main" id="{5920EABA-9D8D-40A1-916A-855DEAACBCA3}"/>
              </a:ext>
            </a:extLst>
          </p:cNvPr>
          <p:cNvSpPr>
            <a:spLocks noGrp="1"/>
          </p:cNvSpPr>
          <p:nvPr>
            <p:ph type="body" sz="quarter" idx="16" hasCustomPrompt="1"/>
          </p:nvPr>
        </p:nvSpPr>
        <p:spPr>
          <a:xfrm>
            <a:off x="8029753" y="1835306"/>
            <a:ext cx="3646309" cy="276999"/>
          </a:xfrm>
          <a:prstGeom prst="rect">
            <a:avLst/>
          </a:prstGeom>
        </p:spPr>
        <p:txBody>
          <a:bodyPr wrap="square" lIns="0" tIns="0" rIns="0" bIns="0">
            <a:spAutoFit/>
          </a:bodyPr>
          <a:lstStyle>
            <a:lvl1pPr marL="7938" indent="-7938" algn="l" rtl="0">
              <a:spcBef>
                <a:spcPts val="0"/>
              </a:spcBef>
              <a:buNone/>
              <a:tabLst/>
              <a:defRPr sz="2000" b="0" i="0">
                <a:solidFill>
                  <a:schemeClr val="bg1"/>
                </a:solidFill>
                <a:latin typeface="Leelawadee" panose="020B0502040204020203" pitchFamily="34" charset="-34"/>
                <a:cs typeface="Leelawadee" panose="020B0502040204020203" pitchFamily="34" charset="-34"/>
              </a:defRPr>
            </a:lvl1pPr>
          </a:lstStyle>
          <a:p>
            <a:pPr lvl="0"/>
            <a:r>
              <a:rPr lang="en-US" noProof="0"/>
              <a:t>Subtitle</a:t>
            </a:r>
          </a:p>
        </p:txBody>
      </p:sp>
    </p:spTree>
    <p:extLst>
      <p:ext uri="{BB962C8B-B14F-4D97-AF65-F5344CB8AC3E}">
        <p14:creationId xmlns:p14="http://schemas.microsoft.com/office/powerpoint/2010/main" val="2279399255"/>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guide id="3" orient="horz" pos="3997">
          <p15:clr>
            <a:srgbClr val="FBAE40"/>
          </p15:clr>
        </p15:guide>
        <p15:guide id="4" orient="horz" pos="323">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33CA900-2A91-466F-9255-09CEF979046E}"/>
              </a:ext>
            </a:extLst>
          </p:cNvPr>
          <p:cNvGraphicFramePr>
            <a:graphicFrameLocks noChangeAspect="1"/>
          </p:cNvGraphicFramePr>
          <p:nvPr userDrawn="1">
            <p:custDataLst>
              <p:tags r:id="rId1"/>
            </p:custDataLst>
            <p:extLst>
              <p:ext uri="{D42A27DB-BD31-4B8C-83A1-F6EECF244321}">
                <p14:modId xmlns:p14="http://schemas.microsoft.com/office/powerpoint/2010/main" val="2508145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933CA900-2A91-466F-9255-09CEF97904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object 5">
            <a:extLst>
              <a:ext uri="{FF2B5EF4-FFF2-40B4-BE49-F238E27FC236}">
                <a16:creationId xmlns:a16="http://schemas.microsoft.com/office/drawing/2014/main" id="{47086C8A-84DB-1940-BEA7-DBBB9D5AD42D}"/>
              </a:ext>
            </a:extLst>
          </p:cNvPr>
          <p:cNvSpPr/>
          <p:nvPr userDrawn="1"/>
        </p:nvSpPr>
        <p:spPr>
          <a:xfrm>
            <a:off x="-34288" y="0"/>
            <a:ext cx="12226288" cy="6858000"/>
          </a:xfrm>
          <a:custGeom>
            <a:avLst/>
            <a:gdLst/>
            <a:ahLst/>
            <a:cxnLst/>
            <a:rect l="l" t="t" r="r" b="b"/>
            <a:pathLst>
              <a:path w="4212590" h="6849109">
                <a:moveTo>
                  <a:pt x="4212005" y="0"/>
                </a:moveTo>
                <a:lnTo>
                  <a:pt x="0" y="0"/>
                </a:lnTo>
                <a:lnTo>
                  <a:pt x="0" y="6848995"/>
                </a:lnTo>
                <a:lnTo>
                  <a:pt x="4212005" y="6848995"/>
                </a:lnTo>
                <a:lnTo>
                  <a:pt x="4212005" y="0"/>
                </a:lnTo>
                <a:close/>
              </a:path>
            </a:pathLst>
          </a:custGeom>
          <a:solidFill>
            <a:schemeClr val="accent1"/>
          </a:solidFill>
        </p:spPr>
        <p:txBody>
          <a:bodyPr wrap="square" lIns="0" tIns="0" rIns="0" bIns="0" rtlCol="0"/>
          <a:lstStyle/>
          <a:p>
            <a:pPr rtl="0"/>
            <a:endParaRPr lang="en-US" noProof="0"/>
          </a:p>
        </p:txBody>
      </p:sp>
      <p:sp>
        <p:nvSpPr>
          <p:cNvPr id="24" name="object 10">
            <a:extLst>
              <a:ext uri="{FF2B5EF4-FFF2-40B4-BE49-F238E27FC236}">
                <a16:creationId xmlns:a16="http://schemas.microsoft.com/office/drawing/2014/main" id="{0994524A-769B-B742-80BC-F1C502F1E422}"/>
              </a:ext>
            </a:extLst>
          </p:cNvPr>
          <p:cNvSpPr/>
          <p:nvPr/>
        </p:nvSpPr>
        <p:spPr>
          <a:xfrm>
            <a:off x="8105402" y="3789181"/>
            <a:ext cx="598634" cy="237896"/>
          </a:xfrm>
          <a:custGeom>
            <a:avLst/>
            <a:gdLst/>
            <a:ahLst/>
            <a:cxnLst/>
            <a:rect l="l" t="t" r="r" b="b"/>
            <a:pathLst>
              <a:path w="594359">
                <a:moveTo>
                  <a:pt x="0" y="0"/>
                </a:moveTo>
                <a:lnTo>
                  <a:pt x="594004" y="0"/>
                </a:lnTo>
              </a:path>
            </a:pathLst>
          </a:custGeom>
          <a:ln w="9525">
            <a:solidFill>
              <a:srgbClr val="FFFFFF"/>
            </a:solidFill>
          </a:ln>
        </p:spPr>
        <p:txBody>
          <a:bodyPr wrap="square" lIns="0" tIns="0" rIns="0" bIns="0" rtlCol="0"/>
          <a:lstStyle/>
          <a:p>
            <a:pPr rtl="0"/>
            <a:endParaRPr lang="en-US" noProof="0"/>
          </a:p>
        </p:txBody>
      </p:sp>
      <p:sp>
        <p:nvSpPr>
          <p:cNvPr id="4" name="Text Placeholder 3">
            <a:extLst>
              <a:ext uri="{FF2B5EF4-FFF2-40B4-BE49-F238E27FC236}">
                <a16:creationId xmlns:a16="http://schemas.microsoft.com/office/drawing/2014/main" id="{2D4BF98B-D5FF-D640-8B08-3F30B1F11D9E}"/>
              </a:ext>
            </a:extLst>
          </p:cNvPr>
          <p:cNvSpPr>
            <a:spLocks noGrp="1"/>
          </p:cNvSpPr>
          <p:nvPr>
            <p:ph type="body" sz="quarter" idx="13" hasCustomPrompt="1"/>
          </p:nvPr>
        </p:nvSpPr>
        <p:spPr>
          <a:xfrm>
            <a:off x="7991165" y="3376933"/>
            <a:ext cx="3587051" cy="334962"/>
          </a:xfrm>
        </p:spPr>
        <p:txBody>
          <a:bodyPr/>
          <a:lstStyle>
            <a:lvl1pPr rtl="0">
              <a:buNone/>
              <a:defRPr sz="1800">
                <a:solidFill>
                  <a:schemeClr val="bg1"/>
                </a:solidFill>
                <a:latin typeface="Calibri" panose="020F0502020204030204" pitchFamily="34" charset="0"/>
                <a:cs typeface="Calibri" panose="020F0502020204030204" pitchFamily="34" charset="0"/>
              </a:defRPr>
            </a:lvl1pPr>
          </a:lstStyle>
          <a:p>
            <a:pPr lvl="0"/>
            <a:r>
              <a:rPr lang="en-US" noProof="0"/>
              <a:t>Presenter’s Name</a:t>
            </a:r>
          </a:p>
        </p:txBody>
      </p:sp>
      <p:sp>
        <p:nvSpPr>
          <p:cNvPr id="3" name="Text Placeholder 2">
            <a:extLst>
              <a:ext uri="{FF2B5EF4-FFF2-40B4-BE49-F238E27FC236}">
                <a16:creationId xmlns:a16="http://schemas.microsoft.com/office/drawing/2014/main" id="{A9A7EC67-992E-7743-8D67-9E23F97205EB}"/>
              </a:ext>
            </a:extLst>
          </p:cNvPr>
          <p:cNvSpPr>
            <a:spLocks noGrp="1"/>
          </p:cNvSpPr>
          <p:nvPr>
            <p:ph type="body" sz="quarter" idx="14" hasCustomPrompt="1"/>
          </p:nvPr>
        </p:nvSpPr>
        <p:spPr>
          <a:xfrm>
            <a:off x="7991102" y="3882109"/>
            <a:ext cx="3345069" cy="334962"/>
          </a:xfrm>
        </p:spPr>
        <p:txBody>
          <a:bodyPr/>
          <a:lstStyle>
            <a:lvl1pPr rtl="0">
              <a:buFontTx/>
              <a:buNone/>
              <a:defRPr sz="1500">
                <a:solidFill>
                  <a:schemeClr val="bg1"/>
                </a:solidFill>
                <a:latin typeface="Calibri" panose="020F0502020204030204" pitchFamily="34" charset="0"/>
                <a:cs typeface="Calibri" panose="020F0502020204030204" pitchFamily="34" charset="0"/>
              </a:defRPr>
            </a:lvl1pPr>
            <a:lvl2pPr>
              <a:buFontTx/>
              <a:buNone/>
              <a:defRPr/>
            </a:lvl2pPr>
            <a:lvl3pPr>
              <a:buFontTx/>
              <a:buNone/>
              <a:defRPr/>
            </a:lvl3pPr>
            <a:lvl4pPr>
              <a:buFontTx/>
              <a:buNone/>
              <a:defRPr/>
            </a:lvl4pPr>
            <a:lvl5pPr>
              <a:buFontTx/>
              <a:buNone/>
              <a:defRPr/>
            </a:lvl5pPr>
          </a:lstStyle>
          <a:p>
            <a:pPr lvl="0"/>
            <a:r>
              <a:rPr lang="en-US" noProof="0"/>
              <a:t>Date</a:t>
            </a:r>
          </a:p>
        </p:txBody>
      </p:sp>
      <p:sp>
        <p:nvSpPr>
          <p:cNvPr id="14" name="Text Placeholder 3">
            <a:extLst>
              <a:ext uri="{FF2B5EF4-FFF2-40B4-BE49-F238E27FC236}">
                <a16:creationId xmlns:a16="http://schemas.microsoft.com/office/drawing/2014/main" id="{35CF201F-2D28-5B49-A064-6A811F0B8254}"/>
              </a:ext>
            </a:extLst>
          </p:cNvPr>
          <p:cNvSpPr>
            <a:spLocks noGrp="1"/>
          </p:cNvSpPr>
          <p:nvPr>
            <p:ph type="body" sz="quarter" idx="15" hasCustomPrompt="1"/>
          </p:nvPr>
        </p:nvSpPr>
        <p:spPr>
          <a:xfrm>
            <a:off x="7991165" y="2156693"/>
            <a:ext cx="3811904" cy="932688"/>
          </a:xfrm>
        </p:spPr>
        <p:txBody>
          <a:bodyPr>
            <a:noAutofit/>
          </a:bodyPr>
          <a:lstStyle>
            <a:lvl1pPr marL="7938" indent="-7938" rtl="0">
              <a:spcBef>
                <a:spcPts val="0"/>
              </a:spcBef>
              <a:buNone/>
              <a:tabLst/>
              <a:defRPr sz="3000" b="1" i="0">
                <a:solidFill>
                  <a:schemeClr val="bg1"/>
                </a:solidFill>
                <a:latin typeface="Calibri" panose="020F0502020204030204" pitchFamily="34" charset="0"/>
                <a:cs typeface="Calibri" panose="020F0502020204030204" pitchFamily="34" charset="0"/>
              </a:defRPr>
            </a:lvl1pPr>
          </a:lstStyle>
          <a:p>
            <a:pPr lvl="0"/>
            <a:r>
              <a:rPr lang="en-US" noProof="0"/>
              <a:t>PepsiCo Positive</a:t>
            </a:r>
          </a:p>
          <a:p>
            <a:pPr lvl="0"/>
            <a:r>
              <a:rPr lang="en-US" noProof="0"/>
              <a:t>Template</a:t>
            </a:r>
          </a:p>
        </p:txBody>
      </p:sp>
      <p:pic>
        <p:nvPicPr>
          <p:cNvPr id="10" name="Picture 9" descr="A picture containing tree, green, plant, broccoli&#10;&#10;Description automatically generated">
            <a:extLst>
              <a:ext uri="{FF2B5EF4-FFF2-40B4-BE49-F238E27FC236}">
                <a16:creationId xmlns:a16="http://schemas.microsoft.com/office/drawing/2014/main" id="{C0BBEF17-CCF4-44A9-8BE8-126ABA4890DE}"/>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flipV="1">
            <a:off x="-34288" y="0"/>
            <a:ext cx="7526731" cy="6846212"/>
          </a:xfrm>
          <a:prstGeom prst="rect">
            <a:avLst/>
          </a:prstGeom>
        </p:spPr>
      </p:pic>
      <p:pic>
        <p:nvPicPr>
          <p:cNvPr id="11" name="Picture 10" descr="Logo&#10;&#10;Description automatically generated">
            <a:extLst>
              <a:ext uri="{FF2B5EF4-FFF2-40B4-BE49-F238E27FC236}">
                <a16:creationId xmlns:a16="http://schemas.microsoft.com/office/drawing/2014/main" id="{321D46E2-614D-CF4E-9C75-EC407239DA3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615073" y="4644994"/>
            <a:ext cx="3895609" cy="1825275"/>
          </a:xfrm>
          <a:prstGeom prst="rect">
            <a:avLst/>
          </a:prstGeom>
        </p:spPr>
      </p:pic>
    </p:spTree>
    <p:extLst>
      <p:ext uri="{BB962C8B-B14F-4D97-AF65-F5344CB8AC3E}">
        <p14:creationId xmlns:p14="http://schemas.microsoft.com/office/powerpoint/2010/main" val="206990937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ivider (Custom picture) ">
    <p:bg>
      <p:bgPr>
        <a:solidFill>
          <a:srgbClr val="0065E5"/>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06BCF3-DDAB-403D-8CA9-261FACF982E8}"/>
              </a:ext>
            </a:extLst>
          </p:cNvPr>
          <p:cNvGraphicFramePr>
            <a:graphicFrameLocks noChangeAspect="1"/>
          </p:cNvGraphicFramePr>
          <p:nvPr userDrawn="1">
            <p:custDataLst>
              <p:tags r:id="rId1"/>
            </p:custDataLst>
            <p:extLst>
              <p:ext uri="{D42A27DB-BD31-4B8C-83A1-F6EECF244321}">
                <p14:modId xmlns:p14="http://schemas.microsoft.com/office/powerpoint/2010/main" val="1895751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7F06BCF3-DDAB-403D-8CA9-261FACF982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FA8C6288-2571-4D28-9F32-FC8576185BAE}"/>
              </a:ext>
            </a:extLst>
          </p:cNvPr>
          <p:cNvSpPr/>
          <p:nvPr userDrawn="1"/>
        </p:nvSpPr>
        <p:spPr>
          <a:xfrm>
            <a:off x="0" y="0"/>
            <a:ext cx="7478038" cy="6858000"/>
          </a:xfrm>
          <a:prstGeom prst="rect">
            <a:avLst/>
          </a:prstGeom>
          <a:solidFill>
            <a:srgbClr val="00A6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18" name="Picture Placeholder 17">
            <a:extLst>
              <a:ext uri="{FF2B5EF4-FFF2-40B4-BE49-F238E27FC236}">
                <a16:creationId xmlns:a16="http://schemas.microsoft.com/office/drawing/2014/main" id="{B9A49B21-6320-4789-A738-B381ACA22C96}"/>
              </a:ext>
            </a:extLst>
          </p:cNvPr>
          <p:cNvSpPr>
            <a:spLocks noGrp="1"/>
          </p:cNvSpPr>
          <p:nvPr>
            <p:ph type="pic" sz="quarter" idx="17" hasCustomPrompt="1"/>
          </p:nvPr>
        </p:nvSpPr>
        <p:spPr>
          <a:xfrm>
            <a:off x="0" y="0"/>
            <a:ext cx="7477125" cy="6858000"/>
          </a:xfrm>
          <a:custGeom>
            <a:avLst/>
            <a:gdLst>
              <a:gd name="connsiteX0" fmla="*/ 0 w 7477125"/>
              <a:gd name="connsiteY0" fmla="*/ 0 h 6858000"/>
              <a:gd name="connsiteX1" fmla="*/ 1 w 7477125"/>
              <a:gd name="connsiteY1" fmla="*/ 0 h 6858000"/>
              <a:gd name="connsiteX2" fmla="*/ 1 w 7477125"/>
              <a:gd name="connsiteY2" fmla="*/ 6857999 h 6858000"/>
              <a:gd name="connsiteX3" fmla="*/ 6858001 w 7477125"/>
              <a:gd name="connsiteY3" fmla="*/ 6857999 h 6858000"/>
              <a:gd name="connsiteX4" fmla="*/ 8925 w 7477125"/>
              <a:gd name="connsiteY4" fmla="*/ 352911 h 6858000"/>
              <a:gd name="connsiteX5" fmla="*/ 1 w 7477125"/>
              <a:gd name="connsiteY5" fmla="*/ 0 h 6858000"/>
              <a:gd name="connsiteX6" fmla="*/ 7477125 w 7477125"/>
              <a:gd name="connsiteY6" fmla="*/ 0 h 6858000"/>
              <a:gd name="connsiteX7" fmla="*/ 7477125 w 7477125"/>
              <a:gd name="connsiteY7" fmla="*/ 6858000 h 6858000"/>
              <a:gd name="connsiteX8" fmla="*/ 0 w 7477125"/>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77125" h="6858000">
                <a:moveTo>
                  <a:pt x="0" y="0"/>
                </a:moveTo>
                <a:lnTo>
                  <a:pt x="1" y="0"/>
                </a:lnTo>
                <a:lnTo>
                  <a:pt x="1" y="6857999"/>
                </a:lnTo>
                <a:lnTo>
                  <a:pt x="6858001" y="6857999"/>
                </a:lnTo>
                <a:cubicBezTo>
                  <a:pt x="3188794" y="6857999"/>
                  <a:pt x="192603" y="3976472"/>
                  <a:pt x="8925" y="352911"/>
                </a:cubicBezTo>
                <a:lnTo>
                  <a:pt x="1" y="0"/>
                </a:lnTo>
                <a:lnTo>
                  <a:pt x="7477125" y="0"/>
                </a:lnTo>
                <a:lnTo>
                  <a:pt x="7477125" y="6858000"/>
                </a:lnTo>
                <a:lnTo>
                  <a:pt x="0" y="6858000"/>
                </a:lnTo>
                <a:close/>
              </a:path>
            </a:pathLst>
          </a:custGeom>
        </p:spPr>
        <p:txBody>
          <a:bodyPr wrap="square" anchor="ctr">
            <a:noAutofit/>
          </a:bodyPr>
          <a:lstStyle>
            <a:lvl1pPr marL="0" indent="0" algn="ctr" rtl="0">
              <a:buNone/>
              <a:defRPr sz="4800" b="1">
                <a:solidFill>
                  <a:schemeClr val="bg1"/>
                </a:solidFill>
                <a:latin typeface="Leelawadee" panose="020B0502040204020203" pitchFamily="34" charset="-34"/>
                <a:cs typeface="Leelawadee" panose="020B0502040204020203" pitchFamily="34" charset="-34"/>
              </a:defRPr>
            </a:lvl1pPr>
          </a:lstStyle>
          <a:p>
            <a:r>
              <a:rPr lang="en-US" noProof="0"/>
              <a:t>Picture Holder</a:t>
            </a:r>
          </a:p>
        </p:txBody>
      </p:sp>
      <p:sp>
        <p:nvSpPr>
          <p:cNvPr id="14" name="Text Placeholder 3">
            <a:extLst>
              <a:ext uri="{FF2B5EF4-FFF2-40B4-BE49-F238E27FC236}">
                <a16:creationId xmlns:a16="http://schemas.microsoft.com/office/drawing/2014/main" id="{EC3910F1-D605-4498-A958-35982DB6AA36}"/>
              </a:ext>
            </a:extLst>
          </p:cNvPr>
          <p:cNvSpPr>
            <a:spLocks noGrp="1"/>
          </p:cNvSpPr>
          <p:nvPr>
            <p:ph type="body" sz="quarter" idx="15" hasCustomPrompt="1"/>
          </p:nvPr>
        </p:nvSpPr>
        <p:spPr>
          <a:xfrm>
            <a:off x="8029753" y="512763"/>
            <a:ext cx="3646309" cy="498598"/>
          </a:xfrm>
          <a:prstGeom prst="rect">
            <a:avLst/>
          </a:prstGeom>
        </p:spPr>
        <p:txBody>
          <a:bodyPr wrap="square" lIns="0" tIns="0" rIns="0" bIns="0">
            <a:spAutoFit/>
          </a:bodyPr>
          <a:lstStyle>
            <a:lvl1pPr marL="7938" indent="-7938" rtl="0">
              <a:spcBef>
                <a:spcPts val="0"/>
              </a:spcBef>
              <a:buNone/>
              <a:tabLst/>
              <a:defRPr sz="3600" b="1" i="0">
                <a:solidFill>
                  <a:schemeClr val="bg1"/>
                </a:solidFill>
                <a:latin typeface="Leelawadee" panose="020B0502040204020203" pitchFamily="34" charset="-34"/>
                <a:cs typeface="Leelawadee" panose="020B0502040204020203" pitchFamily="34" charset="-34"/>
              </a:defRPr>
            </a:lvl1pPr>
          </a:lstStyle>
          <a:p>
            <a:pPr lvl="0"/>
            <a:r>
              <a:rPr lang="en-US" noProof="0"/>
              <a:t>Title</a:t>
            </a:r>
          </a:p>
        </p:txBody>
      </p:sp>
      <p:pic>
        <p:nvPicPr>
          <p:cNvPr id="15" name="Picture 14" descr="Logo&#10;&#10;Description automatically generated">
            <a:extLst>
              <a:ext uri="{FF2B5EF4-FFF2-40B4-BE49-F238E27FC236}">
                <a16:creationId xmlns:a16="http://schemas.microsoft.com/office/drawing/2014/main" id="{31900DC2-D885-4DFA-9785-CFFD77135EC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287179" y="5739255"/>
            <a:ext cx="1557599" cy="729808"/>
          </a:xfrm>
          <a:prstGeom prst="rect">
            <a:avLst/>
          </a:prstGeom>
        </p:spPr>
      </p:pic>
      <p:sp>
        <p:nvSpPr>
          <p:cNvPr id="16" name="Text Placeholder 3">
            <a:extLst>
              <a:ext uri="{FF2B5EF4-FFF2-40B4-BE49-F238E27FC236}">
                <a16:creationId xmlns:a16="http://schemas.microsoft.com/office/drawing/2014/main" id="{5920EABA-9D8D-40A1-916A-855DEAACBCA3}"/>
              </a:ext>
            </a:extLst>
          </p:cNvPr>
          <p:cNvSpPr>
            <a:spLocks noGrp="1"/>
          </p:cNvSpPr>
          <p:nvPr>
            <p:ph type="body" sz="quarter" idx="16" hasCustomPrompt="1"/>
          </p:nvPr>
        </p:nvSpPr>
        <p:spPr>
          <a:xfrm>
            <a:off x="8029753" y="1835306"/>
            <a:ext cx="3646309" cy="276999"/>
          </a:xfrm>
          <a:prstGeom prst="rect">
            <a:avLst/>
          </a:prstGeom>
        </p:spPr>
        <p:txBody>
          <a:bodyPr wrap="square" lIns="0" tIns="0" rIns="0" bIns="0">
            <a:spAutoFit/>
          </a:bodyPr>
          <a:lstStyle>
            <a:lvl1pPr marL="7938" indent="-7938" algn="l" rtl="0">
              <a:spcBef>
                <a:spcPts val="0"/>
              </a:spcBef>
              <a:buNone/>
              <a:tabLst/>
              <a:defRPr sz="2000" b="0" i="0">
                <a:solidFill>
                  <a:schemeClr val="bg1"/>
                </a:solidFill>
                <a:latin typeface="Leelawadee" panose="020B0502040204020203" pitchFamily="34" charset="-34"/>
                <a:cs typeface="Leelawadee" panose="020B0502040204020203" pitchFamily="34" charset="-34"/>
              </a:defRPr>
            </a:lvl1pPr>
          </a:lstStyle>
          <a:p>
            <a:pPr lvl="0"/>
            <a:r>
              <a:rPr lang="en-US" noProof="0"/>
              <a:t>Subtitle</a:t>
            </a:r>
          </a:p>
        </p:txBody>
      </p:sp>
      <p:sp>
        <p:nvSpPr>
          <p:cNvPr id="19" name="Freeform: Shape 18">
            <a:extLst>
              <a:ext uri="{FF2B5EF4-FFF2-40B4-BE49-F238E27FC236}">
                <a16:creationId xmlns:a16="http://schemas.microsoft.com/office/drawing/2014/main" id="{F7A4204A-92E2-473A-979D-9E45248E7FD2}"/>
              </a:ext>
            </a:extLst>
          </p:cNvPr>
          <p:cNvSpPr/>
          <p:nvPr userDrawn="1"/>
        </p:nvSpPr>
        <p:spPr>
          <a:xfrm rot="10800000" flipH="1">
            <a:off x="1" y="-1"/>
            <a:ext cx="6858000" cy="6858000"/>
          </a:xfrm>
          <a:custGeom>
            <a:avLst/>
            <a:gdLst>
              <a:gd name="connsiteX0" fmla="*/ 0 w 2298700"/>
              <a:gd name="connsiteY0" fmla="*/ 0 h 2298700"/>
              <a:gd name="connsiteX1" fmla="*/ 2298700 w 2298700"/>
              <a:gd name="connsiteY1" fmla="*/ 0 h 2298700"/>
              <a:gd name="connsiteX2" fmla="*/ 0 w 2298700"/>
              <a:gd name="connsiteY2" fmla="*/ 2298700 h 2298700"/>
              <a:gd name="connsiteX3" fmla="*/ 0 w 2298700"/>
              <a:gd name="connsiteY3" fmla="*/ 0 h 2298700"/>
            </a:gdLst>
            <a:ahLst/>
            <a:cxnLst>
              <a:cxn ang="0">
                <a:pos x="connsiteX0" y="connsiteY0"/>
              </a:cxn>
              <a:cxn ang="0">
                <a:pos x="connsiteX1" y="connsiteY1"/>
              </a:cxn>
              <a:cxn ang="0">
                <a:pos x="connsiteX2" y="connsiteY2"/>
              </a:cxn>
              <a:cxn ang="0">
                <a:pos x="connsiteX3" y="connsiteY3"/>
              </a:cxn>
            </a:cxnLst>
            <a:rect l="l" t="t" r="r" b="b"/>
            <a:pathLst>
              <a:path w="2298700" h="2298700">
                <a:moveTo>
                  <a:pt x="0" y="0"/>
                </a:moveTo>
                <a:lnTo>
                  <a:pt x="2298700" y="0"/>
                </a:lnTo>
                <a:cubicBezTo>
                  <a:pt x="1029163" y="0"/>
                  <a:pt x="0" y="1029163"/>
                  <a:pt x="0" y="2298700"/>
                </a:cubicBezTo>
                <a:lnTo>
                  <a:pt x="0" y="0"/>
                </a:lnTo>
                <a:close/>
              </a:path>
            </a:pathLst>
          </a:custGeom>
          <a:solidFill>
            <a:srgbClr val="8EDB4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Tree>
    <p:extLst>
      <p:ext uri="{BB962C8B-B14F-4D97-AF65-F5344CB8AC3E}">
        <p14:creationId xmlns:p14="http://schemas.microsoft.com/office/powerpoint/2010/main" val="1057615210"/>
      </p:ext>
    </p:extLst>
  </p:cSld>
  <p:clrMapOvr>
    <a:masterClrMapping/>
  </p:clrMapOvr>
  <p:extLst>
    <p:ext uri="{DCECCB84-F9BA-43D5-87BE-67443E8EF086}">
      <p15:sldGuideLst xmlns:p15="http://schemas.microsoft.com/office/powerpoint/2012/main">
        <p15:guide id="1" pos="7355">
          <p15:clr>
            <a:srgbClr val="FBAE40"/>
          </p15:clr>
        </p15:guide>
        <p15:guide id="2" pos="325">
          <p15:clr>
            <a:srgbClr val="FBAE40"/>
          </p15:clr>
        </p15:guide>
        <p15:guide id="3" orient="horz" pos="323">
          <p15:clr>
            <a:srgbClr val="FBAE40"/>
          </p15:clr>
        </p15:guide>
        <p15:guide id="4" orient="horz" pos="3997">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Divider (pep+ patterns) ">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5A58F2E-9DF4-4F6C-B580-317E75D8C7C4}"/>
              </a:ext>
            </a:extLst>
          </p:cNvPr>
          <p:cNvGraphicFramePr>
            <a:graphicFrameLocks noChangeAspect="1"/>
          </p:cNvGraphicFramePr>
          <p:nvPr userDrawn="1">
            <p:custDataLst>
              <p:tags r:id="rId1"/>
            </p:custDataLst>
            <p:extLst>
              <p:ext uri="{D42A27DB-BD31-4B8C-83A1-F6EECF244321}">
                <p14:modId xmlns:p14="http://schemas.microsoft.com/office/powerpoint/2010/main" val="637020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0" name="Object 9" hidden="1">
                        <a:extLst>
                          <a:ext uri="{FF2B5EF4-FFF2-40B4-BE49-F238E27FC236}">
                            <a16:creationId xmlns:a16="http://schemas.microsoft.com/office/drawing/2014/main" id="{05A58F2E-9DF4-4F6C-B580-317E75D8C7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ext Placeholder 3">
            <a:extLst>
              <a:ext uri="{FF2B5EF4-FFF2-40B4-BE49-F238E27FC236}">
                <a16:creationId xmlns:a16="http://schemas.microsoft.com/office/drawing/2014/main" id="{4EB15D48-DF0F-4E4A-983E-6AB408C95170}"/>
              </a:ext>
            </a:extLst>
          </p:cNvPr>
          <p:cNvSpPr>
            <a:spLocks noGrp="1"/>
          </p:cNvSpPr>
          <p:nvPr>
            <p:ph type="body" sz="quarter" idx="15" hasCustomPrompt="1"/>
          </p:nvPr>
        </p:nvSpPr>
        <p:spPr>
          <a:xfrm>
            <a:off x="5435595" y="838200"/>
            <a:ext cx="6240467" cy="553998"/>
          </a:xfrm>
          <a:prstGeom prst="rect">
            <a:avLst/>
          </a:prstGeom>
        </p:spPr>
        <p:txBody>
          <a:bodyPr wrap="square" lIns="0" tIns="0" rIns="0" bIns="0" anchor="t">
            <a:spAutoFit/>
          </a:bodyPr>
          <a:lstStyle>
            <a:lvl1pPr marL="7938" indent="-7938" algn="l" rtl="0">
              <a:spcBef>
                <a:spcPts val="0"/>
              </a:spcBef>
              <a:buNone/>
              <a:tabLst/>
              <a:defRPr sz="4000" b="1" i="0">
                <a:solidFill>
                  <a:schemeClr val="bg1"/>
                </a:solidFill>
                <a:latin typeface="Leelawadee" panose="020B0502040204020203" pitchFamily="34" charset="-34"/>
                <a:cs typeface="Leelawadee" panose="020B0502040204020203" pitchFamily="34" charset="-34"/>
              </a:defRPr>
            </a:lvl1pPr>
          </a:lstStyle>
          <a:p>
            <a:pPr lvl="0"/>
            <a:r>
              <a:rPr lang="en-US" noProof="0"/>
              <a:t>Title</a:t>
            </a:r>
          </a:p>
        </p:txBody>
      </p:sp>
      <p:pic>
        <p:nvPicPr>
          <p:cNvPr id="13" name="Picture 12" descr="Logo&#10;&#10;Description automatically generated">
            <a:extLst>
              <a:ext uri="{FF2B5EF4-FFF2-40B4-BE49-F238E27FC236}">
                <a16:creationId xmlns:a16="http://schemas.microsoft.com/office/drawing/2014/main" id="{69118B71-9DE5-4BDE-A347-3F15E5EB661F}"/>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9407"/>
          <a:stretch/>
        </p:blipFill>
        <p:spPr>
          <a:xfrm>
            <a:off x="5431874" y="4337904"/>
            <a:ext cx="2823126" cy="1460117"/>
          </a:xfrm>
          <a:prstGeom prst="rect">
            <a:avLst/>
          </a:prstGeom>
        </p:spPr>
      </p:pic>
      <p:sp>
        <p:nvSpPr>
          <p:cNvPr id="16" name="Text Placeholder 3">
            <a:extLst>
              <a:ext uri="{FF2B5EF4-FFF2-40B4-BE49-F238E27FC236}">
                <a16:creationId xmlns:a16="http://schemas.microsoft.com/office/drawing/2014/main" id="{BF5127A5-8833-47AB-B6AD-A8F9C2891BF8}"/>
              </a:ext>
            </a:extLst>
          </p:cNvPr>
          <p:cNvSpPr>
            <a:spLocks noGrp="1"/>
          </p:cNvSpPr>
          <p:nvPr>
            <p:ph type="body" sz="quarter" idx="16" hasCustomPrompt="1"/>
          </p:nvPr>
        </p:nvSpPr>
        <p:spPr>
          <a:xfrm>
            <a:off x="5431874" y="2297153"/>
            <a:ext cx="6244392" cy="276999"/>
          </a:xfrm>
          <a:prstGeom prst="rect">
            <a:avLst/>
          </a:prstGeom>
        </p:spPr>
        <p:txBody>
          <a:bodyPr wrap="square" lIns="0" tIns="0" rIns="0" bIns="0">
            <a:spAutoFit/>
          </a:bodyPr>
          <a:lstStyle>
            <a:lvl1pPr marL="7938" indent="-7938" algn="l" rtl="0">
              <a:spcBef>
                <a:spcPts val="0"/>
              </a:spcBef>
              <a:buNone/>
              <a:tabLst/>
              <a:defRPr sz="2000" b="0" i="0">
                <a:solidFill>
                  <a:schemeClr val="bg1"/>
                </a:solidFill>
                <a:latin typeface="Leelawadee" panose="020B0502040204020203" pitchFamily="34" charset="-34"/>
                <a:cs typeface="Leelawadee" panose="020B0502040204020203" pitchFamily="34" charset="-34"/>
              </a:defRPr>
            </a:lvl1pPr>
          </a:lstStyle>
          <a:p>
            <a:pPr lvl="0"/>
            <a:r>
              <a:rPr lang="en-US" noProof="0"/>
              <a:t>Subtitle</a:t>
            </a:r>
          </a:p>
        </p:txBody>
      </p:sp>
      <p:sp>
        <p:nvSpPr>
          <p:cNvPr id="29" name="Rectangle 28">
            <a:extLst>
              <a:ext uri="{FF2B5EF4-FFF2-40B4-BE49-F238E27FC236}">
                <a16:creationId xmlns:a16="http://schemas.microsoft.com/office/drawing/2014/main" id="{27DEAF1F-EF5A-4E4F-8B4B-967ECBB8264E}"/>
              </a:ext>
            </a:extLst>
          </p:cNvPr>
          <p:cNvSpPr/>
          <p:nvPr userDrawn="1"/>
        </p:nvSpPr>
        <p:spPr>
          <a:xfrm>
            <a:off x="0" y="0"/>
            <a:ext cx="2298700" cy="2298700"/>
          </a:xfrm>
          <a:prstGeom prst="rect">
            <a:avLst/>
          </a:prstGeom>
          <a:solidFill>
            <a:srgbClr val="93D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19" name="Text Placeholder 3">
            <a:extLst>
              <a:ext uri="{FF2B5EF4-FFF2-40B4-BE49-F238E27FC236}">
                <a16:creationId xmlns:a16="http://schemas.microsoft.com/office/drawing/2014/main" id="{BF8343BB-684F-4510-9026-8C58B05C220F}"/>
              </a:ext>
            </a:extLst>
          </p:cNvPr>
          <p:cNvSpPr>
            <a:spLocks noGrp="1"/>
          </p:cNvSpPr>
          <p:nvPr>
            <p:ph type="body" sz="quarter" idx="17" hasCustomPrompt="1"/>
          </p:nvPr>
        </p:nvSpPr>
        <p:spPr>
          <a:xfrm>
            <a:off x="5431874" y="3027218"/>
            <a:ext cx="6244392" cy="276999"/>
          </a:xfrm>
          <a:prstGeom prst="rect">
            <a:avLst/>
          </a:prstGeom>
        </p:spPr>
        <p:txBody>
          <a:bodyPr wrap="square" lIns="0" tIns="0" rIns="0" bIns="0">
            <a:spAutoFit/>
          </a:bodyPr>
          <a:lstStyle>
            <a:lvl1pPr marL="7938" indent="-7938" algn="l" rtl="0">
              <a:spcBef>
                <a:spcPts val="0"/>
              </a:spcBef>
              <a:buNone/>
              <a:tabLst/>
              <a:defRPr sz="2000" b="0" i="0">
                <a:solidFill>
                  <a:schemeClr val="bg1"/>
                </a:solidFill>
                <a:latin typeface="Leelawadee" panose="020B0502040204020203" pitchFamily="34" charset="-34"/>
                <a:cs typeface="Leelawadee" panose="020B0502040204020203" pitchFamily="34" charset="-34"/>
              </a:defRPr>
            </a:lvl1pPr>
          </a:lstStyle>
          <a:p>
            <a:pPr lvl="0"/>
            <a:r>
              <a:rPr lang="en-US" noProof="0"/>
              <a:t>Presenter’s name</a:t>
            </a:r>
          </a:p>
        </p:txBody>
      </p:sp>
      <p:sp>
        <p:nvSpPr>
          <p:cNvPr id="22" name="Rectangle 21">
            <a:extLst>
              <a:ext uri="{FF2B5EF4-FFF2-40B4-BE49-F238E27FC236}">
                <a16:creationId xmlns:a16="http://schemas.microsoft.com/office/drawing/2014/main" id="{E85768F3-71F1-4DF0-B686-E0F881C01912}"/>
              </a:ext>
            </a:extLst>
          </p:cNvPr>
          <p:cNvSpPr/>
          <p:nvPr userDrawn="1"/>
        </p:nvSpPr>
        <p:spPr>
          <a:xfrm>
            <a:off x="0" y="2298701"/>
            <a:ext cx="2298700" cy="2298700"/>
          </a:xfrm>
          <a:prstGeom prst="rect">
            <a:avLst/>
          </a:prstGeom>
          <a:solidFill>
            <a:srgbClr val="00C1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23" name="Rectangle 22">
            <a:extLst>
              <a:ext uri="{FF2B5EF4-FFF2-40B4-BE49-F238E27FC236}">
                <a16:creationId xmlns:a16="http://schemas.microsoft.com/office/drawing/2014/main" id="{29B8E4DE-97B8-4681-982E-ADB24A8444AC}"/>
              </a:ext>
            </a:extLst>
          </p:cNvPr>
          <p:cNvSpPr/>
          <p:nvPr userDrawn="1"/>
        </p:nvSpPr>
        <p:spPr>
          <a:xfrm>
            <a:off x="2298700" y="0"/>
            <a:ext cx="2298700" cy="2298700"/>
          </a:xfrm>
          <a:prstGeom prst="rect">
            <a:avLst/>
          </a:prstGeom>
          <a:solidFill>
            <a:srgbClr val="00C1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24" name="Rectangle 23">
            <a:extLst>
              <a:ext uri="{FF2B5EF4-FFF2-40B4-BE49-F238E27FC236}">
                <a16:creationId xmlns:a16="http://schemas.microsoft.com/office/drawing/2014/main" id="{3D62C860-692A-4D90-9165-00938B731278}"/>
              </a:ext>
            </a:extLst>
          </p:cNvPr>
          <p:cNvSpPr/>
          <p:nvPr userDrawn="1"/>
        </p:nvSpPr>
        <p:spPr>
          <a:xfrm>
            <a:off x="2298700" y="2298701"/>
            <a:ext cx="2298700" cy="2298700"/>
          </a:xfrm>
          <a:prstGeom prst="rect">
            <a:avLst/>
          </a:prstGeom>
          <a:solidFill>
            <a:srgbClr val="133D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28" name="Freeform: Shape 27">
            <a:extLst>
              <a:ext uri="{FF2B5EF4-FFF2-40B4-BE49-F238E27FC236}">
                <a16:creationId xmlns:a16="http://schemas.microsoft.com/office/drawing/2014/main" id="{D778CD25-16D5-4545-AA64-C54B990296A7}"/>
              </a:ext>
            </a:extLst>
          </p:cNvPr>
          <p:cNvSpPr/>
          <p:nvPr userDrawn="1"/>
        </p:nvSpPr>
        <p:spPr>
          <a:xfrm>
            <a:off x="0" y="0"/>
            <a:ext cx="2298700" cy="2298700"/>
          </a:xfrm>
          <a:custGeom>
            <a:avLst/>
            <a:gdLst>
              <a:gd name="connsiteX0" fmla="*/ 2298700 w 2298700"/>
              <a:gd name="connsiteY0" fmla="*/ 0 h 2298700"/>
              <a:gd name="connsiteX1" fmla="*/ 2298700 w 2298700"/>
              <a:gd name="connsiteY1" fmla="*/ 2298700 h 2298700"/>
              <a:gd name="connsiteX2" fmla="*/ 0 w 2298700"/>
              <a:gd name="connsiteY2" fmla="*/ 2298700 h 2298700"/>
              <a:gd name="connsiteX3" fmla="*/ 2298700 w 2298700"/>
              <a:gd name="connsiteY3" fmla="*/ 0 h 2298700"/>
            </a:gdLst>
            <a:ahLst/>
            <a:cxnLst>
              <a:cxn ang="0">
                <a:pos x="connsiteX0" y="connsiteY0"/>
              </a:cxn>
              <a:cxn ang="0">
                <a:pos x="connsiteX1" y="connsiteY1"/>
              </a:cxn>
              <a:cxn ang="0">
                <a:pos x="connsiteX2" y="connsiteY2"/>
              </a:cxn>
              <a:cxn ang="0">
                <a:pos x="connsiteX3" y="connsiteY3"/>
              </a:cxn>
            </a:cxnLst>
            <a:rect l="l" t="t" r="r" b="b"/>
            <a:pathLst>
              <a:path w="2298700" h="2298700">
                <a:moveTo>
                  <a:pt x="2298700" y="0"/>
                </a:moveTo>
                <a:lnTo>
                  <a:pt x="2298700" y="2298700"/>
                </a:lnTo>
                <a:lnTo>
                  <a:pt x="0" y="2298700"/>
                </a:lnTo>
                <a:cubicBezTo>
                  <a:pt x="0" y="1029163"/>
                  <a:pt x="1029163" y="0"/>
                  <a:pt x="2298700" y="0"/>
                </a:cubicBezTo>
                <a:close/>
              </a:path>
            </a:pathLst>
          </a:cu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31" name="Freeform: Shape 30">
            <a:extLst>
              <a:ext uri="{FF2B5EF4-FFF2-40B4-BE49-F238E27FC236}">
                <a16:creationId xmlns:a16="http://schemas.microsoft.com/office/drawing/2014/main" id="{360BD2DA-036B-4188-8971-A0E477C28632}"/>
              </a:ext>
            </a:extLst>
          </p:cNvPr>
          <p:cNvSpPr/>
          <p:nvPr userDrawn="1"/>
        </p:nvSpPr>
        <p:spPr>
          <a:xfrm rot="5400000">
            <a:off x="2298700" y="0"/>
            <a:ext cx="2298700" cy="2298700"/>
          </a:xfrm>
          <a:custGeom>
            <a:avLst/>
            <a:gdLst>
              <a:gd name="connsiteX0" fmla="*/ 2298700 w 2298700"/>
              <a:gd name="connsiteY0" fmla="*/ 0 h 2298700"/>
              <a:gd name="connsiteX1" fmla="*/ 2298700 w 2298700"/>
              <a:gd name="connsiteY1" fmla="*/ 2298700 h 2298700"/>
              <a:gd name="connsiteX2" fmla="*/ 0 w 2298700"/>
              <a:gd name="connsiteY2" fmla="*/ 2298700 h 2298700"/>
              <a:gd name="connsiteX3" fmla="*/ 2298700 w 2298700"/>
              <a:gd name="connsiteY3" fmla="*/ 0 h 2298700"/>
            </a:gdLst>
            <a:ahLst/>
            <a:cxnLst>
              <a:cxn ang="0">
                <a:pos x="connsiteX0" y="connsiteY0"/>
              </a:cxn>
              <a:cxn ang="0">
                <a:pos x="connsiteX1" y="connsiteY1"/>
              </a:cxn>
              <a:cxn ang="0">
                <a:pos x="connsiteX2" y="connsiteY2"/>
              </a:cxn>
              <a:cxn ang="0">
                <a:pos x="connsiteX3" y="connsiteY3"/>
              </a:cxn>
            </a:cxnLst>
            <a:rect l="l" t="t" r="r" b="b"/>
            <a:pathLst>
              <a:path w="2298700" h="2298700">
                <a:moveTo>
                  <a:pt x="2298700" y="0"/>
                </a:moveTo>
                <a:lnTo>
                  <a:pt x="2298700" y="2298700"/>
                </a:lnTo>
                <a:lnTo>
                  <a:pt x="0" y="2298700"/>
                </a:lnTo>
                <a:cubicBezTo>
                  <a:pt x="0" y="1029163"/>
                  <a:pt x="1029163" y="0"/>
                  <a:pt x="2298700" y="0"/>
                </a:cubicBezTo>
                <a:close/>
              </a:path>
            </a:pathLst>
          </a:custGeom>
          <a:solidFill>
            <a:srgbClr val="0066E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32" name="Freeform: Shape 31">
            <a:extLst>
              <a:ext uri="{FF2B5EF4-FFF2-40B4-BE49-F238E27FC236}">
                <a16:creationId xmlns:a16="http://schemas.microsoft.com/office/drawing/2014/main" id="{2E4D2C27-C255-4E7C-958F-F974E6423A21}"/>
              </a:ext>
            </a:extLst>
          </p:cNvPr>
          <p:cNvSpPr/>
          <p:nvPr userDrawn="1"/>
        </p:nvSpPr>
        <p:spPr>
          <a:xfrm flipV="1">
            <a:off x="0" y="2298700"/>
            <a:ext cx="2298700" cy="2298700"/>
          </a:xfrm>
          <a:custGeom>
            <a:avLst/>
            <a:gdLst>
              <a:gd name="connsiteX0" fmla="*/ 2298700 w 2298700"/>
              <a:gd name="connsiteY0" fmla="*/ 0 h 2298700"/>
              <a:gd name="connsiteX1" fmla="*/ 2298700 w 2298700"/>
              <a:gd name="connsiteY1" fmla="*/ 2298700 h 2298700"/>
              <a:gd name="connsiteX2" fmla="*/ 0 w 2298700"/>
              <a:gd name="connsiteY2" fmla="*/ 2298700 h 2298700"/>
              <a:gd name="connsiteX3" fmla="*/ 2298700 w 2298700"/>
              <a:gd name="connsiteY3" fmla="*/ 0 h 2298700"/>
            </a:gdLst>
            <a:ahLst/>
            <a:cxnLst>
              <a:cxn ang="0">
                <a:pos x="connsiteX0" y="connsiteY0"/>
              </a:cxn>
              <a:cxn ang="0">
                <a:pos x="connsiteX1" y="connsiteY1"/>
              </a:cxn>
              <a:cxn ang="0">
                <a:pos x="connsiteX2" y="connsiteY2"/>
              </a:cxn>
              <a:cxn ang="0">
                <a:pos x="connsiteX3" y="connsiteY3"/>
              </a:cxn>
            </a:cxnLst>
            <a:rect l="l" t="t" r="r" b="b"/>
            <a:pathLst>
              <a:path w="2298700" h="2298700">
                <a:moveTo>
                  <a:pt x="2298700" y="0"/>
                </a:moveTo>
                <a:lnTo>
                  <a:pt x="2298700" y="2298700"/>
                </a:lnTo>
                <a:lnTo>
                  <a:pt x="0" y="2298700"/>
                </a:lnTo>
                <a:cubicBezTo>
                  <a:pt x="0" y="1029163"/>
                  <a:pt x="1029163" y="0"/>
                  <a:pt x="2298700" y="0"/>
                </a:cubicBezTo>
                <a:close/>
              </a:path>
            </a:pathLst>
          </a:custGeom>
          <a:solidFill>
            <a:srgbClr val="93D5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33" name="Freeform: Shape 32">
            <a:extLst>
              <a:ext uri="{FF2B5EF4-FFF2-40B4-BE49-F238E27FC236}">
                <a16:creationId xmlns:a16="http://schemas.microsoft.com/office/drawing/2014/main" id="{F21292C8-517F-449B-937E-CB52015C4AE9}"/>
              </a:ext>
            </a:extLst>
          </p:cNvPr>
          <p:cNvSpPr/>
          <p:nvPr userDrawn="1"/>
        </p:nvSpPr>
        <p:spPr>
          <a:xfrm rot="16200000" flipV="1">
            <a:off x="2298700" y="2298700"/>
            <a:ext cx="2298700" cy="2298700"/>
          </a:xfrm>
          <a:custGeom>
            <a:avLst/>
            <a:gdLst>
              <a:gd name="connsiteX0" fmla="*/ 2298700 w 2298700"/>
              <a:gd name="connsiteY0" fmla="*/ 0 h 2298700"/>
              <a:gd name="connsiteX1" fmla="*/ 2298700 w 2298700"/>
              <a:gd name="connsiteY1" fmla="*/ 2298700 h 2298700"/>
              <a:gd name="connsiteX2" fmla="*/ 0 w 2298700"/>
              <a:gd name="connsiteY2" fmla="*/ 2298700 h 2298700"/>
              <a:gd name="connsiteX3" fmla="*/ 2298700 w 2298700"/>
              <a:gd name="connsiteY3" fmla="*/ 0 h 2298700"/>
            </a:gdLst>
            <a:ahLst/>
            <a:cxnLst>
              <a:cxn ang="0">
                <a:pos x="connsiteX0" y="connsiteY0"/>
              </a:cxn>
              <a:cxn ang="0">
                <a:pos x="connsiteX1" y="connsiteY1"/>
              </a:cxn>
              <a:cxn ang="0">
                <a:pos x="connsiteX2" y="connsiteY2"/>
              </a:cxn>
              <a:cxn ang="0">
                <a:pos x="connsiteX3" y="connsiteY3"/>
              </a:cxn>
            </a:cxnLst>
            <a:rect l="l" t="t" r="r" b="b"/>
            <a:pathLst>
              <a:path w="2298700" h="2298700">
                <a:moveTo>
                  <a:pt x="2298700" y="0"/>
                </a:moveTo>
                <a:lnTo>
                  <a:pt x="2298700" y="2298700"/>
                </a:lnTo>
                <a:lnTo>
                  <a:pt x="0" y="2298700"/>
                </a:lnTo>
                <a:cubicBezTo>
                  <a:pt x="0" y="1029163"/>
                  <a:pt x="1029163" y="0"/>
                  <a:pt x="2298700" y="0"/>
                </a:cubicBezTo>
                <a:close/>
              </a:path>
            </a:pathLst>
          </a:custGeom>
          <a:solidFill>
            <a:srgbClr val="00C14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34" name="Freeform: Shape 33">
            <a:extLst>
              <a:ext uri="{FF2B5EF4-FFF2-40B4-BE49-F238E27FC236}">
                <a16:creationId xmlns:a16="http://schemas.microsoft.com/office/drawing/2014/main" id="{B3C9DEEA-65E3-410D-B9D7-B7571D824B16}"/>
              </a:ext>
            </a:extLst>
          </p:cNvPr>
          <p:cNvSpPr/>
          <p:nvPr userDrawn="1"/>
        </p:nvSpPr>
        <p:spPr>
          <a:xfrm>
            <a:off x="2298698" y="2297153"/>
            <a:ext cx="2298700" cy="2298700"/>
          </a:xfrm>
          <a:custGeom>
            <a:avLst/>
            <a:gdLst>
              <a:gd name="connsiteX0" fmla="*/ 0 w 2298700"/>
              <a:gd name="connsiteY0" fmla="*/ 0 h 2298700"/>
              <a:gd name="connsiteX1" fmla="*/ 2298700 w 2298700"/>
              <a:gd name="connsiteY1" fmla="*/ 0 h 2298700"/>
              <a:gd name="connsiteX2" fmla="*/ 0 w 2298700"/>
              <a:gd name="connsiteY2" fmla="*/ 2298700 h 2298700"/>
              <a:gd name="connsiteX3" fmla="*/ 0 w 2298700"/>
              <a:gd name="connsiteY3" fmla="*/ 0 h 2298700"/>
            </a:gdLst>
            <a:ahLst/>
            <a:cxnLst>
              <a:cxn ang="0">
                <a:pos x="connsiteX0" y="connsiteY0"/>
              </a:cxn>
              <a:cxn ang="0">
                <a:pos x="connsiteX1" y="connsiteY1"/>
              </a:cxn>
              <a:cxn ang="0">
                <a:pos x="connsiteX2" y="connsiteY2"/>
              </a:cxn>
              <a:cxn ang="0">
                <a:pos x="connsiteX3" y="connsiteY3"/>
              </a:cxn>
            </a:cxnLst>
            <a:rect l="l" t="t" r="r" b="b"/>
            <a:pathLst>
              <a:path w="2298700" h="2298700">
                <a:moveTo>
                  <a:pt x="0" y="0"/>
                </a:moveTo>
                <a:lnTo>
                  <a:pt x="2298700" y="0"/>
                </a:lnTo>
                <a:cubicBezTo>
                  <a:pt x="1029163" y="0"/>
                  <a:pt x="0" y="1029163"/>
                  <a:pt x="0" y="2298700"/>
                </a:cubicBezTo>
                <a:lnTo>
                  <a:pt x="0" y="0"/>
                </a:lnTo>
                <a:close/>
              </a:path>
            </a:pathLst>
          </a:custGeom>
          <a:solidFill>
            <a:srgbClr val="133D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35" name="Rectangle 34">
            <a:extLst>
              <a:ext uri="{FF2B5EF4-FFF2-40B4-BE49-F238E27FC236}">
                <a16:creationId xmlns:a16="http://schemas.microsoft.com/office/drawing/2014/main" id="{B790B156-20E6-4219-92F6-B4EB13B49541}"/>
              </a:ext>
            </a:extLst>
          </p:cNvPr>
          <p:cNvSpPr/>
          <p:nvPr userDrawn="1"/>
        </p:nvSpPr>
        <p:spPr>
          <a:xfrm>
            <a:off x="0" y="4595853"/>
            <a:ext cx="2298700" cy="2260598"/>
          </a:xfrm>
          <a:prstGeom prst="rect">
            <a:avLst/>
          </a:prstGeom>
          <a:solidFill>
            <a:srgbClr val="006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36" name="Rectangle 35">
            <a:extLst>
              <a:ext uri="{FF2B5EF4-FFF2-40B4-BE49-F238E27FC236}">
                <a16:creationId xmlns:a16="http://schemas.microsoft.com/office/drawing/2014/main" id="{7270F2D2-C833-4056-B9C6-92CC2DF76DEE}"/>
              </a:ext>
            </a:extLst>
          </p:cNvPr>
          <p:cNvSpPr/>
          <p:nvPr userDrawn="1"/>
        </p:nvSpPr>
        <p:spPr>
          <a:xfrm>
            <a:off x="2298700" y="4595853"/>
            <a:ext cx="2298700" cy="2262147"/>
          </a:xfrm>
          <a:prstGeom prst="rect">
            <a:avLst/>
          </a:prstGeom>
          <a:solidFill>
            <a:srgbClr val="00A5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37" name="Freeform: Shape 36">
            <a:extLst>
              <a:ext uri="{FF2B5EF4-FFF2-40B4-BE49-F238E27FC236}">
                <a16:creationId xmlns:a16="http://schemas.microsoft.com/office/drawing/2014/main" id="{B020F72A-CDD9-48E6-9B5B-86F6D735E491}"/>
              </a:ext>
            </a:extLst>
          </p:cNvPr>
          <p:cNvSpPr/>
          <p:nvPr userDrawn="1"/>
        </p:nvSpPr>
        <p:spPr>
          <a:xfrm rot="10800000">
            <a:off x="2298696" y="4559299"/>
            <a:ext cx="2298700" cy="2298700"/>
          </a:xfrm>
          <a:custGeom>
            <a:avLst/>
            <a:gdLst>
              <a:gd name="connsiteX0" fmla="*/ 0 w 2298700"/>
              <a:gd name="connsiteY0" fmla="*/ 0 h 2298700"/>
              <a:gd name="connsiteX1" fmla="*/ 2298700 w 2298700"/>
              <a:gd name="connsiteY1" fmla="*/ 0 h 2298700"/>
              <a:gd name="connsiteX2" fmla="*/ 0 w 2298700"/>
              <a:gd name="connsiteY2" fmla="*/ 2298700 h 2298700"/>
              <a:gd name="connsiteX3" fmla="*/ 0 w 2298700"/>
              <a:gd name="connsiteY3" fmla="*/ 0 h 2298700"/>
            </a:gdLst>
            <a:ahLst/>
            <a:cxnLst>
              <a:cxn ang="0">
                <a:pos x="connsiteX0" y="connsiteY0"/>
              </a:cxn>
              <a:cxn ang="0">
                <a:pos x="connsiteX1" y="connsiteY1"/>
              </a:cxn>
              <a:cxn ang="0">
                <a:pos x="connsiteX2" y="connsiteY2"/>
              </a:cxn>
              <a:cxn ang="0">
                <a:pos x="connsiteX3" y="connsiteY3"/>
              </a:cxn>
            </a:cxnLst>
            <a:rect l="l" t="t" r="r" b="b"/>
            <a:pathLst>
              <a:path w="2298700" h="2298700">
                <a:moveTo>
                  <a:pt x="0" y="0"/>
                </a:moveTo>
                <a:lnTo>
                  <a:pt x="2298700" y="0"/>
                </a:lnTo>
                <a:cubicBezTo>
                  <a:pt x="1029163" y="0"/>
                  <a:pt x="0" y="1029163"/>
                  <a:pt x="0" y="2298700"/>
                </a:cubicBezTo>
                <a:lnTo>
                  <a:pt x="0" y="0"/>
                </a:lnTo>
                <a:close/>
              </a:path>
            </a:pathLst>
          </a:custGeom>
          <a:solidFill>
            <a:srgbClr val="FFC42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7" name="Right Triangle 6">
            <a:extLst>
              <a:ext uri="{FF2B5EF4-FFF2-40B4-BE49-F238E27FC236}">
                <a16:creationId xmlns:a16="http://schemas.microsoft.com/office/drawing/2014/main" id="{3D15B0BC-6A43-4216-AE94-804BD48B303B}"/>
              </a:ext>
            </a:extLst>
          </p:cNvPr>
          <p:cNvSpPr/>
          <p:nvPr userDrawn="1"/>
        </p:nvSpPr>
        <p:spPr>
          <a:xfrm>
            <a:off x="0" y="5462546"/>
            <a:ext cx="2298692" cy="1395454"/>
          </a:xfrm>
          <a:prstGeom prst="rtTriangle">
            <a:avLst/>
          </a:prstGeom>
          <a:solidFill>
            <a:srgbClr val="00A5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Tree>
    <p:extLst>
      <p:ext uri="{BB962C8B-B14F-4D97-AF65-F5344CB8AC3E}">
        <p14:creationId xmlns:p14="http://schemas.microsoft.com/office/powerpoint/2010/main" val="393489112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Pattern with Content 0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FEDFB37-F16C-448D-8D8B-E57C4B1FF0DA}"/>
              </a:ext>
            </a:extLst>
          </p:cNvPr>
          <p:cNvGraphicFramePr>
            <a:graphicFrameLocks noChangeAspect="1"/>
          </p:cNvGraphicFramePr>
          <p:nvPr userDrawn="1">
            <p:custDataLst>
              <p:tags r:id="rId1"/>
            </p:custDataLst>
            <p:extLst>
              <p:ext uri="{D42A27DB-BD31-4B8C-83A1-F6EECF244321}">
                <p14:modId xmlns:p14="http://schemas.microsoft.com/office/powerpoint/2010/main" val="3230209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0FEDFB37-F16C-448D-8D8B-E57C4B1FF0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45D5DD2-2E19-CA4B-AA8E-4199EABE98B3}"/>
              </a:ext>
            </a:extLst>
          </p:cNvPr>
          <p:cNvSpPr/>
          <p:nvPr userDrawn="1"/>
        </p:nvSpPr>
        <p:spPr>
          <a:xfrm>
            <a:off x="4409440" y="0"/>
            <a:ext cx="7782560" cy="6608560"/>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15" name="Text Placeholder 2">
            <a:extLst>
              <a:ext uri="{FF2B5EF4-FFF2-40B4-BE49-F238E27FC236}">
                <a16:creationId xmlns:a16="http://schemas.microsoft.com/office/drawing/2014/main" id="{FD29E553-7C78-5843-B13C-8A9A1E1B2129}"/>
              </a:ext>
            </a:extLst>
          </p:cNvPr>
          <p:cNvSpPr>
            <a:spLocks noGrp="1"/>
          </p:cNvSpPr>
          <p:nvPr>
            <p:ph type="body" sz="quarter" idx="14"/>
          </p:nvPr>
        </p:nvSpPr>
        <p:spPr>
          <a:xfrm>
            <a:off x="5144513" y="703110"/>
            <a:ext cx="6276095" cy="5307398"/>
          </a:xfrm>
        </p:spPr>
        <p:txBody>
          <a:bodyPr>
            <a:noAutofit/>
          </a:bodyPr>
          <a:lstStyle>
            <a:lvl1pPr marL="519113" indent="-519113" rtl="0">
              <a:lnSpc>
                <a:spcPct val="100000"/>
              </a:lnSpc>
              <a:spcBef>
                <a:spcPts val="0"/>
              </a:spcBef>
              <a:buFont typeface="Arial" panose="020B0604020202020204" pitchFamily="34" charset="0"/>
              <a:buChar char="•"/>
              <a:tabLst/>
              <a:defRPr sz="6000" b="1" i="0">
                <a:solidFill>
                  <a:schemeClr val="bg1"/>
                </a:solidFill>
                <a:latin typeface="Calibri" panose="020F0502020204030204" pitchFamily="34" charset="0"/>
                <a:cs typeface="Calibri" panose="020F0502020204030204" pitchFamily="34" charset="0"/>
              </a:defRPr>
            </a:lvl1pPr>
            <a:lvl2pPr marL="746125" marR="0" indent="-460375" algn="l" defTabSz="914400" rtl="0" eaLnBrk="1" fontAlgn="auto" latinLnBrk="0" hangingPunct="1">
              <a:lnSpc>
                <a:spcPct val="100000"/>
              </a:lnSpc>
              <a:spcBef>
                <a:spcPts val="0"/>
              </a:spcBef>
              <a:spcAft>
                <a:spcPts val="0"/>
              </a:spcAft>
              <a:buClrTx/>
              <a:buSzPct val="70000"/>
              <a:buFont typeface="Courier New" panose="02070309020205020404" pitchFamily="49" charset="0"/>
              <a:buChar char="o"/>
              <a:tabLst/>
              <a:defRPr sz="6000" b="0" i="0">
                <a:solidFill>
                  <a:schemeClr val="bg1"/>
                </a:solidFill>
                <a:latin typeface="Calibri" panose="020F0502020204030204" pitchFamily="34" charset="0"/>
                <a:cs typeface="Calibri" panose="020F0502020204030204" pitchFamily="34" charset="0"/>
              </a:defRPr>
            </a:lvl2pPr>
            <a:lvl3pPr marL="1087438" indent="-447675">
              <a:lnSpc>
                <a:spcPct val="100000"/>
              </a:lnSpc>
              <a:buSzPct val="70000"/>
              <a:buFont typeface="Courier New" panose="02070309020205020404" pitchFamily="49" charset="0"/>
              <a:buChar char="o"/>
              <a:tabLst>
                <a:tab pos="1023938" algn="l"/>
              </a:tabLst>
              <a:defRPr sz="6000">
                <a:solidFill>
                  <a:schemeClr val="bg1"/>
                </a:solidFill>
              </a:defRPr>
            </a:lvl3pPr>
            <a:lvl4pPr marL="1493838" indent="-471488">
              <a:lnSpc>
                <a:spcPct val="100000"/>
              </a:lnSpc>
              <a:buClr>
                <a:schemeClr val="bg1"/>
              </a:buClr>
              <a:buSzPct val="80000"/>
              <a:buFont typeface="Wingdings" pitchFamily="2" charset="2"/>
              <a:buChar char="§"/>
              <a:tabLst/>
              <a:defRPr sz="6000">
                <a:solidFill>
                  <a:schemeClr val="bg1"/>
                </a:solidFill>
              </a:defRPr>
            </a:lvl4pPr>
            <a:lvl5pPr marL="1887538" indent="-468313">
              <a:lnSpc>
                <a:spcPct val="100000"/>
              </a:lnSpc>
              <a:buClr>
                <a:schemeClr val="bg1"/>
              </a:buClr>
              <a:buSzPct val="80000"/>
              <a:buFont typeface="Wingdings" pitchFamily="2" charset="2"/>
              <a:buChar char="§"/>
              <a:tabLst/>
              <a:defRPr sz="6000">
                <a:solidFill>
                  <a:schemeClr val="bg1"/>
                </a:solidFill>
              </a:defRPr>
            </a:lvl5pPr>
          </a:lstStyle>
          <a:p>
            <a:pPr lvl="0"/>
            <a:r>
              <a:rPr lang="en-US" noProof="0"/>
              <a:t>Click to edit Master text styles</a:t>
            </a:r>
          </a:p>
        </p:txBody>
      </p:sp>
      <p:pic>
        <p:nvPicPr>
          <p:cNvPr id="14" name="Picture 13" descr="Shape, circle&#10;&#10;Description automatically generated">
            <a:extLst>
              <a:ext uri="{FF2B5EF4-FFF2-40B4-BE49-F238E27FC236}">
                <a16:creationId xmlns:a16="http://schemas.microsoft.com/office/drawing/2014/main" id="{C8D452A2-BF8C-B247-842C-3E70087B917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rot="10800000">
            <a:off x="-22330" y="2207789"/>
            <a:ext cx="2215865" cy="2215865"/>
          </a:xfrm>
          <a:prstGeom prst="rect">
            <a:avLst/>
          </a:prstGeom>
        </p:spPr>
      </p:pic>
      <p:pic>
        <p:nvPicPr>
          <p:cNvPr id="18" name="Picture 17" descr="Shape, circle&#10;&#10;Description automatically generated">
            <a:extLst>
              <a:ext uri="{FF2B5EF4-FFF2-40B4-BE49-F238E27FC236}">
                <a16:creationId xmlns:a16="http://schemas.microsoft.com/office/drawing/2014/main" id="{00D050FC-9B85-9744-83A4-3956EA752C9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192122" y="2208606"/>
            <a:ext cx="2213814" cy="2215864"/>
          </a:xfrm>
          <a:prstGeom prst="rect">
            <a:avLst/>
          </a:prstGeom>
        </p:spPr>
      </p:pic>
      <p:pic>
        <p:nvPicPr>
          <p:cNvPr id="16" name="Picture 15" descr="A picture containing diagram&#10;&#10;Description automatically generated">
            <a:extLst>
              <a:ext uri="{FF2B5EF4-FFF2-40B4-BE49-F238E27FC236}">
                <a16:creationId xmlns:a16="http://schemas.microsoft.com/office/drawing/2014/main" id="{0EEA53EB-6594-A243-8953-40990CD868F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rot="5400000">
            <a:off x="2193148" y="-9101"/>
            <a:ext cx="2215864" cy="2217916"/>
          </a:xfrm>
          <a:prstGeom prst="rect">
            <a:avLst/>
          </a:prstGeom>
        </p:spPr>
      </p:pic>
      <p:pic>
        <p:nvPicPr>
          <p:cNvPr id="21" name="Picture 20" descr="Shape&#10;&#10;Description automatically generated">
            <a:extLst>
              <a:ext uri="{FF2B5EF4-FFF2-40B4-BE49-F238E27FC236}">
                <a16:creationId xmlns:a16="http://schemas.microsoft.com/office/drawing/2014/main" id="{43D7F4C2-9656-1E4B-B7B7-3AA0F46A3328}"/>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rot="5400000">
            <a:off x="2193146" y="4395557"/>
            <a:ext cx="2211766" cy="2213814"/>
          </a:xfrm>
          <a:prstGeom prst="rect">
            <a:avLst/>
          </a:prstGeom>
        </p:spPr>
      </p:pic>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pPr rtl="0"/>
            <a:r>
              <a:rPr lang="en-US" b="0" i="0" noProof="0">
                <a:solidFill>
                  <a:srgbClr val="000000"/>
                </a:solidFill>
                <a:effectLst/>
                <a:latin typeface="Times New Roman" panose="02020603050405020304" pitchFamily="18" charset="0"/>
              </a:rPr>
              <a:t> </a:t>
            </a:r>
            <a:endParaRPr lang="en-US" noProof="0"/>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pPr rtl="0"/>
            <a:r>
              <a:rPr lang="en-US" b="0" i="0" noProof="0">
                <a:solidFill>
                  <a:srgbClr val="000000"/>
                </a:solidFill>
                <a:effectLst/>
                <a:latin typeface="Times New Roman" panose="02020603050405020304" pitchFamily="18" charset="0"/>
              </a:rPr>
              <a:t> </a:t>
            </a:r>
            <a:endParaRPr lang="en-US" noProof="0"/>
          </a:p>
        </p:txBody>
      </p:sp>
      <p:pic>
        <p:nvPicPr>
          <p:cNvPr id="5" name="Picture 4" descr="Shape, circle&#10;&#10;Description automatically generated">
            <a:extLst>
              <a:ext uri="{FF2B5EF4-FFF2-40B4-BE49-F238E27FC236}">
                <a16:creationId xmlns:a16="http://schemas.microsoft.com/office/drawing/2014/main" id="{CF8D6C01-B35A-3D46-894A-E4559F9A0010}"/>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20280" y="-3698"/>
            <a:ext cx="2213815" cy="2215866"/>
          </a:xfrm>
          <a:prstGeom prst="rect">
            <a:avLst/>
          </a:prstGeom>
        </p:spPr>
      </p:pic>
      <p:pic>
        <p:nvPicPr>
          <p:cNvPr id="19" name="Picture 18" descr="Shape&#10;&#10;Description automatically generated">
            <a:extLst>
              <a:ext uri="{FF2B5EF4-FFF2-40B4-BE49-F238E27FC236}">
                <a16:creationId xmlns:a16="http://schemas.microsoft.com/office/drawing/2014/main" id="{6718313F-641C-B144-B0ED-92C528E0379C}"/>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rot="10800000">
            <a:off x="-20281" y="4394638"/>
            <a:ext cx="2213815" cy="2213815"/>
          </a:xfrm>
          <a:prstGeom prst="rect">
            <a:avLst/>
          </a:prstGeom>
        </p:spPr>
      </p:pic>
      <p:grpSp>
        <p:nvGrpSpPr>
          <p:cNvPr id="17" name="Group 16">
            <a:extLst>
              <a:ext uri="{FF2B5EF4-FFF2-40B4-BE49-F238E27FC236}">
                <a16:creationId xmlns:a16="http://schemas.microsoft.com/office/drawing/2014/main" id="{EE71A5EF-8E99-4E11-9920-D10DFAD5BC9B}"/>
              </a:ext>
            </a:extLst>
          </p:cNvPr>
          <p:cNvGrpSpPr/>
          <p:nvPr userDrawn="1"/>
        </p:nvGrpSpPr>
        <p:grpSpPr>
          <a:xfrm>
            <a:off x="-185937" y="6570000"/>
            <a:ext cx="12377937" cy="288000"/>
            <a:chOff x="-185937" y="6570000"/>
            <a:chExt cx="12377937" cy="288000"/>
          </a:xfrm>
        </p:grpSpPr>
        <p:grpSp>
          <p:nvGrpSpPr>
            <p:cNvPr id="20" name="Group 19">
              <a:extLst>
                <a:ext uri="{FF2B5EF4-FFF2-40B4-BE49-F238E27FC236}">
                  <a16:creationId xmlns:a16="http://schemas.microsoft.com/office/drawing/2014/main" id="{8924BD9B-BCFE-4719-A0BD-E9446E73FB1D}"/>
                </a:ext>
              </a:extLst>
            </p:cNvPr>
            <p:cNvGrpSpPr/>
            <p:nvPr userDrawn="1"/>
          </p:nvGrpSpPr>
          <p:grpSpPr>
            <a:xfrm>
              <a:off x="-185937" y="6570000"/>
              <a:ext cx="12377937" cy="288000"/>
              <a:chOff x="-185937" y="6570000"/>
              <a:chExt cx="12377937" cy="288000"/>
            </a:xfrm>
          </p:grpSpPr>
          <p:sp>
            <p:nvSpPr>
              <p:cNvPr id="23" name="Rectangle 22">
                <a:extLst>
                  <a:ext uri="{FF2B5EF4-FFF2-40B4-BE49-F238E27FC236}">
                    <a16:creationId xmlns:a16="http://schemas.microsoft.com/office/drawing/2014/main" id="{088ED7A6-CD2E-4A06-91F7-DC44A526175F}"/>
                  </a:ext>
                </a:extLst>
              </p:cNvPr>
              <p:cNvSpPr/>
              <p:nvPr userDrawn="1"/>
            </p:nvSpPr>
            <p:spPr>
              <a:xfrm>
                <a:off x="0" y="6570000"/>
                <a:ext cx="12192000" cy="288000"/>
              </a:xfrm>
              <a:prstGeom prst="rect">
                <a:avLst/>
              </a:prstGeom>
              <a:solidFill>
                <a:srgbClr val="0065E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E4A4541-D6A3-415C-AE4A-75619362C5A2}"/>
                  </a:ext>
                </a:extLst>
              </p:cNvPr>
              <p:cNvSpPr txBox="1"/>
              <p:nvPr userDrawn="1"/>
            </p:nvSpPr>
            <p:spPr>
              <a:xfrm>
                <a:off x="-185937" y="6659012"/>
                <a:ext cx="1212838" cy="123111"/>
              </a:xfrm>
              <a:prstGeom prst="rect">
                <a:avLst/>
              </a:prstGeom>
              <a:noFill/>
            </p:spPr>
            <p:txBody>
              <a:bodyPr wrap="squar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300" normalizeH="0" baseline="0" noProof="0">
                    <a:ln>
                      <a:noFill/>
                    </a:ln>
                    <a:solidFill>
                      <a:prstClr val="white"/>
                    </a:solidFill>
                    <a:effectLst/>
                    <a:uLnTx/>
                    <a:uFillTx/>
                    <a:latin typeface="Leelawadee" panose="020B0502040204020203" pitchFamily="34" charset="-34"/>
                    <a:cs typeface="Leelawadee" panose="020B0502040204020203" pitchFamily="34" charset="-34"/>
                  </a:rPr>
                  <a:t>PAGE </a:t>
                </a:r>
                <a:fld id="{A9E0B6D1-DDC5-4C92-958F-2E726AE580D7}" type="slidenum">
                  <a:rPr kumimoji="0" lang="en-US" sz="800" b="0" i="0" u="none" strike="noStrike" kern="0" cap="none" spc="300" normalizeH="0" baseline="0" noProof="0" smtClean="0">
                    <a:ln>
                      <a:noFill/>
                    </a:ln>
                    <a:solidFill>
                      <a:prstClr val="white"/>
                    </a:solidFill>
                    <a:effectLst/>
                    <a:uLnTx/>
                    <a:uFillTx/>
                    <a:latin typeface="Leelawadee" panose="020B0502040204020203" pitchFamily="34" charset="-34"/>
                    <a:cs typeface="Leelawadee" panose="020B0502040204020203" pitchFamily="34" charset="-34"/>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0" lang="en-US" sz="800" b="0" i="0" u="none" strike="noStrike" kern="0" cap="none" spc="300" normalizeH="0" baseline="0" noProof="0">
                  <a:ln>
                    <a:noFill/>
                  </a:ln>
                  <a:solidFill>
                    <a:prstClr val="white"/>
                  </a:solidFill>
                  <a:effectLst/>
                  <a:uLnTx/>
                  <a:uFillTx/>
                  <a:latin typeface="Leelawadee" panose="020B0502040204020203" pitchFamily="34" charset="-34"/>
                  <a:cs typeface="Leelawadee" panose="020B0502040204020203" pitchFamily="34" charset="-34"/>
                </a:endParaRPr>
              </a:p>
            </p:txBody>
          </p:sp>
          <p:cxnSp>
            <p:nvCxnSpPr>
              <p:cNvPr id="25" name="Straight Connector 24">
                <a:extLst>
                  <a:ext uri="{FF2B5EF4-FFF2-40B4-BE49-F238E27FC236}">
                    <a16:creationId xmlns:a16="http://schemas.microsoft.com/office/drawing/2014/main" id="{105CCE5D-719E-4512-845C-F265DBF53907}"/>
                  </a:ext>
                </a:extLst>
              </p:cNvPr>
              <p:cNvCxnSpPr/>
              <p:nvPr userDrawn="1"/>
            </p:nvCxnSpPr>
            <p:spPr>
              <a:xfrm>
                <a:off x="1122998" y="6570000"/>
                <a:ext cx="0" cy="288000"/>
              </a:xfrm>
              <a:prstGeom prst="line">
                <a:avLst/>
              </a:prstGeom>
              <a:noFill/>
              <a:ln w="6350" cap="flat" cmpd="sng" algn="ctr">
                <a:solidFill>
                  <a:sysClr val="window" lastClr="FFFFFF"/>
                </a:solidFill>
                <a:prstDash val="solid"/>
                <a:miter lim="800000"/>
              </a:ln>
              <a:effectLst/>
            </p:spPr>
          </p:cxnSp>
        </p:grpSp>
        <p:sp>
          <p:nvSpPr>
            <p:cNvPr id="22" name="TextBox 21">
              <a:extLst>
                <a:ext uri="{FF2B5EF4-FFF2-40B4-BE49-F238E27FC236}">
                  <a16:creationId xmlns:a16="http://schemas.microsoft.com/office/drawing/2014/main" id="{35782CE5-349C-4ED7-85BD-40219E445496}"/>
                </a:ext>
              </a:extLst>
            </p:cNvPr>
            <p:cNvSpPr txBox="1"/>
            <p:nvPr userDrawn="1"/>
          </p:nvSpPr>
          <p:spPr>
            <a:xfrm>
              <a:off x="1294444" y="6658626"/>
              <a:ext cx="4669135" cy="123111"/>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300" normalizeH="0" baseline="0" noProof="0">
                  <a:ln>
                    <a:noFill/>
                  </a:ln>
                  <a:solidFill>
                    <a:prstClr val="white"/>
                  </a:solidFill>
                  <a:effectLst/>
                  <a:uLnTx/>
                  <a:uFillTx/>
                  <a:latin typeface="Leelawadee" panose="020B0502040204020203" pitchFamily="34" charset="-34"/>
                  <a:cs typeface="Leelawadee" panose="020B0502040204020203" pitchFamily="34" charset="-34"/>
                </a:rPr>
                <a:t>CONFIDENTIAL &amp; PROPRIETARY</a:t>
              </a:r>
            </a:p>
          </p:txBody>
        </p:sp>
      </p:grpSp>
      <p:sp>
        <p:nvSpPr>
          <p:cNvPr id="26" name="Rectangle 25">
            <a:hlinkClick r:id="" action="ppaction://noaction"/>
            <a:extLst>
              <a:ext uri="{FF2B5EF4-FFF2-40B4-BE49-F238E27FC236}">
                <a16:creationId xmlns:a16="http://schemas.microsoft.com/office/drawing/2014/main" id="{D3122622-66E6-4165-ACE9-8F947210F885}"/>
              </a:ext>
            </a:extLst>
          </p:cNvPr>
          <p:cNvSpPr/>
          <p:nvPr userDrawn="1"/>
        </p:nvSpPr>
        <p:spPr>
          <a:xfrm>
            <a:off x="5214721" y="6579908"/>
            <a:ext cx="1147937" cy="273659"/>
          </a:xfrm>
          <a:prstGeom prst="rect">
            <a:avLst/>
          </a:prstGeom>
          <a:noFill/>
          <a:ln w="317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800" b="0" i="0" u="none" strike="noStrike" kern="0" cap="none" spc="0" normalizeH="0" baseline="0" noProof="0">
                <a:ln>
                  <a:noFill/>
                </a:ln>
                <a:solidFill>
                  <a:prstClr val="white">
                    <a:alpha val="50000"/>
                  </a:prstClr>
                </a:solidFill>
                <a:effectLst/>
                <a:uLnTx/>
                <a:uFillTx/>
                <a:latin typeface="Leelawadee" panose="020B0502040204020203" pitchFamily="34" charset="-34"/>
                <a:ea typeface="+mn-ea"/>
                <a:cs typeface="Leelawadee" panose="020B0502040204020203" pitchFamily="34" charset="-34"/>
              </a:rPr>
              <a:t>Intro &amp; objectives</a:t>
            </a:r>
          </a:p>
        </p:txBody>
      </p:sp>
      <p:sp>
        <p:nvSpPr>
          <p:cNvPr id="27" name="Rectangle 26">
            <a:hlinkClick r:id="rId11" action="ppaction://hlinksldjump"/>
            <a:extLst>
              <a:ext uri="{FF2B5EF4-FFF2-40B4-BE49-F238E27FC236}">
                <a16:creationId xmlns:a16="http://schemas.microsoft.com/office/drawing/2014/main" id="{81BA53E8-3A40-457E-8B91-AFC112B3CC23}"/>
              </a:ext>
            </a:extLst>
          </p:cNvPr>
          <p:cNvSpPr/>
          <p:nvPr userDrawn="1"/>
        </p:nvSpPr>
        <p:spPr>
          <a:xfrm>
            <a:off x="6367021" y="6579908"/>
            <a:ext cx="1126055" cy="273659"/>
          </a:xfrm>
          <a:prstGeom prst="rect">
            <a:avLst/>
          </a:prstGeom>
          <a:noFill/>
          <a:ln w="317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solidFill>
                  <a:prstClr val="white">
                    <a:alpha val="50000"/>
                  </a:prstClr>
                </a:solidFill>
                <a:effectLst/>
                <a:uLnTx/>
                <a:uFillTx/>
                <a:latin typeface="Leelawadee" panose="020B0502040204020203" pitchFamily="34" charset="-34"/>
                <a:ea typeface="+mn-ea"/>
                <a:cs typeface="Leelawadee" panose="020B0502040204020203" pitchFamily="34" charset="-34"/>
              </a:rPr>
              <a:t>Introducing pep+ </a:t>
            </a:r>
            <a:br>
              <a:rPr kumimoji="0" lang="en-US" sz="800" b="0" i="0" u="none" strike="noStrike" kern="0" cap="none" spc="0" normalizeH="0" baseline="0" noProof="0">
                <a:ln>
                  <a:noFill/>
                </a:ln>
                <a:solidFill>
                  <a:prstClr val="white">
                    <a:alpha val="50000"/>
                  </a:prstClr>
                </a:solidFill>
                <a:effectLst/>
                <a:uLnTx/>
                <a:uFillTx/>
                <a:latin typeface="Leelawadee" panose="020B0502040204020203" pitchFamily="34" charset="-34"/>
                <a:ea typeface="+mn-ea"/>
                <a:cs typeface="Leelawadee" panose="020B0502040204020203" pitchFamily="34" charset="-34"/>
              </a:rPr>
            </a:br>
            <a:r>
              <a:rPr kumimoji="0" lang="en-US" sz="800" b="0" i="0" u="none" strike="noStrike" kern="0" cap="none" spc="0" normalizeH="0" baseline="0" noProof="0">
                <a:ln>
                  <a:noFill/>
                </a:ln>
                <a:solidFill>
                  <a:prstClr val="white">
                    <a:alpha val="50000"/>
                  </a:prstClr>
                </a:solidFill>
                <a:effectLst/>
                <a:uLnTx/>
                <a:uFillTx/>
                <a:latin typeface="Leelawadee" panose="020B0502040204020203" pitchFamily="34" charset="-34"/>
                <a:ea typeface="+mn-ea"/>
                <a:cs typeface="Leelawadee" panose="020B0502040204020203" pitchFamily="34" charset="-34"/>
              </a:rPr>
              <a:t>to Customers</a:t>
            </a:r>
          </a:p>
        </p:txBody>
      </p:sp>
      <p:sp>
        <p:nvSpPr>
          <p:cNvPr id="28" name="Rectangle 27">
            <a:hlinkClick r:id="" action="ppaction://noaction"/>
            <a:extLst>
              <a:ext uri="{FF2B5EF4-FFF2-40B4-BE49-F238E27FC236}">
                <a16:creationId xmlns:a16="http://schemas.microsoft.com/office/drawing/2014/main" id="{D6E2F5EB-23E4-41FE-917C-C8BDF236126B}"/>
              </a:ext>
            </a:extLst>
          </p:cNvPr>
          <p:cNvSpPr/>
          <p:nvPr userDrawn="1"/>
        </p:nvSpPr>
        <p:spPr>
          <a:xfrm>
            <a:off x="7510981" y="6579908"/>
            <a:ext cx="967705" cy="273659"/>
          </a:xfrm>
          <a:prstGeom prst="rect">
            <a:avLst/>
          </a:prstGeom>
          <a:noFill/>
          <a:ln w="317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solidFill>
                  <a:prstClr val="white">
                    <a:alpha val="50000"/>
                  </a:prstClr>
                </a:solidFill>
                <a:effectLst/>
                <a:uLnTx/>
                <a:uFillTx/>
                <a:latin typeface="Leelawadee" panose="020B0502040204020203" pitchFamily="34" charset="-34"/>
                <a:ea typeface="+mn-ea"/>
                <a:cs typeface="Leelawadee" panose="020B0502040204020203" pitchFamily="34" charset="-34"/>
              </a:rPr>
              <a:t>Exploring </a:t>
            </a:r>
            <a:br>
              <a:rPr kumimoji="0" lang="en-US" sz="800" b="0" i="0" u="none" strike="noStrike" kern="0" cap="none" spc="0" normalizeH="0" baseline="0" noProof="0">
                <a:ln>
                  <a:noFill/>
                </a:ln>
                <a:solidFill>
                  <a:prstClr val="white">
                    <a:alpha val="50000"/>
                  </a:prstClr>
                </a:solidFill>
                <a:effectLst/>
                <a:uLnTx/>
                <a:uFillTx/>
                <a:latin typeface="Leelawadee" panose="020B0502040204020203" pitchFamily="34" charset="-34"/>
                <a:ea typeface="+mn-ea"/>
                <a:cs typeface="Leelawadee" panose="020B0502040204020203" pitchFamily="34" charset="-34"/>
              </a:rPr>
            </a:br>
            <a:r>
              <a:rPr kumimoji="0" lang="en-US" sz="800" b="0" i="0" u="none" strike="noStrike" kern="0" cap="none" spc="0" normalizeH="0" baseline="0" noProof="0">
                <a:ln>
                  <a:noFill/>
                </a:ln>
                <a:solidFill>
                  <a:prstClr val="white">
                    <a:alpha val="50000"/>
                  </a:prstClr>
                </a:solidFill>
                <a:effectLst/>
                <a:uLnTx/>
                <a:uFillTx/>
                <a:latin typeface="Leelawadee" panose="020B0502040204020203" pitchFamily="34" charset="-34"/>
                <a:ea typeface="+mn-ea"/>
                <a:cs typeface="Leelawadee" panose="020B0502040204020203" pitchFamily="34" charset="-34"/>
              </a:rPr>
              <a:t>pep+ areas</a:t>
            </a:r>
          </a:p>
        </p:txBody>
      </p:sp>
      <p:sp>
        <p:nvSpPr>
          <p:cNvPr id="29" name="Rectangle 28">
            <a:hlinkClick r:id="" action="ppaction://noaction"/>
            <a:hlinkHover r:id="" action="ppaction://noaction" highlightClick="1"/>
            <a:extLst>
              <a:ext uri="{FF2B5EF4-FFF2-40B4-BE49-F238E27FC236}">
                <a16:creationId xmlns:a16="http://schemas.microsoft.com/office/drawing/2014/main" id="{56A185DF-A9FA-4A92-AB5E-98A0820FCC3F}"/>
              </a:ext>
            </a:extLst>
          </p:cNvPr>
          <p:cNvSpPr/>
          <p:nvPr userDrawn="1"/>
        </p:nvSpPr>
        <p:spPr>
          <a:xfrm>
            <a:off x="8544692" y="6579908"/>
            <a:ext cx="994577" cy="273659"/>
          </a:xfrm>
          <a:prstGeom prst="rect">
            <a:avLst/>
          </a:prstGeom>
          <a:noFill/>
          <a:ln w="317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800" b="0" i="0" u="none" strike="noStrike" kern="0" cap="none" spc="0" normalizeH="0" baseline="0" noProof="0">
                <a:ln>
                  <a:noFill/>
                </a:ln>
                <a:solidFill>
                  <a:prstClr val="white">
                    <a:alpha val="50000"/>
                  </a:prstClr>
                </a:solidFill>
                <a:effectLst/>
                <a:uLnTx/>
                <a:uFillTx/>
                <a:latin typeface="Leelawadee" panose="020B0502040204020203" pitchFamily="34" charset="-34"/>
                <a:ea typeface="+mn-ea"/>
                <a:cs typeface="Leelawadee" panose="020B0502040204020203" pitchFamily="34" charset="-34"/>
              </a:rPr>
              <a:t>pep+ Customer Engagement</a:t>
            </a:r>
          </a:p>
        </p:txBody>
      </p:sp>
      <p:cxnSp>
        <p:nvCxnSpPr>
          <p:cNvPr id="30" name="Straight Connector 29">
            <a:extLst>
              <a:ext uri="{FF2B5EF4-FFF2-40B4-BE49-F238E27FC236}">
                <a16:creationId xmlns:a16="http://schemas.microsoft.com/office/drawing/2014/main" id="{BAA0C0EC-A614-4DFD-AF91-80136B10951D}"/>
              </a:ext>
            </a:extLst>
          </p:cNvPr>
          <p:cNvCxnSpPr/>
          <p:nvPr userDrawn="1"/>
        </p:nvCxnSpPr>
        <p:spPr>
          <a:xfrm>
            <a:off x="9539270" y="6567351"/>
            <a:ext cx="0" cy="290649"/>
          </a:xfrm>
          <a:prstGeom prst="line">
            <a:avLst/>
          </a:prstGeom>
          <a:noFill/>
          <a:ln w="6350" cap="flat" cmpd="sng" algn="ctr">
            <a:solidFill>
              <a:sysClr val="window" lastClr="FFFFFF">
                <a:alpha val="50000"/>
              </a:sysClr>
            </a:solidFill>
            <a:prstDash val="solid"/>
            <a:miter lim="800000"/>
          </a:ln>
          <a:effectLst/>
        </p:spPr>
      </p:cxnSp>
      <p:cxnSp>
        <p:nvCxnSpPr>
          <p:cNvPr id="31" name="Straight Connector 30">
            <a:extLst>
              <a:ext uri="{FF2B5EF4-FFF2-40B4-BE49-F238E27FC236}">
                <a16:creationId xmlns:a16="http://schemas.microsoft.com/office/drawing/2014/main" id="{45861345-FD5C-4C7E-AF74-B0E1AD944CC2}"/>
              </a:ext>
            </a:extLst>
          </p:cNvPr>
          <p:cNvCxnSpPr/>
          <p:nvPr userDrawn="1"/>
        </p:nvCxnSpPr>
        <p:spPr>
          <a:xfrm>
            <a:off x="8481431" y="6567351"/>
            <a:ext cx="0" cy="290649"/>
          </a:xfrm>
          <a:prstGeom prst="line">
            <a:avLst/>
          </a:prstGeom>
          <a:noFill/>
          <a:ln w="6350" cap="flat" cmpd="sng" algn="ctr">
            <a:solidFill>
              <a:sysClr val="window" lastClr="FFFFFF">
                <a:alpha val="50000"/>
              </a:sysClr>
            </a:solidFill>
            <a:prstDash val="solid"/>
            <a:miter lim="800000"/>
          </a:ln>
          <a:effectLst/>
        </p:spPr>
      </p:cxnSp>
      <p:cxnSp>
        <p:nvCxnSpPr>
          <p:cNvPr id="32" name="Straight Connector 31">
            <a:extLst>
              <a:ext uri="{FF2B5EF4-FFF2-40B4-BE49-F238E27FC236}">
                <a16:creationId xmlns:a16="http://schemas.microsoft.com/office/drawing/2014/main" id="{A1BF7DC4-EA4B-4AB4-937D-D92B1AB4AC76}"/>
              </a:ext>
            </a:extLst>
          </p:cNvPr>
          <p:cNvCxnSpPr/>
          <p:nvPr userDrawn="1"/>
        </p:nvCxnSpPr>
        <p:spPr>
          <a:xfrm>
            <a:off x="7493596" y="6567351"/>
            <a:ext cx="0" cy="290649"/>
          </a:xfrm>
          <a:prstGeom prst="line">
            <a:avLst/>
          </a:prstGeom>
          <a:noFill/>
          <a:ln w="6350" cap="flat" cmpd="sng" algn="ctr">
            <a:solidFill>
              <a:sysClr val="window" lastClr="FFFFFF">
                <a:alpha val="50000"/>
              </a:sysClr>
            </a:solidFill>
            <a:prstDash val="solid"/>
            <a:miter lim="800000"/>
          </a:ln>
          <a:effectLst/>
        </p:spPr>
      </p:cxnSp>
      <p:cxnSp>
        <p:nvCxnSpPr>
          <p:cNvPr id="33" name="Straight Connector 32">
            <a:extLst>
              <a:ext uri="{FF2B5EF4-FFF2-40B4-BE49-F238E27FC236}">
                <a16:creationId xmlns:a16="http://schemas.microsoft.com/office/drawing/2014/main" id="{A84CDCC8-BDBC-421A-A64A-8D84DDBB8329}"/>
              </a:ext>
            </a:extLst>
          </p:cNvPr>
          <p:cNvCxnSpPr/>
          <p:nvPr userDrawn="1"/>
        </p:nvCxnSpPr>
        <p:spPr>
          <a:xfrm>
            <a:off x="6367021" y="6567351"/>
            <a:ext cx="0" cy="290649"/>
          </a:xfrm>
          <a:prstGeom prst="line">
            <a:avLst/>
          </a:prstGeom>
          <a:noFill/>
          <a:ln w="6350" cap="flat" cmpd="sng" algn="ctr">
            <a:solidFill>
              <a:sysClr val="window" lastClr="FFFFFF">
                <a:alpha val="50000"/>
              </a:sysClr>
            </a:solidFill>
            <a:prstDash val="solid"/>
            <a:miter lim="800000"/>
          </a:ln>
          <a:effectLst/>
        </p:spPr>
      </p:cxnSp>
      <p:cxnSp>
        <p:nvCxnSpPr>
          <p:cNvPr id="34" name="Straight Connector 33">
            <a:extLst>
              <a:ext uri="{FF2B5EF4-FFF2-40B4-BE49-F238E27FC236}">
                <a16:creationId xmlns:a16="http://schemas.microsoft.com/office/drawing/2014/main" id="{13DA257A-086F-47E5-83CD-C82D4FBCAE6E}"/>
              </a:ext>
            </a:extLst>
          </p:cNvPr>
          <p:cNvCxnSpPr/>
          <p:nvPr userDrawn="1"/>
        </p:nvCxnSpPr>
        <p:spPr>
          <a:xfrm>
            <a:off x="11186336" y="6567351"/>
            <a:ext cx="0" cy="290649"/>
          </a:xfrm>
          <a:prstGeom prst="line">
            <a:avLst/>
          </a:prstGeom>
          <a:noFill/>
          <a:ln w="6350" cap="flat" cmpd="sng" algn="ctr">
            <a:solidFill>
              <a:sysClr val="window" lastClr="FFFFFF">
                <a:alpha val="50000"/>
              </a:sysClr>
            </a:solidFill>
            <a:prstDash val="solid"/>
            <a:miter lim="800000"/>
          </a:ln>
          <a:effectLst/>
        </p:spPr>
      </p:cxnSp>
      <p:grpSp>
        <p:nvGrpSpPr>
          <p:cNvPr id="35" name="Group 34">
            <a:extLst>
              <a:ext uri="{FF2B5EF4-FFF2-40B4-BE49-F238E27FC236}">
                <a16:creationId xmlns:a16="http://schemas.microsoft.com/office/drawing/2014/main" id="{F99987E2-C7C1-4A06-BEC1-20CFC136DA12}"/>
              </a:ext>
            </a:extLst>
          </p:cNvPr>
          <p:cNvGrpSpPr/>
          <p:nvPr userDrawn="1"/>
        </p:nvGrpSpPr>
        <p:grpSpPr>
          <a:xfrm>
            <a:off x="11393217" y="6628477"/>
            <a:ext cx="473369" cy="183554"/>
            <a:chOff x="11393217" y="6628477"/>
            <a:chExt cx="473369" cy="183554"/>
          </a:xfrm>
        </p:grpSpPr>
        <p:sp>
          <p:nvSpPr>
            <p:cNvPr id="36" name="Freeform: Shape 35">
              <a:extLst>
                <a:ext uri="{FF2B5EF4-FFF2-40B4-BE49-F238E27FC236}">
                  <a16:creationId xmlns:a16="http://schemas.microsoft.com/office/drawing/2014/main" id="{431ED53A-FA57-4F39-BB90-7C0B2CCBF9CE}"/>
                </a:ext>
              </a:extLst>
            </p:cNvPr>
            <p:cNvSpPr/>
            <p:nvPr/>
          </p:nvSpPr>
          <p:spPr>
            <a:xfrm>
              <a:off x="11432435" y="6628477"/>
              <a:ext cx="90651" cy="18332"/>
            </a:xfrm>
            <a:custGeom>
              <a:avLst/>
              <a:gdLst>
                <a:gd name="connsiteX0" fmla="*/ 11746 w 160635"/>
                <a:gd name="connsiteY0" fmla="*/ 19438 h 32484"/>
                <a:gd name="connsiteX1" fmla="*/ 53842 w 160635"/>
                <a:gd name="connsiteY1" fmla="*/ 32138 h 32484"/>
                <a:gd name="connsiteX2" fmla="*/ 96443 w 160635"/>
                <a:gd name="connsiteY2" fmla="*/ 19438 h 32484"/>
                <a:gd name="connsiteX3" fmla="*/ 138646 w 160635"/>
                <a:gd name="connsiteY3" fmla="*/ 32138 h 32484"/>
                <a:gd name="connsiteX4" fmla="*/ 161624 w 160635"/>
                <a:gd name="connsiteY4" fmla="*/ 25721 h 32484"/>
                <a:gd name="connsiteX5" fmla="*/ 78205 w 160635"/>
                <a:gd name="connsiteY5" fmla="*/ -345 h 32484"/>
                <a:gd name="connsiteX6" fmla="*/ 989 w 160635"/>
                <a:gd name="connsiteY6" fmla="*/ 21648 h 32484"/>
                <a:gd name="connsiteX7" fmla="*/ 11879 w 160635"/>
                <a:gd name="connsiteY7" fmla="*/ 19438 h 3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635" h="32484">
                  <a:moveTo>
                    <a:pt x="11746" y="19438"/>
                  </a:moveTo>
                  <a:cubicBezTo>
                    <a:pt x="29798" y="19438"/>
                    <a:pt x="34671" y="32138"/>
                    <a:pt x="53842" y="32138"/>
                  </a:cubicBezTo>
                  <a:cubicBezTo>
                    <a:pt x="73012" y="32138"/>
                    <a:pt x="77645" y="19438"/>
                    <a:pt x="96443" y="19438"/>
                  </a:cubicBezTo>
                  <a:cubicBezTo>
                    <a:pt x="113644" y="19438"/>
                    <a:pt x="120700" y="32138"/>
                    <a:pt x="138646" y="32138"/>
                  </a:cubicBezTo>
                  <a:cubicBezTo>
                    <a:pt x="146732" y="32029"/>
                    <a:pt x="154651" y="29819"/>
                    <a:pt x="161624" y="25721"/>
                  </a:cubicBezTo>
                  <a:cubicBezTo>
                    <a:pt x="137136" y="8707"/>
                    <a:pt x="108023" y="-388"/>
                    <a:pt x="78205" y="-345"/>
                  </a:cubicBezTo>
                  <a:cubicBezTo>
                    <a:pt x="50915" y="-377"/>
                    <a:pt x="24164" y="7240"/>
                    <a:pt x="989" y="21648"/>
                  </a:cubicBezTo>
                  <a:cubicBezTo>
                    <a:pt x="4440" y="20210"/>
                    <a:pt x="8140" y="19459"/>
                    <a:pt x="11879" y="19438"/>
                  </a:cubicBezTo>
                </a:path>
              </a:pathLst>
            </a:custGeom>
            <a:solidFill>
              <a:srgbClr val="4FE3F2"/>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37" name="Freeform: Shape 36">
              <a:extLst>
                <a:ext uri="{FF2B5EF4-FFF2-40B4-BE49-F238E27FC236}">
                  <a16:creationId xmlns:a16="http://schemas.microsoft.com/office/drawing/2014/main" id="{1607ADEC-DBE4-4204-8829-78EC717A0932}"/>
                </a:ext>
              </a:extLst>
            </p:cNvPr>
            <p:cNvSpPr/>
            <p:nvPr/>
          </p:nvSpPr>
          <p:spPr>
            <a:xfrm>
              <a:off x="11432374" y="6628522"/>
              <a:ext cx="90726" cy="18332"/>
            </a:xfrm>
            <a:custGeom>
              <a:avLst/>
              <a:gdLst>
                <a:gd name="connsiteX0" fmla="*/ 78205 w 160768"/>
                <a:gd name="connsiteY0" fmla="*/ -345 h 32484"/>
                <a:gd name="connsiteX1" fmla="*/ 989 w 160768"/>
                <a:gd name="connsiteY1" fmla="*/ 21648 h 32484"/>
                <a:gd name="connsiteX2" fmla="*/ 11879 w 160768"/>
                <a:gd name="connsiteY2" fmla="*/ 19438 h 32484"/>
                <a:gd name="connsiteX3" fmla="*/ 53975 w 160768"/>
                <a:gd name="connsiteY3" fmla="*/ 32138 h 32484"/>
                <a:gd name="connsiteX4" fmla="*/ 96577 w 160768"/>
                <a:gd name="connsiteY4" fmla="*/ 19438 h 32484"/>
                <a:gd name="connsiteX5" fmla="*/ 138806 w 160768"/>
                <a:gd name="connsiteY5" fmla="*/ 32138 h 32484"/>
                <a:gd name="connsiteX6" fmla="*/ 161757 w 160768"/>
                <a:gd name="connsiteY6" fmla="*/ 25722 h 32484"/>
                <a:gd name="connsiteX7" fmla="*/ 78338 w 160768"/>
                <a:gd name="connsiteY7" fmla="*/ -345 h 3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8" h="32484">
                  <a:moveTo>
                    <a:pt x="78205" y="-345"/>
                  </a:moveTo>
                  <a:cubicBezTo>
                    <a:pt x="50915" y="-377"/>
                    <a:pt x="24164" y="7240"/>
                    <a:pt x="989" y="21648"/>
                  </a:cubicBezTo>
                  <a:cubicBezTo>
                    <a:pt x="4439" y="20210"/>
                    <a:pt x="8140" y="19459"/>
                    <a:pt x="11879" y="19438"/>
                  </a:cubicBezTo>
                  <a:cubicBezTo>
                    <a:pt x="29931" y="19438"/>
                    <a:pt x="34804" y="32138"/>
                    <a:pt x="53975" y="32138"/>
                  </a:cubicBezTo>
                  <a:cubicBezTo>
                    <a:pt x="73146" y="32138"/>
                    <a:pt x="77778" y="19438"/>
                    <a:pt x="96577" y="19438"/>
                  </a:cubicBezTo>
                  <a:cubicBezTo>
                    <a:pt x="113777" y="19438"/>
                    <a:pt x="120833" y="32138"/>
                    <a:pt x="138806" y="32138"/>
                  </a:cubicBezTo>
                  <a:cubicBezTo>
                    <a:pt x="146884" y="32027"/>
                    <a:pt x="154792" y="29814"/>
                    <a:pt x="161757" y="25722"/>
                  </a:cubicBezTo>
                  <a:cubicBezTo>
                    <a:pt x="137269" y="8707"/>
                    <a:pt x="108156" y="-388"/>
                    <a:pt x="78338" y="-345"/>
                  </a:cubicBezTo>
                </a:path>
              </a:pathLst>
            </a:custGeom>
            <a:solidFill>
              <a:srgbClr val="BAF2FA"/>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38" name="Freeform: Shape 37">
              <a:extLst>
                <a:ext uri="{FF2B5EF4-FFF2-40B4-BE49-F238E27FC236}">
                  <a16:creationId xmlns:a16="http://schemas.microsoft.com/office/drawing/2014/main" id="{79FFB051-A9B8-4F1E-B67A-4DF537ED5B18}"/>
                </a:ext>
              </a:extLst>
            </p:cNvPr>
            <p:cNvSpPr/>
            <p:nvPr/>
          </p:nvSpPr>
          <p:spPr>
            <a:xfrm>
              <a:off x="11427415" y="6639597"/>
              <a:ext cx="108562" cy="21802"/>
            </a:xfrm>
            <a:custGeom>
              <a:avLst/>
              <a:gdLst>
                <a:gd name="connsiteX0" fmla="*/ 105230 w 192373"/>
                <a:gd name="connsiteY0" fmla="*/ -266 h 38634"/>
                <a:gd name="connsiteX1" fmla="*/ 62628 w 192373"/>
                <a:gd name="connsiteY1" fmla="*/ 12435 h 38634"/>
                <a:gd name="connsiteX2" fmla="*/ 20532 w 192373"/>
                <a:gd name="connsiteY2" fmla="*/ -266 h 38634"/>
                <a:gd name="connsiteX3" fmla="*/ 9642 w 192373"/>
                <a:gd name="connsiteY3" fmla="*/ 1944 h 38634"/>
                <a:gd name="connsiteX4" fmla="*/ 989 w 192373"/>
                <a:gd name="connsiteY4" fmla="*/ 7775 h 38634"/>
                <a:gd name="connsiteX5" fmla="*/ 21171 w 192373"/>
                <a:gd name="connsiteY5" fmla="*/ 25615 h 38634"/>
                <a:gd name="connsiteX6" fmla="*/ 62628 w 192373"/>
                <a:gd name="connsiteY6" fmla="*/ 38289 h 38634"/>
                <a:gd name="connsiteX7" fmla="*/ 105230 w 192373"/>
                <a:gd name="connsiteY7" fmla="*/ 25588 h 38634"/>
                <a:gd name="connsiteX8" fmla="*/ 147459 w 192373"/>
                <a:gd name="connsiteY8" fmla="*/ 38289 h 38634"/>
                <a:gd name="connsiteX9" fmla="*/ 190700 w 192373"/>
                <a:gd name="connsiteY9" fmla="*/ 25588 h 38634"/>
                <a:gd name="connsiteX10" fmla="*/ 193363 w 192373"/>
                <a:gd name="connsiteY10" fmla="*/ 25588 h 38634"/>
                <a:gd name="connsiteX11" fmla="*/ 170438 w 192373"/>
                <a:gd name="connsiteY11" fmla="*/ 5938 h 38634"/>
                <a:gd name="connsiteX12" fmla="*/ 147486 w 192373"/>
                <a:gd name="connsiteY12" fmla="*/ 12355 h 38634"/>
                <a:gd name="connsiteX13" fmla="*/ 105257 w 192373"/>
                <a:gd name="connsiteY13" fmla="*/ -346 h 38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2373" h="38634">
                  <a:moveTo>
                    <a:pt x="105230" y="-266"/>
                  </a:moveTo>
                  <a:cubicBezTo>
                    <a:pt x="86592" y="-266"/>
                    <a:pt x="81799" y="12435"/>
                    <a:pt x="62628" y="12435"/>
                  </a:cubicBezTo>
                  <a:cubicBezTo>
                    <a:pt x="43457" y="12435"/>
                    <a:pt x="38665" y="-266"/>
                    <a:pt x="20532" y="-266"/>
                  </a:cubicBezTo>
                  <a:cubicBezTo>
                    <a:pt x="16794" y="-244"/>
                    <a:pt x="13093" y="506"/>
                    <a:pt x="9642" y="1944"/>
                  </a:cubicBezTo>
                  <a:cubicBezTo>
                    <a:pt x="6687" y="3781"/>
                    <a:pt x="3785" y="5725"/>
                    <a:pt x="989" y="7775"/>
                  </a:cubicBezTo>
                  <a:cubicBezTo>
                    <a:pt x="8031" y="13356"/>
                    <a:pt x="14768" y="19312"/>
                    <a:pt x="21171" y="25615"/>
                  </a:cubicBezTo>
                  <a:cubicBezTo>
                    <a:pt x="38691" y="25908"/>
                    <a:pt x="43697" y="38289"/>
                    <a:pt x="62628" y="38289"/>
                  </a:cubicBezTo>
                  <a:cubicBezTo>
                    <a:pt x="81559" y="38289"/>
                    <a:pt x="86432" y="25588"/>
                    <a:pt x="105230" y="25588"/>
                  </a:cubicBezTo>
                  <a:cubicBezTo>
                    <a:pt x="122431" y="25588"/>
                    <a:pt x="129487" y="38289"/>
                    <a:pt x="147459" y="38289"/>
                  </a:cubicBezTo>
                  <a:cubicBezTo>
                    <a:pt x="167456" y="38289"/>
                    <a:pt x="173872" y="25588"/>
                    <a:pt x="190700" y="25588"/>
                  </a:cubicBezTo>
                  <a:cubicBezTo>
                    <a:pt x="191632" y="25588"/>
                    <a:pt x="192484" y="25588"/>
                    <a:pt x="193363" y="25588"/>
                  </a:cubicBezTo>
                  <a:cubicBezTo>
                    <a:pt x="186416" y="18269"/>
                    <a:pt x="178734" y="11684"/>
                    <a:pt x="170438" y="5938"/>
                  </a:cubicBezTo>
                  <a:cubicBezTo>
                    <a:pt x="163472" y="10031"/>
                    <a:pt x="155564" y="12243"/>
                    <a:pt x="147486" y="12355"/>
                  </a:cubicBezTo>
                  <a:cubicBezTo>
                    <a:pt x="129513" y="12355"/>
                    <a:pt x="122457" y="-346"/>
                    <a:pt x="105257" y="-346"/>
                  </a:cubicBezTo>
                </a:path>
              </a:pathLst>
            </a:custGeom>
            <a:solidFill>
              <a:srgbClr val="4FE3F2"/>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39" name="Freeform: Shape 38">
              <a:extLst>
                <a:ext uri="{FF2B5EF4-FFF2-40B4-BE49-F238E27FC236}">
                  <a16:creationId xmlns:a16="http://schemas.microsoft.com/office/drawing/2014/main" id="{B3424277-ECB4-42F5-AEC2-7DFB36A6F7C2}"/>
                </a:ext>
              </a:extLst>
            </p:cNvPr>
            <p:cNvSpPr/>
            <p:nvPr/>
          </p:nvSpPr>
          <p:spPr>
            <a:xfrm>
              <a:off x="11438745" y="6654277"/>
              <a:ext cx="111537" cy="22389"/>
            </a:xfrm>
            <a:custGeom>
              <a:avLst/>
              <a:gdLst>
                <a:gd name="connsiteX0" fmla="*/ 127250 w 197645"/>
                <a:gd name="connsiteY0" fmla="*/ 12355 h 39673"/>
                <a:gd name="connsiteX1" fmla="*/ 85048 w 197645"/>
                <a:gd name="connsiteY1" fmla="*/ -346 h 39673"/>
                <a:gd name="connsiteX2" fmla="*/ 42446 w 197645"/>
                <a:gd name="connsiteY2" fmla="*/ 12355 h 39673"/>
                <a:gd name="connsiteX3" fmla="*/ 989 w 197645"/>
                <a:gd name="connsiteY3" fmla="*/ -319 h 39673"/>
                <a:gd name="connsiteX4" fmla="*/ 24233 w 197645"/>
                <a:gd name="connsiteY4" fmla="*/ 25881 h 39673"/>
                <a:gd name="connsiteX5" fmla="*/ 33100 w 197645"/>
                <a:gd name="connsiteY5" fmla="*/ 38209 h 39673"/>
                <a:gd name="connsiteX6" fmla="*/ 42446 w 197645"/>
                <a:gd name="connsiteY6" fmla="*/ 39327 h 39673"/>
                <a:gd name="connsiteX7" fmla="*/ 85048 w 197645"/>
                <a:gd name="connsiteY7" fmla="*/ 26627 h 39673"/>
                <a:gd name="connsiteX8" fmla="*/ 127250 w 197645"/>
                <a:gd name="connsiteY8" fmla="*/ 39327 h 39673"/>
                <a:gd name="connsiteX9" fmla="*/ 170517 w 197645"/>
                <a:gd name="connsiteY9" fmla="*/ 26627 h 39673"/>
                <a:gd name="connsiteX10" fmla="*/ 198635 w 197645"/>
                <a:gd name="connsiteY10" fmla="*/ 36478 h 39673"/>
                <a:gd name="connsiteX11" fmla="*/ 173153 w 197645"/>
                <a:gd name="connsiteY11" fmla="*/ -266 h 39673"/>
                <a:gd name="connsiteX12" fmla="*/ 170491 w 197645"/>
                <a:gd name="connsiteY12" fmla="*/ -266 h 39673"/>
                <a:gd name="connsiteX13" fmla="*/ 127223 w 197645"/>
                <a:gd name="connsiteY13" fmla="*/ 12435 h 39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7645" h="39673">
                  <a:moveTo>
                    <a:pt x="127250" y="12355"/>
                  </a:moveTo>
                  <a:cubicBezTo>
                    <a:pt x="109304" y="12355"/>
                    <a:pt x="102248" y="-346"/>
                    <a:pt x="85048" y="-346"/>
                  </a:cubicBezTo>
                  <a:cubicBezTo>
                    <a:pt x="66409" y="-346"/>
                    <a:pt x="61616" y="12355"/>
                    <a:pt x="42446" y="12355"/>
                  </a:cubicBezTo>
                  <a:cubicBezTo>
                    <a:pt x="23275" y="12355"/>
                    <a:pt x="18482" y="-26"/>
                    <a:pt x="989" y="-319"/>
                  </a:cubicBezTo>
                  <a:cubicBezTo>
                    <a:pt x="9333" y="7866"/>
                    <a:pt x="17100" y="16621"/>
                    <a:pt x="24233" y="25881"/>
                  </a:cubicBezTo>
                  <a:cubicBezTo>
                    <a:pt x="27295" y="29902"/>
                    <a:pt x="30277" y="34002"/>
                    <a:pt x="33100" y="38209"/>
                  </a:cubicBezTo>
                  <a:cubicBezTo>
                    <a:pt x="36157" y="38971"/>
                    <a:pt x="39296" y="39346"/>
                    <a:pt x="42446" y="39327"/>
                  </a:cubicBezTo>
                  <a:cubicBezTo>
                    <a:pt x="61510" y="39327"/>
                    <a:pt x="66249" y="26627"/>
                    <a:pt x="85048" y="26627"/>
                  </a:cubicBezTo>
                  <a:cubicBezTo>
                    <a:pt x="102248" y="26627"/>
                    <a:pt x="109304" y="39327"/>
                    <a:pt x="127250" y="39327"/>
                  </a:cubicBezTo>
                  <a:cubicBezTo>
                    <a:pt x="147273" y="39327"/>
                    <a:pt x="153690" y="26627"/>
                    <a:pt x="170517" y="26627"/>
                  </a:cubicBezTo>
                  <a:cubicBezTo>
                    <a:pt x="184283" y="26627"/>
                    <a:pt x="189635" y="32245"/>
                    <a:pt x="198635" y="36478"/>
                  </a:cubicBezTo>
                  <a:cubicBezTo>
                    <a:pt x="192063" y="23003"/>
                    <a:pt x="183471" y="10611"/>
                    <a:pt x="173153" y="-266"/>
                  </a:cubicBezTo>
                  <a:cubicBezTo>
                    <a:pt x="172301" y="-266"/>
                    <a:pt x="171449" y="-266"/>
                    <a:pt x="170491" y="-266"/>
                  </a:cubicBezTo>
                  <a:cubicBezTo>
                    <a:pt x="153663" y="-266"/>
                    <a:pt x="147246" y="12435"/>
                    <a:pt x="127223" y="12435"/>
                  </a:cubicBezTo>
                </a:path>
              </a:pathLst>
            </a:custGeom>
            <a:solidFill>
              <a:srgbClr val="0066E5"/>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40" name="Freeform: Shape 39">
              <a:extLst>
                <a:ext uri="{FF2B5EF4-FFF2-40B4-BE49-F238E27FC236}">
                  <a16:creationId xmlns:a16="http://schemas.microsoft.com/office/drawing/2014/main" id="{370650C2-BE5F-43E2-85F4-3A556C07E818}"/>
                </a:ext>
              </a:extLst>
            </p:cNvPr>
            <p:cNvSpPr/>
            <p:nvPr/>
          </p:nvSpPr>
          <p:spPr>
            <a:xfrm>
              <a:off x="11456867" y="6669498"/>
              <a:ext cx="99186" cy="29390"/>
            </a:xfrm>
            <a:custGeom>
              <a:avLst/>
              <a:gdLst>
                <a:gd name="connsiteX0" fmla="*/ 95139 w 175759"/>
                <a:gd name="connsiteY0" fmla="*/ 12355 h 52080"/>
                <a:gd name="connsiteX1" fmla="*/ 52936 w 175759"/>
                <a:gd name="connsiteY1" fmla="*/ -346 h 52080"/>
                <a:gd name="connsiteX2" fmla="*/ 10335 w 175759"/>
                <a:gd name="connsiteY2" fmla="*/ 12355 h 52080"/>
                <a:gd name="connsiteX3" fmla="*/ 989 w 175759"/>
                <a:gd name="connsiteY3" fmla="*/ 11210 h 52080"/>
                <a:gd name="connsiteX4" fmla="*/ 23248 w 175759"/>
                <a:gd name="connsiteY4" fmla="*/ 51735 h 52080"/>
                <a:gd name="connsiteX5" fmla="*/ 22929 w 175759"/>
                <a:gd name="connsiteY5" fmla="*/ 50963 h 52080"/>
                <a:gd name="connsiteX6" fmla="*/ 110183 w 175759"/>
                <a:gd name="connsiteY6" fmla="*/ 22633 h 52080"/>
                <a:gd name="connsiteX7" fmla="*/ 176748 w 175759"/>
                <a:gd name="connsiteY7" fmla="*/ 38262 h 52080"/>
                <a:gd name="connsiteX8" fmla="*/ 166310 w 175759"/>
                <a:gd name="connsiteY8" fmla="*/ 9506 h 52080"/>
                <a:gd name="connsiteX9" fmla="*/ 138193 w 175759"/>
                <a:gd name="connsiteY9" fmla="*/ -346 h 52080"/>
                <a:gd name="connsiteX10" fmla="*/ 94926 w 175759"/>
                <a:gd name="connsiteY10" fmla="*/ 12355 h 52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5759" h="52080">
                  <a:moveTo>
                    <a:pt x="95139" y="12355"/>
                  </a:moveTo>
                  <a:cubicBezTo>
                    <a:pt x="77193" y="12355"/>
                    <a:pt x="70137" y="-346"/>
                    <a:pt x="52936" y="-346"/>
                  </a:cubicBezTo>
                  <a:cubicBezTo>
                    <a:pt x="34298" y="-346"/>
                    <a:pt x="29505" y="12355"/>
                    <a:pt x="10335" y="12355"/>
                  </a:cubicBezTo>
                  <a:cubicBezTo>
                    <a:pt x="7182" y="12379"/>
                    <a:pt x="4043" y="11993"/>
                    <a:pt x="989" y="11210"/>
                  </a:cubicBezTo>
                  <a:cubicBezTo>
                    <a:pt x="9634" y="24007"/>
                    <a:pt x="17087" y="37573"/>
                    <a:pt x="23248" y="51735"/>
                  </a:cubicBezTo>
                  <a:lnTo>
                    <a:pt x="22929" y="50963"/>
                  </a:lnTo>
                  <a:cubicBezTo>
                    <a:pt x="48205" y="32375"/>
                    <a:pt x="78806" y="22438"/>
                    <a:pt x="110183" y="22633"/>
                  </a:cubicBezTo>
                  <a:cubicBezTo>
                    <a:pt x="133286" y="22574"/>
                    <a:pt x="156083" y="27926"/>
                    <a:pt x="176748" y="38262"/>
                  </a:cubicBezTo>
                  <a:cubicBezTo>
                    <a:pt x="174298" y="28333"/>
                    <a:pt x="170800" y="18695"/>
                    <a:pt x="166310" y="9506"/>
                  </a:cubicBezTo>
                  <a:cubicBezTo>
                    <a:pt x="157311" y="5273"/>
                    <a:pt x="151959" y="-346"/>
                    <a:pt x="138193" y="-346"/>
                  </a:cubicBezTo>
                  <a:cubicBezTo>
                    <a:pt x="121365" y="-346"/>
                    <a:pt x="114949" y="12355"/>
                    <a:pt x="94926" y="12355"/>
                  </a:cubicBezTo>
                </a:path>
              </a:pathLst>
            </a:custGeom>
            <a:solidFill>
              <a:srgbClr val="143DCF"/>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41" name="Freeform: Shape 40">
              <a:extLst>
                <a:ext uri="{FF2B5EF4-FFF2-40B4-BE49-F238E27FC236}">
                  <a16:creationId xmlns:a16="http://schemas.microsoft.com/office/drawing/2014/main" id="{90081ECE-20AF-482F-94CC-092445EC97B3}"/>
                </a:ext>
              </a:extLst>
            </p:cNvPr>
            <p:cNvSpPr/>
            <p:nvPr/>
          </p:nvSpPr>
          <p:spPr>
            <a:xfrm>
              <a:off x="11469428" y="6682464"/>
              <a:ext cx="88352" cy="28821"/>
            </a:xfrm>
            <a:custGeom>
              <a:avLst/>
              <a:gdLst>
                <a:gd name="connsiteX0" fmla="*/ 154808 w 156561"/>
                <a:gd name="connsiteY0" fmla="*/ 15287 h 51071"/>
                <a:gd name="connsiteX1" fmla="*/ 88243 w 156561"/>
                <a:gd name="connsiteY1" fmla="*/ -343 h 51071"/>
                <a:gd name="connsiteX2" fmla="*/ 989 w 156561"/>
                <a:gd name="connsiteY2" fmla="*/ 27987 h 51071"/>
                <a:gd name="connsiteX3" fmla="*/ 1308 w 156561"/>
                <a:gd name="connsiteY3" fmla="*/ 28760 h 51071"/>
                <a:gd name="connsiteX4" fmla="*/ 2533 w 156561"/>
                <a:gd name="connsiteY4" fmla="*/ 31635 h 51071"/>
                <a:gd name="connsiteX5" fmla="*/ 3172 w 156561"/>
                <a:gd name="connsiteY5" fmla="*/ 33153 h 51071"/>
                <a:gd name="connsiteX6" fmla="*/ 5568 w 156561"/>
                <a:gd name="connsiteY6" fmla="*/ 39170 h 51071"/>
                <a:gd name="connsiteX7" fmla="*/ 5888 w 156561"/>
                <a:gd name="connsiteY7" fmla="*/ 40049 h 51071"/>
                <a:gd name="connsiteX8" fmla="*/ 6740 w 156561"/>
                <a:gd name="connsiteY8" fmla="*/ 42339 h 51071"/>
                <a:gd name="connsiteX9" fmla="*/ 7619 w 156561"/>
                <a:gd name="connsiteY9" fmla="*/ 44709 h 51071"/>
                <a:gd name="connsiteX10" fmla="*/ 8364 w 156561"/>
                <a:gd name="connsiteY10" fmla="*/ 46892 h 51071"/>
                <a:gd name="connsiteX11" fmla="*/ 9269 w 156561"/>
                <a:gd name="connsiteY11" fmla="*/ 49555 h 51071"/>
                <a:gd name="connsiteX12" fmla="*/ 9669 w 156561"/>
                <a:gd name="connsiteY12" fmla="*/ 50726 h 51071"/>
                <a:gd name="connsiteX13" fmla="*/ 88243 w 156561"/>
                <a:gd name="connsiteY13" fmla="*/ 28360 h 51071"/>
                <a:gd name="connsiteX14" fmla="*/ 109544 w 156561"/>
                <a:gd name="connsiteY14" fmla="*/ 29825 h 51071"/>
                <a:gd name="connsiteX15" fmla="*/ 112606 w 156561"/>
                <a:gd name="connsiteY15" fmla="*/ 30038 h 51071"/>
                <a:gd name="connsiteX16" fmla="*/ 112925 w 156561"/>
                <a:gd name="connsiteY16" fmla="*/ 30038 h 51071"/>
                <a:gd name="connsiteX17" fmla="*/ 113378 w 156561"/>
                <a:gd name="connsiteY17" fmla="*/ 30038 h 51071"/>
                <a:gd name="connsiteX18" fmla="*/ 116040 w 156561"/>
                <a:gd name="connsiteY18" fmla="*/ 30677 h 51071"/>
                <a:gd name="connsiteX19" fmla="*/ 116040 w 156561"/>
                <a:gd name="connsiteY19" fmla="*/ 30677 h 51071"/>
                <a:gd name="connsiteX20" fmla="*/ 123256 w 156561"/>
                <a:gd name="connsiteY20" fmla="*/ 18722 h 51071"/>
                <a:gd name="connsiteX21" fmla="*/ 139232 w 156561"/>
                <a:gd name="connsiteY21" fmla="*/ 15873 h 51071"/>
                <a:gd name="connsiteX22" fmla="*/ 139232 w 156561"/>
                <a:gd name="connsiteY22" fmla="*/ 15873 h 51071"/>
                <a:gd name="connsiteX23" fmla="*/ 140536 w 156561"/>
                <a:gd name="connsiteY23" fmla="*/ 37520 h 51071"/>
                <a:gd name="connsiteX24" fmla="*/ 150015 w 156561"/>
                <a:gd name="connsiteY24" fmla="*/ 29691 h 51071"/>
                <a:gd name="connsiteX25" fmla="*/ 157550 w 156561"/>
                <a:gd name="connsiteY25" fmla="*/ 29212 h 51071"/>
                <a:gd name="connsiteX26" fmla="*/ 154888 w 156561"/>
                <a:gd name="connsiteY26" fmla="*/ 15180 h 5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6561" h="51071">
                  <a:moveTo>
                    <a:pt x="154808" y="15287"/>
                  </a:moveTo>
                  <a:cubicBezTo>
                    <a:pt x="134143" y="4950"/>
                    <a:pt x="111346" y="-401"/>
                    <a:pt x="88243" y="-343"/>
                  </a:cubicBezTo>
                  <a:cubicBezTo>
                    <a:pt x="56866" y="-537"/>
                    <a:pt x="26265" y="9400"/>
                    <a:pt x="989" y="27987"/>
                  </a:cubicBezTo>
                  <a:lnTo>
                    <a:pt x="1308" y="28760"/>
                  </a:lnTo>
                  <a:cubicBezTo>
                    <a:pt x="1734" y="29718"/>
                    <a:pt x="2134" y="30677"/>
                    <a:pt x="2533" y="31635"/>
                  </a:cubicBezTo>
                  <a:lnTo>
                    <a:pt x="3172" y="33153"/>
                  </a:lnTo>
                  <a:cubicBezTo>
                    <a:pt x="3997" y="35150"/>
                    <a:pt x="4796" y="37147"/>
                    <a:pt x="5568" y="39170"/>
                  </a:cubicBezTo>
                  <a:lnTo>
                    <a:pt x="5888" y="40049"/>
                  </a:lnTo>
                  <a:cubicBezTo>
                    <a:pt x="6181" y="40821"/>
                    <a:pt x="6474" y="41593"/>
                    <a:pt x="6740" y="42339"/>
                  </a:cubicBezTo>
                  <a:lnTo>
                    <a:pt x="7619" y="44709"/>
                  </a:lnTo>
                  <a:cubicBezTo>
                    <a:pt x="7858" y="45454"/>
                    <a:pt x="8124" y="46173"/>
                    <a:pt x="8364" y="46892"/>
                  </a:cubicBezTo>
                  <a:cubicBezTo>
                    <a:pt x="8604" y="47611"/>
                    <a:pt x="8977" y="48649"/>
                    <a:pt x="9269" y="49555"/>
                  </a:cubicBezTo>
                  <a:lnTo>
                    <a:pt x="9669" y="50726"/>
                  </a:lnTo>
                  <a:cubicBezTo>
                    <a:pt x="33212" y="35978"/>
                    <a:pt x="60461" y="28222"/>
                    <a:pt x="88243" y="28360"/>
                  </a:cubicBezTo>
                  <a:cubicBezTo>
                    <a:pt x="95368" y="28358"/>
                    <a:pt x="102485" y="28847"/>
                    <a:pt x="109544" y="29825"/>
                  </a:cubicBezTo>
                  <a:cubicBezTo>
                    <a:pt x="110569" y="29835"/>
                    <a:pt x="111591" y="29907"/>
                    <a:pt x="112606" y="30038"/>
                  </a:cubicBezTo>
                  <a:lnTo>
                    <a:pt x="112925" y="30038"/>
                  </a:lnTo>
                  <a:lnTo>
                    <a:pt x="113378" y="30038"/>
                  </a:lnTo>
                  <a:cubicBezTo>
                    <a:pt x="114278" y="30189"/>
                    <a:pt x="115170" y="30402"/>
                    <a:pt x="116040" y="30677"/>
                  </a:cubicBezTo>
                  <a:lnTo>
                    <a:pt x="116040" y="30677"/>
                  </a:lnTo>
                  <a:cubicBezTo>
                    <a:pt x="116123" y="25684"/>
                    <a:pt x="118879" y="21121"/>
                    <a:pt x="123256" y="18722"/>
                  </a:cubicBezTo>
                  <a:cubicBezTo>
                    <a:pt x="129460" y="14994"/>
                    <a:pt x="139232" y="15873"/>
                    <a:pt x="139232" y="15873"/>
                  </a:cubicBezTo>
                  <a:lnTo>
                    <a:pt x="139232" y="15873"/>
                  </a:lnTo>
                  <a:cubicBezTo>
                    <a:pt x="140068" y="23059"/>
                    <a:pt x="140504" y="30285"/>
                    <a:pt x="140536" y="37520"/>
                  </a:cubicBezTo>
                  <a:cubicBezTo>
                    <a:pt x="142291" y="33566"/>
                    <a:pt x="145800" y="30666"/>
                    <a:pt x="150015" y="29691"/>
                  </a:cubicBezTo>
                  <a:cubicBezTo>
                    <a:pt x="152483" y="29124"/>
                    <a:pt x="155029" y="28962"/>
                    <a:pt x="157550" y="29212"/>
                  </a:cubicBezTo>
                  <a:cubicBezTo>
                    <a:pt x="156858" y="24446"/>
                    <a:pt x="155953" y="19787"/>
                    <a:pt x="154888" y="15180"/>
                  </a:cubicBezTo>
                </a:path>
              </a:pathLst>
            </a:custGeom>
            <a:solidFill>
              <a:srgbClr val="00A652"/>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42" name="Freeform: Shape 41">
              <a:extLst>
                <a:ext uri="{FF2B5EF4-FFF2-40B4-BE49-F238E27FC236}">
                  <a16:creationId xmlns:a16="http://schemas.microsoft.com/office/drawing/2014/main" id="{9B56E5A1-61A3-48CF-9DE1-F49E4DF1B9B3}"/>
                </a:ext>
              </a:extLst>
            </p:cNvPr>
            <p:cNvSpPr/>
            <p:nvPr/>
          </p:nvSpPr>
          <p:spPr>
            <a:xfrm>
              <a:off x="11474267" y="6698648"/>
              <a:ext cx="56271" cy="28174"/>
            </a:xfrm>
            <a:custGeom>
              <a:avLst/>
              <a:gdLst>
                <a:gd name="connsiteX0" fmla="*/ 79563 w 99714"/>
                <a:gd name="connsiteY0" fmla="*/ -344 h 49925"/>
                <a:gd name="connsiteX1" fmla="*/ 989 w 99714"/>
                <a:gd name="connsiteY1" fmla="*/ 22022 h 49925"/>
                <a:gd name="connsiteX2" fmla="*/ 1228 w 99714"/>
                <a:gd name="connsiteY2" fmla="*/ 22821 h 49925"/>
                <a:gd name="connsiteX3" fmla="*/ 2373 w 99714"/>
                <a:gd name="connsiteY3" fmla="*/ 26442 h 49925"/>
                <a:gd name="connsiteX4" fmla="*/ 2773 w 99714"/>
                <a:gd name="connsiteY4" fmla="*/ 27694 h 49925"/>
                <a:gd name="connsiteX5" fmla="*/ 4184 w 99714"/>
                <a:gd name="connsiteY5" fmla="*/ 32540 h 49925"/>
                <a:gd name="connsiteX6" fmla="*/ 4610 w 99714"/>
                <a:gd name="connsiteY6" fmla="*/ 34137 h 49925"/>
                <a:gd name="connsiteX7" fmla="*/ 5515 w 99714"/>
                <a:gd name="connsiteY7" fmla="*/ 37545 h 49925"/>
                <a:gd name="connsiteX8" fmla="*/ 6021 w 99714"/>
                <a:gd name="connsiteY8" fmla="*/ 39542 h 49925"/>
                <a:gd name="connsiteX9" fmla="*/ 6767 w 99714"/>
                <a:gd name="connsiteY9" fmla="*/ 42658 h 49925"/>
                <a:gd name="connsiteX10" fmla="*/ 7246 w 99714"/>
                <a:gd name="connsiteY10" fmla="*/ 44708 h 49925"/>
                <a:gd name="connsiteX11" fmla="*/ 8231 w 99714"/>
                <a:gd name="connsiteY11" fmla="*/ 49128 h 49925"/>
                <a:gd name="connsiteX12" fmla="*/ 8231 w 99714"/>
                <a:gd name="connsiteY12" fmla="*/ 49580 h 49925"/>
                <a:gd name="connsiteX13" fmla="*/ 61936 w 99714"/>
                <a:gd name="connsiteY13" fmla="*/ 32566 h 49925"/>
                <a:gd name="connsiteX14" fmla="*/ 65877 w 99714"/>
                <a:gd name="connsiteY14" fmla="*/ 29904 h 49925"/>
                <a:gd name="connsiteX15" fmla="*/ 78125 w 99714"/>
                <a:gd name="connsiteY15" fmla="*/ 28732 h 49925"/>
                <a:gd name="connsiteX16" fmla="*/ 81373 w 99714"/>
                <a:gd name="connsiteY16" fmla="*/ 29478 h 49925"/>
                <a:gd name="connsiteX17" fmla="*/ 82278 w 99714"/>
                <a:gd name="connsiteY17" fmla="*/ 24339 h 49925"/>
                <a:gd name="connsiteX18" fmla="*/ 88509 w 99714"/>
                <a:gd name="connsiteY18" fmla="*/ 6579 h 49925"/>
                <a:gd name="connsiteX19" fmla="*/ 100704 w 99714"/>
                <a:gd name="connsiteY19" fmla="*/ 1254 h 49925"/>
                <a:gd name="connsiteX20" fmla="*/ 79403 w 99714"/>
                <a:gd name="connsiteY20" fmla="*/ -211 h 49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9714" h="49925">
                  <a:moveTo>
                    <a:pt x="79563" y="-344"/>
                  </a:moveTo>
                  <a:cubicBezTo>
                    <a:pt x="51781" y="-482"/>
                    <a:pt x="24532" y="7274"/>
                    <a:pt x="989" y="22022"/>
                  </a:cubicBezTo>
                  <a:lnTo>
                    <a:pt x="1228" y="22821"/>
                  </a:lnTo>
                  <a:cubicBezTo>
                    <a:pt x="1628" y="24019"/>
                    <a:pt x="2001" y="25244"/>
                    <a:pt x="2373" y="26442"/>
                  </a:cubicBezTo>
                  <a:lnTo>
                    <a:pt x="2773" y="27694"/>
                  </a:lnTo>
                  <a:cubicBezTo>
                    <a:pt x="3252" y="29318"/>
                    <a:pt x="3731" y="30915"/>
                    <a:pt x="4184" y="32540"/>
                  </a:cubicBezTo>
                  <a:cubicBezTo>
                    <a:pt x="4317" y="33072"/>
                    <a:pt x="4450" y="33605"/>
                    <a:pt x="4610" y="34137"/>
                  </a:cubicBezTo>
                  <a:cubicBezTo>
                    <a:pt x="4903" y="35282"/>
                    <a:pt x="5222" y="36400"/>
                    <a:pt x="5515" y="37545"/>
                  </a:cubicBezTo>
                  <a:cubicBezTo>
                    <a:pt x="5675" y="38211"/>
                    <a:pt x="5861" y="38877"/>
                    <a:pt x="6021" y="39542"/>
                  </a:cubicBezTo>
                  <a:cubicBezTo>
                    <a:pt x="6181" y="40208"/>
                    <a:pt x="6527" y="41619"/>
                    <a:pt x="6767" y="42658"/>
                  </a:cubicBezTo>
                  <a:lnTo>
                    <a:pt x="7246" y="44708"/>
                  </a:lnTo>
                  <a:cubicBezTo>
                    <a:pt x="7592" y="46172"/>
                    <a:pt x="7912" y="47663"/>
                    <a:pt x="8231" y="49128"/>
                  </a:cubicBezTo>
                  <a:lnTo>
                    <a:pt x="8231" y="49580"/>
                  </a:lnTo>
                  <a:cubicBezTo>
                    <a:pt x="24862" y="40482"/>
                    <a:pt x="43101" y="34704"/>
                    <a:pt x="61936" y="32566"/>
                  </a:cubicBezTo>
                  <a:cubicBezTo>
                    <a:pt x="63078" y="31451"/>
                    <a:pt x="64415" y="30548"/>
                    <a:pt x="65877" y="29904"/>
                  </a:cubicBezTo>
                  <a:cubicBezTo>
                    <a:pt x="69748" y="28287"/>
                    <a:pt x="74016" y="27880"/>
                    <a:pt x="78125" y="28732"/>
                  </a:cubicBezTo>
                  <a:cubicBezTo>
                    <a:pt x="79227" y="28892"/>
                    <a:pt x="80313" y="29139"/>
                    <a:pt x="81373" y="29478"/>
                  </a:cubicBezTo>
                  <a:cubicBezTo>
                    <a:pt x="81719" y="27773"/>
                    <a:pt x="82012" y="26069"/>
                    <a:pt x="82278" y="24339"/>
                  </a:cubicBezTo>
                  <a:cubicBezTo>
                    <a:pt x="82278" y="24339"/>
                    <a:pt x="84355" y="11558"/>
                    <a:pt x="88509" y="6579"/>
                  </a:cubicBezTo>
                  <a:cubicBezTo>
                    <a:pt x="91555" y="3043"/>
                    <a:pt x="96042" y="1086"/>
                    <a:pt x="100704" y="1254"/>
                  </a:cubicBezTo>
                  <a:cubicBezTo>
                    <a:pt x="93645" y="277"/>
                    <a:pt x="86528" y="-213"/>
                    <a:pt x="79403" y="-211"/>
                  </a:cubicBezTo>
                </a:path>
              </a:pathLst>
            </a:custGeom>
            <a:solidFill>
              <a:srgbClr val="8FD942"/>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43" name="Freeform: Shape 42">
              <a:extLst>
                <a:ext uri="{FF2B5EF4-FFF2-40B4-BE49-F238E27FC236}">
                  <a16:creationId xmlns:a16="http://schemas.microsoft.com/office/drawing/2014/main" id="{EFB0BDC7-59F7-40A2-B420-2323EB43F5D5}"/>
                </a:ext>
              </a:extLst>
            </p:cNvPr>
            <p:cNvSpPr/>
            <p:nvPr/>
          </p:nvSpPr>
          <p:spPr>
            <a:xfrm>
              <a:off x="11478444" y="6717190"/>
              <a:ext cx="30172" cy="26310"/>
            </a:xfrm>
            <a:custGeom>
              <a:avLst/>
              <a:gdLst>
                <a:gd name="connsiteX0" fmla="*/ 989 w 53465"/>
                <a:gd name="connsiteY0" fmla="*/ 16669 h 46622"/>
                <a:gd name="connsiteX1" fmla="*/ 1415 w 53465"/>
                <a:gd name="connsiteY1" fmla="*/ 18878 h 46622"/>
                <a:gd name="connsiteX2" fmla="*/ 1921 w 53465"/>
                <a:gd name="connsiteY2" fmla="*/ 21541 h 46622"/>
                <a:gd name="connsiteX3" fmla="*/ 2426 w 53465"/>
                <a:gd name="connsiteY3" fmla="*/ 24337 h 46622"/>
                <a:gd name="connsiteX4" fmla="*/ 2719 w 53465"/>
                <a:gd name="connsiteY4" fmla="*/ 26014 h 46622"/>
                <a:gd name="connsiteX5" fmla="*/ 2719 w 53465"/>
                <a:gd name="connsiteY5" fmla="*/ 26361 h 46622"/>
                <a:gd name="connsiteX6" fmla="*/ 2719 w 53465"/>
                <a:gd name="connsiteY6" fmla="*/ 26573 h 46622"/>
                <a:gd name="connsiteX7" fmla="*/ 3199 w 53465"/>
                <a:gd name="connsiteY7" fmla="*/ 29449 h 46622"/>
                <a:gd name="connsiteX8" fmla="*/ 3651 w 53465"/>
                <a:gd name="connsiteY8" fmla="*/ 32484 h 46622"/>
                <a:gd name="connsiteX9" fmla="*/ 3891 w 53465"/>
                <a:gd name="connsiteY9" fmla="*/ 34268 h 46622"/>
                <a:gd name="connsiteX10" fmla="*/ 4370 w 53465"/>
                <a:gd name="connsiteY10" fmla="*/ 38103 h 46622"/>
                <a:gd name="connsiteX11" fmla="*/ 4743 w 53465"/>
                <a:gd name="connsiteY11" fmla="*/ 41165 h 46622"/>
                <a:gd name="connsiteX12" fmla="*/ 4743 w 53465"/>
                <a:gd name="connsiteY12" fmla="*/ 41324 h 46622"/>
                <a:gd name="connsiteX13" fmla="*/ 4743 w 53465"/>
                <a:gd name="connsiteY13" fmla="*/ 41324 h 46622"/>
                <a:gd name="connsiteX14" fmla="*/ 4743 w 53465"/>
                <a:gd name="connsiteY14" fmla="*/ 41324 h 46622"/>
                <a:gd name="connsiteX15" fmla="*/ 4743 w 53465"/>
                <a:gd name="connsiteY15" fmla="*/ 41671 h 46622"/>
                <a:gd name="connsiteX16" fmla="*/ 4743 w 53465"/>
                <a:gd name="connsiteY16" fmla="*/ 42443 h 46622"/>
                <a:gd name="connsiteX17" fmla="*/ 4743 w 53465"/>
                <a:gd name="connsiteY17" fmla="*/ 42949 h 46622"/>
                <a:gd name="connsiteX18" fmla="*/ 5063 w 53465"/>
                <a:gd name="connsiteY18" fmla="*/ 46277 h 46622"/>
                <a:gd name="connsiteX19" fmla="*/ 5063 w 53465"/>
                <a:gd name="connsiteY19" fmla="*/ 46037 h 46622"/>
                <a:gd name="connsiteX20" fmla="*/ 24313 w 53465"/>
                <a:gd name="connsiteY20" fmla="*/ 38049 h 46622"/>
                <a:gd name="connsiteX21" fmla="*/ 36668 w 53465"/>
                <a:gd name="connsiteY21" fmla="*/ 34481 h 46622"/>
                <a:gd name="connsiteX22" fmla="*/ 44416 w 53465"/>
                <a:gd name="connsiteY22" fmla="*/ 21168 h 46622"/>
                <a:gd name="connsiteX23" fmla="*/ 50460 w 53465"/>
                <a:gd name="connsiteY23" fmla="*/ 6737 h 46622"/>
                <a:gd name="connsiteX24" fmla="*/ 50833 w 53465"/>
                <a:gd name="connsiteY24" fmla="*/ 5592 h 46622"/>
                <a:gd name="connsiteX25" fmla="*/ 54454 w 53465"/>
                <a:gd name="connsiteY25" fmla="*/ -346 h 46622"/>
                <a:gd name="connsiteX26" fmla="*/ 989 w 53465"/>
                <a:gd name="connsiteY26" fmla="*/ 16669 h 4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3465" h="46622">
                  <a:moveTo>
                    <a:pt x="989" y="16669"/>
                  </a:moveTo>
                  <a:cubicBezTo>
                    <a:pt x="1148" y="17414"/>
                    <a:pt x="1282" y="18160"/>
                    <a:pt x="1415" y="18878"/>
                  </a:cubicBezTo>
                  <a:cubicBezTo>
                    <a:pt x="1548" y="19597"/>
                    <a:pt x="1761" y="20609"/>
                    <a:pt x="1921" y="21541"/>
                  </a:cubicBezTo>
                  <a:cubicBezTo>
                    <a:pt x="2080" y="22473"/>
                    <a:pt x="2267" y="23405"/>
                    <a:pt x="2426" y="24337"/>
                  </a:cubicBezTo>
                  <a:cubicBezTo>
                    <a:pt x="2586" y="25269"/>
                    <a:pt x="2613" y="25455"/>
                    <a:pt x="2719" y="26014"/>
                  </a:cubicBezTo>
                  <a:cubicBezTo>
                    <a:pt x="2719" y="26147"/>
                    <a:pt x="2719" y="26254"/>
                    <a:pt x="2719" y="26361"/>
                  </a:cubicBezTo>
                  <a:lnTo>
                    <a:pt x="2719" y="26573"/>
                  </a:lnTo>
                  <a:lnTo>
                    <a:pt x="3199" y="29449"/>
                  </a:lnTo>
                  <a:cubicBezTo>
                    <a:pt x="3358" y="30461"/>
                    <a:pt x="3492" y="31473"/>
                    <a:pt x="3651" y="32484"/>
                  </a:cubicBezTo>
                  <a:lnTo>
                    <a:pt x="3891" y="34268"/>
                  </a:lnTo>
                  <a:cubicBezTo>
                    <a:pt x="4077" y="35546"/>
                    <a:pt x="4211" y="36931"/>
                    <a:pt x="4370" y="38103"/>
                  </a:cubicBezTo>
                  <a:cubicBezTo>
                    <a:pt x="4530" y="39274"/>
                    <a:pt x="4610" y="40153"/>
                    <a:pt x="4743" y="41165"/>
                  </a:cubicBezTo>
                  <a:lnTo>
                    <a:pt x="4743" y="41324"/>
                  </a:lnTo>
                  <a:lnTo>
                    <a:pt x="4743" y="41324"/>
                  </a:lnTo>
                  <a:lnTo>
                    <a:pt x="4743" y="41324"/>
                  </a:lnTo>
                  <a:cubicBezTo>
                    <a:pt x="4743" y="41324"/>
                    <a:pt x="4743" y="41564"/>
                    <a:pt x="4743" y="41671"/>
                  </a:cubicBezTo>
                  <a:lnTo>
                    <a:pt x="4743" y="42443"/>
                  </a:lnTo>
                  <a:cubicBezTo>
                    <a:pt x="4756" y="42610"/>
                    <a:pt x="4756" y="42781"/>
                    <a:pt x="4743" y="42949"/>
                  </a:cubicBezTo>
                  <a:cubicBezTo>
                    <a:pt x="4743" y="44067"/>
                    <a:pt x="4983" y="45185"/>
                    <a:pt x="5063" y="46277"/>
                  </a:cubicBezTo>
                  <a:lnTo>
                    <a:pt x="5063" y="46037"/>
                  </a:lnTo>
                  <a:cubicBezTo>
                    <a:pt x="11274" y="42906"/>
                    <a:pt x="17710" y="40235"/>
                    <a:pt x="24313" y="38049"/>
                  </a:cubicBezTo>
                  <a:cubicBezTo>
                    <a:pt x="28360" y="36691"/>
                    <a:pt x="32487" y="35387"/>
                    <a:pt x="36668" y="34481"/>
                  </a:cubicBezTo>
                  <a:cubicBezTo>
                    <a:pt x="39546" y="30224"/>
                    <a:pt x="42134" y="25775"/>
                    <a:pt x="44416" y="21168"/>
                  </a:cubicBezTo>
                  <a:cubicBezTo>
                    <a:pt x="46735" y="16493"/>
                    <a:pt x="48756" y="11671"/>
                    <a:pt x="50460" y="6737"/>
                  </a:cubicBezTo>
                  <a:cubicBezTo>
                    <a:pt x="50460" y="6338"/>
                    <a:pt x="50700" y="5965"/>
                    <a:pt x="50833" y="5592"/>
                  </a:cubicBezTo>
                  <a:cubicBezTo>
                    <a:pt x="51589" y="3371"/>
                    <a:pt x="52825" y="1343"/>
                    <a:pt x="54454" y="-346"/>
                  </a:cubicBezTo>
                  <a:cubicBezTo>
                    <a:pt x="35701" y="1822"/>
                    <a:pt x="17545" y="7600"/>
                    <a:pt x="989" y="16669"/>
                  </a:cubicBezTo>
                </a:path>
              </a:pathLst>
            </a:custGeom>
            <a:solidFill>
              <a:srgbClr val="00A652"/>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44" name="Freeform: Shape 43">
              <a:extLst>
                <a:ext uri="{FF2B5EF4-FFF2-40B4-BE49-F238E27FC236}">
                  <a16:creationId xmlns:a16="http://schemas.microsoft.com/office/drawing/2014/main" id="{167AE447-3F51-403E-9F11-11E36ABC6BE7}"/>
                </a:ext>
              </a:extLst>
            </p:cNvPr>
            <p:cNvSpPr/>
            <p:nvPr/>
          </p:nvSpPr>
          <p:spPr>
            <a:xfrm>
              <a:off x="11480833" y="6736694"/>
              <a:ext cx="17385" cy="17249"/>
            </a:xfrm>
            <a:custGeom>
              <a:avLst/>
              <a:gdLst>
                <a:gd name="connsiteX0" fmla="*/ 20239 w 30806"/>
                <a:gd name="connsiteY0" fmla="*/ 3409 h 30566"/>
                <a:gd name="connsiteX1" fmla="*/ 989 w 30806"/>
                <a:gd name="connsiteY1" fmla="*/ 11397 h 30566"/>
                <a:gd name="connsiteX2" fmla="*/ 989 w 30806"/>
                <a:gd name="connsiteY2" fmla="*/ 11636 h 30566"/>
                <a:gd name="connsiteX3" fmla="*/ 989 w 30806"/>
                <a:gd name="connsiteY3" fmla="*/ 13154 h 30566"/>
                <a:gd name="connsiteX4" fmla="*/ 989 w 30806"/>
                <a:gd name="connsiteY4" fmla="*/ 13314 h 30566"/>
                <a:gd name="connsiteX5" fmla="*/ 1122 w 30806"/>
                <a:gd name="connsiteY5" fmla="*/ 15550 h 30566"/>
                <a:gd name="connsiteX6" fmla="*/ 1122 w 30806"/>
                <a:gd name="connsiteY6" fmla="*/ 16029 h 30566"/>
                <a:gd name="connsiteX7" fmla="*/ 1122 w 30806"/>
                <a:gd name="connsiteY7" fmla="*/ 16029 h 30566"/>
                <a:gd name="connsiteX8" fmla="*/ 1122 w 30806"/>
                <a:gd name="connsiteY8" fmla="*/ 16269 h 30566"/>
                <a:gd name="connsiteX9" fmla="*/ 1122 w 30806"/>
                <a:gd name="connsiteY9" fmla="*/ 18186 h 30566"/>
                <a:gd name="connsiteX10" fmla="*/ 1122 w 30806"/>
                <a:gd name="connsiteY10" fmla="*/ 19731 h 30566"/>
                <a:gd name="connsiteX11" fmla="*/ 1122 w 30806"/>
                <a:gd name="connsiteY11" fmla="*/ 19917 h 30566"/>
                <a:gd name="connsiteX12" fmla="*/ 1122 w 30806"/>
                <a:gd name="connsiteY12" fmla="*/ 21674 h 30566"/>
                <a:gd name="connsiteX13" fmla="*/ 1122 w 30806"/>
                <a:gd name="connsiteY13" fmla="*/ 23219 h 30566"/>
                <a:gd name="connsiteX14" fmla="*/ 1122 w 30806"/>
                <a:gd name="connsiteY14" fmla="*/ 23538 h 30566"/>
                <a:gd name="connsiteX15" fmla="*/ 1122 w 30806"/>
                <a:gd name="connsiteY15" fmla="*/ 23538 h 30566"/>
                <a:gd name="connsiteX16" fmla="*/ 1122 w 30806"/>
                <a:gd name="connsiteY16" fmla="*/ 24710 h 30566"/>
                <a:gd name="connsiteX17" fmla="*/ 1122 w 30806"/>
                <a:gd name="connsiteY17" fmla="*/ 26174 h 30566"/>
                <a:gd name="connsiteX18" fmla="*/ 1122 w 30806"/>
                <a:gd name="connsiteY18" fmla="*/ 26174 h 30566"/>
                <a:gd name="connsiteX19" fmla="*/ 1122 w 30806"/>
                <a:gd name="connsiteY19" fmla="*/ 26307 h 30566"/>
                <a:gd name="connsiteX20" fmla="*/ 1122 w 30806"/>
                <a:gd name="connsiteY20" fmla="*/ 27266 h 30566"/>
                <a:gd name="connsiteX21" fmla="*/ 1122 w 30806"/>
                <a:gd name="connsiteY21" fmla="*/ 29023 h 30566"/>
                <a:gd name="connsiteX22" fmla="*/ 1122 w 30806"/>
                <a:gd name="connsiteY22" fmla="*/ 30221 h 30566"/>
                <a:gd name="connsiteX23" fmla="*/ 1122 w 30806"/>
                <a:gd name="connsiteY23" fmla="*/ 30221 h 30566"/>
                <a:gd name="connsiteX24" fmla="*/ 2852 w 30806"/>
                <a:gd name="connsiteY24" fmla="*/ 29050 h 30566"/>
                <a:gd name="connsiteX25" fmla="*/ 12172 w 30806"/>
                <a:gd name="connsiteY25" fmla="*/ 22020 h 30566"/>
                <a:gd name="connsiteX26" fmla="*/ 27988 w 30806"/>
                <a:gd name="connsiteY26" fmla="*/ 5060 h 30566"/>
                <a:gd name="connsiteX27" fmla="*/ 29345 w 30806"/>
                <a:gd name="connsiteY27" fmla="*/ 3222 h 30566"/>
                <a:gd name="connsiteX28" fmla="*/ 31795 w 30806"/>
                <a:gd name="connsiteY28" fmla="*/ -346 h 30566"/>
                <a:gd name="connsiteX29" fmla="*/ 19441 w 30806"/>
                <a:gd name="connsiteY29" fmla="*/ 3222 h 30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0806" h="30566">
                  <a:moveTo>
                    <a:pt x="20239" y="3409"/>
                  </a:moveTo>
                  <a:cubicBezTo>
                    <a:pt x="13636" y="5600"/>
                    <a:pt x="7203" y="8268"/>
                    <a:pt x="989" y="11397"/>
                  </a:cubicBezTo>
                  <a:lnTo>
                    <a:pt x="989" y="11636"/>
                  </a:lnTo>
                  <a:cubicBezTo>
                    <a:pt x="989" y="12142"/>
                    <a:pt x="989" y="12648"/>
                    <a:pt x="989" y="13154"/>
                  </a:cubicBezTo>
                  <a:lnTo>
                    <a:pt x="989" y="13314"/>
                  </a:lnTo>
                  <a:cubicBezTo>
                    <a:pt x="989" y="14059"/>
                    <a:pt x="989" y="14805"/>
                    <a:pt x="1122" y="15550"/>
                  </a:cubicBezTo>
                  <a:lnTo>
                    <a:pt x="1122" y="16029"/>
                  </a:lnTo>
                  <a:lnTo>
                    <a:pt x="1122" y="16029"/>
                  </a:lnTo>
                  <a:lnTo>
                    <a:pt x="1122" y="16269"/>
                  </a:lnTo>
                  <a:cubicBezTo>
                    <a:pt x="1122" y="16908"/>
                    <a:pt x="1122" y="17547"/>
                    <a:pt x="1122" y="18186"/>
                  </a:cubicBezTo>
                  <a:cubicBezTo>
                    <a:pt x="1122" y="18825"/>
                    <a:pt x="1122" y="19225"/>
                    <a:pt x="1122" y="19731"/>
                  </a:cubicBezTo>
                  <a:lnTo>
                    <a:pt x="1122" y="19917"/>
                  </a:lnTo>
                  <a:lnTo>
                    <a:pt x="1122" y="21674"/>
                  </a:lnTo>
                  <a:cubicBezTo>
                    <a:pt x="1122" y="22207"/>
                    <a:pt x="1122" y="22713"/>
                    <a:pt x="1122" y="23219"/>
                  </a:cubicBezTo>
                  <a:cubicBezTo>
                    <a:pt x="1135" y="23325"/>
                    <a:pt x="1135" y="23432"/>
                    <a:pt x="1122" y="23538"/>
                  </a:cubicBezTo>
                  <a:lnTo>
                    <a:pt x="1122" y="23538"/>
                  </a:lnTo>
                  <a:cubicBezTo>
                    <a:pt x="1122" y="23937"/>
                    <a:pt x="1122" y="24310"/>
                    <a:pt x="1122" y="24710"/>
                  </a:cubicBezTo>
                  <a:cubicBezTo>
                    <a:pt x="1122" y="25109"/>
                    <a:pt x="1122" y="25695"/>
                    <a:pt x="1122" y="26174"/>
                  </a:cubicBezTo>
                  <a:lnTo>
                    <a:pt x="1122" y="26174"/>
                  </a:lnTo>
                  <a:lnTo>
                    <a:pt x="1122" y="26307"/>
                  </a:lnTo>
                  <a:cubicBezTo>
                    <a:pt x="1122" y="26627"/>
                    <a:pt x="1122" y="26946"/>
                    <a:pt x="1122" y="27266"/>
                  </a:cubicBezTo>
                  <a:cubicBezTo>
                    <a:pt x="1122" y="27585"/>
                    <a:pt x="1122" y="28437"/>
                    <a:pt x="1122" y="29023"/>
                  </a:cubicBezTo>
                  <a:cubicBezTo>
                    <a:pt x="1122" y="29609"/>
                    <a:pt x="1122" y="29822"/>
                    <a:pt x="1122" y="30221"/>
                  </a:cubicBezTo>
                  <a:lnTo>
                    <a:pt x="1122" y="30221"/>
                  </a:lnTo>
                  <a:lnTo>
                    <a:pt x="2852" y="29050"/>
                  </a:lnTo>
                  <a:cubicBezTo>
                    <a:pt x="6090" y="26888"/>
                    <a:pt x="9203" y="24539"/>
                    <a:pt x="12172" y="22020"/>
                  </a:cubicBezTo>
                  <a:cubicBezTo>
                    <a:pt x="18035" y="16948"/>
                    <a:pt x="23336" y="11263"/>
                    <a:pt x="27988" y="5060"/>
                  </a:cubicBezTo>
                  <a:lnTo>
                    <a:pt x="29345" y="3222"/>
                  </a:lnTo>
                  <a:cubicBezTo>
                    <a:pt x="30198" y="2024"/>
                    <a:pt x="31023" y="853"/>
                    <a:pt x="31795" y="-346"/>
                  </a:cubicBezTo>
                  <a:cubicBezTo>
                    <a:pt x="27615" y="666"/>
                    <a:pt x="23488" y="1864"/>
                    <a:pt x="19441" y="3222"/>
                  </a:cubicBezTo>
                </a:path>
              </a:pathLst>
            </a:custGeom>
            <a:solidFill>
              <a:srgbClr val="8FD942"/>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45" name="Freeform: Shape 44">
              <a:extLst>
                <a:ext uri="{FF2B5EF4-FFF2-40B4-BE49-F238E27FC236}">
                  <a16:creationId xmlns:a16="http://schemas.microsoft.com/office/drawing/2014/main" id="{62D3C175-41EC-4A85-A625-BC9A641CCDAF}"/>
                </a:ext>
              </a:extLst>
            </p:cNvPr>
            <p:cNvSpPr/>
            <p:nvPr/>
          </p:nvSpPr>
          <p:spPr>
            <a:xfrm>
              <a:off x="11402788" y="6644225"/>
              <a:ext cx="49180" cy="59563"/>
            </a:xfrm>
            <a:custGeom>
              <a:avLst/>
              <a:gdLst>
                <a:gd name="connsiteX0" fmla="*/ 64918 w 87147"/>
                <a:gd name="connsiteY0" fmla="*/ 17494 h 105546"/>
                <a:gd name="connsiteX1" fmla="*/ 44735 w 87147"/>
                <a:gd name="connsiteY1" fmla="*/ -346 h 105546"/>
                <a:gd name="connsiteX2" fmla="*/ 14302 w 87147"/>
                <a:gd name="connsiteY2" fmla="*/ 29263 h 105546"/>
                <a:gd name="connsiteX3" fmla="*/ 989 w 87147"/>
                <a:gd name="connsiteY3" fmla="*/ 50111 h 105546"/>
                <a:gd name="connsiteX4" fmla="*/ 2160 w 87147"/>
                <a:gd name="connsiteY4" fmla="*/ 51602 h 105546"/>
                <a:gd name="connsiteX5" fmla="*/ 36774 w 87147"/>
                <a:gd name="connsiteY5" fmla="*/ 105200 h 105546"/>
                <a:gd name="connsiteX6" fmla="*/ 80015 w 87147"/>
                <a:gd name="connsiteY6" fmla="*/ 49286 h 105546"/>
                <a:gd name="connsiteX7" fmla="*/ 80894 w 87147"/>
                <a:gd name="connsiteY7" fmla="*/ 48647 h 105546"/>
                <a:gd name="connsiteX8" fmla="*/ 88136 w 87147"/>
                <a:gd name="connsiteY8" fmla="*/ 43641 h 105546"/>
                <a:gd name="connsiteX9" fmla="*/ 64891 w 87147"/>
                <a:gd name="connsiteY9" fmla="*/ 17441 h 105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147" h="105546">
                  <a:moveTo>
                    <a:pt x="64918" y="17494"/>
                  </a:moveTo>
                  <a:cubicBezTo>
                    <a:pt x="58514" y="11192"/>
                    <a:pt x="51778" y="5235"/>
                    <a:pt x="44735" y="-346"/>
                  </a:cubicBezTo>
                  <a:cubicBezTo>
                    <a:pt x="33206" y="7994"/>
                    <a:pt x="22955" y="17968"/>
                    <a:pt x="14302" y="29263"/>
                  </a:cubicBezTo>
                  <a:cubicBezTo>
                    <a:pt x="9269" y="35815"/>
                    <a:pt x="4815" y="42791"/>
                    <a:pt x="989" y="50111"/>
                  </a:cubicBezTo>
                  <a:cubicBezTo>
                    <a:pt x="1388" y="50590"/>
                    <a:pt x="1761" y="51096"/>
                    <a:pt x="2160" y="51602"/>
                  </a:cubicBezTo>
                  <a:cubicBezTo>
                    <a:pt x="15061" y="68552"/>
                    <a:pt x="26632" y="86472"/>
                    <a:pt x="36774" y="105200"/>
                  </a:cubicBezTo>
                  <a:cubicBezTo>
                    <a:pt x="45936" y="83034"/>
                    <a:pt x="60868" y="63728"/>
                    <a:pt x="80015" y="49286"/>
                  </a:cubicBezTo>
                  <a:lnTo>
                    <a:pt x="80894" y="48647"/>
                  </a:lnTo>
                  <a:cubicBezTo>
                    <a:pt x="83263" y="46916"/>
                    <a:pt x="85660" y="45238"/>
                    <a:pt x="88136" y="43641"/>
                  </a:cubicBezTo>
                  <a:cubicBezTo>
                    <a:pt x="81003" y="34380"/>
                    <a:pt x="73236" y="25626"/>
                    <a:pt x="64891" y="17441"/>
                  </a:cubicBezTo>
                </a:path>
              </a:pathLst>
            </a:custGeom>
            <a:solidFill>
              <a:srgbClr val="FAC200"/>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46" name="Freeform: Shape 45">
              <a:extLst>
                <a:ext uri="{FF2B5EF4-FFF2-40B4-BE49-F238E27FC236}">
                  <a16:creationId xmlns:a16="http://schemas.microsoft.com/office/drawing/2014/main" id="{4E989283-F4E6-4980-8409-61A4C68C2B20}"/>
                </a:ext>
              </a:extLst>
            </p:cNvPr>
            <p:cNvSpPr/>
            <p:nvPr/>
          </p:nvSpPr>
          <p:spPr>
            <a:xfrm>
              <a:off x="11393217" y="6700272"/>
              <a:ext cx="51283" cy="56601"/>
            </a:xfrm>
            <a:custGeom>
              <a:avLst/>
              <a:gdLst>
                <a:gd name="connsiteX0" fmla="*/ 90133 w 90874"/>
                <a:gd name="connsiteY0" fmla="*/ 93882 h 100298"/>
                <a:gd name="connsiteX1" fmla="*/ 81613 w 90874"/>
                <a:gd name="connsiteY1" fmla="*/ 68055 h 100298"/>
                <a:gd name="connsiteX2" fmla="*/ 53762 w 90874"/>
                <a:gd name="connsiteY2" fmla="*/ 5909 h 100298"/>
                <a:gd name="connsiteX3" fmla="*/ 53762 w 90874"/>
                <a:gd name="connsiteY3" fmla="*/ 5909 h 100298"/>
                <a:gd name="connsiteX4" fmla="*/ 34165 w 90874"/>
                <a:gd name="connsiteY4" fmla="*/ 1276 h 100298"/>
                <a:gd name="connsiteX5" fmla="*/ 2213 w 90874"/>
                <a:gd name="connsiteY5" fmla="*/ 132 h 100298"/>
                <a:gd name="connsiteX6" fmla="*/ 989 w 90874"/>
                <a:gd name="connsiteY6" fmla="*/ 19089 h 100298"/>
                <a:gd name="connsiteX7" fmla="*/ 9376 w 90874"/>
                <a:gd name="connsiteY7" fmla="*/ 68081 h 100298"/>
                <a:gd name="connsiteX8" fmla="*/ 14888 w 90874"/>
                <a:gd name="connsiteY8" fmla="*/ 81395 h 100298"/>
                <a:gd name="connsiteX9" fmla="*/ 27854 w 90874"/>
                <a:gd name="connsiteY9" fmla="*/ 81182 h 100298"/>
                <a:gd name="connsiteX10" fmla="*/ 80388 w 90874"/>
                <a:gd name="connsiteY10" fmla="*/ 93829 h 100298"/>
                <a:gd name="connsiteX11" fmla="*/ 91864 w 90874"/>
                <a:gd name="connsiteY11" fmla="*/ 99953 h 100298"/>
                <a:gd name="connsiteX12" fmla="*/ 90080 w 90874"/>
                <a:gd name="connsiteY12" fmla="*/ 93829 h 10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874" h="100298">
                  <a:moveTo>
                    <a:pt x="90133" y="93882"/>
                  </a:moveTo>
                  <a:cubicBezTo>
                    <a:pt x="87470" y="85008"/>
                    <a:pt x="84629" y="76397"/>
                    <a:pt x="81613" y="68055"/>
                  </a:cubicBezTo>
                  <a:cubicBezTo>
                    <a:pt x="73918" y="46663"/>
                    <a:pt x="64607" y="25890"/>
                    <a:pt x="53762" y="5909"/>
                  </a:cubicBezTo>
                  <a:lnTo>
                    <a:pt x="53762" y="5909"/>
                  </a:lnTo>
                  <a:cubicBezTo>
                    <a:pt x="47353" y="3883"/>
                    <a:pt x="40803" y="2336"/>
                    <a:pt x="34165" y="1276"/>
                  </a:cubicBezTo>
                  <a:cubicBezTo>
                    <a:pt x="23600" y="-390"/>
                    <a:pt x="12872" y="-774"/>
                    <a:pt x="2213" y="132"/>
                  </a:cubicBezTo>
                  <a:cubicBezTo>
                    <a:pt x="1401" y="6418"/>
                    <a:pt x="991" y="12750"/>
                    <a:pt x="989" y="19089"/>
                  </a:cubicBezTo>
                  <a:cubicBezTo>
                    <a:pt x="973" y="35779"/>
                    <a:pt x="3808" y="52348"/>
                    <a:pt x="9376" y="68081"/>
                  </a:cubicBezTo>
                  <a:cubicBezTo>
                    <a:pt x="10992" y="72627"/>
                    <a:pt x="12829" y="77063"/>
                    <a:pt x="14888" y="81395"/>
                  </a:cubicBezTo>
                  <a:cubicBezTo>
                    <a:pt x="19174" y="81128"/>
                    <a:pt x="23488" y="81048"/>
                    <a:pt x="27854" y="81182"/>
                  </a:cubicBezTo>
                  <a:cubicBezTo>
                    <a:pt x="46046" y="81775"/>
                    <a:pt x="63920" y="86078"/>
                    <a:pt x="80388" y="93829"/>
                  </a:cubicBezTo>
                  <a:cubicBezTo>
                    <a:pt x="84329" y="95605"/>
                    <a:pt x="88155" y="97645"/>
                    <a:pt x="91864" y="99953"/>
                  </a:cubicBezTo>
                  <a:cubicBezTo>
                    <a:pt x="91278" y="97903"/>
                    <a:pt x="90692" y="95853"/>
                    <a:pt x="90080" y="93829"/>
                  </a:cubicBezTo>
                </a:path>
              </a:pathLst>
            </a:custGeom>
            <a:solidFill>
              <a:srgbClr val="FAC200"/>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47" name="Freeform: Shape 46">
              <a:extLst>
                <a:ext uri="{FF2B5EF4-FFF2-40B4-BE49-F238E27FC236}">
                  <a16:creationId xmlns:a16="http://schemas.microsoft.com/office/drawing/2014/main" id="{745E2C4D-DBF8-4C18-8364-1676E8BEB4A1}"/>
                </a:ext>
              </a:extLst>
            </p:cNvPr>
            <p:cNvSpPr/>
            <p:nvPr/>
          </p:nvSpPr>
          <p:spPr>
            <a:xfrm>
              <a:off x="11444530" y="6711466"/>
              <a:ext cx="36834" cy="78871"/>
            </a:xfrm>
            <a:custGeom>
              <a:avLst/>
              <a:gdLst>
                <a:gd name="connsiteX0" fmla="*/ 64785 w 65270"/>
                <a:gd name="connsiteY0" fmla="*/ 76205 h 139760"/>
                <a:gd name="connsiteX1" fmla="*/ 66249 w 65270"/>
                <a:gd name="connsiteY1" fmla="*/ 75246 h 139760"/>
                <a:gd name="connsiteX2" fmla="*/ 66249 w 65270"/>
                <a:gd name="connsiteY2" fmla="*/ 74048 h 139760"/>
                <a:gd name="connsiteX3" fmla="*/ 66249 w 65270"/>
                <a:gd name="connsiteY3" fmla="*/ 72291 h 139760"/>
                <a:gd name="connsiteX4" fmla="*/ 66249 w 65270"/>
                <a:gd name="connsiteY4" fmla="*/ 71332 h 139760"/>
                <a:gd name="connsiteX5" fmla="*/ 66249 w 65270"/>
                <a:gd name="connsiteY5" fmla="*/ 71199 h 139760"/>
                <a:gd name="connsiteX6" fmla="*/ 66249 w 65270"/>
                <a:gd name="connsiteY6" fmla="*/ 71199 h 139760"/>
                <a:gd name="connsiteX7" fmla="*/ 66249 w 65270"/>
                <a:gd name="connsiteY7" fmla="*/ 69734 h 139760"/>
                <a:gd name="connsiteX8" fmla="*/ 66249 w 65270"/>
                <a:gd name="connsiteY8" fmla="*/ 68563 h 139760"/>
                <a:gd name="connsiteX9" fmla="*/ 66249 w 65270"/>
                <a:gd name="connsiteY9" fmla="*/ 68563 h 139760"/>
                <a:gd name="connsiteX10" fmla="*/ 66249 w 65270"/>
                <a:gd name="connsiteY10" fmla="*/ 68243 h 139760"/>
                <a:gd name="connsiteX11" fmla="*/ 66249 w 65270"/>
                <a:gd name="connsiteY11" fmla="*/ 66699 h 139760"/>
                <a:gd name="connsiteX12" fmla="*/ 66249 w 65270"/>
                <a:gd name="connsiteY12" fmla="*/ 64942 h 139760"/>
                <a:gd name="connsiteX13" fmla="*/ 66249 w 65270"/>
                <a:gd name="connsiteY13" fmla="*/ 64755 h 139760"/>
                <a:gd name="connsiteX14" fmla="*/ 66249 w 65270"/>
                <a:gd name="connsiteY14" fmla="*/ 63211 h 139760"/>
                <a:gd name="connsiteX15" fmla="*/ 66249 w 65270"/>
                <a:gd name="connsiteY15" fmla="*/ 61294 h 139760"/>
                <a:gd name="connsiteX16" fmla="*/ 66249 w 65270"/>
                <a:gd name="connsiteY16" fmla="*/ 61054 h 139760"/>
                <a:gd name="connsiteX17" fmla="*/ 66249 w 65270"/>
                <a:gd name="connsiteY17" fmla="*/ 61054 h 139760"/>
                <a:gd name="connsiteX18" fmla="*/ 66249 w 65270"/>
                <a:gd name="connsiteY18" fmla="*/ 60575 h 139760"/>
                <a:gd name="connsiteX19" fmla="*/ 66116 w 65270"/>
                <a:gd name="connsiteY19" fmla="*/ 58338 h 139760"/>
                <a:gd name="connsiteX20" fmla="*/ 66116 w 65270"/>
                <a:gd name="connsiteY20" fmla="*/ 58179 h 139760"/>
                <a:gd name="connsiteX21" fmla="*/ 66116 w 65270"/>
                <a:gd name="connsiteY21" fmla="*/ 56661 h 139760"/>
                <a:gd name="connsiteX22" fmla="*/ 65797 w 65270"/>
                <a:gd name="connsiteY22" fmla="*/ 53333 h 139760"/>
                <a:gd name="connsiteX23" fmla="*/ 65797 w 65270"/>
                <a:gd name="connsiteY23" fmla="*/ 52827 h 139760"/>
                <a:gd name="connsiteX24" fmla="*/ 65797 w 65270"/>
                <a:gd name="connsiteY24" fmla="*/ 51868 h 139760"/>
                <a:gd name="connsiteX25" fmla="*/ 65797 w 65270"/>
                <a:gd name="connsiteY25" fmla="*/ 51442 h 139760"/>
                <a:gd name="connsiteX26" fmla="*/ 65424 w 65270"/>
                <a:gd name="connsiteY26" fmla="*/ 48380 h 139760"/>
                <a:gd name="connsiteX27" fmla="*/ 64971 w 65270"/>
                <a:gd name="connsiteY27" fmla="*/ 44546 h 139760"/>
                <a:gd name="connsiteX28" fmla="*/ 64705 w 65270"/>
                <a:gd name="connsiteY28" fmla="*/ 42762 h 139760"/>
                <a:gd name="connsiteX29" fmla="*/ 64705 w 65270"/>
                <a:gd name="connsiteY29" fmla="*/ 41830 h 139760"/>
                <a:gd name="connsiteX30" fmla="*/ 64386 w 65270"/>
                <a:gd name="connsiteY30" fmla="*/ 39753 h 139760"/>
                <a:gd name="connsiteX31" fmla="*/ 64386 w 65270"/>
                <a:gd name="connsiteY31" fmla="*/ 39753 h 139760"/>
                <a:gd name="connsiteX32" fmla="*/ 63906 w 65270"/>
                <a:gd name="connsiteY32" fmla="*/ 36878 h 139760"/>
                <a:gd name="connsiteX33" fmla="*/ 63906 w 65270"/>
                <a:gd name="connsiteY33" fmla="*/ 36665 h 139760"/>
                <a:gd name="connsiteX34" fmla="*/ 63640 w 65270"/>
                <a:gd name="connsiteY34" fmla="*/ 35094 h 139760"/>
                <a:gd name="connsiteX35" fmla="*/ 63640 w 65270"/>
                <a:gd name="connsiteY35" fmla="*/ 34641 h 139760"/>
                <a:gd name="connsiteX36" fmla="*/ 63640 w 65270"/>
                <a:gd name="connsiteY36" fmla="*/ 33816 h 139760"/>
                <a:gd name="connsiteX37" fmla="*/ 63294 w 65270"/>
                <a:gd name="connsiteY37" fmla="*/ 31979 h 139760"/>
                <a:gd name="connsiteX38" fmla="*/ 63294 w 65270"/>
                <a:gd name="connsiteY38" fmla="*/ 31845 h 139760"/>
                <a:gd name="connsiteX39" fmla="*/ 62815 w 65270"/>
                <a:gd name="connsiteY39" fmla="*/ 29183 h 139760"/>
                <a:gd name="connsiteX40" fmla="*/ 62362 w 65270"/>
                <a:gd name="connsiteY40" fmla="*/ 26973 h 139760"/>
                <a:gd name="connsiteX41" fmla="*/ 62362 w 65270"/>
                <a:gd name="connsiteY41" fmla="*/ 26520 h 139760"/>
                <a:gd name="connsiteX42" fmla="*/ 61377 w 65270"/>
                <a:gd name="connsiteY42" fmla="*/ 22100 h 139760"/>
                <a:gd name="connsiteX43" fmla="*/ 61377 w 65270"/>
                <a:gd name="connsiteY43" fmla="*/ 22100 h 139760"/>
                <a:gd name="connsiteX44" fmla="*/ 60951 w 65270"/>
                <a:gd name="connsiteY44" fmla="*/ 20316 h 139760"/>
                <a:gd name="connsiteX45" fmla="*/ 60951 w 65270"/>
                <a:gd name="connsiteY45" fmla="*/ 20130 h 139760"/>
                <a:gd name="connsiteX46" fmla="*/ 60205 w 65270"/>
                <a:gd name="connsiteY46" fmla="*/ 17015 h 139760"/>
                <a:gd name="connsiteX47" fmla="*/ 60205 w 65270"/>
                <a:gd name="connsiteY47" fmla="*/ 17015 h 139760"/>
                <a:gd name="connsiteX48" fmla="*/ 59753 w 65270"/>
                <a:gd name="connsiteY48" fmla="*/ 15177 h 139760"/>
                <a:gd name="connsiteX49" fmla="*/ 59753 w 65270"/>
                <a:gd name="connsiteY49" fmla="*/ 15177 h 139760"/>
                <a:gd name="connsiteX50" fmla="*/ 58847 w 65270"/>
                <a:gd name="connsiteY50" fmla="*/ 11769 h 139760"/>
                <a:gd name="connsiteX51" fmla="*/ 58421 w 65270"/>
                <a:gd name="connsiteY51" fmla="*/ 10172 h 139760"/>
                <a:gd name="connsiteX52" fmla="*/ 57010 w 65270"/>
                <a:gd name="connsiteY52" fmla="*/ 5326 h 139760"/>
                <a:gd name="connsiteX53" fmla="*/ 57010 w 65270"/>
                <a:gd name="connsiteY53" fmla="*/ 5166 h 139760"/>
                <a:gd name="connsiteX54" fmla="*/ 56691 w 65270"/>
                <a:gd name="connsiteY54" fmla="*/ 4208 h 139760"/>
                <a:gd name="connsiteX55" fmla="*/ 56691 w 65270"/>
                <a:gd name="connsiteY55" fmla="*/ 4074 h 139760"/>
                <a:gd name="connsiteX56" fmla="*/ 55546 w 65270"/>
                <a:gd name="connsiteY56" fmla="*/ 453 h 139760"/>
                <a:gd name="connsiteX57" fmla="*/ 55306 w 65270"/>
                <a:gd name="connsiteY57" fmla="*/ -346 h 139760"/>
                <a:gd name="connsiteX58" fmla="*/ 55306 w 65270"/>
                <a:gd name="connsiteY58" fmla="*/ -346 h 139760"/>
                <a:gd name="connsiteX59" fmla="*/ 32141 w 65270"/>
                <a:gd name="connsiteY59" fmla="*/ 19597 h 139760"/>
                <a:gd name="connsiteX60" fmla="*/ 11293 w 65270"/>
                <a:gd name="connsiteY60" fmla="*/ 48114 h 139760"/>
                <a:gd name="connsiteX61" fmla="*/ 2320 w 65270"/>
                <a:gd name="connsiteY61" fmla="*/ 73941 h 139760"/>
                <a:gd name="connsiteX62" fmla="*/ 989 w 65270"/>
                <a:gd name="connsiteY62" fmla="*/ 80065 h 139760"/>
                <a:gd name="connsiteX63" fmla="*/ 5355 w 65270"/>
                <a:gd name="connsiteY63" fmla="*/ 96467 h 139760"/>
                <a:gd name="connsiteX64" fmla="*/ 6447 w 65270"/>
                <a:gd name="connsiteY64" fmla="*/ 100940 h 139760"/>
                <a:gd name="connsiteX65" fmla="*/ 14142 w 65270"/>
                <a:gd name="connsiteY65" fmla="*/ 139415 h 139760"/>
                <a:gd name="connsiteX66" fmla="*/ 35443 w 65270"/>
                <a:gd name="connsiteY66" fmla="*/ 100940 h 139760"/>
                <a:gd name="connsiteX67" fmla="*/ 64732 w 65270"/>
                <a:gd name="connsiteY67" fmla="*/ 76098 h 13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5270" h="139760">
                  <a:moveTo>
                    <a:pt x="64785" y="76205"/>
                  </a:moveTo>
                  <a:lnTo>
                    <a:pt x="66249" y="75246"/>
                  </a:lnTo>
                  <a:cubicBezTo>
                    <a:pt x="66249" y="74847"/>
                    <a:pt x="66249" y="74447"/>
                    <a:pt x="66249" y="74048"/>
                  </a:cubicBezTo>
                  <a:cubicBezTo>
                    <a:pt x="66249" y="73648"/>
                    <a:pt x="66249" y="72876"/>
                    <a:pt x="66249" y="72291"/>
                  </a:cubicBezTo>
                  <a:cubicBezTo>
                    <a:pt x="66249" y="71705"/>
                    <a:pt x="66249" y="71652"/>
                    <a:pt x="66249" y="71332"/>
                  </a:cubicBezTo>
                  <a:lnTo>
                    <a:pt x="66249" y="71199"/>
                  </a:lnTo>
                  <a:lnTo>
                    <a:pt x="66249" y="71199"/>
                  </a:lnTo>
                  <a:cubicBezTo>
                    <a:pt x="66249" y="70720"/>
                    <a:pt x="66249" y="70214"/>
                    <a:pt x="66249" y="69734"/>
                  </a:cubicBezTo>
                  <a:cubicBezTo>
                    <a:pt x="66249" y="69255"/>
                    <a:pt x="66249" y="68962"/>
                    <a:pt x="66249" y="68563"/>
                  </a:cubicBezTo>
                  <a:lnTo>
                    <a:pt x="66249" y="68563"/>
                  </a:lnTo>
                  <a:cubicBezTo>
                    <a:pt x="66263" y="68456"/>
                    <a:pt x="66263" y="68350"/>
                    <a:pt x="66249" y="68243"/>
                  </a:cubicBezTo>
                  <a:cubicBezTo>
                    <a:pt x="66249" y="67737"/>
                    <a:pt x="66249" y="67232"/>
                    <a:pt x="66249" y="66699"/>
                  </a:cubicBezTo>
                  <a:lnTo>
                    <a:pt x="66249" y="64942"/>
                  </a:lnTo>
                  <a:lnTo>
                    <a:pt x="66249" y="64755"/>
                  </a:lnTo>
                  <a:cubicBezTo>
                    <a:pt x="66249" y="64249"/>
                    <a:pt x="66249" y="63744"/>
                    <a:pt x="66249" y="63211"/>
                  </a:cubicBezTo>
                  <a:cubicBezTo>
                    <a:pt x="66249" y="62679"/>
                    <a:pt x="66249" y="61933"/>
                    <a:pt x="66249" y="61294"/>
                  </a:cubicBezTo>
                  <a:lnTo>
                    <a:pt x="66249" y="61054"/>
                  </a:lnTo>
                  <a:lnTo>
                    <a:pt x="66249" y="61054"/>
                  </a:lnTo>
                  <a:lnTo>
                    <a:pt x="66249" y="60575"/>
                  </a:lnTo>
                  <a:cubicBezTo>
                    <a:pt x="66249" y="59830"/>
                    <a:pt x="66249" y="59084"/>
                    <a:pt x="66116" y="58338"/>
                  </a:cubicBezTo>
                  <a:lnTo>
                    <a:pt x="66116" y="58179"/>
                  </a:lnTo>
                  <a:cubicBezTo>
                    <a:pt x="66116" y="57673"/>
                    <a:pt x="66116" y="57167"/>
                    <a:pt x="66116" y="56661"/>
                  </a:cubicBezTo>
                  <a:cubicBezTo>
                    <a:pt x="66116" y="55543"/>
                    <a:pt x="65930" y="54451"/>
                    <a:pt x="65797" y="53333"/>
                  </a:cubicBezTo>
                  <a:cubicBezTo>
                    <a:pt x="65797" y="53146"/>
                    <a:pt x="65797" y="52987"/>
                    <a:pt x="65797" y="52827"/>
                  </a:cubicBezTo>
                  <a:cubicBezTo>
                    <a:pt x="65797" y="52667"/>
                    <a:pt x="65797" y="52188"/>
                    <a:pt x="65797" y="51868"/>
                  </a:cubicBezTo>
                  <a:lnTo>
                    <a:pt x="65797" y="51442"/>
                  </a:lnTo>
                  <a:cubicBezTo>
                    <a:pt x="65797" y="50430"/>
                    <a:pt x="65557" y="49392"/>
                    <a:pt x="65424" y="48380"/>
                  </a:cubicBezTo>
                  <a:cubicBezTo>
                    <a:pt x="65291" y="47368"/>
                    <a:pt x="65131" y="45718"/>
                    <a:pt x="64971" y="44546"/>
                  </a:cubicBezTo>
                  <a:cubicBezTo>
                    <a:pt x="64971" y="43960"/>
                    <a:pt x="64785" y="43348"/>
                    <a:pt x="64705" y="42762"/>
                  </a:cubicBezTo>
                  <a:cubicBezTo>
                    <a:pt x="64625" y="42176"/>
                    <a:pt x="64705" y="42150"/>
                    <a:pt x="64705" y="41830"/>
                  </a:cubicBezTo>
                  <a:lnTo>
                    <a:pt x="64386" y="39753"/>
                  </a:lnTo>
                  <a:lnTo>
                    <a:pt x="64386" y="39753"/>
                  </a:lnTo>
                  <a:lnTo>
                    <a:pt x="63906" y="36878"/>
                  </a:lnTo>
                  <a:lnTo>
                    <a:pt x="63906" y="36665"/>
                  </a:lnTo>
                  <a:cubicBezTo>
                    <a:pt x="63906" y="36132"/>
                    <a:pt x="63720" y="35600"/>
                    <a:pt x="63640" y="35094"/>
                  </a:cubicBezTo>
                  <a:lnTo>
                    <a:pt x="63640" y="34641"/>
                  </a:lnTo>
                  <a:cubicBezTo>
                    <a:pt x="63640" y="34348"/>
                    <a:pt x="63640" y="34082"/>
                    <a:pt x="63640" y="33816"/>
                  </a:cubicBezTo>
                  <a:cubicBezTo>
                    <a:pt x="63640" y="33550"/>
                    <a:pt x="63400" y="32591"/>
                    <a:pt x="63294" y="31979"/>
                  </a:cubicBezTo>
                  <a:lnTo>
                    <a:pt x="63294" y="31845"/>
                  </a:lnTo>
                  <a:lnTo>
                    <a:pt x="62815" y="29183"/>
                  </a:lnTo>
                  <a:cubicBezTo>
                    <a:pt x="62655" y="28437"/>
                    <a:pt x="62522" y="27718"/>
                    <a:pt x="62362" y="26973"/>
                  </a:cubicBezTo>
                  <a:lnTo>
                    <a:pt x="62362" y="26520"/>
                  </a:lnTo>
                  <a:cubicBezTo>
                    <a:pt x="62042" y="25056"/>
                    <a:pt x="61723" y="23565"/>
                    <a:pt x="61377" y="22100"/>
                  </a:cubicBezTo>
                  <a:lnTo>
                    <a:pt x="61377" y="22100"/>
                  </a:lnTo>
                  <a:cubicBezTo>
                    <a:pt x="61244" y="21515"/>
                    <a:pt x="61084" y="20902"/>
                    <a:pt x="60951" y="20316"/>
                  </a:cubicBezTo>
                  <a:lnTo>
                    <a:pt x="60951" y="20130"/>
                  </a:lnTo>
                  <a:cubicBezTo>
                    <a:pt x="60711" y="19092"/>
                    <a:pt x="60472" y="18053"/>
                    <a:pt x="60205" y="17015"/>
                  </a:cubicBezTo>
                  <a:lnTo>
                    <a:pt x="60205" y="17015"/>
                  </a:lnTo>
                  <a:cubicBezTo>
                    <a:pt x="60046" y="16402"/>
                    <a:pt x="59912" y="15790"/>
                    <a:pt x="59753" y="15177"/>
                  </a:cubicBezTo>
                  <a:lnTo>
                    <a:pt x="59753" y="15177"/>
                  </a:lnTo>
                  <a:cubicBezTo>
                    <a:pt x="59460" y="14033"/>
                    <a:pt x="59140" y="12914"/>
                    <a:pt x="58847" y="11769"/>
                  </a:cubicBezTo>
                  <a:cubicBezTo>
                    <a:pt x="58688" y="11237"/>
                    <a:pt x="58554" y="10704"/>
                    <a:pt x="58421" y="10172"/>
                  </a:cubicBezTo>
                  <a:cubicBezTo>
                    <a:pt x="57969" y="8548"/>
                    <a:pt x="57489" y="6950"/>
                    <a:pt x="57010" y="5326"/>
                  </a:cubicBezTo>
                  <a:lnTo>
                    <a:pt x="57010" y="5166"/>
                  </a:lnTo>
                  <a:lnTo>
                    <a:pt x="56691" y="4208"/>
                  </a:lnTo>
                  <a:lnTo>
                    <a:pt x="56691" y="4074"/>
                  </a:lnTo>
                  <a:cubicBezTo>
                    <a:pt x="56318" y="2876"/>
                    <a:pt x="55945" y="1651"/>
                    <a:pt x="55546" y="453"/>
                  </a:cubicBezTo>
                  <a:lnTo>
                    <a:pt x="55306" y="-346"/>
                  </a:lnTo>
                  <a:lnTo>
                    <a:pt x="55306" y="-346"/>
                  </a:lnTo>
                  <a:cubicBezTo>
                    <a:pt x="46772" y="5297"/>
                    <a:pt x="38990" y="11998"/>
                    <a:pt x="32141" y="19597"/>
                  </a:cubicBezTo>
                  <a:cubicBezTo>
                    <a:pt x="23791" y="27995"/>
                    <a:pt x="16762" y="37610"/>
                    <a:pt x="11293" y="48114"/>
                  </a:cubicBezTo>
                  <a:cubicBezTo>
                    <a:pt x="7430" y="56395"/>
                    <a:pt x="4423" y="65048"/>
                    <a:pt x="2320" y="73941"/>
                  </a:cubicBezTo>
                  <a:cubicBezTo>
                    <a:pt x="1814" y="76071"/>
                    <a:pt x="1362" y="78122"/>
                    <a:pt x="989" y="80065"/>
                  </a:cubicBezTo>
                  <a:cubicBezTo>
                    <a:pt x="2533" y="85391"/>
                    <a:pt x="3971" y="90876"/>
                    <a:pt x="5355" y="96467"/>
                  </a:cubicBezTo>
                  <a:cubicBezTo>
                    <a:pt x="5728" y="97932"/>
                    <a:pt x="6101" y="99449"/>
                    <a:pt x="6447" y="100940"/>
                  </a:cubicBezTo>
                  <a:cubicBezTo>
                    <a:pt x="9376" y="113215"/>
                    <a:pt x="11985" y="126022"/>
                    <a:pt x="14142" y="139415"/>
                  </a:cubicBezTo>
                  <a:cubicBezTo>
                    <a:pt x="18559" y="125279"/>
                    <a:pt x="25807" y="112187"/>
                    <a:pt x="35443" y="100940"/>
                  </a:cubicBezTo>
                  <a:cubicBezTo>
                    <a:pt x="44062" y="91398"/>
                    <a:pt x="53911" y="83045"/>
                    <a:pt x="64732" y="76098"/>
                  </a:cubicBezTo>
                </a:path>
              </a:pathLst>
            </a:custGeom>
            <a:solidFill>
              <a:srgbClr val="FAC200"/>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48" name="Freeform: Shape 47">
              <a:extLst>
                <a:ext uri="{FF2B5EF4-FFF2-40B4-BE49-F238E27FC236}">
                  <a16:creationId xmlns:a16="http://schemas.microsoft.com/office/drawing/2014/main" id="{B04834A9-60E1-4CA2-836E-704D6BB60A56}"/>
                </a:ext>
              </a:extLst>
            </p:cNvPr>
            <p:cNvSpPr/>
            <p:nvPr/>
          </p:nvSpPr>
          <p:spPr>
            <a:xfrm>
              <a:off x="11422998" y="6669063"/>
              <a:ext cx="51268" cy="87781"/>
            </a:xfrm>
            <a:custGeom>
              <a:avLst/>
              <a:gdLst>
                <a:gd name="connsiteX0" fmla="*/ 91837 w 90848"/>
                <a:gd name="connsiteY0" fmla="*/ 74447 h 155549"/>
                <a:gd name="connsiteX1" fmla="*/ 91438 w 90848"/>
                <a:gd name="connsiteY1" fmla="*/ 73276 h 155549"/>
                <a:gd name="connsiteX2" fmla="*/ 90532 w 90848"/>
                <a:gd name="connsiteY2" fmla="*/ 70613 h 155549"/>
                <a:gd name="connsiteX3" fmla="*/ 89787 w 90848"/>
                <a:gd name="connsiteY3" fmla="*/ 68430 h 155549"/>
                <a:gd name="connsiteX4" fmla="*/ 88908 w 90848"/>
                <a:gd name="connsiteY4" fmla="*/ 66060 h 155549"/>
                <a:gd name="connsiteX5" fmla="*/ 88056 w 90848"/>
                <a:gd name="connsiteY5" fmla="*/ 63770 h 155549"/>
                <a:gd name="connsiteX6" fmla="*/ 87737 w 90848"/>
                <a:gd name="connsiteY6" fmla="*/ 62892 h 155549"/>
                <a:gd name="connsiteX7" fmla="*/ 85341 w 90848"/>
                <a:gd name="connsiteY7" fmla="*/ 56874 h 155549"/>
                <a:gd name="connsiteX8" fmla="*/ 84701 w 90848"/>
                <a:gd name="connsiteY8" fmla="*/ 55356 h 155549"/>
                <a:gd name="connsiteX9" fmla="*/ 83477 w 90848"/>
                <a:gd name="connsiteY9" fmla="*/ 52481 h 155549"/>
                <a:gd name="connsiteX10" fmla="*/ 61217 w 90848"/>
                <a:gd name="connsiteY10" fmla="*/ 11956 h 155549"/>
                <a:gd name="connsiteX11" fmla="*/ 52351 w 90848"/>
                <a:gd name="connsiteY11" fmla="*/ -346 h 155549"/>
                <a:gd name="connsiteX12" fmla="*/ 45108 w 90848"/>
                <a:gd name="connsiteY12" fmla="*/ 4660 h 155549"/>
                <a:gd name="connsiteX13" fmla="*/ 44230 w 90848"/>
                <a:gd name="connsiteY13" fmla="*/ 5299 h 155549"/>
                <a:gd name="connsiteX14" fmla="*/ 989 w 90848"/>
                <a:gd name="connsiteY14" fmla="*/ 61214 h 155549"/>
                <a:gd name="connsiteX15" fmla="*/ 989 w 90848"/>
                <a:gd name="connsiteY15" fmla="*/ 61214 h 155549"/>
                <a:gd name="connsiteX16" fmla="*/ 28840 w 90848"/>
                <a:gd name="connsiteY16" fmla="*/ 123253 h 155549"/>
                <a:gd name="connsiteX17" fmla="*/ 37360 w 90848"/>
                <a:gd name="connsiteY17" fmla="*/ 149080 h 155549"/>
                <a:gd name="connsiteX18" fmla="*/ 39144 w 90848"/>
                <a:gd name="connsiteY18" fmla="*/ 155204 h 155549"/>
                <a:gd name="connsiteX19" fmla="*/ 40475 w 90848"/>
                <a:gd name="connsiteY19" fmla="*/ 149080 h 155549"/>
                <a:gd name="connsiteX20" fmla="*/ 49448 w 90848"/>
                <a:gd name="connsiteY20" fmla="*/ 123253 h 155549"/>
                <a:gd name="connsiteX21" fmla="*/ 68646 w 90848"/>
                <a:gd name="connsiteY21" fmla="*/ 94284 h 155549"/>
                <a:gd name="connsiteX22" fmla="*/ 91811 w 90848"/>
                <a:gd name="connsiteY22" fmla="*/ 74341 h 155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0848" h="155549">
                  <a:moveTo>
                    <a:pt x="91837" y="74447"/>
                  </a:moveTo>
                  <a:lnTo>
                    <a:pt x="91438" y="73276"/>
                  </a:lnTo>
                  <a:cubicBezTo>
                    <a:pt x="91145" y="72397"/>
                    <a:pt x="90852" y="71518"/>
                    <a:pt x="90532" y="70613"/>
                  </a:cubicBezTo>
                  <a:lnTo>
                    <a:pt x="89787" y="68430"/>
                  </a:lnTo>
                  <a:lnTo>
                    <a:pt x="88908" y="66060"/>
                  </a:lnTo>
                  <a:cubicBezTo>
                    <a:pt x="88642" y="65288"/>
                    <a:pt x="88349" y="64516"/>
                    <a:pt x="88056" y="63770"/>
                  </a:cubicBezTo>
                  <a:lnTo>
                    <a:pt x="87737" y="62892"/>
                  </a:lnTo>
                  <a:cubicBezTo>
                    <a:pt x="86965" y="60868"/>
                    <a:pt x="86166" y="58871"/>
                    <a:pt x="85341" y="56874"/>
                  </a:cubicBezTo>
                  <a:lnTo>
                    <a:pt x="84701" y="55356"/>
                  </a:lnTo>
                  <a:cubicBezTo>
                    <a:pt x="84302" y="54398"/>
                    <a:pt x="83903" y="53439"/>
                    <a:pt x="83477" y="52481"/>
                  </a:cubicBezTo>
                  <a:cubicBezTo>
                    <a:pt x="77315" y="38318"/>
                    <a:pt x="69863" y="24752"/>
                    <a:pt x="61217" y="11956"/>
                  </a:cubicBezTo>
                  <a:cubicBezTo>
                    <a:pt x="58395" y="7775"/>
                    <a:pt x="55413" y="3675"/>
                    <a:pt x="52351" y="-346"/>
                  </a:cubicBezTo>
                  <a:cubicBezTo>
                    <a:pt x="49874" y="1252"/>
                    <a:pt x="47478" y="2929"/>
                    <a:pt x="45108" y="4660"/>
                  </a:cubicBezTo>
                  <a:lnTo>
                    <a:pt x="44230" y="5299"/>
                  </a:lnTo>
                  <a:cubicBezTo>
                    <a:pt x="25083" y="19741"/>
                    <a:pt x="10151" y="39048"/>
                    <a:pt x="989" y="61214"/>
                  </a:cubicBezTo>
                  <a:lnTo>
                    <a:pt x="989" y="61214"/>
                  </a:lnTo>
                  <a:cubicBezTo>
                    <a:pt x="11823" y="81162"/>
                    <a:pt x="21134" y="101901"/>
                    <a:pt x="28840" y="123253"/>
                  </a:cubicBezTo>
                  <a:cubicBezTo>
                    <a:pt x="31822" y="131534"/>
                    <a:pt x="34698" y="140134"/>
                    <a:pt x="37360" y="149080"/>
                  </a:cubicBezTo>
                  <a:cubicBezTo>
                    <a:pt x="37972" y="151104"/>
                    <a:pt x="38558" y="153154"/>
                    <a:pt x="39144" y="155204"/>
                  </a:cubicBezTo>
                  <a:cubicBezTo>
                    <a:pt x="39517" y="153261"/>
                    <a:pt x="39969" y="151210"/>
                    <a:pt x="40475" y="149080"/>
                  </a:cubicBezTo>
                  <a:cubicBezTo>
                    <a:pt x="42579" y="140187"/>
                    <a:pt x="45585" y="131534"/>
                    <a:pt x="49448" y="123253"/>
                  </a:cubicBezTo>
                  <a:cubicBezTo>
                    <a:pt x="54372" y="112696"/>
                    <a:pt x="60842" y="102932"/>
                    <a:pt x="68646" y="94284"/>
                  </a:cubicBezTo>
                  <a:cubicBezTo>
                    <a:pt x="75494" y="86685"/>
                    <a:pt x="83277" y="79983"/>
                    <a:pt x="91811" y="74341"/>
                  </a:cubicBezTo>
                  <a:close/>
                </a:path>
              </a:pathLst>
            </a:custGeom>
            <a:solidFill>
              <a:srgbClr val="E09C00"/>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49" name="Freeform: Shape 48">
              <a:extLst>
                <a:ext uri="{FF2B5EF4-FFF2-40B4-BE49-F238E27FC236}">
                  <a16:creationId xmlns:a16="http://schemas.microsoft.com/office/drawing/2014/main" id="{65C10274-9775-4548-A62E-127268962D5A}"/>
                </a:ext>
              </a:extLst>
            </p:cNvPr>
            <p:cNvSpPr/>
            <p:nvPr/>
          </p:nvSpPr>
          <p:spPr>
            <a:xfrm>
              <a:off x="11393940" y="6672699"/>
              <a:ext cx="29090" cy="31088"/>
            </a:xfrm>
            <a:custGeom>
              <a:avLst/>
              <a:gdLst>
                <a:gd name="connsiteX0" fmla="*/ 17790 w 51548"/>
                <a:gd name="connsiteY0" fmla="*/ 1145 h 55089"/>
                <a:gd name="connsiteX1" fmla="*/ 16618 w 51548"/>
                <a:gd name="connsiteY1" fmla="*/ -346 h 55089"/>
                <a:gd name="connsiteX2" fmla="*/ 16272 w 51548"/>
                <a:gd name="connsiteY2" fmla="*/ 293 h 55089"/>
                <a:gd name="connsiteX3" fmla="*/ 989 w 51548"/>
                <a:gd name="connsiteY3" fmla="*/ 48939 h 55089"/>
                <a:gd name="connsiteX4" fmla="*/ 32940 w 51548"/>
                <a:gd name="connsiteY4" fmla="*/ 50111 h 55089"/>
                <a:gd name="connsiteX5" fmla="*/ 52537 w 51548"/>
                <a:gd name="connsiteY5" fmla="*/ 54744 h 55089"/>
                <a:gd name="connsiteX6" fmla="*/ 17923 w 51548"/>
                <a:gd name="connsiteY6" fmla="*/ 1145 h 55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48" h="55089">
                  <a:moveTo>
                    <a:pt x="17790" y="1145"/>
                  </a:moveTo>
                  <a:cubicBezTo>
                    <a:pt x="17390" y="640"/>
                    <a:pt x="17018" y="134"/>
                    <a:pt x="16618" y="-346"/>
                  </a:cubicBezTo>
                  <a:cubicBezTo>
                    <a:pt x="16618" y="-133"/>
                    <a:pt x="16405" y="80"/>
                    <a:pt x="16272" y="293"/>
                  </a:cubicBezTo>
                  <a:cubicBezTo>
                    <a:pt x="8353" y="15484"/>
                    <a:pt x="3180" y="31952"/>
                    <a:pt x="989" y="48939"/>
                  </a:cubicBezTo>
                  <a:cubicBezTo>
                    <a:pt x="11647" y="48055"/>
                    <a:pt x="22375" y="48449"/>
                    <a:pt x="32940" y="50111"/>
                  </a:cubicBezTo>
                  <a:cubicBezTo>
                    <a:pt x="39578" y="51171"/>
                    <a:pt x="46128" y="52718"/>
                    <a:pt x="52537" y="54744"/>
                  </a:cubicBezTo>
                  <a:cubicBezTo>
                    <a:pt x="42395" y="36015"/>
                    <a:pt x="30823" y="18096"/>
                    <a:pt x="17923" y="1145"/>
                  </a:cubicBezTo>
                </a:path>
              </a:pathLst>
            </a:custGeom>
            <a:solidFill>
              <a:srgbClr val="E09C00"/>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50" name="Freeform: Shape 49">
              <a:extLst>
                <a:ext uri="{FF2B5EF4-FFF2-40B4-BE49-F238E27FC236}">
                  <a16:creationId xmlns:a16="http://schemas.microsoft.com/office/drawing/2014/main" id="{EEA69B6C-DCB7-4215-BBF9-98C1EE048B05}"/>
                </a:ext>
              </a:extLst>
            </p:cNvPr>
            <p:cNvSpPr/>
            <p:nvPr/>
          </p:nvSpPr>
          <p:spPr>
            <a:xfrm>
              <a:off x="11401092" y="6746296"/>
              <a:ext cx="50862" cy="44116"/>
            </a:xfrm>
            <a:custGeom>
              <a:avLst/>
              <a:gdLst>
                <a:gd name="connsiteX0" fmla="*/ 83423 w 90129"/>
                <a:gd name="connsiteY0" fmla="*/ 39327 h 78174"/>
                <a:gd name="connsiteX1" fmla="*/ 82332 w 90129"/>
                <a:gd name="connsiteY1" fmla="*/ 34854 h 78174"/>
                <a:gd name="connsiteX2" fmla="*/ 77965 w 90129"/>
                <a:gd name="connsiteY2" fmla="*/ 18453 h 78174"/>
                <a:gd name="connsiteX3" fmla="*/ 66489 w 90129"/>
                <a:gd name="connsiteY3" fmla="*/ 12328 h 78174"/>
                <a:gd name="connsiteX4" fmla="*/ 13956 w 90129"/>
                <a:gd name="connsiteY4" fmla="*/ -292 h 78174"/>
                <a:gd name="connsiteX5" fmla="*/ 989 w 90129"/>
                <a:gd name="connsiteY5" fmla="*/ -79 h 78174"/>
                <a:gd name="connsiteX6" fmla="*/ 7619 w 90129"/>
                <a:gd name="connsiteY6" fmla="*/ 12355 h 78174"/>
                <a:gd name="connsiteX7" fmla="*/ 28227 w 90129"/>
                <a:gd name="connsiteY7" fmla="*/ 39354 h 78174"/>
                <a:gd name="connsiteX8" fmla="*/ 91118 w 90129"/>
                <a:gd name="connsiteY8" fmla="*/ 77829 h 78174"/>
                <a:gd name="connsiteX9" fmla="*/ 83423 w 90129"/>
                <a:gd name="connsiteY9" fmla="*/ 39354 h 78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129" h="78174">
                  <a:moveTo>
                    <a:pt x="83423" y="39327"/>
                  </a:moveTo>
                  <a:cubicBezTo>
                    <a:pt x="83077" y="37836"/>
                    <a:pt x="82704" y="36319"/>
                    <a:pt x="82332" y="34854"/>
                  </a:cubicBezTo>
                  <a:cubicBezTo>
                    <a:pt x="80947" y="29263"/>
                    <a:pt x="79509" y="23804"/>
                    <a:pt x="77965" y="18453"/>
                  </a:cubicBezTo>
                  <a:cubicBezTo>
                    <a:pt x="74272" y="16235"/>
                    <a:pt x="70448" y="14192"/>
                    <a:pt x="66489" y="12328"/>
                  </a:cubicBezTo>
                  <a:cubicBezTo>
                    <a:pt x="50021" y="4588"/>
                    <a:pt x="32144" y="293"/>
                    <a:pt x="13956" y="-292"/>
                  </a:cubicBezTo>
                  <a:cubicBezTo>
                    <a:pt x="9589" y="-425"/>
                    <a:pt x="5275" y="-292"/>
                    <a:pt x="989" y="-79"/>
                  </a:cubicBezTo>
                  <a:cubicBezTo>
                    <a:pt x="3012" y="4181"/>
                    <a:pt x="5222" y="8327"/>
                    <a:pt x="7619" y="12355"/>
                  </a:cubicBezTo>
                  <a:cubicBezTo>
                    <a:pt x="13418" y="22122"/>
                    <a:pt x="20335" y="31182"/>
                    <a:pt x="28227" y="39354"/>
                  </a:cubicBezTo>
                  <a:cubicBezTo>
                    <a:pt x="45566" y="57332"/>
                    <a:pt x="67216" y="70576"/>
                    <a:pt x="91118" y="77829"/>
                  </a:cubicBezTo>
                  <a:cubicBezTo>
                    <a:pt x="88961" y="64516"/>
                    <a:pt x="86352" y="51629"/>
                    <a:pt x="83423" y="39354"/>
                  </a:cubicBezTo>
                </a:path>
              </a:pathLst>
            </a:custGeom>
            <a:solidFill>
              <a:srgbClr val="E09C00"/>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51" name="Freeform: Shape 50">
              <a:extLst>
                <a:ext uri="{FF2B5EF4-FFF2-40B4-BE49-F238E27FC236}">
                  <a16:creationId xmlns:a16="http://schemas.microsoft.com/office/drawing/2014/main" id="{22DFE3B7-6B7A-46E8-AF09-4BAF446AC53F}"/>
                </a:ext>
              </a:extLst>
            </p:cNvPr>
            <p:cNvSpPr/>
            <p:nvPr/>
          </p:nvSpPr>
          <p:spPr>
            <a:xfrm>
              <a:off x="11451983" y="6691629"/>
              <a:ext cx="106699" cy="102254"/>
            </a:xfrm>
            <a:custGeom>
              <a:avLst/>
              <a:gdLst>
                <a:gd name="connsiteX0" fmla="*/ 189954 w 189072"/>
                <a:gd name="connsiteY0" fmla="*/ 30014 h 181196"/>
                <a:gd name="connsiteX1" fmla="*/ 188463 w 189072"/>
                <a:gd name="connsiteY1" fmla="*/ 13159 h 181196"/>
                <a:gd name="connsiteX2" fmla="*/ 180928 w 189072"/>
                <a:gd name="connsiteY2" fmla="*/ 13639 h 181196"/>
                <a:gd name="connsiteX3" fmla="*/ 171449 w 189072"/>
                <a:gd name="connsiteY3" fmla="*/ 21467 h 181196"/>
                <a:gd name="connsiteX4" fmla="*/ 171449 w 189072"/>
                <a:gd name="connsiteY4" fmla="*/ 21467 h 181196"/>
                <a:gd name="connsiteX5" fmla="*/ 171449 w 189072"/>
                <a:gd name="connsiteY5" fmla="*/ 21467 h 181196"/>
                <a:gd name="connsiteX6" fmla="*/ 169080 w 189072"/>
                <a:gd name="connsiteY6" fmla="*/ 52513 h 181196"/>
                <a:gd name="connsiteX7" fmla="*/ 162370 w 189072"/>
                <a:gd name="connsiteY7" fmla="*/ 81988 h 181196"/>
                <a:gd name="connsiteX8" fmla="*/ 161944 w 189072"/>
                <a:gd name="connsiteY8" fmla="*/ 83373 h 181196"/>
                <a:gd name="connsiteX9" fmla="*/ 151773 w 189072"/>
                <a:gd name="connsiteY9" fmla="*/ 109200 h 181196"/>
                <a:gd name="connsiteX10" fmla="*/ 145169 w 189072"/>
                <a:gd name="connsiteY10" fmla="*/ 120649 h 181196"/>
                <a:gd name="connsiteX11" fmla="*/ 143785 w 189072"/>
                <a:gd name="connsiteY11" fmla="*/ 121395 h 181196"/>
                <a:gd name="connsiteX12" fmla="*/ 142853 w 189072"/>
                <a:gd name="connsiteY12" fmla="*/ 121102 h 181196"/>
                <a:gd name="connsiteX13" fmla="*/ 142400 w 189072"/>
                <a:gd name="connsiteY13" fmla="*/ 118785 h 181196"/>
                <a:gd name="connsiteX14" fmla="*/ 147992 w 189072"/>
                <a:gd name="connsiteY14" fmla="*/ 109200 h 181196"/>
                <a:gd name="connsiteX15" fmla="*/ 158323 w 189072"/>
                <a:gd name="connsiteY15" fmla="*/ 83373 h 181196"/>
                <a:gd name="connsiteX16" fmla="*/ 159042 w 189072"/>
                <a:gd name="connsiteY16" fmla="*/ 81030 h 181196"/>
                <a:gd name="connsiteX17" fmla="*/ 165725 w 189072"/>
                <a:gd name="connsiteY17" fmla="*/ 51315 h 181196"/>
                <a:gd name="connsiteX18" fmla="*/ 168121 w 189072"/>
                <a:gd name="connsiteY18" fmla="*/ 20215 h 181196"/>
                <a:gd name="connsiteX19" fmla="*/ 166763 w 189072"/>
                <a:gd name="connsiteY19" fmla="*/ -340 h 181196"/>
                <a:gd name="connsiteX20" fmla="*/ 166763 w 189072"/>
                <a:gd name="connsiteY20" fmla="*/ -340 h 181196"/>
                <a:gd name="connsiteX21" fmla="*/ 166763 w 189072"/>
                <a:gd name="connsiteY21" fmla="*/ -340 h 181196"/>
                <a:gd name="connsiteX22" fmla="*/ 154062 w 189072"/>
                <a:gd name="connsiteY22" fmla="*/ 2589 h 181196"/>
                <a:gd name="connsiteX23" fmla="*/ 146847 w 189072"/>
                <a:gd name="connsiteY23" fmla="*/ 14544 h 181196"/>
                <a:gd name="connsiteX24" fmla="*/ 146847 w 189072"/>
                <a:gd name="connsiteY24" fmla="*/ 14544 h 181196"/>
                <a:gd name="connsiteX25" fmla="*/ 144371 w 189072"/>
                <a:gd name="connsiteY25" fmla="*/ 46016 h 181196"/>
                <a:gd name="connsiteX26" fmla="*/ 137181 w 189072"/>
                <a:gd name="connsiteY26" fmla="*/ 76636 h 181196"/>
                <a:gd name="connsiteX27" fmla="*/ 134972 w 189072"/>
                <a:gd name="connsiteY27" fmla="*/ 83293 h 181196"/>
                <a:gd name="connsiteX28" fmla="*/ 123070 w 189072"/>
                <a:gd name="connsiteY28" fmla="*/ 109120 h 181196"/>
                <a:gd name="connsiteX29" fmla="*/ 120167 w 189072"/>
                <a:gd name="connsiteY29" fmla="*/ 113700 h 181196"/>
                <a:gd name="connsiteX30" fmla="*/ 118783 w 189072"/>
                <a:gd name="connsiteY30" fmla="*/ 114445 h 181196"/>
                <a:gd name="connsiteX31" fmla="*/ 117851 w 189072"/>
                <a:gd name="connsiteY31" fmla="*/ 114152 h 181196"/>
                <a:gd name="connsiteX32" fmla="*/ 117409 w 189072"/>
                <a:gd name="connsiteY32" fmla="*/ 111860 h 181196"/>
                <a:gd name="connsiteX33" fmla="*/ 117425 w 189072"/>
                <a:gd name="connsiteY33" fmla="*/ 111836 h 181196"/>
                <a:gd name="connsiteX34" fmla="*/ 119156 w 189072"/>
                <a:gd name="connsiteY34" fmla="*/ 109173 h 181196"/>
                <a:gd name="connsiteX35" fmla="*/ 131430 w 189072"/>
                <a:gd name="connsiteY35" fmla="*/ 83346 h 181196"/>
                <a:gd name="connsiteX36" fmla="*/ 133827 w 189072"/>
                <a:gd name="connsiteY36" fmla="*/ 76343 h 181196"/>
                <a:gd name="connsiteX37" fmla="*/ 141069 w 189072"/>
                <a:gd name="connsiteY37" fmla="*/ 45590 h 181196"/>
                <a:gd name="connsiteX38" fmla="*/ 143465 w 189072"/>
                <a:gd name="connsiteY38" fmla="*/ 14038 h 181196"/>
                <a:gd name="connsiteX39" fmla="*/ 143465 w 189072"/>
                <a:gd name="connsiteY39" fmla="*/ 13798 h 181196"/>
                <a:gd name="connsiteX40" fmla="*/ 143465 w 189072"/>
                <a:gd name="connsiteY40" fmla="*/ 13798 h 181196"/>
                <a:gd name="connsiteX41" fmla="*/ 140403 w 189072"/>
                <a:gd name="connsiteY41" fmla="*/ 13585 h 181196"/>
                <a:gd name="connsiteX42" fmla="*/ 128208 w 189072"/>
                <a:gd name="connsiteY42" fmla="*/ 18911 h 181196"/>
                <a:gd name="connsiteX43" fmla="*/ 121978 w 189072"/>
                <a:gd name="connsiteY43" fmla="*/ 36670 h 181196"/>
                <a:gd name="connsiteX44" fmla="*/ 121073 w 189072"/>
                <a:gd name="connsiteY44" fmla="*/ 41809 h 181196"/>
                <a:gd name="connsiteX45" fmla="*/ 120673 w 189072"/>
                <a:gd name="connsiteY45" fmla="*/ 43993 h 181196"/>
                <a:gd name="connsiteX46" fmla="*/ 110901 w 189072"/>
                <a:gd name="connsiteY46" fmla="*/ 75944 h 181196"/>
                <a:gd name="connsiteX47" fmla="*/ 107546 w 189072"/>
                <a:gd name="connsiteY47" fmla="*/ 83453 h 181196"/>
                <a:gd name="connsiteX48" fmla="*/ 93807 w 189072"/>
                <a:gd name="connsiteY48" fmla="*/ 106218 h 181196"/>
                <a:gd name="connsiteX49" fmla="*/ 92476 w 189072"/>
                <a:gd name="connsiteY49" fmla="*/ 106883 h 181196"/>
                <a:gd name="connsiteX50" fmla="*/ 91464 w 189072"/>
                <a:gd name="connsiteY50" fmla="*/ 106564 h 181196"/>
                <a:gd name="connsiteX51" fmla="*/ 91118 w 189072"/>
                <a:gd name="connsiteY51" fmla="*/ 104221 h 181196"/>
                <a:gd name="connsiteX52" fmla="*/ 103792 w 189072"/>
                <a:gd name="connsiteY52" fmla="*/ 83266 h 181196"/>
                <a:gd name="connsiteX53" fmla="*/ 107147 w 189072"/>
                <a:gd name="connsiteY53" fmla="*/ 76024 h 181196"/>
                <a:gd name="connsiteX54" fmla="*/ 117105 w 189072"/>
                <a:gd name="connsiteY54" fmla="*/ 44019 h 181196"/>
                <a:gd name="connsiteX55" fmla="*/ 117691 w 189072"/>
                <a:gd name="connsiteY55" fmla="*/ 41064 h 181196"/>
                <a:gd name="connsiteX56" fmla="*/ 105470 w 189072"/>
                <a:gd name="connsiteY56" fmla="*/ 42235 h 181196"/>
                <a:gd name="connsiteX57" fmla="*/ 101502 w 189072"/>
                <a:gd name="connsiteY57" fmla="*/ 44898 h 181196"/>
                <a:gd name="connsiteX58" fmla="*/ 97881 w 189072"/>
                <a:gd name="connsiteY58" fmla="*/ 50835 h 181196"/>
                <a:gd name="connsiteX59" fmla="*/ 97509 w 189072"/>
                <a:gd name="connsiteY59" fmla="*/ 51980 h 181196"/>
                <a:gd name="connsiteX60" fmla="*/ 91491 w 189072"/>
                <a:gd name="connsiteY60" fmla="*/ 66412 h 181196"/>
                <a:gd name="connsiteX61" fmla="*/ 83716 w 189072"/>
                <a:gd name="connsiteY61" fmla="*/ 79725 h 181196"/>
                <a:gd name="connsiteX62" fmla="*/ 81266 w 189072"/>
                <a:gd name="connsiteY62" fmla="*/ 83293 h 181196"/>
                <a:gd name="connsiteX63" fmla="*/ 79909 w 189072"/>
                <a:gd name="connsiteY63" fmla="*/ 85130 h 181196"/>
                <a:gd name="connsiteX64" fmla="*/ 64093 w 189072"/>
                <a:gd name="connsiteY64" fmla="*/ 102091 h 181196"/>
                <a:gd name="connsiteX65" fmla="*/ 54774 w 189072"/>
                <a:gd name="connsiteY65" fmla="*/ 109120 h 181196"/>
                <a:gd name="connsiteX66" fmla="*/ 53043 w 189072"/>
                <a:gd name="connsiteY66" fmla="*/ 110292 h 181196"/>
                <a:gd name="connsiteX67" fmla="*/ 53043 w 189072"/>
                <a:gd name="connsiteY67" fmla="*/ 110292 h 181196"/>
                <a:gd name="connsiteX68" fmla="*/ 51578 w 189072"/>
                <a:gd name="connsiteY68" fmla="*/ 111250 h 181196"/>
                <a:gd name="connsiteX69" fmla="*/ 22290 w 189072"/>
                <a:gd name="connsiteY69" fmla="*/ 136092 h 181196"/>
                <a:gd name="connsiteX70" fmla="*/ 989 w 189072"/>
                <a:gd name="connsiteY70" fmla="*/ 174567 h 181196"/>
                <a:gd name="connsiteX71" fmla="*/ 1468 w 189072"/>
                <a:gd name="connsiteY71" fmla="*/ 174700 h 181196"/>
                <a:gd name="connsiteX72" fmla="*/ 21065 w 189072"/>
                <a:gd name="connsiteY72" fmla="*/ 179120 h 181196"/>
                <a:gd name="connsiteX73" fmla="*/ 43511 w 189072"/>
                <a:gd name="connsiteY73" fmla="*/ 180851 h 181196"/>
                <a:gd name="connsiteX74" fmla="*/ 43910 w 189072"/>
                <a:gd name="connsiteY74" fmla="*/ 180851 h 181196"/>
                <a:gd name="connsiteX75" fmla="*/ 148924 w 189072"/>
                <a:gd name="connsiteY75" fmla="*/ 136119 h 181196"/>
                <a:gd name="connsiteX76" fmla="*/ 169559 w 189072"/>
                <a:gd name="connsiteY76" fmla="*/ 109120 h 181196"/>
                <a:gd name="connsiteX77" fmla="*/ 179783 w 189072"/>
                <a:gd name="connsiteY77" fmla="*/ 88325 h 181196"/>
                <a:gd name="connsiteX78" fmla="*/ 181674 w 189072"/>
                <a:gd name="connsiteY78" fmla="*/ 83293 h 181196"/>
                <a:gd name="connsiteX79" fmla="*/ 187718 w 189072"/>
                <a:gd name="connsiteY79" fmla="*/ 60527 h 181196"/>
                <a:gd name="connsiteX80" fmla="*/ 190061 w 189072"/>
                <a:gd name="connsiteY80" fmla="*/ 34301 h 181196"/>
                <a:gd name="connsiteX81" fmla="*/ 190061 w 189072"/>
                <a:gd name="connsiteY81" fmla="*/ 29854 h 181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89072" h="181196">
                  <a:moveTo>
                    <a:pt x="189954" y="30014"/>
                  </a:moveTo>
                  <a:cubicBezTo>
                    <a:pt x="189784" y="24372"/>
                    <a:pt x="189286" y="18743"/>
                    <a:pt x="188463" y="13159"/>
                  </a:cubicBezTo>
                  <a:cubicBezTo>
                    <a:pt x="185942" y="12909"/>
                    <a:pt x="183396" y="13072"/>
                    <a:pt x="180928" y="13639"/>
                  </a:cubicBezTo>
                  <a:cubicBezTo>
                    <a:pt x="176713" y="14613"/>
                    <a:pt x="173204" y="17513"/>
                    <a:pt x="171449" y="21467"/>
                  </a:cubicBezTo>
                  <a:lnTo>
                    <a:pt x="171449" y="21467"/>
                  </a:lnTo>
                  <a:lnTo>
                    <a:pt x="171449" y="21467"/>
                  </a:lnTo>
                  <a:cubicBezTo>
                    <a:pt x="171487" y="31862"/>
                    <a:pt x="170693" y="42243"/>
                    <a:pt x="169080" y="52513"/>
                  </a:cubicBezTo>
                  <a:cubicBezTo>
                    <a:pt x="167522" y="62479"/>
                    <a:pt x="165280" y="72328"/>
                    <a:pt x="162370" y="81988"/>
                  </a:cubicBezTo>
                  <a:cubicBezTo>
                    <a:pt x="162210" y="82441"/>
                    <a:pt x="162077" y="82893"/>
                    <a:pt x="161944" y="83373"/>
                  </a:cubicBezTo>
                  <a:cubicBezTo>
                    <a:pt x="159260" y="92244"/>
                    <a:pt x="155860" y="100882"/>
                    <a:pt x="151773" y="109200"/>
                  </a:cubicBezTo>
                  <a:cubicBezTo>
                    <a:pt x="149821" y="113154"/>
                    <a:pt x="147614" y="116980"/>
                    <a:pt x="145169" y="120649"/>
                  </a:cubicBezTo>
                  <a:cubicBezTo>
                    <a:pt x="144860" y="121112"/>
                    <a:pt x="144341" y="121392"/>
                    <a:pt x="143785" y="121395"/>
                  </a:cubicBezTo>
                  <a:cubicBezTo>
                    <a:pt x="143452" y="121387"/>
                    <a:pt x="143130" y="121286"/>
                    <a:pt x="142853" y="121102"/>
                  </a:cubicBezTo>
                  <a:cubicBezTo>
                    <a:pt x="142091" y="120585"/>
                    <a:pt x="141892" y="119552"/>
                    <a:pt x="142400" y="118785"/>
                  </a:cubicBezTo>
                  <a:cubicBezTo>
                    <a:pt x="144458" y="115707"/>
                    <a:pt x="146325" y="112507"/>
                    <a:pt x="147992" y="109200"/>
                  </a:cubicBezTo>
                  <a:cubicBezTo>
                    <a:pt x="152161" y="100898"/>
                    <a:pt x="155617" y="92258"/>
                    <a:pt x="158323" y="83373"/>
                  </a:cubicBezTo>
                  <a:lnTo>
                    <a:pt x="159042" y="81030"/>
                  </a:lnTo>
                  <a:cubicBezTo>
                    <a:pt x="161944" y="71290"/>
                    <a:pt x="164178" y="61361"/>
                    <a:pt x="165725" y="51315"/>
                  </a:cubicBezTo>
                  <a:cubicBezTo>
                    <a:pt x="167306" y="41024"/>
                    <a:pt x="168108" y="30626"/>
                    <a:pt x="168121" y="20215"/>
                  </a:cubicBezTo>
                  <a:cubicBezTo>
                    <a:pt x="168116" y="13341"/>
                    <a:pt x="167663" y="6474"/>
                    <a:pt x="166763" y="-340"/>
                  </a:cubicBezTo>
                  <a:lnTo>
                    <a:pt x="166763" y="-340"/>
                  </a:lnTo>
                  <a:lnTo>
                    <a:pt x="166763" y="-340"/>
                  </a:lnTo>
                  <a:cubicBezTo>
                    <a:pt x="162351" y="-431"/>
                    <a:pt x="157987" y="576"/>
                    <a:pt x="154062" y="2589"/>
                  </a:cubicBezTo>
                  <a:cubicBezTo>
                    <a:pt x="149685" y="4988"/>
                    <a:pt x="146929" y="9552"/>
                    <a:pt x="146847" y="14544"/>
                  </a:cubicBezTo>
                  <a:lnTo>
                    <a:pt x="146847" y="14544"/>
                  </a:lnTo>
                  <a:cubicBezTo>
                    <a:pt x="146868" y="25085"/>
                    <a:pt x="146040" y="35608"/>
                    <a:pt x="144371" y="46016"/>
                  </a:cubicBezTo>
                  <a:cubicBezTo>
                    <a:pt x="142752" y="56390"/>
                    <a:pt x="140347" y="66625"/>
                    <a:pt x="137181" y="76636"/>
                  </a:cubicBezTo>
                  <a:cubicBezTo>
                    <a:pt x="136489" y="78899"/>
                    <a:pt x="135744" y="81109"/>
                    <a:pt x="134972" y="83293"/>
                  </a:cubicBezTo>
                  <a:cubicBezTo>
                    <a:pt x="131840" y="92263"/>
                    <a:pt x="127854" y="100911"/>
                    <a:pt x="123070" y="109120"/>
                  </a:cubicBezTo>
                  <a:cubicBezTo>
                    <a:pt x="122111" y="110744"/>
                    <a:pt x="121153" y="112262"/>
                    <a:pt x="120167" y="113700"/>
                  </a:cubicBezTo>
                  <a:cubicBezTo>
                    <a:pt x="119861" y="114166"/>
                    <a:pt x="119342" y="114448"/>
                    <a:pt x="118783" y="114445"/>
                  </a:cubicBezTo>
                  <a:cubicBezTo>
                    <a:pt x="118450" y="114437"/>
                    <a:pt x="118128" y="114336"/>
                    <a:pt x="117851" y="114152"/>
                  </a:cubicBezTo>
                  <a:cubicBezTo>
                    <a:pt x="117095" y="113641"/>
                    <a:pt x="116898" y="112616"/>
                    <a:pt x="117409" y="111860"/>
                  </a:cubicBezTo>
                  <a:cubicBezTo>
                    <a:pt x="117414" y="111852"/>
                    <a:pt x="117419" y="111844"/>
                    <a:pt x="117425" y="111836"/>
                  </a:cubicBezTo>
                  <a:cubicBezTo>
                    <a:pt x="118011" y="110957"/>
                    <a:pt x="118570" y="110052"/>
                    <a:pt x="119156" y="109173"/>
                  </a:cubicBezTo>
                  <a:cubicBezTo>
                    <a:pt x="124127" y="101010"/>
                    <a:pt x="128240" y="92356"/>
                    <a:pt x="131430" y="83346"/>
                  </a:cubicBezTo>
                  <a:cubicBezTo>
                    <a:pt x="132256" y="81056"/>
                    <a:pt x="133054" y="78713"/>
                    <a:pt x="133827" y="76343"/>
                  </a:cubicBezTo>
                  <a:cubicBezTo>
                    <a:pt x="137027" y="66292"/>
                    <a:pt x="139447" y="56012"/>
                    <a:pt x="141069" y="45590"/>
                  </a:cubicBezTo>
                  <a:cubicBezTo>
                    <a:pt x="142738" y="35158"/>
                    <a:pt x="143540" y="24603"/>
                    <a:pt x="143465" y="14038"/>
                  </a:cubicBezTo>
                  <a:lnTo>
                    <a:pt x="143465" y="13798"/>
                  </a:lnTo>
                  <a:lnTo>
                    <a:pt x="143465" y="13798"/>
                  </a:lnTo>
                  <a:cubicBezTo>
                    <a:pt x="142451" y="13655"/>
                    <a:pt x="141428" y="13583"/>
                    <a:pt x="140403" y="13585"/>
                  </a:cubicBezTo>
                  <a:cubicBezTo>
                    <a:pt x="135741" y="13418"/>
                    <a:pt x="131255" y="15375"/>
                    <a:pt x="128208" y="18911"/>
                  </a:cubicBezTo>
                  <a:cubicBezTo>
                    <a:pt x="124055" y="23890"/>
                    <a:pt x="121978" y="36670"/>
                    <a:pt x="121978" y="36670"/>
                  </a:cubicBezTo>
                  <a:cubicBezTo>
                    <a:pt x="121712" y="38401"/>
                    <a:pt x="121419" y="40105"/>
                    <a:pt x="121073" y="41809"/>
                  </a:cubicBezTo>
                  <a:cubicBezTo>
                    <a:pt x="121073" y="41809"/>
                    <a:pt x="121073" y="42608"/>
                    <a:pt x="120673" y="43993"/>
                  </a:cubicBezTo>
                  <a:cubicBezTo>
                    <a:pt x="118469" y="54936"/>
                    <a:pt x="115196" y="65640"/>
                    <a:pt x="110901" y="75944"/>
                  </a:cubicBezTo>
                  <a:cubicBezTo>
                    <a:pt x="109871" y="78394"/>
                    <a:pt x="108753" y="80896"/>
                    <a:pt x="107546" y="83453"/>
                  </a:cubicBezTo>
                  <a:cubicBezTo>
                    <a:pt x="103744" y="91483"/>
                    <a:pt x="99141" y="99111"/>
                    <a:pt x="93807" y="106218"/>
                  </a:cubicBezTo>
                  <a:cubicBezTo>
                    <a:pt x="93488" y="106633"/>
                    <a:pt x="92998" y="106878"/>
                    <a:pt x="92476" y="106883"/>
                  </a:cubicBezTo>
                  <a:cubicBezTo>
                    <a:pt x="92114" y="106886"/>
                    <a:pt x="91760" y="106774"/>
                    <a:pt x="91464" y="106564"/>
                  </a:cubicBezTo>
                  <a:cubicBezTo>
                    <a:pt x="90724" y="106013"/>
                    <a:pt x="90567" y="104964"/>
                    <a:pt x="91118" y="104221"/>
                  </a:cubicBezTo>
                  <a:cubicBezTo>
                    <a:pt x="95956" y="97626"/>
                    <a:pt x="100198" y="90615"/>
                    <a:pt x="103792" y="83266"/>
                  </a:cubicBezTo>
                  <a:cubicBezTo>
                    <a:pt x="104964" y="80896"/>
                    <a:pt x="106082" y="78473"/>
                    <a:pt x="107147" y="76024"/>
                  </a:cubicBezTo>
                  <a:cubicBezTo>
                    <a:pt x="111572" y="65733"/>
                    <a:pt x="114911" y="55005"/>
                    <a:pt x="117105" y="44019"/>
                  </a:cubicBezTo>
                  <a:cubicBezTo>
                    <a:pt x="117318" y="43034"/>
                    <a:pt x="117505" y="42049"/>
                    <a:pt x="117691" y="41064"/>
                  </a:cubicBezTo>
                  <a:cubicBezTo>
                    <a:pt x="113593" y="40212"/>
                    <a:pt x="109333" y="40619"/>
                    <a:pt x="105470" y="42235"/>
                  </a:cubicBezTo>
                  <a:cubicBezTo>
                    <a:pt x="103995" y="42872"/>
                    <a:pt x="102650" y="43774"/>
                    <a:pt x="101502" y="44898"/>
                  </a:cubicBezTo>
                  <a:cubicBezTo>
                    <a:pt x="99868" y="46583"/>
                    <a:pt x="98632" y="48612"/>
                    <a:pt x="97881" y="50835"/>
                  </a:cubicBezTo>
                  <a:cubicBezTo>
                    <a:pt x="97881" y="51208"/>
                    <a:pt x="97615" y="51581"/>
                    <a:pt x="97509" y="51980"/>
                  </a:cubicBezTo>
                  <a:cubicBezTo>
                    <a:pt x="95812" y="56914"/>
                    <a:pt x="93802" y="61734"/>
                    <a:pt x="91491" y="66412"/>
                  </a:cubicBezTo>
                  <a:cubicBezTo>
                    <a:pt x="89190" y="71013"/>
                    <a:pt x="86594" y="75459"/>
                    <a:pt x="83716" y="79725"/>
                  </a:cubicBezTo>
                  <a:cubicBezTo>
                    <a:pt x="82944" y="80923"/>
                    <a:pt x="82119" y="82095"/>
                    <a:pt x="81266" y="83293"/>
                  </a:cubicBezTo>
                  <a:lnTo>
                    <a:pt x="79909" y="85130"/>
                  </a:lnTo>
                  <a:cubicBezTo>
                    <a:pt x="75257" y="91334"/>
                    <a:pt x="69956" y="97019"/>
                    <a:pt x="64093" y="102091"/>
                  </a:cubicBezTo>
                  <a:cubicBezTo>
                    <a:pt x="61124" y="104610"/>
                    <a:pt x="58011" y="106958"/>
                    <a:pt x="54774" y="109120"/>
                  </a:cubicBezTo>
                  <a:lnTo>
                    <a:pt x="53043" y="110292"/>
                  </a:lnTo>
                  <a:lnTo>
                    <a:pt x="53043" y="110292"/>
                  </a:lnTo>
                  <a:lnTo>
                    <a:pt x="51578" y="111250"/>
                  </a:lnTo>
                  <a:cubicBezTo>
                    <a:pt x="40757" y="118197"/>
                    <a:pt x="30909" y="126550"/>
                    <a:pt x="22290" y="136092"/>
                  </a:cubicBezTo>
                  <a:cubicBezTo>
                    <a:pt x="12654" y="147339"/>
                    <a:pt x="5406" y="160429"/>
                    <a:pt x="989" y="174567"/>
                  </a:cubicBezTo>
                  <a:lnTo>
                    <a:pt x="1468" y="174700"/>
                  </a:lnTo>
                  <a:cubicBezTo>
                    <a:pt x="7888" y="176636"/>
                    <a:pt x="14435" y="178114"/>
                    <a:pt x="21065" y="179120"/>
                  </a:cubicBezTo>
                  <a:cubicBezTo>
                    <a:pt x="28491" y="180278"/>
                    <a:pt x="35994" y="180856"/>
                    <a:pt x="43511" y="180851"/>
                  </a:cubicBezTo>
                  <a:lnTo>
                    <a:pt x="43910" y="180851"/>
                  </a:lnTo>
                  <a:cubicBezTo>
                    <a:pt x="83532" y="180798"/>
                    <a:pt x="121432" y="164652"/>
                    <a:pt x="148924" y="136119"/>
                  </a:cubicBezTo>
                  <a:cubicBezTo>
                    <a:pt x="156824" y="127947"/>
                    <a:pt x="163749" y="118889"/>
                    <a:pt x="169559" y="109120"/>
                  </a:cubicBezTo>
                  <a:cubicBezTo>
                    <a:pt x="173507" y="102466"/>
                    <a:pt x="176926" y="95514"/>
                    <a:pt x="179783" y="88325"/>
                  </a:cubicBezTo>
                  <a:cubicBezTo>
                    <a:pt x="180449" y="86674"/>
                    <a:pt x="181088" y="84970"/>
                    <a:pt x="181674" y="83293"/>
                  </a:cubicBezTo>
                  <a:cubicBezTo>
                    <a:pt x="184304" y="75880"/>
                    <a:pt x="186325" y="68268"/>
                    <a:pt x="187718" y="60527"/>
                  </a:cubicBezTo>
                  <a:cubicBezTo>
                    <a:pt x="189283" y="51874"/>
                    <a:pt x="190066" y="43095"/>
                    <a:pt x="190061" y="34301"/>
                  </a:cubicBezTo>
                  <a:cubicBezTo>
                    <a:pt x="190061" y="32810"/>
                    <a:pt x="190061" y="31318"/>
                    <a:pt x="190061" y="29854"/>
                  </a:cubicBezTo>
                </a:path>
              </a:pathLst>
            </a:custGeom>
            <a:solidFill>
              <a:srgbClr val="143DCF"/>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52" name="Freeform: Shape 51">
              <a:extLst>
                <a:ext uri="{FF2B5EF4-FFF2-40B4-BE49-F238E27FC236}">
                  <a16:creationId xmlns:a16="http://schemas.microsoft.com/office/drawing/2014/main" id="{5AFABF04-FA6B-47FE-AD16-16640F8B7178}"/>
                </a:ext>
              </a:extLst>
            </p:cNvPr>
            <p:cNvSpPr/>
            <p:nvPr/>
          </p:nvSpPr>
          <p:spPr>
            <a:xfrm>
              <a:off x="11502581" y="6714997"/>
              <a:ext cx="17090" cy="37099"/>
            </a:xfrm>
            <a:custGeom>
              <a:avLst/>
              <a:gdLst>
                <a:gd name="connsiteX0" fmla="*/ 31273 w 30283"/>
                <a:gd name="connsiteY0" fmla="*/ 400 h 65740"/>
                <a:gd name="connsiteX1" fmla="*/ 28024 w 30283"/>
                <a:gd name="connsiteY1" fmla="*/ -346 h 65740"/>
                <a:gd name="connsiteX2" fmla="*/ 27438 w 30283"/>
                <a:gd name="connsiteY2" fmla="*/ 2610 h 65740"/>
                <a:gd name="connsiteX3" fmla="*/ 17374 w 30283"/>
                <a:gd name="connsiteY3" fmla="*/ 34721 h 65740"/>
                <a:gd name="connsiteX4" fmla="*/ 13992 w 30283"/>
                <a:gd name="connsiteY4" fmla="*/ 41963 h 65740"/>
                <a:gd name="connsiteX5" fmla="*/ 1318 w 30283"/>
                <a:gd name="connsiteY5" fmla="*/ 62732 h 65740"/>
                <a:gd name="connsiteX6" fmla="*/ 1664 w 30283"/>
                <a:gd name="connsiteY6" fmla="*/ 65075 h 65740"/>
                <a:gd name="connsiteX7" fmla="*/ 2650 w 30283"/>
                <a:gd name="connsiteY7" fmla="*/ 65394 h 65740"/>
                <a:gd name="connsiteX8" fmla="*/ 4007 w 30283"/>
                <a:gd name="connsiteY8" fmla="*/ 64729 h 65740"/>
                <a:gd name="connsiteX9" fmla="*/ 17747 w 30283"/>
                <a:gd name="connsiteY9" fmla="*/ 41963 h 65740"/>
                <a:gd name="connsiteX10" fmla="*/ 21101 w 30283"/>
                <a:gd name="connsiteY10" fmla="*/ 34481 h 65740"/>
                <a:gd name="connsiteX11" fmla="*/ 30873 w 30283"/>
                <a:gd name="connsiteY11" fmla="*/ 2530 h 65740"/>
                <a:gd name="connsiteX12" fmla="*/ 31273 w 30283"/>
                <a:gd name="connsiteY12" fmla="*/ 347 h 6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283" h="65740">
                  <a:moveTo>
                    <a:pt x="31273" y="400"/>
                  </a:moveTo>
                  <a:cubicBezTo>
                    <a:pt x="30213" y="62"/>
                    <a:pt x="29126" y="-186"/>
                    <a:pt x="28024" y="-346"/>
                  </a:cubicBezTo>
                  <a:cubicBezTo>
                    <a:pt x="27838" y="640"/>
                    <a:pt x="27652" y="1625"/>
                    <a:pt x="27438" y="2610"/>
                  </a:cubicBezTo>
                  <a:cubicBezTo>
                    <a:pt x="25218" y="13636"/>
                    <a:pt x="21844" y="24398"/>
                    <a:pt x="17374" y="34721"/>
                  </a:cubicBezTo>
                  <a:cubicBezTo>
                    <a:pt x="16309" y="37171"/>
                    <a:pt x="15190" y="39594"/>
                    <a:pt x="13992" y="41963"/>
                  </a:cubicBezTo>
                  <a:cubicBezTo>
                    <a:pt x="10400" y="49254"/>
                    <a:pt x="6159" y="56203"/>
                    <a:pt x="1318" y="62732"/>
                  </a:cubicBezTo>
                  <a:cubicBezTo>
                    <a:pt x="767" y="63475"/>
                    <a:pt x="924" y="64524"/>
                    <a:pt x="1664" y="65075"/>
                  </a:cubicBezTo>
                  <a:cubicBezTo>
                    <a:pt x="1952" y="65283"/>
                    <a:pt x="2295" y="65394"/>
                    <a:pt x="2650" y="65394"/>
                  </a:cubicBezTo>
                  <a:cubicBezTo>
                    <a:pt x="3182" y="65405"/>
                    <a:pt x="3688" y="65157"/>
                    <a:pt x="4007" y="64729"/>
                  </a:cubicBezTo>
                  <a:cubicBezTo>
                    <a:pt x="9341" y="57622"/>
                    <a:pt x="13944" y="49994"/>
                    <a:pt x="17747" y="41963"/>
                  </a:cubicBezTo>
                  <a:cubicBezTo>
                    <a:pt x="18945" y="39301"/>
                    <a:pt x="20063" y="36931"/>
                    <a:pt x="21101" y="34481"/>
                  </a:cubicBezTo>
                  <a:cubicBezTo>
                    <a:pt x="25380" y="24172"/>
                    <a:pt x="28653" y="13471"/>
                    <a:pt x="30873" y="2530"/>
                  </a:cubicBezTo>
                  <a:cubicBezTo>
                    <a:pt x="31140" y="1145"/>
                    <a:pt x="31273" y="347"/>
                    <a:pt x="31273" y="347"/>
                  </a:cubicBezTo>
                </a:path>
              </a:pathLst>
            </a:custGeom>
            <a:solidFill>
              <a:srgbClr val="8FD942"/>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53" name="Freeform: Shape 52">
              <a:extLst>
                <a:ext uri="{FF2B5EF4-FFF2-40B4-BE49-F238E27FC236}">
                  <a16:creationId xmlns:a16="http://schemas.microsoft.com/office/drawing/2014/main" id="{4F877290-4C07-4231-ACDB-4C5C456BECD8}"/>
                </a:ext>
              </a:extLst>
            </p:cNvPr>
            <p:cNvSpPr/>
            <p:nvPr/>
          </p:nvSpPr>
          <p:spPr>
            <a:xfrm>
              <a:off x="11517500" y="6699685"/>
              <a:ext cx="16773" cy="56738"/>
            </a:xfrm>
            <a:custGeom>
              <a:avLst/>
              <a:gdLst>
                <a:gd name="connsiteX0" fmla="*/ 27995 w 29722"/>
                <a:gd name="connsiteY0" fmla="*/ -239 h 100540"/>
                <a:gd name="connsiteX1" fmla="*/ 27542 w 29722"/>
                <a:gd name="connsiteY1" fmla="*/ -239 h 100540"/>
                <a:gd name="connsiteX2" fmla="*/ 27356 w 29722"/>
                <a:gd name="connsiteY2" fmla="*/ -239 h 100540"/>
                <a:gd name="connsiteX3" fmla="*/ 27356 w 29722"/>
                <a:gd name="connsiteY3" fmla="*/ -239 h 100540"/>
                <a:gd name="connsiteX4" fmla="*/ 24959 w 29722"/>
                <a:gd name="connsiteY4" fmla="*/ 31313 h 100540"/>
                <a:gd name="connsiteX5" fmla="*/ 17691 w 29722"/>
                <a:gd name="connsiteY5" fmla="*/ 62093 h 100540"/>
                <a:gd name="connsiteX6" fmla="*/ 15294 w 29722"/>
                <a:gd name="connsiteY6" fmla="*/ 69095 h 100540"/>
                <a:gd name="connsiteX7" fmla="*/ 3020 w 29722"/>
                <a:gd name="connsiteY7" fmla="*/ 94923 h 100540"/>
                <a:gd name="connsiteX8" fmla="*/ 1289 w 29722"/>
                <a:gd name="connsiteY8" fmla="*/ 97585 h 100540"/>
                <a:gd name="connsiteX9" fmla="*/ 1691 w 29722"/>
                <a:gd name="connsiteY9" fmla="*/ 99886 h 100540"/>
                <a:gd name="connsiteX10" fmla="*/ 1715 w 29722"/>
                <a:gd name="connsiteY10" fmla="*/ 99902 h 100540"/>
                <a:gd name="connsiteX11" fmla="*/ 2647 w 29722"/>
                <a:gd name="connsiteY11" fmla="*/ 100195 h 100540"/>
                <a:gd name="connsiteX12" fmla="*/ 4031 w 29722"/>
                <a:gd name="connsiteY12" fmla="*/ 99449 h 100540"/>
                <a:gd name="connsiteX13" fmla="*/ 6933 w 29722"/>
                <a:gd name="connsiteY13" fmla="*/ 94870 h 100540"/>
                <a:gd name="connsiteX14" fmla="*/ 18835 w 29722"/>
                <a:gd name="connsiteY14" fmla="*/ 69042 h 100540"/>
                <a:gd name="connsiteX15" fmla="*/ 21045 w 29722"/>
                <a:gd name="connsiteY15" fmla="*/ 62386 h 100540"/>
                <a:gd name="connsiteX16" fmla="*/ 28234 w 29722"/>
                <a:gd name="connsiteY16" fmla="*/ 31766 h 100540"/>
                <a:gd name="connsiteX17" fmla="*/ 30711 w 29722"/>
                <a:gd name="connsiteY17" fmla="*/ 293 h 100540"/>
                <a:gd name="connsiteX18" fmla="*/ 30711 w 29722"/>
                <a:gd name="connsiteY18" fmla="*/ 293 h 100540"/>
                <a:gd name="connsiteX19" fmla="*/ 30711 w 29722"/>
                <a:gd name="connsiteY19" fmla="*/ 293 h 100540"/>
                <a:gd name="connsiteX20" fmla="*/ 28048 w 29722"/>
                <a:gd name="connsiteY20" fmla="*/ -346 h 100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722" h="100540">
                  <a:moveTo>
                    <a:pt x="27995" y="-239"/>
                  </a:moveTo>
                  <a:lnTo>
                    <a:pt x="27542" y="-239"/>
                  </a:lnTo>
                  <a:lnTo>
                    <a:pt x="27356" y="-239"/>
                  </a:lnTo>
                  <a:lnTo>
                    <a:pt x="27356" y="-239"/>
                  </a:lnTo>
                  <a:cubicBezTo>
                    <a:pt x="27430" y="10326"/>
                    <a:pt x="26629" y="20881"/>
                    <a:pt x="24959" y="31313"/>
                  </a:cubicBezTo>
                  <a:cubicBezTo>
                    <a:pt x="23330" y="41745"/>
                    <a:pt x="20899" y="52033"/>
                    <a:pt x="17691" y="62093"/>
                  </a:cubicBezTo>
                  <a:cubicBezTo>
                    <a:pt x="16918" y="64462"/>
                    <a:pt x="16120" y="66806"/>
                    <a:pt x="15294" y="69095"/>
                  </a:cubicBezTo>
                  <a:cubicBezTo>
                    <a:pt x="12104" y="78106"/>
                    <a:pt x="7991" y="86759"/>
                    <a:pt x="3020" y="94923"/>
                  </a:cubicBezTo>
                  <a:cubicBezTo>
                    <a:pt x="2434" y="95855"/>
                    <a:pt x="1875" y="96760"/>
                    <a:pt x="1289" y="97585"/>
                  </a:cubicBezTo>
                  <a:cubicBezTo>
                    <a:pt x="764" y="98331"/>
                    <a:pt x="945" y="99361"/>
                    <a:pt x="1691" y="99886"/>
                  </a:cubicBezTo>
                  <a:cubicBezTo>
                    <a:pt x="1699" y="99891"/>
                    <a:pt x="1707" y="99897"/>
                    <a:pt x="1715" y="99902"/>
                  </a:cubicBezTo>
                  <a:cubicBezTo>
                    <a:pt x="1992" y="100086"/>
                    <a:pt x="2314" y="100187"/>
                    <a:pt x="2647" y="100195"/>
                  </a:cubicBezTo>
                  <a:cubicBezTo>
                    <a:pt x="3203" y="100195"/>
                    <a:pt x="3725" y="99915"/>
                    <a:pt x="4031" y="99449"/>
                  </a:cubicBezTo>
                  <a:cubicBezTo>
                    <a:pt x="5016" y="98011"/>
                    <a:pt x="5975" y="96494"/>
                    <a:pt x="6933" y="94870"/>
                  </a:cubicBezTo>
                  <a:cubicBezTo>
                    <a:pt x="11718" y="86661"/>
                    <a:pt x="15704" y="78013"/>
                    <a:pt x="18835" y="69042"/>
                  </a:cubicBezTo>
                  <a:cubicBezTo>
                    <a:pt x="19608" y="66859"/>
                    <a:pt x="20327" y="64649"/>
                    <a:pt x="21045" y="62386"/>
                  </a:cubicBezTo>
                  <a:cubicBezTo>
                    <a:pt x="24211" y="52374"/>
                    <a:pt x="26616" y="42139"/>
                    <a:pt x="28234" y="31766"/>
                  </a:cubicBezTo>
                  <a:cubicBezTo>
                    <a:pt x="29904" y="21357"/>
                    <a:pt x="30732" y="10835"/>
                    <a:pt x="30711" y="293"/>
                  </a:cubicBezTo>
                  <a:lnTo>
                    <a:pt x="30711" y="293"/>
                  </a:lnTo>
                  <a:lnTo>
                    <a:pt x="30711" y="293"/>
                  </a:lnTo>
                  <a:cubicBezTo>
                    <a:pt x="29840" y="19"/>
                    <a:pt x="28948" y="-194"/>
                    <a:pt x="28048" y="-346"/>
                  </a:cubicBezTo>
                </a:path>
              </a:pathLst>
            </a:custGeom>
            <a:solidFill>
              <a:srgbClr val="8FD942"/>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54" name="Freeform: Shape 53">
              <a:extLst>
                <a:ext uri="{FF2B5EF4-FFF2-40B4-BE49-F238E27FC236}">
                  <a16:creationId xmlns:a16="http://schemas.microsoft.com/office/drawing/2014/main" id="{C40792BE-D31D-4C0D-B849-3D43582D503B}"/>
                </a:ext>
              </a:extLst>
            </p:cNvPr>
            <p:cNvSpPr/>
            <p:nvPr/>
          </p:nvSpPr>
          <p:spPr>
            <a:xfrm>
              <a:off x="11531661" y="6691648"/>
              <a:ext cx="16507" cy="68726"/>
            </a:xfrm>
            <a:custGeom>
              <a:avLst/>
              <a:gdLst>
                <a:gd name="connsiteX0" fmla="*/ 30239 w 29251"/>
                <a:gd name="connsiteY0" fmla="*/ 21351 h 121784"/>
                <a:gd name="connsiteX1" fmla="*/ 28934 w 29251"/>
                <a:gd name="connsiteY1" fmla="*/ -296 h 121784"/>
                <a:gd name="connsiteX2" fmla="*/ 25526 w 29251"/>
                <a:gd name="connsiteY2" fmla="*/ -296 h 121784"/>
                <a:gd name="connsiteX3" fmla="*/ 26911 w 29251"/>
                <a:gd name="connsiteY3" fmla="*/ 20313 h 121784"/>
                <a:gd name="connsiteX4" fmla="*/ 24514 w 29251"/>
                <a:gd name="connsiteY4" fmla="*/ 51412 h 121784"/>
                <a:gd name="connsiteX5" fmla="*/ 17911 w 29251"/>
                <a:gd name="connsiteY5" fmla="*/ 81074 h 121784"/>
                <a:gd name="connsiteX6" fmla="*/ 17192 w 29251"/>
                <a:gd name="connsiteY6" fmla="*/ 83417 h 121784"/>
                <a:gd name="connsiteX7" fmla="*/ 6861 w 29251"/>
                <a:gd name="connsiteY7" fmla="*/ 109244 h 121784"/>
                <a:gd name="connsiteX8" fmla="*/ 1270 w 29251"/>
                <a:gd name="connsiteY8" fmla="*/ 118830 h 121784"/>
                <a:gd name="connsiteX9" fmla="*/ 1722 w 29251"/>
                <a:gd name="connsiteY9" fmla="*/ 121146 h 121784"/>
                <a:gd name="connsiteX10" fmla="*/ 2654 w 29251"/>
                <a:gd name="connsiteY10" fmla="*/ 121439 h 121784"/>
                <a:gd name="connsiteX11" fmla="*/ 4039 w 29251"/>
                <a:gd name="connsiteY11" fmla="*/ 120694 h 121784"/>
                <a:gd name="connsiteX12" fmla="*/ 10642 w 29251"/>
                <a:gd name="connsiteY12" fmla="*/ 109244 h 121784"/>
                <a:gd name="connsiteX13" fmla="*/ 20813 w 29251"/>
                <a:gd name="connsiteY13" fmla="*/ 83417 h 121784"/>
                <a:gd name="connsiteX14" fmla="*/ 21239 w 29251"/>
                <a:gd name="connsiteY14" fmla="*/ 82032 h 121784"/>
                <a:gd name="connsiteX15" fmla="*/ 27869 w 29251"/>
                <a:gd name="connsiteY15" fmla="*/ 52557 h 121784"/>
                <a:gd name="connsiteX16" fmla="*/ 30239 w 29251"/>
                <a:gd name="connsiteY16" fmla="*/ 21511 h 121784"/>
                <a:gd name="connsiteX17" fmla="*/ 30239 w 29251"/>
                <a:gd name="connsiteY17" fmla="*/ 21511 h 121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251" h="121784">
                  <a:moveTo>
                    <a:pt x="30239" y="21351"/>
                  </a:moveTo>
                  <a:cubicBezTo>
                    <a:pt x="30207" y="14117"/>
                    <a:pt x="29770" y="6891"/>
                    <a:pt x="28934" y="-296"/>
                  </a:cubicBezTo>
                  <a:cubicBezTo>
                    <a:pt x="27800" y="-362"/>
                    <a:pt x="26660" y="-362"/>
                    <a:pt x="25526" y="-296"/>
                  </a:cubicBezTo>
                  <a:cubicBezTo>
                    <a:pt x="26448" y="6534"/>
                    <a:pt x="26911" y="13419"/>
                    <a:pt x="26911" y="20313"/>
                  </a:cubicBezTo>
                  <a:cubicBezTo>
                    <a:pt x="26898" y="30724"/>
                    <a:pt x="26096" y="41121"/>
                    <a:pt x="24514" y="51412"/>
                  </a:cubicBezTo>
                  <a:cubicBezTo>
                    <a:pt x="22991" y="61437"/>
                    <a:pt x="20784" y="71347"/>
                    <a:pt x="17911" y="81074"/>
                  </a:cubicBezTo>
                  <a:lnTo>
                    <a:pt x="17192" y="83417"/>
                  </a:lnTo>
                  <a:cubicBezTo>
                    <a:pt x="14487" y="92302"/>
                    <a:pt x="11031" y="100942"/>
                    <a:pt x="6861" y="109244"/>
                  </a:cubicBezTo>
                  <a:cubicBezTo>
                    <a:pt x="5189" y="112549"/>
                    <a:pt x="3323" y="115749"/>
                    <a:pt x="1270" y="118830"/>
                  </a:cubicBezTo>
                  <a:cubicBezTo>
                    <a:pt x="761" y="119596"/>
                    <a:pt x="961" y="120630"/>
                    <a:pt x="1722" y="121146"/>
                  </a:cubicBezTo>
                  <a:cubicBezTo>
                    <a:pt x="1999" y="121330"/>
                    <a:pt x="2321" y="121431"/>
                    <a:pt x="2654" y="121439"/>
                  </a:cubicBezTo>
                  <a:cubicBezTo>
                    <a:pt x="3211" y="121436"/>
                    <a:pt x="3730" y="121157"/>
                    <a:pt x="4039" y="120694"/>
                  </a:cubicBezTo>
                  <a:cubicBezTo>
                    <a:pt x="6483" y="117024"/>
                    <a:pt x="8691" y="113198"/>
                    <a:pt x="10642" y="109244"/>
                  </a:cubicBezTo>
                  <a:cubicBezTo>
                    <a:pt x="14729" y="100926"/>
                    <a:pt x="18129" y="92289"/>
                    <a:pt x="20813" y="83417"/>
                  </a:cubicBezTo>
                  <a:cubicBezTo>
                    <a:pt x="20813" y="82938"/>
                    <a:pt x="21080" y="82485"/>
                    <a:pt x="21239" y="82032"/>
                  </a:cubicBezTo>
                  <a:cubicBezTo>
                    <a:pt x="24123" y="72370"/>
                    <a:pt x="26338" y="62523"/>
                    <a:pt x="27869" y="52557"/>
                  </a:cubicBezTo>
                  <a:cubicBezTo>
                    <a:pt x="29483" y="42287"/>
                    <a:pt x="30276" y="31906"/>
                    <a:pt x="30239" y="21511"/>
                  </a:cubicBezTo>
                  <a:lnTo>
                    <a:pt x="30239" y="21511"/>
                  </a:lnTo>
                  <a:close/>
                </a:path>
              </a:pathLst>
            </a:custGeom>
            <a:solidFill>
              <a:srgbClr val="8FD942"/>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55" name="Freeform: Shape 54">
              <a:extLst>
                <a:ext uri="{FF2B5EF4-FFF2-40B4-BE49-F238E27FC236}">
                  <a16:creationId xmlns:a16="http://schemas.microsoft.com/office/drawing/2014/main" id="{8306BF80-26C0-47A7-B9A7-696B44CF3C6A}"/>
                </a:ext>
              </a:extLst>
            </p:cNvPr>
            <p:cNvSpPr/>
            <p:nvPr/>
          </p:nvSpPr>
          <p:spPr>
            <a:xfrm>
              <a:off x="11646242" y="6644465"/>
              <a:ext cx="64654" cy="65032"/>
            </a:xfrm>
            <a:custGeom>
              <a:avLst/>
              <a:gdLst>
                <a:gd name="connsiteX0" fmla="*/ 989 w 114568"/>
                <a:gd name="connsiteY0" fmla="*/ 56475 h 115237"/>
                <a:gd name="connsiteX1" fmla="*/ 60738 w 114568"/>
                <a:gd name="connsiteY1" fmla="*/ 114892 h 115237"/>
                <a:gd name="connsiteX2" fmla="*/ 112233 w 114568"/>
                <a:gd name="connsiteY2" fmla="*/ 83340 h 115237"/>
                <a:gd name="connsiteX3" fmla="*/ 105550 w 114568"/>
                <a:gd name="connsiteY3" fmla="*/ 75219 h 115237"/>
                <a:gd name="connsiteX4" fmla="*/ 87870 w 114568"/>
                <a:gd name="connsiteY4" fmla="*/ 75219 h 115237"/>
                <a:gd name="connsiteX5" fmla="*/ 79057 w 114568"/>
                <a:gd name="connsiteY5" fmla="*/ 80545 h 115237"/>
                <a:gd name="connsiteX6" fmla="*/ 59833 w 114568"/>
                <a:gd name="connsiteY6" fmla="*/ 87361 h 115237"/>
                <a:gd name="connsiteX7" fmla="*/ 37440 w 114568"/>
                <a:gd name="connsiteY7" fmla="*/ 72850 h 115237"/>
                <a:gd name="connsiteX8" fmla="*/ 35523 w 114568"/>
                <a:gd name="connsiteY8" fmla="*/ 66646 h 115237"/>
                <a:gd name="connsiteX9" fmla="*/ 109011 w 114568"/>
                <a:gd name="connsiteY9" fmla="*/ 66646 h 115237"/>
                <a:gd name="connsiteX10" fmla="*/ 115447 w 114568"/>
                <a:gd name="connsiteY10" fmla="*/ 61488 h 115237"/>
                <a:gd name="connsiteX11" fmla="*/ 115481 w 114568"/>
                <a:gd name="connsiteY11" fmla="*/ 60895 h 115237"/>
                <a:gd name="connsiteX12" fmla="*/ 60685 w 114568"/>
                <a:gd name="connsiteY12" fmla="*/ -346 h 115237"/>
                <a:gd name="connsiteX13" fmla="*/ 989 w 114568"/>
                <a:gd name="connsiteY13" fmla="*/ 56368 h 115237"/>
                <a:gd name="connsiteX14" fmla="*/ 59380 w 114568"/>
                <a:gd name="connsiteY14" fmla="*/ 26946 h 115237"/>
                <a:gd name="connsiteX15" fmla="*/ 81533 w 114568"/>
                <a:gd name="connsiteY15" fmla="*/ 46303 h 115237"/>
                <a:gd name="connsiteX16" fmla="*/ 42605 w 114568"/>
                <a:gd name="connsiteY16" fmla="*/ 46303 h 115237"/>
                <a:gd name="connsiteX17" fmla="*/ 35683 w 114568"/>
                <a:gd name="connsiteY17" fmla="*/ 46303 h 115237"/>
                <a:gd name="connsiteX18" fmla="*/ 59380 w 114568"/>
                <a:gd name="connsiteY18" fmla="*/ 26973 h 11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4568" h="115237">
                  <a:moveTo>
                    <a:pt x="989" y="56475"/>
                  </a:moveTo>
                  <a:cubicBezTo>
                    <a:pt x="989" y="91089"/>
                    <a:pt x="27322" y="114892"/>
                    <a:pt x="60738" y="114892"/>
                  </a:cubicBezTo>
                  <a:cubicBezTo>
                    <a:pt x="87364" y="114892"/>
                    <a:pt x="105789" y="101446"/>
                    <a:pt x="112233" y="83340"/>
                  </a:cubicBezTo>
                  <a:cubicBezTo>
                    <a:pt x="113963" y="78415"/>
                    <a:pt x="110742" y="75219"/>
                    <a:pt x="105550" y="75219"/>
                  </a:cubicBezTo>
                  <a:lnTo>
                    <a:pt x="87870" y="75219"/>
                  </a:lnTo>
                  <a:cubicBezTo>
                    <a:pt x="83796" y="75219"/>
                    <a:pt x="81639" y="77350"/>
                    <a:pt x="79057" y="80545"/>
                  </a:cubicBezTo>
                  <a:cubicBezTo>
                    <a:pt x="75808" y="84379"/>
                    <a:pt x="69098" y="87361"/>
                    <a:pt x="59833" y="87361"/>
                  </a:cubicBezTo>
                  <a:cubicBezTo>
                    <a:pt x="50034" y="87806"/>
                    <a:pt x="41037" y="81975"/>
                    <a:pt x="37440" y="72850"/>
                  </a:cubicBezTo>
                  <a:cubicBezTo>
                    <a:pt x="36641" y="70834"/>
                    <a:pt x="35999" y="68760"/>
                    <a:pt x="35523" y="66646"/>
                  </a:cubicBezTo>
                  <a:lnTo>
                    <a:pt x="109011" y="66646"/>
                  </a:lnTo>
                  <a:cubicBezTo>
                    <a:pt x="112212" y="67000"/>
                    <a:pt x="115092" y="64689"/>
                    <a:pt x="115447" y="61488"/>
                  </a:cubicBezTo>
                  <a:cubicBezTo>
                    <a:pt x="115468" y="61291"/>
                    <a:pt x="115479" y="61094"/>
                    <a:pt x="115481" y="60895"/>
                  </a:cubicBezTo>
                  <a:cubicBezTo>
                    <a:pt x="117185" y="22926"/>
                    <a:pt x="89787" y="-346"/>
                    <a:pt x="60685" y="-346"/>
                  </a:cubicBezTo>
                  <a:cubicBezTo>
                    <a:pt x="26070" y="-346"/>
                    <a:pt x="989" y="22233"/>
                    <a:pt x="989" y="56368"/>
                  </a:cubicBezTo>
                  <a:moveTo>
                    <a:pt x="59380" y="26946"/>
                  </a:moveTo>
                  <a:cubicBezTo>
                    <a:pt x="79616" y="26946"/>
                    <a:pt x="81533" y="46303"/>
                    <a:pt x="81533" y="46303"/>
                  </a:cubicBezTo>
                  <a:lnTo>
                    <a:pt x="42605" y="46303"/>
                  </a:lnTo>
                  <a:lnTo>
                    <a:pt x="35683" y="46303"/>
                  </a:lnTo>
                  <a:cubicBezTo>
                    <a:pt x="35683" y="46303"/>
                    <a:pt x="39171" y="26973"/>
                    <a:pt x="59380" y="26973"/>
                  </a:cubicBezTo>
                </a:path>
              </a:pathLst>
            </a:custGeom>
            <a:solidFill>
              <a:srgbClr val="FFFFFF"/>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56" name="Freeform: Shape 55">
              <a:extLst>
                <a:ext uri="{FF2B5EF4-FFF2-40B4-BE49-F238E27FC236}">
                  <a16:creationId xmlns:a16="http://schemas.microsoft.com/office/drawing/2014/main" id="{1579A2F6-EF12-4BF9-8C07-B7CAE5470526}"/>
                </a:ext>
              </a:extLst>
            </p:cNvPr>
            <p:cNvSpPr/>
            <p:nvPr/>
          </p:nvSpPr>
          <p:spPr>
            <a:xfrm>
              <a:off x="11719462" y="6644495"/>
              <a:ext cx="64897" cy="89810"/>
            </a:xfrm>
            <a:custGeom>
              <a:avLst/>
              <a:gdLst>
                <a:gd name="connsiteX0" fmla="*/ 115987 w 114998"/>
                <a:gd name="connsiteY0" fmla="*/ 57140 h 159144"/>
                <a:gd name="connsiteX1" fmla="*/ 58501 w 114998"/>
                <a:gd name="connsiteY1" fmla="*/ -346 h 159144"/>
                <a:gd name="connsiteX2" fmla="*/ 58475 w 114998"/>
                <a:gd name="connsiteY2" fmla="*/ -346 h 159144"/>
                <a:gd name="connsiteX3" fmla="*/ 29958 w 114998"/>
                <a:gd name="connsiteY3" fmla="*/ 7269 h 159144"/>
                <a:gd name="connsiteX4" fmla="*/ 23142 w 114998"/>
                <a:gd name="connsiteY4" fmla="*/ 1784 h 159144"/>
                <a:gd name="connsiteX5" fmla="*/ 8178 w 114998"/>
                <a:gd name="connsiteY5" fmla="*/ 1784 h 159144"/>
                <a:gd name="connsiteX6" fmla="*/ 989 w 114998"/>
                <a:gd name="connsiteY6" fmla="*/ 8947 h 159144"/>
                <a:gd name="connsiteX7" fmla="*/ 989 w 114998"/>
                <a:gd name="connsiteY7" fmla="*/ 57114 h 159144"/>
                <a:gd name="connsiteX8" fmla="*/ 989 w 114998"/>
                <a:gd name="connsiteY8" fmla="*/ 57114 h 159144"/>
                <a:gd name="connsiteX9" fmla="*/ 989 w 114998"/>
                <a:gd name="connsiteY9" fmla="*/ 151610 h 159144"/>
                <a:gd name="connsiteX10" fmla="*/ 8178 w 114998"/>
                <a:gd name="connsiteY10" fmla="*/ 158799 h 159144"/>
                <a:gd name="connsiteX11" fmla="*/ 23142 w 114998"/>
                <a:gd name="connsiteY11" fmla="*/ 158799 h 159144"/>
                <a:gd name="connsiteX12" fmla="*/ 30304 w 114998"/>
                <a:gd name="connsiteY12" fmla="*/ 151610 h 159144"/>
                <a:gd name="connsiteX13" fmla="*/ 30304 w 114998"/>
                <a:gd name="connsiteY13" fmla="*/ 107197 h 159144"/>
                <a:gd name="connsiteX14" fmla="*/ 58475 w 114998"/>
                <a:gd name="connsiteY14" fmla="*/ 114599 h 159144"/>
                <a:gd name="connsiteX15" fmla="*/ 115934 w 114998"/>
                <a:gd name="connsiteY15" fmla="*/ 57140 h 159144"/>
                <a:gd name="connsiteX16" fmla="*/ 86432 w 114998"/>
                <a:gd name="connsiteY16" fmla="*/ 57140 h 159144"/>
                <a:gd name="connsiteX17" fmla="*/ 58475 w 114998"/>
                <a:gd name="connsiteY17" fmla="*/ 85098 h 159144"/>
                <a:gd name="connsiteX18" fmla="*/ 30491 w 114998"/>
                <a:gd name="connsiteY18" fmla="*/ 57140 h 159144"/>
                <a:gd name="connsiteX19" fmla="*/ 58475 w 114998"/>
                <a:gd name="connsiteY19" fmla="*/ 29156 h 159144"/>
                <a:gd name="connsiteX20" fmla="*/ 86432 w 114998"/>
                <a:gd name="connsiteY20" fmla="*/ 57140 h 159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998" h="159144">
                  <a:moveTo>
                    <a:pt x="115987" y="57140"/>
                  </a:moveTo>
                  <a:cubicBezTo>
                    <a:pt x="115987" y="25391"/>
                    <a:pt x="90250" y="-346"/>
                    <a:pt x="58501" y="-346"/>
                  </a:cubicBezTo>
                  <a:cubicBezTo>
                    <a:pt x="58493" y="-346"/>
                    <a:pt x="58483" y="-346"/>
                    <a:pt x="58475" y="-346"/>
                  </a:cubicBezTo>
                  <a:cubicBezTo>
                    <a:pt x="48466" y="-346"/>
                    <a:pt x="38633" y="2280"/>
                    <a:pt x="29958" y="7269"/>
                  </a:cubicBezTo>
                  <a:cubicBezTo>
                    <a:pt x="29220" y="4088"/>
                    <a:pt x="26406" y="1824"/>
                    <a:pt x="23142" y="1784"/>
                  </a:cubicBezTo>
                  <a:lnTo>
                    <a:pt x="8178" y="1784"/>
                  </a:lnTo>
                  <a:cubicBezTo>
                    <a:pt x="4224" y="1798"/>
                    <a:pt x="1018" y="4993"/>
                    <a:pt x="989" y="8947"/>
                  </a:cubicBezTo>
                  <a:lnTo>
                    <a:pt x="989" y="57114"/>
                  </a:lnTo>
                  <a:lnTo>
                    <a:pt x="989" y="57114"/>
                  </a:lnTo>
                  <a:lnTo>
                    <a:pt x="989" y="151610"/>
                  </a:lnTo>
                  <a:cubicBezTo>
                    <a:pt x="1002" y="155574"/>
                    <a:pt x="4213" y="158786"/>
                    <a:pt x="8178" y="158799"/>
                  </a:cubicBezTo>
                  <a:lnTo>
                    <a:pt x="23142" y="158799"/>
                  </a:lnTo>
                  <a:cubicBezTo>
                    <a:pt x="27096" y="158770"/>
                    <a:pt x="30291" y="155564"/>
                    <a:pt x="30304" y="151610"/>
                  </a:cubicBezTo>
                  <a:lnTo>
                    <a:pt x="30304" y="107197"/>
                  </a:lnTo>
                  <a:cubicBezTo>
                    <a:pt x="38899" y="112051"/>
                    <a:pt x="48604" y="114602"/>
                    <a:pt x="58475" y="114599"/>
                  </a:cubicBezTo>
                  <a:cubicBezTo>
                    <a:pt x="90208" y="114599"/>
                    <a:pt x="115934" y="88873"/>
                    <a:pt x="115934" y="57140"/>
                  </a:cubicBezTo>
                  <a:moveTo>
                    <a:pt x="86432" y="57140"/>
                  </a:moveTo>
                  <a:cubicBezTo>
                    <a:pt x="86432" y="72581"/>
                    <a:pt x="73915" y="85098"/>
                    <a:pt x="58475" y="85098"/>
                  </a:cubicBezTo>
                  <a:cubicBezTo>
                    <a:pt x="43029" y="85098"/>
                    <a:pt x="30506" y="72586"/>
                    <a:pt x="30491" y="57140"/>
                  </a:cubicBezTo>
                  <a:cubicBezTo>
                    <a:pt x="30504" y="41692"/>
                    <a:pt x="43026" y="29172"/>
                    <a:pt x="58475" y="29156"/>
                  </a:cubicBezTo>
                  <a:cubicBezTo>
                    <a:pt x="73921" y="29172"/>
                    <a:pt x="86432" y="41694"/>
                    <a:pt x="86432" y="57140"/>
                  </a:cubicBezTo>
                </a:path>
              </a:pathLst>
            </a:custGeom>
            <a:solidFill>
              <a:srgbClr val="FFFFFF"/>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57" name="Freeform: Shape 56">
              <a:extLst>
                <a:ext uri="{FF2B5EF4-FFF2-40B4-BE49-F238E27FC236}">
                  <a16:creationId xmlns:a16="http://schemas.microsoft.com/office/drawing/2014/main" id="{6A9F7F76-CA75-4B8F-9ACB-69794F94519F}"/>
                </a:ext>
              </a:extLst>
            </p:cNvPr>
            <p:cNvSpPr/>
            <p:nvPr/>
          </p:nvSpPr>
          <p:spPr>
            <a:xfrm>
              <a:off x="11792669" y="6644495"/>
              <a:ext cx="64867" cy="64867"/>
            </a:xfrm>
            <a:custGeom>
              <a:avLst/>
              <a:gdLst>
                <a:gd name="connsiteX0" fmla="*/ 115934 w 114945"/>
                <a:gd name="connsiteY0" fmla="*/ 64596 h 114945"/>
                <a:gd name="connsiteX1" fmla="*/ 115934 w 114945"/>
                <a:gd name="connsiteY1" fmla="*/ 49632 h 114945"/>
                <a:gd name="connsiteX2" fmla="*/ 108745 w 114945"/>
                <a:gd name="connsiteY2" fmla="*/ 42443 h 114945"/>
                <a:gd name="connsiteX3" fmla="*/ 73119 w 114945"/>
                <a:gd name="connsiteY3" fmla="*/ 42443 h 114945"/>
                <a:gd name="connsiteX4" fmla="*/ 73119 w 114945"/>
                <a:gd name="connsiteY4" fmla="*/ 6843 h 114945"/>
                <a:gd name="connsiteX5" fmla="*/ 65930 w 114945"/>
                <a:gd name="connsiteY5" fmla="*/ -346 h 114945"/>
                <a:gd name="connsiteX6" fmla="*/ 50993 w 114945"/>
                <a:gd name="connsiteY6" fmla="*/ -346 h 114945"/>
                <a:gd name="connsiteX7" fmla="*/ 43804 w 114945"/>
                <a:gd name="connsiteY7" fmla="*/ 6843 h 114945"/>
                <a:gd name="connsiteX8" fmla="*/ 43804 w 114945"/>
                <a:gd name="connsiteY8" fmla="*/ 42469 h 114945"/>
                <a:gd name="connsiteX9" fmla="*/ 8178 w 114945"/>
                <a:gd name="connsiteY9" fmla="*/ 42469 h 114945"/>
                <a:gd name="connsiteX10" fmla="*/ 989 w 114945"/>
                <a:gd name="connsiteY10" fmla="*/ 49658 h 114945"/>
                <a:gd name="connsiteX11" fmla="*/ 989 w 114945"/>
                <a:gd name="connsiteY11" fmla="*/ 64596 h 114945"/>
                <a:gd name="connsiteX12" fmla="*/ 8178 w 114945"/>
                <a:gd name="connsiteY12" fmla="*/ 71785 h 114945"/>
                <a:gd name="connsiteX13" fmla="*/ 43804 w 114945"/>
                <a:gd name="connsiteY13" fmla="*/ 71785 h 114945"/>
                <a:gd name="connsiteX14" fmla="*/ 43804 w 114945"/>
                <a:gd name="connsiteY14" fmla="*/ 107410 h 114945"/>
                <a:gd name="connsiteX15" fmla="*/ 50993 w 114945"/>
                <a:gd name="connsiteY15" fmla="*/ 114599 h 114945"/>
                <a:gd name="connsiteX16" fmla="*/ 65930 w 114945"/>
                <a:gd name="connsiteY16" fmla="*/ 114599 h 114945"/>
                <a:gd name="connsiteX17" fmla="*/ 73119 w 114945"/>
                <a:gd name="connsiteY17" fmla="*/ 107410 h 114945"/>
                <a:gd name="connsiteX18" fmla="*/ 73119 w 114945"/>
                <a:gd name="connsiteY18" fmla="*/ 71785 h 114945"/>
                <a:gd name="connsiteX19" fmla="*/ 108745 w 114945"/>
                <a:gd name="connsiteY19" fmla="*/ 71785 h 114945"/>
                <a:gd name="connsiteX20" fmla="*/ 115934 w 114945"/>
                <a:gd name="connsiteY20" fmla="*/ 64596 h 114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945" h="114945">
                  <a:moveTo>
                    <a:pt x="115934" y="64596"/>
                  </a:moveTo>
                  <a:lnTo>
                    <a:pt x="115934" y="49632"/>
                  </a:lnTo>
                  <a:cubicBezTo>
                    <a:pt x="115918" y="45667"/>
                    <a:pt x="112709" y="42456"/>
                    <a:pt x="108745" y="42443"/>
                  </a:cubicBezTo>
                  <a:lnTo>
                    <a:pt x="73119" y="42443"/>
                  </a:lnTo>
                  <a:lnTo>
                    <a:pt x="73119" y="6843"/>
                  </a:lnTo>
                  <a:cubicBezTo>
                    <a:pt x="73103" y="2879"/>
                    <a:pt x="69894" y="-332"/>
                    <a:pt x="65930" y="-346"/>
                  </a:cubicBezTo>
                  <a:lnTo>
                    <a:pt x="50993" y="-346"/>
                  </a:lnTo>
                  <a:cubicBezTo>
                    <a:pt x="47028" y="-330"/>
                    <a:pt x="43817" y="2879"/>
                    <a:pt x="43804" y="6843"/>
                  </a:cubicBezTo>
                  <a:lnTo>
                    <a:pt x="43804" y="42469"/>
                  </a:lnTo>
                  <a:lnTo>
                    <a:pt x="8178" y="42469"/>
                  </a:lnTo>
                  <a:cubicBezTo>
                    <a:pt x="4213" y="42483"/>
                    <a:pt x="1002" y="45694"/>
                    <a:pt x="989" y="49658"/>
                  </a:cubicBezTo>
                  <a:lnTo>
                    <a:pt x="989" y="64596"/>
                  </a:lnTo>
                  <a:cubicBezTo>
                    <a:pt x="1002" y="68560"/>
                    <a:pt x="4213" y="71771"/>
                    <a:pt x="8178" y="71785"/>
                  </a:cubicBezTo>
                  <a:lnTo>
                    <a:pt x="43804" y="71785"/>
                  </a:lnTo>
                  <a:lnTo>
                    <a:pt x="43804" y="107410"/>
                  </a:lnTo>
                  <a:cubicBezTo>
                    <a:pt x="43820" y="111375"/>
                    <a:pt x="47028" y="114586"/>
                    <a:pt x="50993" y="114599"/>
                  </a:cubicBezTo>
                  <a:lnTo>
                    <a:pt x="65930" y="114599"/>
                  </a:lnTo>
                  <a:cubicBezTo>
                    <a:pt x="69900" y="114599"/>
                    <a:pt x="73119" y="111380"/>
                    <a:pt x="73119" y="107410"/>
                  </a:cubicBezTo>
                  <a:lnTo>
                    <a:pt x="73119" y="71785"/>
                  </a:lnTo>
                  <a:lnTo>
                    <a:pt x="108745" y="71785"/>
                  </a:lnTo>
                  <a:cubicBezTo>
                    <a:pt x="112709" y="71771"/>
                    <a:pt x="115918" y="68560"/>
                    <a:pt x="115934" y="64596"/>
                  </a:cubicBezTo>
                </a:path>
              </a:pathLst>
            </a:custGeom>
            <a:solidFill>
              <a:srgbClr val="8FDB42"/>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58" name="Freeform: Shape 57">
              <a:extLst>
                <a:ext uri="{FF2B5EF4-FFF2-40B4-BE49-F238E27FC236}">
                  <a16:creationId xmlns:a16="http://schemas.microsoft.com/office/drawing/2014/main" id="{418DD7E6-F0C7-4BA1-8611-CAE1EA04530C}"/>
                </a:ext>
              </a:extLst>
            </p:cNvPr>
            <p:cNvSpPr/>
            <p:nvPr/>
          </p:nvSpPr>
          <p:spPr>
            <a:xfrm>
              <a:off x="11574954" y="6644781"/>
              <a:ext cx="64867" cy="89524"/>
            </a:xfrm>
            <a:custGeom>
              <a:avLst/>
              <a:gdLst>
                <a:gd name="connsiteX0" fmla="*/ 115934 w 114945"/>
                <a:gd name="connsiteY0" fmla="*/ 57114 h 158638"/>
                <a:gd name="connsiteX1" fmla="*/ 58475 w 114945"/>
                <a:gd name="connsiteY1" fmla="*/ -346 h 158638"/>
                <a:gd name="connsiteX2" fmla="*/ 29905 w 114945"/>
                <a:gd name="connsiteY2" fmla="*/ 7296 h 158638"/>
                <a:gd name="connsiteX3" fmla="*/ 23115 w 114945"/>
                <a:gd name="connsiteY3" fmla="*/ 2131 h 158638"/>
                <a:gd name="connsiteX4" fmla="*/ 8178 w 114945"/>
                <a:gd name="connsiteY4" fmla="*/ 2131 h 158638"/>
                <a:gd name="connsiteX5" fmla="*/ 989 w 114945"/>
                <a:gd name="connsiteY5" fmla="*/ 9320 h 158638"/>
                <a:gd name="connsiteX6" fmla="*/ 989 w 114945"/>
                <a:gd name="connsiteY6" fmla="*/ 57114 h 158638"/>
                <a:gd name="connsiteX7" fmla="*/ 989 w 114945"/>
                <a:gd name="connsiteY7" fmla="*/ 57114 h 158638"/>
                <a:gd name="connsiteX8" fmla="*/ 989 w 114945"/>
                <a:gd name="connsiteY8" fmla="*/ 151104 h 158638"/>
                <a:gd name="connsiteX9" fmla="*/ 8178 w 114945"/>
                <a:gd name="connsiteY9" fmla="*/ 158293 h 158638"/>
                <a:gd name="connsiteX10" fmla="*/ 23115 w 114945"/>
                <a:gd name="connsiteY10" fmla="*/ 158293 h 158638"/>
                <a:gd name="connsiteX11" fmla="*/ 30304 w 114945"/>
                <a:gd name="connsiteY11" fmla="*/ 151104 h 158638"/>
                <a:gd name="connsiteX12" fmla="*/ 30304 w 114945"/>
                <a:gd name="connsiteY12" fmla="*/ 107171 h 158638"/>
                <a:gd name="connsiteX13" fmla="*/ 58475 w 114945"/>
                <a:gd name="connsiteY13" fmla="*/ 114573 h 158638"/>
                <a:gd name="connsiteX14" fmla="*/ 115934 w 114945"/>
                <a:gd name="connsiteY14" fmla="*/ 57114 h 158638"/>
                <a:gd name="connsiteX15" fmla="*/ 86432 w 114945"/>
                <a:gd name="connsiteY15" fmla="*/ 57114 h 158638"/>
                <a:gd name="connsiteX16" fmla="*/ 58475 w 114945"/>
                <a:gd name="connsiteY16" fmla="*/ 85098 h 158638"/>
                <a:gd name="connsiteX17" fmla="*/ 30491 w 114945"/>
                <a:gd name="connsiteY17" fmla="*/ 57114 h 158638"/>
                <a:gd name="connsiteX18" fmla="*/ 58475 w 114945"/>
                <a:gd name="connsiteY18" fmla="*/ 29156 h 158638"/>
                <a:gd name="connsiteX19" fmla="*/ 86432 w 114945"/>
                <a:gd name="connsiteY19" fmla="*/ 57114 h 158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4945" h="158638">
                  <a:moveTo>
                    <a:pt x="115934" y="57114"/>
                  </a:moveTo>
                  <a:cubicBezTo>
                    <a:pt x="115934" y="25381"/>
                    <a:pt x="90208" y="-346"/>
                    <a:pt x="58475" y="-346"/>
                  </a:cubicBezTo>
                  <a:cubicBezTo>
                    <a:pt x="48447" y="-340"/>
                    <a:pt x="38596" y="2293"/>
                    <a:pt x="29905" y="7296"/>
                  </a:cubicBezTo>
                  <a:cubicBezTo>
                    <a:pt x="29034" y="4261"/>
                    <a:pt x="26273" y="2160"/>
                    <a:pt x="23115" y="2131"/>
                  </a:cubicBezTo>
                  <a:lnTo>
                    <a:pt x="8178" y="2131"/>
                  </a:lnTo>
                  <a:cubicBezTo>
                    <a:pt x="4213" y="2144"/>
                    <a:pt x="1002" y="5355"/>
                    <a:pt x="989" y="9320"/>
                  </a:cubicBezTo>
                  <a:lnTo>
                    <a:pt x="989" y="57114"/>
                  </a:lnTo>
                  <a:lnTo>
                    <a:pt x="989" y="57114"/>
                  </a:lnTo>
                  <a:lnTo>
                    <a:pt x="989" y="151104"/>
                  </a:lnTo>
                  <a:cubicBezTo>
                    <a:pt x="1002" y="155069"/>
                    <a:pt x="4213" y="158280"/>
                    <a:pt x="8178" y="158293"/>
                  </a:cubicBezTo>
                  <a:lnTo>
                    <a:pt x="23115" y="158293"/>
                  </a:lnTo>
                  <a:cubicBezTo>
                    <a:pt x="27080" y="158280"/>
                    <a:pt x="30291" y="155069"/>
                    <a:pt x="30304" y="151104"/>
                  </a:cubicBezTo>
                  <a:lnTo>
                    <a:pt x="30304" y="107171"/>
                  </a:lnTo>
                  <a:cubicBezTo>
                    <a:pt x="38899" y="112025"/>
                    <a:pt x="48604" y="114575"/>
                    <a:pt x="58475" y="114573"/>
                  </a:cubicBezTo>
                  <a:cubicBezTo>
                    <a:pt x="90202" y="114557"/>
                    <a:pt x="115918" y="88841"/>
                    <a:pt x="115934" y="57114"/>
                  </a:cubicBezTo>
                  <a:moveTo>
                    <a:pt x="86432" y="57114"/>
                  </a:moveTo>
                  <a:cubicBezTo>
                    <a:pt x="86432" y="72559"/>
                    <a:pt x="73920" y="85082"/>
                    <a:pt x="58475" y="85098"/>
                  </a:cubicBezTo>
                  <a:cubicBezTo>
                    <a:pt x="43026" y="85082"/>
                    <a:pt x="30506" y="72562"/>
                    <a:pt x="30491" y="57114"/>
                  </a:cubicBezTo>
                  <a:cubicBezTo>
                    <a:pt x="30506" y="41668"/>
                    <a:pt x="43029" y="29156"/>
                    <a:pt x="58475" y="29156"/>
                  </a:cubicBezTo>
                  <a:cubicBezTo>
                    <a:pt x="73915" y="29156"/>
                    <a:pt x="86432" y="41673"/>
                    <a:pt x="86432" y="57114"/>
                  </a:cubicBezTo>
                </a:path>
              </a:pathLst>
            </a:custGeom>
            <a:solidFill>
              <a:srgbClr val="FFFFFF"/>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59" name="Freeform: Shape 58">
              <a:extLst>
                <a:ext uri="{FF2B5EF4-FFF2-40B4-BE49-F238E27FC236}">
                  <a16:creationId xmlns:a16="http://schemas.microsoft.com/office/drawing/2014/main" id="{AE760D7A-E8F2-4C28-944A-43A4C79114EF}"/>
                </a:ext>
              </a:extLst>
            </p:cNvPr>
            <p:cNvSpPr/>
            <p:nvPr/>
          </p:nvSpPr>
          <p:spPr>
            <a:xfrm>
              <a:off x="11574969" y="6750860"/>
              <a:ext cx="19691" cy="26558"/>
            </a:xfrm>
            <a:custGeom>
              <a:avLst/>
              <a:gdLst>
                <a:gd name="connsiteX0" fmla="*/ 1103 w 34893"/>
                <a:gd name="connsiteY0" fmla="*/ 44632 h 47062"/>
                <a:gd name="connsiteX1" fmla="*/ 1103 w 34893"/>
                <a:gd name="connsiteY1" fmla="*/ 2270 h 47062"/>
                <a:gd name="connsiteX2" fmla="*/ 2765 w 34893"/>
                <a:gd name="connsiteY2" fmla="*/ 273 h 47062"/>
                <a:gd name="connsiteX3" fmla="*/ 3100 w 34893"/>
                <a:gd name="connsiteY3" fmla="*/ 273 h 47062"/>
                <a:gd name="connsiteX4" fmla="*/ 5124 w 34893"/>
                <a:gd name="connsiteY4" fmla="*/ 273 h 47062"/>
                <a:gd name="connsiteX5" fmla="*/ 7387 w 34893"/>
                <a:gd name="connsiteY5" fmla="*/ 1897 h 47062"/>
                <a:gd name="connsiteX6" fmla="*/ 9704 w 34893"/>
                <a:gd name="connsiteY6" fmla="*/ 2589 h 47062"/>
                <a:gd name="connsiteX7" fmla="*/ 19316 w 34893"/>
                <a:gd name="connsiteY7" fmla="*/ -339 h 47062"/>
                <a:gd name="connsiteX8" fmla="*/ 35880 w 34893"/>
                <a:gd name="connsiteY8" fmla="*/ 16060 h 47062"/>
                <a:gd name="connsiteX9" fmla="*/ 35877 w 34893"/>
                <a:gd name="connsiteY9" fmla="*/ 16462 h 47062"/>
                <a:gd name="connsiteX10" fmla="*/ 19667 w 34893"/>
                <a:gd name="connsiteY10" fmla="*/ 33524 h 47062"/>
                <a:gd name="connsiteX11" fmla="*/ 19182 w 34893"/>
                <a:gd name="connsiteY11" fmla="*/ 33529 h 47062"/>
                <a:gd name="connsiteX12" fmla="*/ 11195 w 34893"/>
                <a:gd name="connsiteY12" fmla="*/ 31585 h 47062"/>
                <a:gd name="connsiteX13" fmla="*/ 9118 w 34893"/>
                <a:gd name="connsiteY13" fmla="*/ 32597 h 47062"/>
                <a:gd name="connsiteX14" fmla="*/ 9118 w 34893"/>
                <a:gd name="connsiteY14" fmla="*/ 44712 h 47062"/>
                <a:gd name="connsiteX15" fmla="*/ 7456 w 34893"/>
                <a:gd name="connsiteY15" fmla="*/ 46709 h 47062"/>
                <a:gd name="connsiteX16" fmla="*/ 7121 w 34893"/>
                <a:gd name="connsiteY16" fmla="*/ 46709 h 47062"/>
                <a:gd name="connsiteX17" fmla="*/ 2994 w 34893"/>
                <a:gd name="connsiteY17" fmla="*/ 46709 h 47062"/>
                <a:gd name="connsiteX18" fmla="*/ 997 w 34893"/>
                <a:gd name="connsiteY18" fmla="*/ 45048 h 47062"/>
                <a:gd name="connsiteX19" fmla="*/ 997 w 34893"/>
                <a:gd name="connsiteY19" fmla="*/ 44712 h 47062"/>
                <a:gd name="connsiteX20" fmla="*/ 10236 w 34893"/>
                <a:gd name="connsiteY20" fmla="*/ 22106 h 47062"/>
                <a:gd name="connsiteX21" fmla="*/ 18224 w 34893"/>
                <a:gd name="connsiteY21" fmla="*/ 26127 h 47062"/>
                <a:gd name="connsiteX22" fmla="*/ 26968 w 34893"/>
                <a:gd name="connsiteY22" fmla="*/ 16571 h 47062"/>
                <a:gd name="connsiteX23" fmla="*/ 26957 w 34893"/>
                <a:gd name="connsiteY23" fmla="*/ 16382 h 47062"/>
                <a:gd name="connsiteX24" fmla="*/ 18250 w 34893"/>
                <a:gd name="connsiteY24" fmla="*/ 6983 h 47062"/>
                <a:gd name="connsiteX25" fmla="*/ 10263 w 34893"/>
                <a:gd name="connsiteY25" fmla="*/ 10977 h 47062"/>
                <a:gd name="connsiteX26" fmla="*/ 9677 w 34893"/>
                <a:gd name="connsiteY26" fmla="*/ 13133 h 47062"/>
                <a:gd name="connsiteX27" fmla="*/ 9677 w 34893"/>
                <a:gd name="connsiteY27" fmla="*/ 19896 h 47062"/>
                <a:gd name="connsiteX28" fmla="*/ 10263 w 34893"/>
                <a:gd name="connsiteY28" fmla="*/ 22027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893" h="47062">
                  <a:moveTo>
                    <a:pt x="1103" y="44632"/>
                  </a:moveTo>
                  <a:lnTo>
                    <a:pt x="1103" y="2270"/>
                  </a:lnTo>
                  <a:cubicBezTo>
                    <a:pt x="1010" y="1261"/>
                    <a:pt x="1756" y="366"/>
                    <a:pt x="2765" y="273"/>
                  </a:cubicBezTo>
                  <a:cubicBezTo>
                    <a:pt x="2877" y="262"/>
                    <a:pt x="2988" y="262"/>
                    <a:pt x="3100" y="273"/>
                  </a:cubicBezTo>
                  <a:lnTo>
                    <a:pt x="5124" y="273"/>
                  </a:lnTo>
                  <a:cubicBezTo>
                    <a:pt x="6170" y="201"/>
                    <a:pt x="7121" y="883"/>
                    <a:pt x="7387" y="1897"/>
                  </a:cubicBezTo>
                  <a:cubicBezTo>
                    <a:pt x="7707" y="3228"/>
                    <a:pt x="8638" y="3415"/>
                    <a:pt x="9704" y="2589"/>
                  </a:cubicBezTo>
                  <a:cubicBezTo>
                    <a:pt x="12502" y="592"/>
                    <a:pt x="15878" y="-435"/>
                    <a:pt x="19316" y="-339"/>
                  </a:cubicBezTo>
                  <a:cubicBezTo>
                    <a:pt x="28419" y="-385"/>
                    <a:pt x="35834" y="6956"/>
                    <a:pt x="35880" y="16060"/>
                  </a:cubicBezTo>
                  <a:cubicBezTo>
                    <a:pt x="35880" y="16193"/>
                    <a:pt x="35880" y="16329"/>
                    <a:pt x="35877" y="16462"/>
                  </a:cubicBezTo>
                  <a:cubicBezTo>
                    <a:pt x="36111" y="25650"/>
                    <a:pt x="28856" y="33289"/>
                    <a:pt x="19667" y="33524"/>
                  </a:cubicBezTo>
                  <a:cubicBezTo>
                    <a:pt x="19505" y="33529"/>
                    <a:pt x="19345" y="33529"/>
                    <a:pt x="19182" y="33529"/>
                  </a:cubicBezTo>
                  <a:cubicBezTo>
                    <a:pt x="16397" y="33582"/>
                    <a:pt x="13644" y="32914"/>
                    <a:pt x="11195" y="31585"/>
                  </a:cubicBezTo>
                  <a:cubicBezTo>
                    <a:pt x="9943" y="30840"/>
                    <a:pt x="9118" y="31213"/>
                    <a:pt x="9118" y="32597"/>
                  </a:cubicBezTo>
                  <a:lnTo>
                    <a:pt x="9118" y="44712"/>
                  </a:lnTo>
                  <a:cubicBezTo>
                    <a:pt x="9211" y="45721"/>
                    <a:pt x="8465" y="46616"/>
                    <a:pt x="7456" y="46709"/>
                  </a:cubicBezTo>
                  <a:cubicBezTo>
                    <a:pt x="7344" y="46720"/>
                    <a:pt x="7233" y="46720"/>
                    <a:pt x="7121" y="46709"/>
                  </a:cubicBezTo>
                  <a:lnTo>
                    <a:pt x="2994" y="46709"/>
                  </a:lnTo>
                  <a:cubicBezTo>
                    <a:pt x="1982" y="46802"/>
                    <a:pt x="1090" y="46057"/>
                    <a:pt x="997" y="45048"/>
                  </a:cubicBezTo>
                  <a:cubicBezTo>
                    <a:pt x="986" y="44936"/>
                    <a:pt x="986" y="44824"/>
                    <a:pt x="997" y="44712"/>
                  </a:cubicBezTo>
                  <a:moveTo>
                    <a:pt x="10236" y="22106"/>
                  </a:moveTo>
                  <a:cubicBezTo>
                    <a:pt x="12039" y="24721"/>
                    <a:pt x="15050" y="26236"/>
                    <a:pt x="18224" y="26127"/>
                  </a:cubicBezTo>
                  <a:cubicBezTo>
                    <a:pt x="23277" y="25903"/>
                    <a:pt x="27192" y="21625"/>
                    <a:pt x="26968" y="16571"/>
                  </a:cubicBezTo>
                  <a:cubicBezTo>
                    <a:pt x="26965" y="16507"/>
                    <a:pt x="26963" y="16446"/>
                    <a:pt x="26957" y="16382"/>
                  </a:cubicBezTo>
                  <a:cubicBezTo>
                    <a:pt x="27122" y="11392"/>
                    <a:pt x="23238" y="7198"/>
                    <a:pt x="18250" y="6983"/>
                  </a:cubicBezTo>
                  <a:cubicBezTo>
                    <a:pt x="15085" y="6884"/>
                    <a:pt x="12081" y="8386"/>
                    <a:pt x="10263" y="10977"/>
                  </a:cubicBezTo>
                  <a:cubicBezTo>
                    <a:pt x="9837" y="11613"/>
                    <a:pt x="9632" y="12369"/>
                    <a:pt x="9677" y="13133"/>
                  </a:cubicBezTo>
                  <a:lnTo>
                    <a:pt x="9677" y="19896"/>
                  </a:lnTo>
                  <a:cubicBezTo>
                    <a:pt x="9650" y="20650"/>
                    <a:pt x="9855" y="21393"/>
                    <a:pt x="10263" y="22027"/>
                  </a:cubicBezTo>
                </a:path>
              </a:pathLst>
            </a:custGeom>
            <a:solidFill>
              <a:srgbClr val="FFFFFF"/>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60" name="Freeform: Shape 59">
              <a:extLst>
                <a:ext uri="{FF2B5EF4-FFF2-40B4-BE49-F238E27FC236}">
                  <a16:creationId xmlns:a16="http://schemas.microsoft.com/office/drawing/2014/main" id="{5F9C3EDD-C416-466F-B547-0F9C5C6D2D54}"/>
                </a:ext>
              </a:extLst>
            </p:cNvPr>
            <p:cNvSpPr/>
            <p:nvPr/>
          </p:nvSpPr>
          <p:spPr>
            <a:xfrm>
              <a:off x="11597252" y="6750822"/>
              <a:ext cx="18514" cy="19157"/>
            </a:xfrm>
            <a:custGeom>
              <a:avLst/>
              <a:gdLst>
                <a:gd name="connsiteX0" fmla="*/ 18038 w 32808"/>
                <a:gd name="connsiteY0" fmla="*/ -324 h 33946"/>
                <a:gd name="connsiteX1" fmla="*/ 33795 w 32808"/>
                <a:gd name="connsiteY1" fmla="*/ 15867 h 33946"/>
                <a:gd name="connsiteX2" fmla="*/ 33721 w 32808"/>
                <a:gd name="connsiteY2" fmla="*/ 17196 h 33946"/>
                <a:gd name="connsiteX3" fmla="*/ 31915 w 32808"/>
                <a:gd name="connsiteY3" fmla="*/ 19012 h 33946"/>
                <a:gd name="connsiteX4" fmla="*/ 31777 w 32808"/>
                <a:gd name="connsiteY4" fmla="*/ 19006 h 33946"/>
                <a:gd name="connsiteX5" fmla="*/ 11568 w 32808"/>
                <a:gd name="connsiteY5" fmla="*/ 19006 h 33946"/>
                <a:gd name="connsiteX6" fmla="*/ 10130 w 32808"/>
                <a:gd name="connsiteY6" fmla="*/ 20950 h 33946"/>
                <a:gd name="connsiteX7" fmla="*/ 18118 w 32808"/>
                <a:gd name="connsiteY7" fmla="*/ 26488 h 33946"/>
                <a:gd name="connsiteX8" fmla="*/ 24455 w 32808"/>
                <a:gd name="connsiteY8" fmla="*/ 23613 h 33946"/>
                <a:gd name="connsiteX9" fmla="*/ 26771 w 32808"/>
                <a:gd name="connsiteY9" fmla="*/ 22148 h 33946"/>
                <a:gd name="connsiteX10" fmla="*/ 31058 w 32808"/>
                <a:gd name="connsiteY10" fmla="*/ 22148 h 33946"/>
                <a:gd name="connsiteX11" fmla="*/ 32815 w 32808"/>
                <a:gd name="connsiteY11" fmla="*/ 24358 h 33946"/>
                <a:gd name="connsiteX12" fmla="*/ 18118 w 32808"/>
                <a:gd name="connsiteY12" fmla="*/ 33571 h 33946"/>
                <a:gd name="connsiteX13" fmla="*/ 994 w 32808"/>
                <a:gd name="connsiteY13" fmla="*/ 17371 h 33946"/>
                <a:gd name="connsiteX14" fmla="*/ 997 w 32808"/>
                <a:gd name="connsiteY14" fmla="*/ 16370 h 33946"/>
                <a:gd name="connsiteX15" fmla="*/ 16866 w 32808"/>
                <a:gd name="connsiteY15" fmla="*/ -340 h 33946"/>
                <a:gd name="connsiteX16" fmla="*/ 18118 w 32808"/>
                <a:gd name="connsiteY16" fmla="*/ -324 h 33946"/>
                <a:gd name="connsiteX17" fmla="*/ 12020 w 32808"/>
                <a:gd name="connsiteY17" fmla="*/ 13362 h 33946"/>
                <a:gd name="connsiteX18" fmla="*/ 23257 w 32808"/>
                <a:gd name="connsiteY18" fmla="*/ 13362 h 33946"/>
                <a:gd name="connsiteX19" fmla="*/ 24774 w 32808"/>
                <a:gd name="connsiteY19" fmla="*/ 11365 h 33946"/>
                <a:gd name="connsiteX20" fmla="*/ 17985 w 32808"/>
                <a:gd name="connsiteY20" fmla="*/ 6705 h 33946"/>
                <a:gd name="connsiteX21" fmla="*/ 10582 w 32808"/>
                <a:gd name="connsiteY21" fmla="*/ 11285 h 33946"/>
                <a:gd name="connsiteX22" fmla="*/ 12020 w 32808"/>
                <a:gd name="connsiteY22" fmla="*/ 13362 h 3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808" h="33946">
                  <a:moveTo>
                    <a:pt x="18038" y="-324"/>
                  </a:moveTo>
                  <a:cubicBezTo>
                    <a:pt x="26859" y="-204"/>
                    <a:pt x="33915" y="7046"/>
                    <a:pt x="33795" y="15867"/>
                  </a:cubicBezTo>
                  <a:cubicBezTo>
                    <a:pt x="33787" y="16312"/>
                    <a:pt x="33763" y="16754"/>
                    <a:pt x="33721" y="17196"/>
                  </a:cubicBezTo>
                  <a:cubicBezTo>
                    <a:pt x="33723" y="18197"/>
                    <a:pt x="32914" y="19009"/>
                    <a:pt x="31915" y="19012"/>
                  </a:cubicBezTo>
                  <a:cubicBezTo>
                    <a:pt x="31870" y="19012"/>
                    <a:pt x="31822" y="19009"/>
                    <a:pt x="31777" y="19006"/>
                  </a:cubicBezTo>
                  <a:lnTo>
                    <a:pt x="11568" y="19006"/>
                  </a:lnTo>
                  <a:cubicBezTo>
                    <a:pt x="10396" y="19006"/>
                    <a:pt x="9624" y="19778"/>
                    <a:pt x="10130" y="20950"/>
                  </a:cubicBezTo>
                  <a:cubicBezTo>
                    <a:pt x="11272" y="24361"/>
                    <a:pt x="14523" y="26616"/>
                    <a:pt x="18118" y="26488"/>
                  </a:cubicBezTo>
                  <a:cubicBezTo>
                    <a:pt x="20589" y="26709"/>
                    <a:pt x="22996" y="25618"/>
                    <a:pt x="24455" y="23613"/>
                  </a:cubicBezTo>
                  <a:cubicBezTo>
                    <a:pt x="24897" y="22734"/>
                    <a:pt x="25789" y="22172"/>
                    <a:pt x="26771" y="22148"/>
                  </a:cubicBezTo>
                  <a:lnTo>
                    <a:pt x="31058" y="22148"/>
                  </a:lnTo>
                  <a:cubicBezTo>
                    <a:pt x="32443" y="22148"/>
                    <a:pt x="33295" y="23027"/>
                    <a:pt x="32815" y="24358"/>
                  </a:cubicBezTo>
                  <a:cubicBezTo>
                    <a:pt x="30403" y="30267"/>
                    <a:pt x="24487" y="33975"/>
                    <a:pt x="18118" y="33571"/>
                  </a:cubicBezTo>
                  <a:cubicBezTo>
                    <a:pt x="8916" y="33826"/>
                    <a:pt x="1250" y="26573"/>
                    <a:pt x="994" y="17371"/>
                  </a:cubicBezTo>
                  <a:cubicBezTo>
                    <a:pt x="986" y="17036"/>
                    <a:pt x="986" y="16703"/>
                    <a:pt x="997" y="16370"/>
                  </a:cubicBezTo>
                  <a:cubicBezTo>
                    <a:pt x="765" y="7373"/>
                    <a:pt x="7869" y="-109"/>
                    <a:pt x="16866" y="-340"/>
                  </a:cubicBezTo>
                  <a:cubicBezTo>
                    <a:pt x="17284" y="-351"/>
                    <a:pt x="17702" y="-346"/>
                    <a:pt x="18118" y="-324"/>
                  </a:cubicBezTo>
                  <a:moveTo>
                    <a:pt x="12020" y="13362"/>
                  </a:moveTo>
                  <a:lnTo>
                    <a:pt x="23257" y="13362"/>
                  </a:lnTo>
                  <a:cubicBezTo>
                    <a:pt x="24508" y="13362"/>
                    <a:pt x="25280" y="12616"/>
                    <a:pt x="24774" y="11365"/>
                  </a:cubicBezTo>
                  <a:cubicBezTo>
                    <a:pt x="23707" y="8545"/>
                    <a:pt x="20999" y="6686"/>
                    <a:pt x="17985" y="6705"/>
                  </a:cubicBezTo>
                  <a:cubicBezTo>
                    <a:pt x="14859" y="6737"/>
                    <a:pt x="12007" y="8502"/>
                    <a:pt x="10582" y="11285"/>
                  </a:cubicBezTo>
                  <a:cubicBezTo>
                    <a:pt x="10023" y="12483"/>
                    <a:pt x="10716" y="13362"/>
                    <a:pt x="12020" y="13362"/>
                  </a:cubicBezTo>
                </a:path>
              </a:pathLst>
            </a:custGeom>
            <a:solidFill>
              <a:srgbClr val="FFFFFF"/>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61" name="Freeform: Shape 60">
              <a:extLst>
                <a:ext uri="{FF2B5EF4-FFF2-40B4-BE49-F238E27FC236}">
                  <a16:creationId xmlns:a16="http://schemas.microsoft.com/office/drawing/2014/main" id="{898E89F6-48A9-4D35-86CF-4423DB50139D}"/>
                </a:ext>
              </a:extLst>
            </p:cNvPr>
            <p:cNvSpPr/>
            <p:nvPr/>
          </p:nvSpPr>
          <p:spPr>
            <a:xfrm>
              <a:off x="11619475" y="6750860"/>
              <a:ext cx="19631" cy="26558"/>
            </a:xfrm>
            <a:custGeom>
              <a:avLst/>
              <a:gdLst>
                <a:gd name="connsiteX0" fmla="*/ 997 w 34787"/>
                <a:gd name="connsiteY0" fmla="*/ 44632 h 47062"/>
                <a:gd name="connsiteX1" fmla="*/ 997 w 34787"/>
                <a:gd name="connsiteY1" fmla="*/ 2270 h 47062"/>
                <a:gd name="connsiteX2" fmla="*/ 2658 w 34787"/>
                <a:gd name="connsiteY2" fmla="*/ 273 h 47062"/>
                <a:gd name="connsiteX3" fmla="*/ 2994 w 34787"/>
                <a:gd name="connsiteY3" fmla="*/ 273 h 47062"/>
                <a:gd name="connsiteX4" fmla="*/ 5017 w 34787"/>
                <a:gd name="connsiteY4" fmla="*/ 273 h 47062"/>
                <a:gd name="connsiteX5" fmla="*/ 7280 w 34787"/>
                <a:gd name="connsiteY5" fmla="*/ 1897 h 47062"/>
                <a:gd name="connsiteX6" fmla="*/ 9597 w 34787"/>
                <a:gd name="connsiteY6" fmla="*/ 2589 h 47062"/>
                <a:gd name="connsiteX7" fmla="*/ 19209 w 34787"/>
                <a:gd name="connsiteY7" fmla="*/ -339 h 47062"/>
                <a:gd name="connsiteX8" fmla="*/ 35773 w 34787"/>
                <a:gd name="connsiteY8" fmla="*/ 16060 h 47062"/>
                <a:gd name="connsiteX9" fmla="*/ 35770 w 34787"/>
                <a:gd name="connsiteY9" fmla="*/ 16462 h 47062"/>
                <a:gd name="connsiteX10" fmla="*/ 19560 w 34787"/>
                <a:gd name="connsiteY10" fmla="*/ 33524 h 47062"/>
                <a:gd name="connsiteX11" fmla="*/ 19076 w 34787"/>
                <a:gd name="connsiteY11" fmla="*/ 33529 h 47062"/>
                <a:gd name="connsiteX12" fmla="*/ 11088 w 34787"/>
                <a:gd name="connsiteY12" fmla="*/ 31585 h 47062"/>
                <a:gd name="connsiteX13" fmla="*/ 9011 w 34787"/>
                <a:gd name="connsiteY13" fmla="*/ 32597 h 47062"/>
                <a:gd name="connsiteX14" fmla="*/ 9011 w 34787"/>
                <a:gd name="connsiteY14" fmla="*/ 44712 h 47062"/>
                <a:gd name="connsiteX15" fmla="*/ 7350 w 34787"/>
                <a:gd name="connsiteY15" fmla="*/ 46709 h 47062"/>
                <a:gd name="connsiteX16" fmla="*/ 7014 w 34787"/>
                <a:gd name="connsiteY16" fmla="*/ 46709 h 47062"/>
                <a:gd name="connsiteX17" fmla="*/ 3100 w 34787"/>
                <a:gd name="connsiteY17" fmla="*/ 46709 h 47062"/>
                <a:gd name="connsiteX18" fmla="*/ 1103 w 34787"/>
                <a:gd name="connsiteY18" fmla="*/ 45048 h 47062"/>
                <a:gd name="connsiteX19" fmla="*/ 1103 w 34787"/>
                <a:gd name="connsiteY19" fmla="*/ 44712 h 47062"/>
                <a:gd name="connsiteX20" fmla="*/ 10342 w 34787"/>
                <a:gd name="connsiteY20" fmla="*/ 22106 h 47062"/>
                <a:gd name="connsiteX21" fmla="*/ 18330 w 34787"/>
                <a:gd name="connsiteY21" fmla="*/ 26127 h 47062"/>
                <a:gd name="connsiteX22" fmla="*/ 27042 w 34787"/>
                <a:gd name="connsiteY22" fmla="*/ 16539 h 47062"/>
                <a:gd name="connsiteX23" fmla="*/ 27037 w 34787"/>
                <a:gd name="connsiteY23" fmla="*/ 16462 h 47062"/>
                <a:gd name="connsiteX24" fmla="*/ 18330 w 34787"/>
                <a:gd name="connsiteY24" fmla="*/ 7063 h 47062"/>
                <a:gd name="connsiteX25" fmla="*/ 10342 w 34787"/>
                <a:gd name="connsiteY25" fmla="*/ 11057 h 47062"/>
                <a:gd name="connsiteX26" fmla="*/ 9757 w 34787"/>
                <a:gd name="connsiteY26" fmla="*/ 13213 h 47062"/>
                <a:gd name="connsiteX27" fmla="*/ 9757 w 34787"/>
                <a:gd name="connsiteY27" fmla="*/ 19976 h 47062"/>
                <a:gd name="connsiteX28" fmla="*/ 10342 w 34787"/>
                <a:gd name="connsiteY28" fmla="*/ 22106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787" h="47062">
                  <a:moveTo>
                    <a:pt x="997" y="44632"/>
                  </a:moveTo>
                  <a:lnTo>
                    <a:pt x="997" y="2270"/>
                  </a:lnTo>
                  <a:cubicBezTo>
                    <a:pt x="903" y="1261"/>
                    <a:pt x="1649" y="366"/>
                    <a:pt x="2658" y="273"/>
                  </a:cubicBezTo>
                  <a:cubicBezTo>
                    <a:pt x="2770" y="262"/>
                    <a:pt x="2882" y="262"/>
                    <a:pt x="2994" y="273"/>
                  </a:cubicBezTo>
                  <a:lnTo>
                    <a:pt x="5017" y="273"/>
                  </a:lnTo>
                  <a:cubicBezTo>
                    <a:pt x="6064" y="201"/>
                    <a:pt x="7014" y="883"/>
                    <a:pt x="7280" y="1897"/>
                  </a:cubicBezTo>
                  <a:cubicBezTo>
                    <a:pt x="7600" y="3228"/>
                    <a:pt x="8532" y="3415"/>
                    <a:pt x="9597" y="2589"/>
                  </a:cubicBezTo>
                  <a:cubicBezTo>
                    <a:pt x="12395" y="592"/>
                    <a:pt x="15771" y="-435"/>
                    <a:pt x="19209" y="-339"/>
                  </a:cubicBezTo>
                  <a:cubicBezTo>
                    <a:pt x="28312" y="-385"/>
                    <a:pt x="35728" y="6956"/>
                    <a:pt x="35773" y="16060"/>
                  </a:cubicBezTo>
                  <a:cubicBezTo>
                    <a:pt x="35773" y="16193"/>
                    <a:pt x="35773" y="16329"/>
                    <a:pt x="35770" y="16462"/>
                  </a:cubicBezTo>
                  <a:cubicBezTo>
                    <a:pt x="36005" y="25650"/>
                    <a:pt x="28749" y="33289"/>
                    <a:pt x="19560" y="33524"/>
                  </a:cubicBezTo>
                  <a:cubicBezTo>
                    <a:pt x="19398" y="33529"/>
                    <a:pt x="19238" y="33529"/>
                    <a:pt x="19076" y="33529"/>
                  </a:cubicBezTo>
                  <a:cubicBezTo>
                    <a:pt x="16291" y="33582"/>
                    <a:pt x="13538" y="32914"/>
                    <a:pt x="11088" y="31585"/>
                  </a:cubicBezTo>
                  <a:cubicBezTo>
                    <a:pt x="9836" y="30840"/>
                    <a:pt x="9011" y="31213"/>
                    <a:pt x="9011" y="32597"/>
                  </a:cubicBezTo>
                  <a:lnTo>
                    <a:pt x="9011" y="44712"/>
                  </a:lnTo>
                  <a:cubicBezTo>
                    <a:pt x="9104" y="45721"/>
                    <a:pt x="8359" y="46616"/>
                    <a:pt x="7350" y="46709"/>
                  </a:cubicBezTo>
                  <a:cubicBezTo>
                    <a:pt x="7238" y="46720"/>
                    <a:pt x="7126" y="46720"/>
                    <a:pt x="7014" y="46709"/>
                  </a:cubicBezTo>
                  <a:lnTo>
                    <a:pt x="3100" y="46709"/>
                  </a:lnTo>
                  <a:cubicBezTo>
                    <a:pt x="2088" y="46802"/>
                    <a:pt x="1196" y="46057"/>
                    <a:pt x="1103" y="45048"/>
                  </a:cubicBezTo>
                  <a:cubicBezTo>
                    <a:pt x="1092" y="44936"/>
                    <a:pt x="1092" y="44824"/>
                    <a:pt x="1103" y="44712"/>
                  </a:cubicBezTo>
                  <a:moveTo>
                    <a:pt x="10342" y="22106"/>
                  </a:moveTo>
                  <a:cubicBezTo>
                    <a:pt x="12145" y="24721"/>
                    <a:pt x="15156" y="26236"/>
                    <a:pt x="18330" y="26127"/>
                  </a:cubicBezTo>
                  <a:cubicBezTo>
                    <a:pt x="23384" y="25885"/>
                    <a:pt x="27282" y="21592"/>
                    <a:pt x="27042" y="16539"/>
                  </a:cubicBezTo>
                  <a:cubicBezTo>
                    <a:pt x="27040" y="16515"/>
                    <a:pt x="27040" y="16488"/>
                    <a:pt x="27037" y="16462"/>
                  </a:cubicBezTo>
                  <a:cubicBezTo>
                    <a:pt x="27202" y="11472"/>
                    <a:pt x="23317" y="7278"/>
                    <a:pt x="18330" y="7063"/>
                  </a:cubicBezTo>
                  <a:cubicBezTo>
                    <a:pt x="15164" y="6964"/>
                    <a:pt x="12161" y="8466"/>
                    <a:pt x="10342" y="11057"/>
                  </a:cubicBezTo>
                  <a:cubicBezTo>
                    <a:pt x="9919" y="11693"/>
                    <a:pt x="9711" y="12449"/>
                    <a:pt x="9757" y="13213"/>
                  </a:cubicBezTo>
                  <a:lnTo>
                    <a:pt x="9757" y="19976"/>
                  </a:lnTo>
                  <a:cubicBezTo>
                    <a:pt x="9730" y="20730"/>
                    <a:pt x="9935" y="21473"/>
                    <a:pt x="10342" y="22106"/>
                  </a:cubicBezTo>
                </a:path>
              </a:pathLst>
            </a:custGeom>
            <a:solidFill>
              <a:srgbClr val="FFFFFF"/>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62" name="Freeform: Shape 61">
              <a:extLst>
                <a:ext uri="{FF2B5EF4-FFF2-40B4-BE49-F238E27FC236}">
                  <a16:creationId xmlns:a16="http://schemas.microsoft.com/office/drawing/2014/main" id="{FB9E13BA-D632-451A-885E-206ED0AD9CC7}"/>
                </a:ext>
              </a:extLst>
            </p:cNvPr>
            <p:cNvSpPr/>
            <p:nvPr/>
          </p:nvSpPr>
          <p:spPr>
            <a:xfrm>
              <a:off x="11641544" y="6750833"/>
              <a:ext cx="16868" cy="19128"/>
            </a:xfrm>
            <a:custGeom>
              <a:avLst/>
              <a:gdLst>
                <a:gd name="connsiteX0" fmla="*/ 16181 w 29890"/>
                <a:gd name="connsiteY0" fmla="*/ -346 h 33895"/>
                <a:gd name="connsiteX1" fmla="*/ 30186 w 29890"/>
                <a:gd name="connsiteY1" fmla="*/ 9400 h 33895"/>
                <a:gd name="connsiteX2" fmla="*/ 28296 w 29890"/>
                <a:gd name="connsiteY2" fmla="*/ 11476 h 33895"/>
                <a:gd name="connsiteX3" fmla="*/ 24275 w 29890"/>
                <a:gd name="connsiteY3" fmla="*/ 11476 h 33895"/>
                <a:gd name="connsiteX4" fmla="*/ 22092 w 29890"/>
                <a:gd name="connsiteY4" fmla="*/ 9719 h 33895"/>
                <a:gd name="connsiteX5" fmla="*/ 16048 w 29890"/>
                <a:gd name="connsiteY5" fmla="*/ 6444 h 33895"/>
                <a:gd name="connsiteX6" fmla="*/ 10723 w 29890"/>
                <a:gd name="connsiteY6" fmla="*/ 9266 h 33895"/>
                <a:gd name="connsiteX7" fmla="*/ 30879 w 29890"/>
                <a:gd name="connsiteY7" fmla="*/ 23591 h 33895"/>
                <a:gd name="connsiteX8" fmla="*/ 16687 w 29890"/>
                <a:gd name="connsiteY8" fmla="*/ 33550 h 33895"/>
                <a:gd name="connsiteX9" fmla="*/ 1057 w 29890"/>
                <a:gd name="connsiteY9" fmla="*/ 23511 h 33895"/>
                <a:gd name="connsiteX10" fmla="*/ 2895 w 29890"/>
                <a:gd name="connsiteY10" fmla="*/ 21381 h 33895"/>
                <a:gd name="connsiteX11" fmla="*/ 7155 w 29890"/>
                <a:gd name="connsiteY11" fmla="*/ 21381 h 33895"/>
                <a:gd name="connsiteX12" fmla="*/ 9338 w 29890"/>
                <a:gd name="connsiteY12" fmla="*/ 23006 h 33895"/>
                <a:gd name="connsiteX13" fmla="*/ 16873 w 29890"/>
                <a:gd name="connsiteY13" fmla="*/ 26786 h 33895"/>
                <a:gd name="connsiteX14" fmla="*/ 22411 w 29890"/>
                <a:gd name="connsiteY14" fmla="*/ 23645 h 33895"/>
                <a:gd name="connsiteX15" fmla="*/ 2256 w 29890"/>
                <a:gd name="connsiteY15" fmla="*/ 9453 h 33895"/>
                <a:gd name="connsiteX16" fmla="*/ 16128 w 29890"/>
                <a:gd name="connsiteY16" fmla="*/ -346 h 3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890" h="33895">
                  <a:moveTo>
                    <a:pt x="16181" y="-346"/>
                  </a:moveTo>
                  <a:cubicBezTo>
                    <a:pt x="24169" y="-346"/>
                    <a:pt x="28855" y="3622"/>
                    <a:pt x="30186" y="9400"/>
                  </a:cubicBezTo>
                  <a:cubicBezTo>
                    <a:pt x="30479" y="10704"/>
                    <a:pt x="29681" y="11476"/>
                    <a:pt x="28296" y="11476"/>
                  </a:cubicBezTo>
                  <a:lnTo>
                    <a:pt x="24275" y="11476"/>
                  </a:lnTo>
                  <a:cubicBezTo>
                    <a:pt x="23077" y="11476"/>
                    <a:pt x="22518" y="10837"/>
                    <a:pt x="22092" y="9719"/>
                  </a:cubicBezTo>
                  <a:cubicBezTo>
                    <a:pt x="21320" y="7642"/>
                    <a:pt x="19429" y="6444"/>
                    <a:pt x="16048" y="6444"/>
                  </a:cubicBezTo>
                  <a:cubicBezTo>
                    <a:pt x="12666" y="6444"/>
                    <a:pt x="10723" y="7562"/>
                    <a:pt x="10723" y="9266"/>
                  </a:cubicBezTo>
                  <a:cubicBezTo>
                    <a:pt x="10723" y="15364"/>
                    <a:pt x="30879" y="10971"/>
                    <a:pt x="30879" y="23591"/>
                  </a:cubicBezTo>
                  <a:cubicBezTo>
                    <a:pt x="30879" y="29982"/>
                    <a:pt x="25048" y="33550"/>
                    <a:pt x="16687" y="33550"/>
                  </a:cubicBezTo>
                  <a:cubicBezTo>
                    <a:pt x="8326" y="33550"/>
                    <a:pt x="2389" y="29928"/>
                    <a:pt x="1057" y="23511"/>
                  </a:cubicBezTo>
                  <a:cubicBezTo>
                    <a:pt x="738" y="22127"/>
                    <a:pt x="1563" y="21381"/>
                    <a:pt x="2895" y="21381"/>
                  </a:cubicBezTo>
                  <a:lnTo>
                    <a:pt x="7155" y="21381"/>
                  </a:lnTo>
                  <a:cubicBezTo>
                    <a:pt x="8172" y="21347"/>
                    <a:pt x="9077" y="22020"/>
                    <a:pt x="9338" y="23006"/>
                  </a:cubicBezTo>
                  <a:cubicBezTo>
                    <a:pt x="10858" y="25668"/>
                    <a:pt x="13830" y="27159"/>
                    <a:pt x="16873" y="26786"/>
                  </a:cubicBezTo>
                  <a:cubicBezTo>
                    <a:pt x="20281" y="26786"/>
                    <a:pt x="22411" y="25721"/>
                    <a:pt x="22411" y="23645"/>
                  </a:cubicBezTo>
                  <a:cubicBezTo>
                    <a:pt x="22411" y="17494"/>
                    <a:pt x="2256" y="22127"/>
                    <a:pt x="2256" y="9453"/>
                  </a:cubicBezTo>
                  <a:cubicBezTo>
                    <a:pt x="2256" y="3808"/>
                    <a:pt x="7101" y="-346"/>
                    <a:pt x="16128" y="-346"/>
                  </a:cubicBezTo>
                </a:path>
              </a:pathLst>
            </a:custGeom>
            <a:solidFill>
              <a:srgbClr val="FFFFFF"/>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63" name="Freeform: Shape 62">
              <a:extLst>
                <a:ext uri="{FF2B5EF4-FFF2-40B4-BE49-F238E27FC236}">
                  <a16:creationId xmlns:a16="http://schemas.microsoft.com/office/drawing/2014/main" id="{01A8C4B0-1A65-40A9-8AE6-F56359955E68}"/>
                </a:ext>
              </a:extLst>
            </p:cNvPr>
            <p:cNvSpPr/>
            <p:nvPr/>
          </p:nvSpPr>
          <p:spPr>
            <a:xfrm>
              <a:off x="11661657" y="6742209"/>
              <a:ext cx="6551" cy="27381"/>
            </a:xfrm>
            <a:custGeom>
              <a:avLst/>
              <a:gdLst>
                <a:gd name="connsiteX0" fmla="*/ 989 w 11609"/>
                <a:gd name="connsiteY0" fmla="*/ 5352 h 48520"/>
                <a:gd name="connsiteX1" fmla="*/ 6687 w 11609"/>
                <a:gd name="connsiteY1" fmla="*/ -346 h 48520"/>
                <a:gd name="connsiteX2" fmla="*/ 6767 w 11609"/>
                <a:gd name="connsiteY2" fmla="*/ -346 h 48520"/>
                <a:gd name="connsiteX3" fmla="*/ 12598 w 11609"/>
                <a:gd name="connsiteY3" fmla="*/ 5352 h 48520"/>
                <a:gd name="connsiteX4" fmla="*/ 6767 w 11609"/>
                <a:gd name="connsiteY4" fmla="*/ 11263 h 48520"/>
                <a:gd name="connsiteX5" fmla="*/ 989 w 11609"/>
                <a:gd name="connsiteY5" fmla="*/ 5432 h 48520"/>
                <a:gd name="connsiteX6" fmla="*/ 989 w 11609"/>
                <a:gd name="connsiteY6" fmla="*/ 5352 h 48520"/>
                <a:gd name="connsiteX7" fmla="*/ 10734 w 11609"/>
                <a:gd name="connsiteY7" fmla="*/ 17521 h 48520"/>
                <a:gd name="connsiteX8" fmla="*/ 10734 w 11609"/>
                <a:gd name="connsiteY8" fmla="*/ 46144 h 48520"/>
                <a:gd name="connsiteX9" fmla="*/ 9046 w 11609"/>
                <a:gd name="connsiteY9" fmla="*/ 48167 h 48520"/>
                <a:gd name="connsiteX10" fmla="*/ 8710 w 11609"/>
                <a:gd name="connsiteY10" fmla="*/ 48167 h 48520"/>
                <a:gd name="connsiteX11" fmla="*/ 3998 w 11609"/>
                <a:gd name="connsiteY11" fmla="*/ 48167 h 48520"/>
                <a:gd name="connsiteX12" fmla="*/ 1998 w 11609"/>
                <a:gd name="connsiteY12" fmla="*/ 46450 h 48520"/>
                <a:gd name="connsiteX13" fmla="*/ 2001 w 11609"/>
                <a:gd name="connsiteY13" fmla="*/ 46144 h 48520"/>
                <a:gd name="connsiteX14" fmla="*/ 2001 w 11609"/>
                <a:gd name="connsiteY14" fmla="*/ 17600 h 48520"/>
                <a:gd name="connsiteX15" fmla="*/ 3662 w 11609"/>
                <a:gd name="connsiteY15" fmla="*/ 15603 h 48520"/>
                <a:gd name="connsiteX16" fmla="*/ 3998 w 11609"/>
                <a:gd name="connsiteY16" fmla="*/ 15603 h 48520"/>
                <a:gd name="connsiteX17" fmla="*/ 8710 w 11609"/>
                <a:gd name="connsiteY17" fmla="*/ 15603 h 48520"/>
                <a:gd name="connsiteX18" fmla="*/ 10731 w 11609"/>
                <a:gd name="connsiteY18" fmla="*/ 17294 h 48520"/>
                <a:gd name="connsiteX19" fmla="*/ 10734 w 11609"/>
                <a:gd name="connsiteY19" fmla="*/ 17600 h 48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09" h="48520">
                  <a:moveTo>
                    <a:pt x="989" y="5352"/>
                  </a:moveTo>
                  <a:cubicBezTo>
                    <a:pt x="989" y="2205"/>
                    <a:pt x="3540" y="-346"/>
                    <a:pt x="6687" y="-346"/>
                  </a:cubicBezTo>
                  <a:cubicBezTo>
                    <a:pt x="6713" y="-346"/>
                    <a:pt x="6740" y="-346"/>
                    <a:pt x="6767" y="-346"/>
                  </a:cubicBezTo>
                  <a:cubicBezTo>
                    <a:pt x="9935" y="-346"/>
                    <a:pt x="12526" y="2184"/>
                    <a:pt x="12598" y="5352"/>
                  </a:cubicBezTo>
                  <a:cubicBezTo>
                    <a:pt x="12598" y="8585"/>
                    <a:pt x="9999" y="11221"/>
                    <a:pt x="6767" y="11263"/>
                  </a:cubicBezTo>
                  <a:cubicBezTo>
                    <a:pt x="3561" y="11250"/>
                    <a:pt x="973" y="8638"/>
                    <a:pt x="989" y="5432"/>
                  </a:cubicBezTo>
                  <a:cubicBezTo>
                    <a:pt x="989" y="5406"/>
                    <a:pt x="989" y="5379"/>
                    <a:pt x="989" y="5352"/>
                  </a:cubicBezTo>
                  <a:moveTo>
                    <a:pt x="10734" y="17521"/>
                  </a:moveTo>
                  <a:lnTo>
                    <a:pt x="10734" y="46144"/>
                  </a:lnTo>
                  <a:cubicBezTo>
                    <a:pt x="10827" y="47169"/>
                    <a:pt x="10071" y="48074"/>
                    <a:pt x="9046" y="48167"/>
                  </a:cubicBezTo>
                  <a:cubicBezTo>
                    <a:pt x="8934" y="48178"/>
                    <a:pt x="8822" y="48178"/>
                    <a:pt x="8710" y="48167"/>
                  </a:cubicBezTo>
                  <a:lnTo>
                    <a:pt x="3998" y="48167"/>
                  </a:lnTo>
                  <a:cubicBezTo>
                    <a:pt x="2972" y="48244"/>
                    <a:pt x="2075" y="47475"/>
                    <a:pt x="1998" y="46450"/>
                  </a:cubicBezTo>
                  <a:cubicBezTo>
                    <a:pt x="1990" y="46349"/>
                    <a:pt x="1993" y="46245"/>
                    <a:pt x="2001" y="46144"/>
                  </a:cubicBezTo>
                  <a:lnTo>
                    <a:pt x="2001" y="17600"/>
                  </a:lnTo>
                  <a:cubicBezTo>
                    <a:pt x="1907" y="16591"/>
                    <a:pt x="2653" y="15697"/>
                    <a:pt x="3662" y="15603"/>
                  </a:cubicBezTo>
                  <a:cubicBezTo>
                    <a:pt x="3774" y="15593"/>
                    <a:pt x="3886" y="15593"/>
                    <a:pt x="3998" y="15603"/>
                  </a:cubicBezTo>
                  <a:lnTo>
                    <a:pt x="8710" y="15603"/>
                  </a:lnTo>
                  <a:cubicBezTo>
                    <a:pt x="9735" y="15513"/>
                    <a:pt x="10641" y="16269"/>
                    <a:pt x="10731" y="17294"/>
                  </a:cubicBezTo>
                  <a:cubicBezTo>
                    <a:pt x="10742" y="17395"/>
                    <a:pt x="10742" y="17499"/>
                    <a:pt x="10734" y="17600"/>
                  </a:cubicBezTo>
                </a:path>
              </a:pathLst>
            </a:custGeom>
            <a:solidFill>
              <a:srgbClr val="FFFFFF"/>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64" name="Freeform: Shape 63">
              <a:extLst>
                <a:ext uri="{FF2B5EF4-FFF2-40B4-BE49-F238E27FC236}">
                  <a16:creationId xmlns:a16="http://schemas.microsoft.com/office/drawing/2014/main" id="{ABF555BB-8391-499E-BC9A-93D5819E4CF9}"/>
                </a:ext>
              </a:extLst>
            </p:cNvPr>
            <p:cNvSpPr/>
            <p:nvPr/>
          </p:nvSpPr>
          <p:spPr>
            <a:xfrm>
              <a:off x="11670912" y="6750850"/>
              <a:ext cx="18928" cy="19154"/>
            </a:xfrm>
            <a:custGeom>
              <a:avLst/>
              <a:gdLst>
                <a:gd name="connsiteX0" fmla="*/ 25781 w 33540"/>
                <a:gd name="connsiteY0" fmla="*/ 11128 h 33942"/>
                <a:gd name="connsiteX1" fmla="*/ 18672 w 33540"/>
                <a:gd name="connsiteY1" fmla="*/ 7001 h 33942"/>
                <a:gd name="connsiteX2" fmla="*/ 9850 w 33540"/>
                <a:gd name="connsiteY2" fmla="*/ 15699 h 33942"/>
                <a:gd name="connsiteX3" fmla="*/ 9885 w 33540"/>
                <a:gd name="connsiteY3" fmla="*/ 16533 h 33942"/>
                <a:gd name="connsiteX4" fmla="*/ 17838 w 33540"/>
                <a:gd name="connsiteY4" fmla="*/ 26030 h 33942"/>
                <a:gd name="connsiteX5" fmla="*/ 18618 w 33540"/>
                <a:gd name="connsiteY5" fmla="*/ 26065 h 33942"/>
                <a:gd name="connsiteX6" fmla="*/ 25514 w 33540"/>
                <a:gd name="connsiteY6" fmla="*/ 22364 h 33942"/>
                <a:gd name="connsiteX7" fmla="*/ 27778 w 33540"/>
                <a:gd name="connsiteY7" fmla="*/ 20793 h 33942"/>
                <a:gd name="connsiteX8" fmla="*/ 32411 w 33540"/>
                <a:gd name="connsiteY8" fmla="*/ 20793 h 33942"/>
                <a:gd name="connsiteX9" fmla="*/ 34301 w 33540"/>
                <a:gd name="connsiteY9" fmla="*/ 22923 h 33942"/>
                <a:gd name="connsiteX10" fmla="*/ 18805 w 33540"/>
                <a:gd name="connsiteY10" fmla="*/ 33573 h 33942"/>
                <a:gd name="connsiteX11" fmla="*/ 1013 w 33540"/>
                <a:gd name="connsiteY11" fmla="*/ 17545 h 33942"/>
                <a:gd name="connsiteX12" fmla="*/ 992 w 33540"/>
                <a:gd name="connsiteY12" fmla="*/ 16373 h 33942"/>
                <a:gd name="connsiteX13" fmla="*/ 17503 w 33540"/>
                <a:gd name="connsiteY13" fmla="*/ -346 h 33942"/>
                <a:gd name="connsiteX14" fmla="*/ 18485 w 33540"/>
                <a:gd name="connsiteY14" fmla="*/ -322 h 33942"/>
                <a:gd name="connsiteX15" fmla="*/ 34461 w 33540"/>
                <a:gd name="connsiteY15" fmla="*/ 10728 h 33942"/>
                <a:gd name="connsiteX16" fmla="*/ 33324 w 33540"/>
                <a:gd name="connsiteY16" fmla="*/ 12810 h 33942"/>
                <a:gd name="connsiteX17" fmla="*/ 32597 w 33540"/>
                <a:gd name="connsiteY17" fmla="*/ 12858 h 33942"/>
                <a:gd name="connsiteX18" fmla="*/ 28124 w 33540"/>
                <a:gd name="connsiteY18" fmla="*/ 12858 h 33942"/>
                <a:gd name="connsiteX19" fmla="*/ 25887 w 33540"/>
                <a:gd name="connsiteY19" fmla="*/ 11234 h 33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3540" h="33942">
                  <a:moveTo>
                    <a:pt x="25781" y="11128"/>
                  </a:moveTo>
                  <a:cubicBezTo>
                    <a:pt x="24463" y="8441"/>
                    <a:pt x="21656" y="6814"/>
                    <a:pt x="18672" y="7001"/>
                  </a:cubicBezTo>
                  <a:cubicBezTo>
                    <a:pt x="13834" y="6966"/>
                    <a:pt x="9885" y="10861"/>
                    <a:pt x="9850" y="15699"/>
                  </a:cubicBezTo>
                  <a:cubicBezTo>
                    <a:pt x="9850" y="15979"/>
                    <a:pt x="9861" y="16256"/>
                    <a:pt x="9885" y="16533"/>
                  </a:cubicBezTo>
                  <a:cubicBezTo>
                    <a:pt x="9459" y="21352"/>
                    <a:pt x="13019" y="25604"/>
                    <a:pt x="17838" y="26030"/>
                  </a:cubicBezTo>
                  <a:cubicBezTo>
                    <a:pt x="18099" y="26054"/>
                    <a:pt x="18357" y="26065"/>
                    <a:pt x="18618" y="26065"/>
                  </a:cubicBezTo>
                  <a:cubicBezTo>
                    <a:pt x="21441" y="26281"/>
                    <a:pt x="24133" y="24835"/>
                    <a:pt x="25514" y="22364"/>
                  </a:cubicBezTo>
                  <a:cubicBezTo>
                    <a:pt x="25869" y="21421"/>
                    <a:pt x="26771" y="20796"/>
                    <a:pt x="27778" y="20793"/>
                  </a:cubicBezTo>
                  <a:lnTo>
                    <a:pt x="32411" y="20793"/>
                  </a:lnTo>
                  <a:cubicBezTo>
                    <a:pt x="33742" y="20793"/>
                    <a:pt x="34621" y="21618"/>
                    <a:pt x="34301" y="22923"/>
                  </a:cubicBezTo>
                  <a:cubicBezTo>
                    <a:pt x="32810" y="29340"/>
                    <a:pt x="26313" y="33573"/>
                    <a:pt x="18805" y="33573"/>
                  </a:cubicBezTo>
                  <a:cubicBezTo>
                    <a:pt x="9464" y="34061"/>
                    <a:pt x="1498" y="26882"/>
                    <a:pt x="1013" y="17545"/>
                  </a:cubicBezTo>
                  <a:cubicBezTo>
                    <a:pt x="992" y="17153"/>
                    <a:pt x="984" y="16764"/>
                    <a:pt x="992" y="16373"/>
                  </a:cubicBezTo>
                  <a:cubicBezTo>
                    <a:pt x="936" y="7198"/>
                    <a:pt x="8327" y="-287"/>
                    <a:pt x="17503" y="-346"/>
                  </a:cubicBezTo>
                  <a:cubicBezTo>
                    <a:pt x="17830" y="-346"/>
                    <a:pt x="18158" y="-340"/>
                    <a:pt x="18485" y="-322"/>
                  </a:cubicBezTo>
                  <a:cubicBezTo>
                    <a:pt x="27724" y="-322"/>
                    <a:pt x="32996" y="4578"/>
                    <a:pt x="34461" y="10728"/>
                  </a:cubicBezTo>
                  <a:cubicBezTo>
                    <a:pt x="34722" y="11618"/>
                    <a:pt x="34213" y="12549"/>
                    <a:pt x="33324" y="12810"/>
                  </a:cubicBezTo>
                  <a:cubicBezTo>
                    <a:pt x="33087" y="12880"/>
                    <a:pt x="32839" y="12896"/>
                    <a:pt x="32597" y="12858"/>
                  </a:cubicBezTo>
                  <a:lnTo>
                    <a:pt x="28124" y="12858"/>
                  </a:lnTo>
                  <a:cubicBezTo>
                    <a:pt x="27006" y="12858"/>
                    <a:pt x="26446" y="12299"/>
                    <a:pt x="25887" y="11234"/>
                  </a:cubicBezTo>
                </a:path>
              </a:pathLst>
            </a:custGeom>
            <a:solidFill>
              <a:srgbClr val="FFFFFF"/>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65" name="Freeform: Shape 64">
              <a:extLst>
                <a:ext uri="{FF2B5EF4-FFF2-40B4-BE49-F238E27FC236}">
                  <a16:creationId xmlns:a16="http://schemas.microsoft.com/office/drawing/2014/main" id="{94A1EEAA-75D0-4329-9D56-09B0CE56E51F}"/>
                </a:ext>
              </a:extLst>
            </p:cNvPr>
            <p:cNvSpPr/>
            <p:nvPr/>
          </p:nvSpPr>
          <p:spPr>
            <a:xfrm>
              <a:off x="11692340" y="6750833"/>
              <a:ext cx="20150" cy="19139"/>
            </a:xfrm>
            <a:custGeom>
              <a:avLst/>
              <a:gdLst>
                <a:gd name="connsiteX0" fmla="*/ 18856 w 35707"/>
                <a:gd name="connsiteY0" fmla="*/ -346 h 33914"/>
                <a:gd name="connsiteX1" fmla="*/ 36695 w 35707"/>
                <a:gd name="connsiteY1" fmla="*/ 16349 h 33914"/>
                <a:gd name="connsiteX2" fmla="*/ 19833 w 35707"/>
                <a:gd name="connsiteY2" fmla="*/ 33568 h 33914"/>
                <a:gd name="connsiteX3" fmla="*/ 18856 w 35707"/>
                <a:gd name="connsiteY3" fmla="*/ 33550 h 33914"/>
                <a:gd name="connsiteX4" fmla="*/ 1008 w 35707"/>
                <a:gd name="connsiteY4" fmla="*/ 17300 h 33914"/>
                <a:gd name="connsiteX5" fmla="*/ 989 w 35707"/>
                <a:gd name="connsiteY5" fmla="*/ 16349 h 33914"/>
                <a:gd name="connsiteX6" fmla="*/ 18856 w 35707"/>
                <a:gd name="connsiteY6" fmla="*/ -346 h 33914"/>
                <a:gd name="connsiteX7" fmla="*/ 18856 w 35707"/>
                <a:gd name="connsiteY7" fmla="*/ 26147 h 33914"/>
                <a:gd name="connsiteX8" fmla="*/ 28028 w 35707"/>
                <a:gd name="connsiteY8" fmla="*/ 17214 h 33914"/>
                <a:gd name="connsiteX9" fmla="*/ 28015 w 35707"/>
                <a:gd name="connsiteY9" fmla="*/ 16615 h 33914"/>
                <a:gd name="connsiteX10" fmla="*/ 19455 w 35707"/>
                <a:gd name="connsiteY10" fmla="*/ 7096 h 33914"/>
                <a:gd name="connsiteX11" fmla="*/ 18856 w 35707"/>
                <a:gd name="connsiteY11" fmla="*/ 7083 h 33914"/>
                <a:gd name="connsiteX12" fmla="*/ 9683 w 35707"/>
                <a:gd name="connsiteY12" fmla="*/ 15960 h 33914"/>
                <a:gd name="connsiteX13" fmla="*/ 9696 w 35707"/>
                <a:gd name="connsiteY13" fmla="*/ 16615 h 33914"/>
                <a:gd name="connsiteX14" fmla="*/ 18200 w 35707"/>
                <a:gd name="connsiteY14" fmla="*/ 26134 h 33914"/>
                <a:gd name="connsiteX15" fmla="*/ 18856 w 35707"/>
                <a:gd name="connsiteY15" fmla="*/ 26147 h 33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07" h="33914">
                  <a:moveTo>
                    <a:pt x="18856" y="-346"/>
                  </a:moveTo>
                  <a:cubicBezTo>
                    <a:pt x="29346" y="-346"/>
                    <a:pt x="36695" y="7003"/>
                    <a:pt x="36695" y="16349"/>
                  </a:cubicBezTo>
                  <a:cubicBezTo>
                    <a:pt x="36794" y="25759"/>
                    <a:pt x="29245" y="33470"/>
                    <a:pt x="19833" y="33568"/>
                  </a:cubicBezTo>
                  <a:cubicBezTo>
                    <a:pt x="19508" y="33571"/>
                    <a:pt x="19180" y="33565"/>
                    <a:pt x="18856" y="33550"/>
                  </a:cubicBezTo>
                  <a:cubicBezTo>
                    <a:pt x="9440" y="33991"/>
                    <a:pt x="1450" y="26717"/>
                    <a:pt x="1008" y="17300"/>
                  </a:cubicBezTo>
                  <a:cubicBezTo>
                    <a:pt x="992" y="16983"/>
                    <a:pt x="987" y="16666"/>
                    <a:pt x="989" y="16349"/>
                  </a:cubicBezTo>
                  <a:cubicBezTo>
                    <a:pt x="989" y="7003"/>
                    <a:pt x="8391" y="-346"/>
                    <a:pt x="18856" y="-346"/>
                  </a:cubicBezTo>
                  <a:moveTo>
                    <a:pt x="18856" y="26147"/>
                  </a:moveTo>
                  <a:cubicBezTo>
                    <a:pt x="23856" y="26214"/>
                    <a:pt x="27962" y="22215"/>
                    <a:pt x="28028" y="17214"/>
                  </a:cubicBezTo>
                  <a:cubicBezTo>
                    <a:pt x="28031" y="17015"/>
                    <a:pt x="28026" y="16815"/>
                    <a:pt x="28015" y="16615"/>
                  </a:cubicBezTo>
                  <a:cubicBezTo>
                    <a:pt x="28281" y="11623"/>
                    <a:pt x="24447" y="7360"/>
                    <a:pt x="19455" y="7096"/>
                  </a:cubicBezTo>
                  <a:cubicBezTo>
                    <a:pt x="19255" y="7086"/>
                    <a:pt x="19055" y="7080"/>
                    <a:pt x="18856" y="7083"/>
                  </a:cubicBezTo>
                  <a:cubicBezTo>
                    <a:pt x="13871" y="7001"/>
                    <a:pt x="9765" y="10976"/>
                    <a:pt x="9683" y="15960"/>
                  </a:cubicBezTo>
                  <a:cubicBezTo>
                    <a:pt x="9680" y="16179"/>
                    <a:pt x="9683" y="16397"/>
                    <a:pt x="9696" y="16615"/>
                  </a:cubicBezTo>
                  <a:cubicBezTo>
                    <a:pt x="9417" y="21592"/>
                    <a:pt x="13224" y="25855"/>
                    <a:pt x="18200" y="26134"/>
                  </a:cubicBezTo>
                  <a:cubicBezTo>
                    <a:pt x="18419" y="26147"/>
                    <a:pt x="18637" y="26150"/>
                    <a:pt x="18856" y="26147"/>
                  </a:cubicBezTo>
                </a:path>
              </a:pathLst>
            </a:custGeom>
            <a:solidFill>
              <a:srgbClr val="FFFFFF"/>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66" name="Freeform: Shape 65">
              <a:extLst>
                <a:ext uri="{FF2B5EF4-FFF2-40B4-BE49-F238E27FC236}">
                  <a16:creationId xmlns:a16="http://schemas.microsoft.com/office/drawing/2014/main" id="{E802361B-CDB8-452F-882C-8EA959968A23}"/>
                </a:ext>
              </a:extLst>
            </p:cNvPr>
            <p:cNvSpPr/>
            <p:nvPr/>
          </p:nvSpPr>
          <p:spPr>
            <a:xfrm>
              <a:off x="11719549" y="6750860"/>
              <a:ext cx="19630" cy="26558"/>
            </a:xfrm>
            <a:custGeom>
              <a:avLst/>
              <a:gdLst>
                <a:gd name="connsiteX0" fmla="*/ 994 w 34784"/>
                <a:gd name="connsiteY0" fmla="*/ 44632 h 47062"/>
                <a:gd name="connsiteX1" fmla="*/ 994 w 34784"/>
                <a:gd name="connsiteY1" fmla="*/ 2270 h 47062"/>
                <a:gd name="connsiteX2" fmla="*/ 2711 w 34784"/>
                <a:gd name="connsiteY2" fmla="*/ 270 h 47062"/>
                <a:gd name="connsiteX3" fmla="*/ 3018 w 34784"/>
                <a:gd name="connsiteY3" fmla="*/ 273 h 47062"/>
                <a:gd name="connsiteX4" fmla="*/ 5015 w 34784"/>
                <a:gd name="connsiteY4" fmla="*/ 273 h 47062"/>
                <a:gd name="connsiteX5" fmla="*/ 7278 w 34784"/>
                <a:gd name="connsiteY5" fmla="*/ 1897 h 47062"/>
                <a:gd name="connsiteX6" fmla="*/ 9594 w 34784"/>
                <a:gd name="connsiteY6" fmla="*/ 2589 h 47062"/>
                <a:gd name="connsiteX7" fmla="*/ 19206 w 34784"/>
                <a:gd name="connsiteY7" fmla="*/ -339 h 47062"/>
                <a:gd name="connsiteX8" fmla="*/ 35771 w 34784"/>
                <a:gd name="connsiteY8" fmla="*/ 16060 h 47062"/>
                <a:gd name="connsiteX9" fmla="*/ 35768 w 34784"/>
                <a:gd name="connsiteY9" fmla="*/ 16462 h 47062"/>
                <a:gd name="connsiteX10" fmla="*/ 19558 w 34784"/>
                <a:gd name="connsiteY10" fmla="*/ 33524 h 47062"/>
                <a:gd name="connsiteX11" fmla="*/ 19073 w 34784"/>
                <a:gd name="connsiteY11" fmla="*/ 33529 h 47062"/>
                <a:gd name="connsiteX12" fmla="*/ 11085 w 34784"/>
                <a:gd name="connsiteY12" fmla="*/ 31585 h 47062"/>
                <a:gd name="connsiteX13" fmla="*/ 9009 w 34784"/>
                <a:gd name="connsiteY13" fmla="*/ 32597 h 47062"/>
                <a:gd name="connsiteX14" fmla="*/ 9009 w 34784"/>
                <a:gd name="connsiteY14" fmla="*/ 44712 h 47062"/>
                <a:gd name="connsiteX15" fmla="*/ 7347 w 34784"/>
                <a:gd name="connsiteY15" fmla="*/ 46709 h 47062"/>
                <a:gd name="connsiteX16" fmla="*/ 7012 w 34784"/>
                <a:gd name="connsiteY16" fmla="*/ 46709 h 47062"/>
                <a:gd name="connsiteX17" fmla="*/ 3124 w 34784"/>
                <a:gd name="connsiteY17" fmla="*/ 46709 h 47062"/>
                <a:gd name="connsiteX18" fmla="*/ 1103 w 34784"/>
                <a:gd name="connsiteY18" fmla="*/ 45018 h 47062"/>
                <a:gd name="connsiteX19" fmla="*/ 1101 w 34784"/>
                <a:gd name="connsiteY19" fmla="*/ 44712 h 47062"/>
                <a:gd name="connsiteX20" fmla="*/ 10340 w 34784"/>
                <a:gd name="connsiteY20" fmla="*/ 22106 h 47062"/>
                <a:gd name="connsiteX21" fmla="*/ 18328 w 34784"/>
                <a:gd name="connsiteY21" fmla="*/ 26127 h 47062"/>
                <a:gd name="connsiteX22" fmla="*/ 27064 w 34784"/>
                <a:gd name="connsiteY22" fmla="*/ 16512 h 47062"/>
                <a:gd name="connsiteX23" fmla="*/ 27061 w 34784"/>
                <a:gd name="connsiteY23" fmla="*/ 16462 h 47062"/>
                <a:gd name="connsiteX24" fmla="*/ 18328 w 34784"/>
                <a:gd name="connsiteY24" fmla="*/ 7063 h 47062"/>
                <a:gd name="connsiteX25" fmla="*/ 10340 w 34784"/>
                <a:gd name="connsiteY25" fmla="*/ 11057 h 47062"/>
                <a:gd name="connsiteX26" fmla="*/ 9781 w 34784"/>
                <a:gd name="connsiteY26" fmla="*/ 13213 h 47062"/>
                <a:gd name="connsiteX27" fmla="*/ 9781 w 34784"/>
                <a:gd name="connsiteY27" fmla="*/ 19976 h 47062"/>
                <a:gd name="connsiteX28" fmla="*/ 10340 w 34784"/>
                <a:gd name="connsiteY28" fmla="*/ 22106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784" h="47062">
                  <a:moveTo>
                    <a:pt x="994" y="44632"/>
                  </a:moveTo>
                  <a:lnTo>
                    <a:pt x="994" y="2270"/>
                  </a:lnTo>
                  <a:cubicBezTo>
                    <a:pt x="917" y="1245"/>
                    <a:pt x="1686" y="348"/>
                    <a:pt x="2711" y="270"/>
                  </a:cubicBezTo>
                  <a:cubicBezTo>
                    <a:pt x="2813" y="262"/>
                    <a:pt x="2917" y="265"/>
                    <a:pt x="3018" y="273"/>
                  </a:cubicBezTo>
                  <a:lnTo>
                    <a:pt x="5015" y="273"/>
                  </a:lnTo>
                  <a:cubicBezTo>
                    <a:pt x="6064" y="190"/>
                    <a:pt x="7022" y="875"/>
                    <a:pt x="7278" y="1897"/>
                  </a:cubicBezTo>
                  <a:cubicBezTo>
                    <a:pt x="7597" y="3228"/>
                    <a:pt x="8529" y="3415"/>
                    <a:pt x="9594" y="2589"/>
                  </a:cubicBezTo>
                  <a:cubicBezTo>
                    <a:pt x="12393" y="592"/>
                    <a:pt x="15769" y="-435"/>
                    <a:pt x="19206" y="-339"/>
                  </a:cubicBezTo>
                  <a:cubicBezTo>
                    <a:pt x="28310" y="-385"/>
                    <a:pt x="35725" y="6956"/>
                    <a:pt x="35771" y="16060"/>
                  </a:cubicBezTo>
                  <a:cubicBezTo>
                    <a:pt x="35771" y="16193"/>
                    <a:pt x="35771" y="16329"/>
                    <a:pt x="35768" y="16462"/>
                  </a:cubicBezTo>
                  <a:cubicBezTo>
                    <a:pt x="36002" y="25650"/>
                    <a:pt x="28747" y="33289"/>
                    <a:pt x="19558" y="33524"/>
                  </a:cubicBezTo>
                  <a:cubicBezTo>
                    <a:pt x="19395" y="33529"/>
                    <a:pt x="19236" y="33529"/>
                    <a:pt x="19073" y="33529"/>
                  </a:cubicBezTo>
                  <a:cubicBezTo>
                    <a:pt x="16288" y="33580"/>
                    <a:pt x="13538" y="32909"/>
                    <a:pt x="11085" y="31585"/>
                  </a:cubicBezTo>
                  <a:cubicBezTo>
                    <a:pt x="9834" y="30840"/>
                    <a:pt x="9009" y="31213"/>
                    <a:pt x="9009" y="32597"/>
                  </a:cubicBezTo>
                  <a:lnTo>
                    <a:pt x="9009" y="44712"/>
                  </a:lnTo>
                  <a:cubicBezTo>
                    <a:pt x="9102" y="45721"/>
                    <a:pt x="8356" y="46616"/>
                    <a:pt x="7347" y="46709"/>
                  </a:cubicBezTo>
                  <a:cubicBezTo>
                    <a:pt x="7235" y="46720"/>
                    <a:pt x="7123" y="46720"/>
                    <a:pt x="7012" y="46709"/>
                  </a:cubicBezTo>
                  <a:lnTo>
                    <a:pt x="3124" y="46709"/>
                  </a:lnTo>
                  <a:cubicBezTo>
                    <a:pt x="2099" y="46799"/>
                    <a:pt x="1194" y="46043"/>
                    <a:pt x="1103" y="45018"/>
                  </a:cubicBezTo>
                  <a:cubicBezTo>
                    <a:pt x="1093" y="44917"/>
                    <a:pt x="1093" y="44813"/>
                    <a:pt x="1101" y="44712"/>
                  </a:cubicBezTo>
                  <a:moveTo>
                    <a:pt x="10340" y="22106"/>
                  </a:moveTo>
                  <a:cubicBezTo>
                    <a:pt x="12148" y="24716"/>
                    <a:pt x="15154" y="26231"/>
                    <a:pt x="18328" y="26127"/>
                  </a:cubicBezTo>
                  <a:cubicBezTo>
                    <a:pt x="23395" y="25885"/>
                    <a:pt x="27306" y="21579"/>
                    <a:pt x="27064" y="16512"/>
                  </a:cubicBezTo>
                  <a:cubicBezTo>
                    <a:pt x="27064" y="16496"/>
                    <a:pt x="27061" y="16478"/>
                    <a:pt x="27061" y="16462"/>
                  </a:cubicBezTo>
                  <a:cubicBezTo>
                    <a:pt x="27210" y="11467"/>
                    <a:pt x="23320" y="7278"/>
                    <a:pt x="18328" y="7063"/>
                  </a:cubicBezTo>
                  <a:cubicBezTo>
                    <a:pt x="15165" y="6972"/>
                    <a:pt x="12166" y="8471"/>
                    <a:pt x="10340" y="11057"/>
                  </a:cubicBezTo>
                  <a:cubicBezTo>
                    <a:pt x="9924" y="11696"/>
                    <a:pt x="9727" y="12452"/>
                    <a:pt x="9781" y="13213"/>
                  </a:cubicBezTo>
                  <a:lnTo>
                    <a:pt x="9781" y="19976"/>
                  </a:lnTo>
                  <a:cubicBezTo>
                    <a:pt x="9746" y="20727"/>
                    <a:pt x="9941" y="21470"/>
                    <a:pt x="10340" y="22106"/>
                  </a:cubicBezTo>
                </a:path>
              </a:pathLst>
            </a:custGeom>
            <a:solidFill>
              <a:srgbClr val="8FDB42"/>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67" name="Freeform: Shape 66">
              <a:extLst>
                <a:ext uri="{FF2B5EF4-FFF2-40B4-BE49-F238E27FC236}">
                  <a16:creationId xmlns:a16="http://schemas.microsoft.com/office/drawing/2014/main" id="{1C73266B-BD23-43E5-A913-9AA7CD19EB74}"/>
                </a:ext>
              </a:extLst>
            </p:cNvPr>
            <p:cNvSpPr/>
            <p:nvPr/>
          </p:nvSpPr>
          <p:spPr>
            <a:xfrm>
              <a:off x="11741806" y="6750833"/>
              <a:ext cx="20150" cy="19139"/>
            </a:xfrm>
            <a:custGeom>
              <a:avLst/>
              <a:gdLst>
                <a:gd name="connsiteX0" fmla="*/ 18882 w 35707"/>
                <a:gd name="connsiteY0" fmla="*/ -346 h 33914"/>
                <a:gd name="connsiteX1" fmla="*/ 36695 w 35707"/>
                <a:gd name="connsiteY1" fmla="*/ 16349 h 33914"/>
                <a:gd name="connsiteX2" fmla="*/ 19833 w 35707"/>
                <a:gd name="connsiteY2" fmla="*/ 33565 h 33914"/>
                <a:gd name="connsiteX3" fmla="*/ 18882 w 35707"/>
                <a:gd name="connsiteY3" fmla="*/ 33550 h 33914"/>
                <a:gd name="connsiteX4" fmla="*/ 1008 w 35707"/>
                <a:gd name="connsiteY4" fmla="*/ 17273 h 33914"/>
                <a:gd name="connsiteX5" fmla="*/ 989 w 35707"/>
                <a:gd name="connsiteY5" fmla="*/ 16349 h 33914"/>
                <a:gd name="connsiteX6" fmla="*/ 18882 w 35707"/>
                <a:gd name="connsiteY6" fmla="*/ -346 h 33914"/>
                <a:gd name="connsiteX7" fmla="*/ 18882 w 35707"/>
                <a:gd name="connsiteY7" fmla="*/ 26147 h 33914"/>
                <a:gd name="connsiteX8" fmla="*/ 28052 w 35707"/>
                <a:gd name="connsiteY8" fmla="*/ 17158 h 33914"/>
                <a:gd name="connsiteX9" fmla="*/ 28041 w 35707"/>
                <a:gd name="connsiteY9" fmla="*/ 16615 h 33914"/>
                <a:gd name="connsiteX10" fmla="*/ 19425 w 35707"/>
                <a:gd name="connsiteY10" fmla="*/ 7094 h 33914"/>
                <a:gd name="connsiteX11" fmla="*/ 18882 w 35707"/>
                <a:gd name="connsiteY11" fmla="*/ 7083 h 33914"/>
                <a:gd name="connsiteX12" fmla="*/ 9709 w 35707"/>
                <a:gd name="connsiteY12" fmla="*/ 15960 h 33914"/>
                <a:gd name="connsiteX13" fmla="*/ 9723 w 35707"/>
                <a:gd name="connsiteY13" fmla="*/ 16615 h 33914"/>
                <a:gd name="connsiteX14" fmla="*/ 18227 w 35707"/>
                <a:gd name="connsiteY14" fmla="*/ 26134 h 33914"/>
                <a:gd name="connsiteX15" fmla="*/ 18882 w 35707"/>
                <a:gd name="connsiteY15" fmla="*/ 26147 h 33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07" h="33914">
                  <a:moveTo>
                    <a:pt x="18882" y="-346"/>
                  </a:moveTo>
                  <a:cubicBezTo>
                    <a:pt x="29346" y="-346"/>
                    <a:pt x="36695" y="7003"/>
                    <a:pt x="36695" y="16349"/>
                  </a:cubicBezTo>
                  <a:cubicBezTo>
                    <a:pt x="36793" y="25759"/>
                    <a:pt x="29242" y="33467"/>
                    <a:pt x="19833" y="33565"/>
                  </a:cubicBezTo>
                  <a:cubicBezTo>
                    <a:pt x="19516" y="33568"/>
                    <a:pt x="19199" y="33563"/>
                    <a:pt x="18882" y="33550"/>
                  </a:cubicBezTo>
                  <a:cubicBezTo>
                    <a:pt x="9451" y="33991"/>
                    <a:pt x="1450" y="26704"/>
                    <a:pt x="1008" y="17273"/>
                  </a:cubicBezTo>
                  <a:cubicBezTo>
                    <a:pt x="992" y="16967"/>
                    <a:pt x="987" y="16658"/>
                    <a:pt x="989" y="16349"/>
                  </a:cubicBezTo>
                  <a:cubicBezTo>
                    <a:pt x="989" y="7003"/>
                    <a:pt x="8391" y="-346"/>
                    <a:pt x="18882" y="-346"/>
                  </a:cubicBezTo>
                  <a:moveTo>
                    <a:pt x="18882" y="26147"/>
                  </a:moveTo>
                  <a:cubicBezTo>
                    <a:pt x="23896" y="26198"/>
                    <a:pt x="28002" y="22175"/>
                    <a:pt x="28052" y="17158"/>
                  </a:cubicBezTo>
                  <a:cubicBezTo>
                    <a:pt x="28055" y="16977"/>
                    <a:pt x="28049" y="16796"/>
                    <a:pt x="28041" y="16615"/>
                  </a:cubicBezTo>
                  <a:cubicBezTo>
                    <a:pt x="28292" y="11607"/>
                    <a:pt x="24434" y="7344"/>
                    <a:pt x="19425" y="7094"/>
                  </a:cubicBezTo>
                  <a:cubicBezTo>
                    <a:pt x="19244" y="7086"/>
                    <a:pt x="19063" y="7080"/>
                    <a:pt x="18882" y="7083"/>
                  </a:cubicBezTo>
                  <a:cubicBezTo>
                    <a:pt x="13898" y="7001"/>
                    <a:pt x="9792" y="10976"/>
                    <a:pt x="9709" y="15960"/>
                  </a:cubicBezTo>
                  <a:cubicBezTo>
                    <a:pt x="9707" y="16179"/>
                    <a:pt x="9709" y="16397"/>
                    <a:pt x="9723" y="16615"/>
                  </a:cubicBezTo>
                  <a:cubicBezTo>
                    <a:pt x="9443" y="21592"/>
                    <a:pt x="13251" y="25855"/>
                    <a:pt x="18227" y="26134"/>
                  </a:cubicBezTo>
                  <a:cubicBezTo>
                    <a:pt x="18445" y="26147"/>
                    <a:pt x="18664" y="26150"/>
                    <a:pt x="18882" y="26147"/>
                  </a:cubicBezTo>
                </a:path>
              </a:pathLst>
            </a:custGeom>
            <a:solidFill>
              <a:srgbClr val="8FDB42"/>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68" name="Freeform: Shape 67">
              <a:extLst>
                <a:ext uri="{FF2B5EF4-FFF2-40B4-BE49-F238E27FC236}">
                  <a16:creationId xmlns:a16="http://schemas.microsoft.com/office/drawing/2014/main" id="{325DCC85-0FEE-4871-B84E-8F3CE0B34882}"/>
                </a:ext>
              </a:extLst>
            </p:cNvPr>
            <p:cNvSpPr/>
            <p:nvPr/>
          </p:nvSpPr>
          <p:spPr>
            <a:xfrm>
              <a:off x="11764305" y="6750833"/>
              <a:ext cx="16853" cy="19128"/>
            </a:xfrm>
            <a:custGeom>
              <a:avLst/>
              <a:gdLst>
                <a:gd name="connsiteX0" fmla="*/ 16288 w 29863"/>
                <a:gd name="connsiteY0" fmla="*/ -346 h 33895"/>
                <a:gd name="connsiteX1" fmla="*/ 30266 w 29863"/>
                <a:gd name="connsiteY1" fmla="*/ 9400 h 33895"/>
                <a:gd name="connsiteX2" fmla="*/ 28376 w 29863"/>
                <a:gd name="connsiteY2" fmla="*/ 11476 h 33895"/>
                <a:gd name="connsiteX3" fmla="*/ 24275 w 29863"/>
                <a:gd name="connsiteY3" fmla="*/ 11476 h 33895"/>
                <a:gd name="connsiteX4" fmla="*/ 22065 w 29863"/>
                <a:gd name="connsiteY4" fmla="*/ 9719 h 33895"/>
                <a:gd name="connsiteX5" fmla="*/ 16048 w 29863"/>
                <a:gd name="connsiteY5" fmla="*/ 6444 h 33895"/>
                <a:gd name="connsiteX6" fmla="*/ 10723 w 29863"/>
                <a:gd name="connsiteY6" fmla="*/ 9266 h 33895"/>
                <a:gd name="connsiteX7" fmla="*/ 30852 w 29863"/>
                <a:gd name="connsiteY7" fmla="*/ 23591 h 33895"/>
                <a:gd name="connsiteX8" fmla="*/ 16687 w 29863"/>
                <a:gd name="connsiteY8" fmla="*/ 33550 h 33895"/>
                <a:gd name="connsiteX9" fmla="*/ 1058 w 29863"/>
                <a:gd name="connsiteY9" fmla="*/ 23511 h 33895"/>
                <a:gd name="connsiteX10" fmla="*/ 2868 w 29863"/>
                <a:gd name="connsiteY10" fmla="*/ 21381 h 33895"/>
                <a:gd name="connsiteX11" fmla="*/ 7128 w 29863"/>
                <a:gd name="connsiteY11" fmla="*/ 21381 h 33895"/>
                <a:gd name="connsiteX12" fmla="*/ 9338 w 29863"/>
                <a:gd name="connsiteY12" fmla="*/ 23006 h 33895"/>
                <a:gd name="connsiteX13" fmla="*/ 16873 w 29863"/>
                <a:gd name="connsiteY13" fmla="*/ 26786 h 33895"/>
                <a:gd name="connsiteX14" fmla="*/ 22385 w 29863"/>
                <a:gd name="connsiteY14" fmla="*/ 23645 h 33895"/>
                <a:gd name="connsiteX15" fmla="*/ 2256 w 29863"/>
                <a:gd name="connsiteY15" fmla="*/ 9453 h 33895"/>
                <a:gd name="connsiteX16" fmla="*/ 16128 w 29863"/>
                <a:gd name="connsiteY16" fmla="*/ -346 h 3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863" h="33895">
                  <a:moveTo>
                    <a:pt x="16288" y="-346"/>
                  </a:moveTo>
                  <a:cubicBezTo>
                    <a:pt x="24275" y="-346"/>
                    <a:pt x="28962" y="3622"/>
                    <a:pt x="30266" y="9400"/>
                  </a:cubicBezTo>
                  <a:cubicBezTo>
                    <a:pt x="30586" y="10704"/>
                    <a:pt x="29760" y="11476"/>
                    <a:pt x="28376" y="11476"/>
                  </a:cubicBezTo>
                  <a:lnTo>
                    <a:pt x="24275" y="11476"/>
                  </a:lnTo>
                  <a:cubicBezTo>
                    <a:pt x="23077" y="11476"/>
                    <a:pt x="22518" y="10837"/>
                    <a:pt x="22065" y="9719"/>
                  </a:cubicBezTo>
                  <a:cubicBezTo>
                    <a:pt x="21320" y="7642"/>
                    <a:pt x="19403" y="6444"/>
                    <a:pt x="16048" y="6444"/>
                  </a:cubicBezTo>
                  <a:cubicBezTo>
                    <a:pt x="12693" y="6444"/>
                    <a:pt x="10723" y="7562"/>
                    <a:pt x="10723" y="9266"/>
                  </a:cubicBezTo>
                  <a:cubicBezTo>
                    <a:pt x="10723" y="15364"/>
                    <a:pt x="30852" y="10971"/>
                    <a:pt x="30852" y="23591"/>
                  </a:cubicBezTo>
                  <a:cubicBezTo>
                    <a:pt x="30852" y="29982"/>
                    <a:pt x="25021" y="33550"/>
                    <a:pt x="16687" y="33550"/>
                  </a:cubicBezTo>
                  <a:cubicBezTo>
                    <a:pt x="8353" y="33550"/>
                    <a:pt x="2362" y="29928"/>
                    <a:pt x="1058" y="23511"/>
                  </a:cubicBezTo>
                  <a:cubicBezTo>
                    <a:pt x="738" y="22127"/>
                    <a:pt x="1563" y="21381"/>
                    <a:pt x="2868" y="21381"/>
                  </a:cubicBezTo>
                  <a:lnTo>
                    <a:pt x="7128" y="21381"/>
                  </a:lnTo>
                  <a:cubicBezTo>
                    <a:pt x="8153" y="21344"/>
                    <a:pt x="9067" y="22018"/>
                    <a:pt x="9338" y="23006"/>
                  </a:cubicBezTo>
                  <a:cubicBezTo>
                    <a:pt x="10853" y="25673"/>
                    <a:pt x="13827" y="27165"/>
                    <a:pt x="16873" y="26786"/>
                  </a:cubicBezTo>
                  <a:cubicBezTo>
                    <a:pt x="20255" y="26786"/>
                    <a:pt x="22385" y="25721"/>
                    <a:pt x="22385" y="23645"/>
                  </a:cubicBezTo>
                  <a:cubicBezTo>
                    <a:pt x="22385" y="17494"/>
                    <a:pt x="2256" y="22127"/>
                    <a:pt x="2256" y="9453"/>
                  </a:cubicBezTo>
                  <a:cubicBezTo>
                    <a:pt x="2256" y="3808"/>
                    <a:pt x="7075" y="-346"/>
                    <a:pt x="16128" y="-346"/>
                  </a:cubicBezTo>
                </a:path>
              </a:pathLst>
            </a:custGeom>
            <a:solidFill>
              <a:srgbClr val="8FDB42"/>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69" name="Freeform: Shape 68">
              <a:extLst>
                <a:ext uri="{FF2B5EF4-FFF2-40B4-BE49-F238E27FC236}">
                  <a16:creationId xmlns:a16="http://schemas.microsoft.com/office/drawing/2014/main" id="{568C0A5D-8F7A-453C-9272-D302814010F2}"/>
                </a:ext>
              </a:extLst>
            </p:cNvPr>
            <p:cNvSpPr/>
            <p:nvPr/>
          </p:nvSpPr>
          <p:spPr>
            <a:xfrm>
              <a:off x="11784416" y="6742209"/>
              <a:ext cx="6552" cy="27380"/>
            </a:xfrm>
            <a:custGeom>
              <a:avLst/>
              <a:gdLst>
                <a:gd name="connsiteX0" fmla="*/ 1098 w 11611"/>
                <a:gd name="connsiteY0" fmla="*/ 5352 h 48518"/>
                <a:gd name="connsiteX1" fmla="*/ 6796 w 11611"/>
                <a:gd name="connsiteY1" fmla="*/ -346 h 48518"/>
                <a:gd name="connsiteX2" fmla="*/ 6876 w 11611"/>
                <a:gd name="connsiteY2" fmla="*/ -346 h 48518"/>
                <a:gd name="connsiteX3" fmla="*/ 12600 w 11611"/>
                <a:gd name="connsiteY3" fmla="*/ 5352 h 48518"/>
                <a:gd name="connsiteX4" fmla="*/ 6769 w 11611"/>
                <a:gd name="connsiteY4" fmla="*/ 11263 h 48518"/>
                <a:gd name="connsiteX5" fmla="*/ 989 w 11611"/>
                <a:gd name="connsiteY5" fmla="*/ 5488 h 48518"/>
                <a:gd name="connsiteX6" fmla="*/ 991 w 11611"/>
                <a:gd name="connsiteY6" fmla="*/ 5352 h 48518"/>
                <a:gd name="connsiteX7" fmla="*/ 10710 w 11611"/>
                <a:gd name="connsiteY7" fmla="*/ 17521 h 48518"/>
                <a:gd name="connsiteX8" fmla="*/ 10710 w 11611"/>
                <a:gd name="connsiteY8" fmla="*/ 46144 h 48518"/>
                <a:gd name="connsiteX9" fmla="*/ 9019 w 11611"/>
                <a:gd name="connsiteY9" fmla="*/ 48165 h 48518"/>
                <a:gd name="connsiteX10" fmla="*/ 8713 w 11611"/>
                <a:gd name="connsiteY10" fmla="*/ 48167 h 48518"/>
                <a:gd name="connsiteX11" fmla="*/ 4000 w 11611"/>
                <a:gd name="connsiteY11" fmla="*/ 48167 h 48518"/>
                <a:gd name="connsiteX12" fmla="*/ 2001 w 11611"/>
                <a:gd name="connsiteY12" fmla="*/ 46450 h 48518"/>
                <a:gd name="connsiteX13" fmla="*/ 2003 w 11611"/>
                <a:gd name="connsiteY13" fmla="*/ 46144 h 48518"/>
                <a:gd name="connsiteX14" fmla="*/ 2003 w 11611"/>
                <a:gd name="connsiteY14" fmla="*/ 17600 h 48518"/>
                <a:gd name="connsiteX15" fmla="*/ 3665 w 11611"/>
                <a:gd name="connsiteY15" fmla="*/ 15603 h 48518"/>
                <a:gd name="connsiteX16" fmla="*/ 4000 w 11611"/>
                <a:gd name="connsiteY16" fmla="*/ 15603 h 48518"/>
                <a:gd name="connsiteX17" fmla="*/ 8713 w 11611"/>
                <a:gd name="connsiteY17" fmla="*/ 15603 h 48518"/>
                <a:gd name="connsiteX18" fmla="*/ 10710 w 11611"/>
                <a:gd name="connsiteY18" fmla="*/ 17265 h 48518"/>
                <a:gd name="connsiteX19" fmla="*/ 10710 w 11611"/>
                <a:gd name="connsiteY19" fmla="*/ 17600 h 48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11" h="48518">
                  <a:moveTo>
                    <a:pt x="1098" y="5352"/>
                  </a:moveTo>
                  <a:cubicBezTo>
                    <a:pt x="1098" y="2205"/>
                    <a:pt x="3649" y="-346"/>
                    <a:pt x="6796" y="-346"/>
                  </a:cubicBezTo>
                  <a:cubicBezTo>
                    <a:pt x="6823" y="-346"/>
                    <a:pt x="6849" y="-346"/>
                    <a:pt x="6876" y="-346"/>
                  </a:cubicBezTo>
                  <a:cubicBezTo>
                    <a:pt x="10004" y="-290"/>
                    <a:pt x="12529" y="2224"/>
                    <a:pt x="12600" y="5352"/>
                  </a:cubicBezTo>
                  <a:cubicBezTo>
                    <a:pt x="12600" y="8585"/>
                    <a:pt x="10002" y="11221"/>
                    <a:pt x="6769" y="11263"/>
                  </a:cubicBezTo>
                  <a:cubicBezTo>
                    <a:pt x="3579" y="11263"/>
                    <a:pt x="991" y="8678"/>
                    <a:pt x="989" y="5488"/>
                  </a:cubicBezTo>
                  <a:cubicBezTo>
                    <a:pt x="989" y="5443"/>
                    <a:pt x="991" y="5398"/>
                    <a:pt x="991" y="5352"/>
                  </a:cubicBezTo>
                  <a:moveTo>
                    <a:pt x="10710" y="17521"/>
                  </a:moveTo>
                  <a:lnTo>
                    <a:pt x="10710" y="46144"/>
                  </a:lnTo>
                  <a:cubicBezTo>
                    <a:pt x="10800" y="47169"/>
                    <a:pt x="10044" y="48074"/>
                    <a:pt x="9019" y="48165"/>
                  </a:cubicBezTo>
                  <a:cubicBezTo>
                    <a:pt x="8918" y="48175"/>
                    <a:pt x="8814" y="48175"/>
                    <a:pt x="8713" y="48167"/>
                  </a:cubicBezTo>
                  <a:lnTo>
                    <a:pt x="4000" y="48167"/>
                  </a:lnTo>
                  <a:cubicBezTo>
                    <a:pt x="2975" y="48244"/>
                    <a:pt x="2078" y="47475"/>
                    <a:pt x="2001" y="46450"/>
                  </a:cubicBezTo>
                  <a:cubicBezTo>
                    <a:pt x="1993" y="46349"/>
                    <a:pt x="1995" y="46245"/>
                    <a:pt x="2003" y="46144"/>
                  </a:cubicBezTo>
                  <a:lnTo>
                    <a:pt x="2003" y="17600"/>
                  </a:lnTo>
                  <a:cubicBezTo>
                    <a:pt x="1910" y="16591"/>
                    <a:pt x="2656" y="15697"/>
                    <a:pt x="3665" y="15603"/>
                  </a:cubicBezTo>
                  <a:cubicBezTo>
                    <a:pt x="3776" y="15593"/>
                    <a:pt x="3888" y="15593"/>
                    <a:pt x="4000" y="15603"/>
                  </a:cubicBezTo>
                  <a:lnTo>
                    <a:pt x="8713" y="15603"/>
                  </a:lnTo>
                  <a:cubicBezTo>
                    <a:pt x="9722" y="15510"/>
                    <a:pt x="10617" y="16256"/>
                    <a:pt x="10710" y="17265"/>
                  </a:cubicBezTo>
                  <a:cubicBezTo>
                    <a:pt x="10721" y="17377"/>
                    <a:pt x="10721" y="17489"/>
                    <a:pt x="10710" y="17600"/>
                  </a:cubicBezTo>
                </a:path>
              </a:pathLst>
            </a:custGeom>
            <a:solidFill>
              <a:srgbClr val="8FDB42"/>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70" name="Freeform: Shape 69">
              <a:extLst>
                <a:ext uri="{FF2B5EF4-FFF2-40B4-BE49-F238E27FC236}">
                  <a16:creationId xmlns:a16="http://schemas.microsoft.com/office/drawing/2014/main" id="{08FB834E-2847-4D99-B01B-6FC54DA416FA}"/>
                </a:ext>
              </a:extLst>
            </p:cNvPr>
            <p:cNvSpPr/>
            <p:nvPr/>
          </p:nvSpPr>
          <p:spPr>
            <a:xfrm>
              <a:off x="11793381" y="6746197"/>
              <a:ext cx="13675" cy="23794"/>
            </a:xfrm>
            <a:custGeom>
              <a:avLst/>
              <a:gdLst>
                <a:gd name="connsiteX0" fmla="*/ 1029 w 24233"/>
                <a:gd name="connsiteY0" fmla="*/ 13782 h 42164"/>
                <a:gd name="connsiteX1" fmla="*/ 1029 w 24233"/>
                <a:gd name="connsiteY1" fmla="*/ 10533 h 42164"/>
                <a:gd name="connsiteX2" fmla="*/ 2608 w 24233"/>
                <a:gd name="connsiteY2" fmla="*/ 8518 h 42164"/>
                <a:gd name="connsiteX3" fmla="*/ 2972 w 24233"/>
                <a:gd name="connsiteY3" fmla="*/ 8510 h 42164"/>
                <a:gd name="connsiteX4" fmla="*/ 5049 w 24233"/>
                <a:gd name="connsiteY4" fmla="*/ 8510 h 42164"/>
                <a:gd name="connsiteX5" fmla="*/ 5741 w 24233"/>
                <a:gd name="connsiteY5" fmla="*/ 7817 h 42164"/>
                <a:gd name="connsiteX6" fmla="*/ 5741 w 24233"/>
                <a:gd name="connsiteY6" fmla="*/ 3105 h 42164"/>
                <a:gd name="connsiteX7" fmla="*/ 7419 w 24233"/>
                <a:gd name="connsiteY7" fmla="*/ 921 h 42164"/>
                <a:gd name="connsiteX8" fmla="*/ 11892 w 24233"/>
                <a:gd name="connsiteY8" fmla="*/ -224 h 42164"/>
                <a:gd name="connsiteX9" fmla="*/ 14043 w 24233"/>
                <a:gd name="connsiteY9" fmla="*/ 684 h 42164"/>
                <a:gd name="connsiteX10" fmla="*/ 14155 w 24233"/>
                <a:gd name="connsiteY10" fmla="*/ 1480 h 42164"/>
                <a:gd name="connsiteX11" fmla="*/ 14155 w 24233"/>
                <a:gd name="connsiteY11" fmla="*/ 7871 h 42164"/>
                <a:gd name="connsiteX12" fmla="*/ 14794 w 24233"/>
                <a:gd name="connsiteY12" fmla="*/ 8563 h 42164"/>
                <a:gd name="connsiteX13" fmla="*/ 14848 w 24233"/>
                <a:gd name="connsiteY13" fmla="*/ 8563 h 42164"/>
                <a:gd name="connsiteX14" fmla="*/ 22835 w 24233"/>
                <a:gd name="connsiteY14" fmla="*/ 8563 h 42164"/>
                <a:gd name="connsiteX15" fmla="*/ 24859 w 24233"/>
                <a:gd name="connsiteY15" fmla="*/ 10251 h 42164"/>
                <a:gd name="connsiteX16" fmla="*/ 24859 w 24233"/>
                <a:gd name="connsiteY16" fmla="*/ 10587 h 42164"/>
                <a:gd name="connsiteX17" fmla="*/ 24859 w 24233"/>
                <a:gd name="connsiteY17" fmla="*/ 13888 h 42164"/>
                <a:gd name="connsiteX18" fmla="*/ 23171 w 24233"/>
                <a:gd name="connsiteY18" fmla="*/ 15912 h 42164"/>
                <a:gd name="connsiteX19" fmla="*/ 22835 w 24233"/>
                <a:gd name="connsiteY19" fmla="*/ 15912 h 42164"/>
                <a:gd name="connsiteX20" fmla="*/ 14848 w 24233"/>
                <a:gd name="connsiteY20" fmla="*/ 15912 h 42164"/>
                <a:gd name="connsiteX21" fmla="*/ 14150 w 24233"/>
                <a:gd name="connsiteY21" fmla="*/ 16545 h 42164"/>
                <a:gd name="connsiteX22" fmla="*/ 14155 w 24233"/>
                <a:gd name="connsiteY22" fmla="*/ 16657 h 42164"/>
                <a:gd name="connsiteX23" fmla="*/ 14155 w 24233"/>
                <a:gd name="connsiteY23" fmla="*/ 30157 h 42164"/>
                <a:gd name="connsiteX24" fmla="*/ 17590 w 24233"/>
                <a:gd name="connsiteY24" fmla="*/ 34177 h 42164"/>
                <a:gd name="connsiteX25" fmla="*/ 22436 w 24233"/>
                <a:gd name="connsiteY25" fmla="*/ 33485 h 42164"/>
                <a:gd name="connsiteX26" fmla="*/ 24683 w 24233"/>
                <a:gd name="connsiteY26" fmla="*/ 34454 h 42164"/>
                <a:gd name="connsiteX27" fmla="*/ 24806 w 24233"/>
                <a:gd name="connsiteY27" fmla="*/ 35109 h 42164"/>
                <a:gd name="connsiteX28" fmla="*/ 25178 w 24233"/>
                <a:gd name="connsiteY28" fmla="*/ 38384 h 42164"/>
                <a:gd name="connsiteX29" fmla="*/ 23639 w 24233"/>
                <a:gd name="connsiteY29" fmla="*/ 40754 h 42164"/>
                <a:gd name="connsiteX30" fmla="*/ 23634 w 24233"/>
                <a:gd name="connsiteY30" fmla="*/ 40754 h 42164"/>
                <a:gd name="connsiteX31" fmla="*/ 15966 w 24233"/>
                <a:gd name="connsiteY31" fmla="*/ 41819 h 42164"/>
                <a:gd name="connsiteX32" fmla="*/ 5315 w 24233"/>
                <a:gd name="connsiteY32" fmla="*/ 30343 h 42164"/>
                <a:gd name="connsiteX33" fmla="*/ 5315 w 24233"/>
                <a:gd name="connsiteY33" fmla="*/ 16657 h 42164"/>
                <a:gd name="connsiteX34" fmla="*/ 4703 w 24233"/>
                <a:gd name="connsiteY34" fmla="*/ 15859 h 42164"/>
                <a:gd name="connsiteX35" fmla="*/ 2946 w 24233"/>
                <a:gd name="connsiteY35" fmla="*/ 15859 h 42164"/>
                <a:gd name="connsiteX36" fmla="*/ 994 w 24233"/>
                <a:gd name="connsiteY36" fmla="*/ 14200 h 42164"/>
                <a:gd name="connsiteX37" fmla="*/ 1002 w 24233"/>
                <a:gd name="connsiteY37" fmla="*/ 13835 h 42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233" h="42164">
                  <a:moveTo>
                    <a:pt x="1029" y="13782"/>
                  </a:moveTo>
                  <a:lnTo>
                    <a:pt x="1029" y="10533"/>
                  </a:lnTo>
                  <a:cubicBezTo>
                    <a:pt x="909" y="9540"/>
                    <a:pt x="1614" y="8637"/>
                    <a:pt x="2608" y="8518"/>
                  </a:cubicBezTo>
                  <a:cubicBezTo>
                    <a:pt x="2727" y="8502"/>
                    <a:pt x="2850" y="8499"/>
                    <a:pt x="2972" y="8510"/>
                  </a:cubicBezTo>
                  <a:lnTo>
                    <a:pt x="5049" y="8510"/>
                  </a:lnTo>
                  <a:cubicBezTo>
                    <a:pt x="5432" y="8510"/>
                    <a:pt x="5741" y="8201"/>
                    <a:pt x="5741" y="7817"/>
                  </a:cubicBezTo>
                  <a:lnTo>
                    <a:pt x="5741" y="3105"/>
                  </a:lnTo>
                  <a:cubicBezTo>
                    <a:pt x="5630" y="2045"/>
                    <a:pt x="6367" y="1086"/>
                    <a:pt x="7419" y="921"/>
                  </a:cubicBezTo>
                  <a:lnTo>
                    <a:pt x="11892" y="-224"/>
                  </a:lnTo>
                  <a:cubicBezTo>
                    <a:pt x="12736" y="-567"/>
                    <a:pt x="13700" y="-160"/>
                    <a:pt x="14043" y="684"/>
                  </a:cubicBezTo>
                  <a:cubicBezTo>
                    <a:pt x="14145" y="937"/>
                    <a:pt x="14184" y="1209"/>
                    <a:pt x="14155" y="1480"/>
                  </a:cubicBezTo>
                  <a:lnTo>
                    <a:pt x="14155" y="7871"/>
                  </a:lnTo>
                  <a:cubicBezTo>
                    <a:pt x="14139" y="8238"/>
                    <a:pt x="14427" y="8547"/>
                    <a:pt x="14794" y="8563"/>
                  </a:cubicBezTo>
                  <a:cubicBezTo>
                    <a:pt x="14810" y="8563"/>
                    <a:pt x="14829" y="8563"/>
                    <a:pt x="14848" y="8563"/>
                  </a:cubicBezTo>
                  <a:lnTo>
                    <a:pt x="22835" y="8563"/>
                  </a:lnTo>
                  <a:cubicBezTo>
                    <a:pt x="23861" y="8470"/>
                    <a:pt x="24766" y="9226"/>
                    <a:pt x="24859" y="10251"/>
                  </a:cubicBezTo>
                  <a:cubicBezTo>
                    <a:pt x="24870" y="10363"/>
                    <a:pt x="24870" y="10475"/>
                    <a:pt x="24859" y="10587"/>
                  </a:cubicBezTo>
                  <a:lnTo>
                    <a:pt x="24859" y="13888"/>
                  </a:lnTo>
                  <a:cubicBezTo>
                    <a:pt x="24952" y="14913"/>
                    <a:pt x="24196" y="15819"/>
                    <a:pt x="23171" y="15912"/>
                  </a:cubicBezTo>
                  <a:cubicBezTo>
                    <a:pt x="23059" y="15922"/>
                    <a:pt x="22947" y="15922"/>
                    <a:pt x="22835" y="15912"/>
                  </a:cubicBezTo>
                  <a:lnTo>
                    <a:pt x="14848" y="15912"/>
                  </a:lnTo>
                  <a:cubicBezTo>
                    <a:pt x="14480" y="15893"/>
                    <a:pt x="14169" y="16178"/>
                    <a:pt x="14150" y="16545"/>
                  </a:cubicBezTo>
                  <a:cubicBezTo>
                    <a:pt x="14150" y="16583"/>
                    <a:pt x="14150" y="16620"/>
                    <a:pt x="14155" y="16657"/>
                  </a:cubicBezTo>
                  <a:lnTo>
                    <a:pt x="14155" y="30157"/>
                  </a:lnTo>
                  <a:cubicBezTo>
                    <a:pt x="14155" y="32819"/>
                    <a:pt x="15034" y="34177"/>
                    <a:pt x="17590" y="34177"/>
                  </a:cubicBezTo>
                  <a:cubicBezTo>
                    <a:pt x="19230" y="34175"/>
                    <a:pt x="20860" y="33940"/>
                    <a:pt x="22436" y="33485"/>
                  </a:cubicBezTo>
                  <a:cubicBezTo>
                    <a:pt x="23325" y="33131"/>
                    <a:pt x="24332" y="33565"/>
                    <a:pt x="24683" y="34454"/>
                  </a:cubicBezTo>
                  <a:cubicBezTo>
                    <a:pt x="24766" y="34662"/>
                    <a:pt x="24808" y="34886"/>
                    <a:pt x="24806" y="35109"/>
                  </a:cubicBezTo>
                  <a:lnTo>
                    <a:pt x="25178" y="38384"/>
                  </a:lnTo>
                  <a:cubicBezTo>
                    <a:pt x="25407" y="39463"/>
                    <a:pt x="24718" y="40522"/>
                    <a:pt x="23639" y="40754"/>
                  </a:cubicBezTo>
                  <a:cubicBezTo>
                    <a:pt x="23639" y="40754"/>
                    <a:pt x="23637" y="40754"/>
                    <a:pt x="23634" y="40754"/>
                  </a:cubicBezTo>
                  <a:cubicBezTo>
                    <a:pt x="21139" y="41462"/>
                    <a:pt x="18559" y="41822"/>
                    <a:pt x="15966" y="41819"/>
                  </a:cubicBezTo>
                  <a:cubicBezTo>
                    <a:pt x="10241" y="41819"/>
                    <a:pt x="5315" y="38943"/>
                    <a:pt x="5315" y="30343"/>
                  </a:cubicBezTo>
                  <a:lnTo>
                    <a:pt x="5315" y="16657"/>
                  </a:lnTo>
                  <a:cubicBezTo>
                    <a:pt x="5363" y="16269"/>
                    <a:pt x="5092" y="15914"/>
                    <a:pt x="4703" y="15859"/>
                  </a:cubicBezTo>
                  <a:lnTo>
                    <a:pt x="2946" y="15859"/>
                  </a:lnTo>
                  <a:cubicBezTo>
                    <a:pt x="1950" y="15938"/>
                    <a:pt x="1076" y="15198"/>
                    <a:pt x="994" y="14200"/>
                  </a:cubicBezTo>
                  <a:cubicBezTo>
                    <a:pt x="986" y="14080"/>
                    <a:pt x="986" y="13957"/>
                    <a:pt x="1002" y="13835"/>
                  </a:cubicBezTo>
                </a:path>
              </a:pathLst>
            </a:custGeom>
            <a:solidFill>
              <a:srgbClr val="8FDB42"/>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71" name="Freeform: Shape 70">
              <a:extLst>
                <a:ext uri="{FF2B5EF4-FFF2-40B4-BE49-F238E27FC236}">
                  <a16:creationId xmlns:a16="http://schemas.microsoft.com/office/drawing/2014/main" id="{293148A2-D46E-44D1-9B03-26C03A4492B4}"/>
                </a:ext>
              </a:extLst>
            </p:cNvPr>
            <p:cNvSpPr/>
            <p:nvPr/>
          </p:nvSpPr>
          <p:spPr>
            <a:xfrm>
              <a:off x="11809766" y="6742209"/>
              <a:ext cx="6552" cy="27380"/>
            </a:xfrm>
            <a:custGeom>
              <a:avLst/>
              <a:gdLst>
                <a:gd name="connsiteX0" fmla="*/ 991 w 11611"/>
                <a:gd name="connsiteY0" fmla="*/ 5352 h 48518"/>
                <a:gd name="connsiteX1" fmla="*/ 6689 w 11611"/>
                <a:gd name="connsiteY1" fmla="*/ -346 h 48518"/>
                <a:gd name="connsiteX2" fmla="*/ 6769 w 11611"/>
                <a:gd name="connsiteY2" fmla="*/ -346 h 48518"/>
                <a:gd name="connsiteX3" fmla="*/ 12600 w 11611"/>
                <a:gd name="connsiteY3" fmla="*/ 5352 h 48518"/>
                <a:gd name="connsiteX4" fmla="*/ 6769 w 11611"/>
                <a:gd name="connsiteY4" fmla="*/ 11263 h 48518"/>
                <a:gd name="connsiteX5" fmla="*/ 989 w 11611"/>
                <a:gd name="connsiteY5" fmla="*/ 5488 h 48518"/>
                <a:gd name="connsiteX6" fmla="*/ 991 w 11611"/>
                <a:gd name="connsiteY6" fmla="*/ 5352 h 48518"/>
                <a:gd name="connsiteX7" fmla="*/ 10710 w 11611"/>
                <a:gd name="connsiteY7" fmla="*/ 17521 h 48518"/>
                <a:gd name="connsiteX8" fmla="*/ 10710 w 11611"/>
                <a:gd name="connsiteY8" fmla="*/ 46144 h 48518"/>
                <a:gd name="connsiteX9" fmla="*/ 9019 w 11611"/>
                <a:gd name="connsiteY9" fmla="*/ 48165 h 48518"/>
                <a:gd name="connsiteX10" fmla="*/ 8713 w 11611"/>
                <a:gd name="connsiteY10" fmla="*/ 48167 h 48518"/>
                <a:gd name="connsiteX11" fmla="*/ 4000 w 11611"/>
                <a:gd name="connsiteY11" fmla="*/ 48167 h 48518"/>
                <a:gd name="connsiteX12" fmla="*/ 2001 w 11611"/>
                <a:gd name="connsiteY12" fmla="*/ 46450 h 48518"/>
                <a:gd name="connsiteX13" fmla="*/ 2003 w 11611"/>
                <a:gd name="connsiteY13" fmla="*/ 46144 h 48518"/>
                <a:gd name="connsiteX14" fmla="*/ 2003 w 11611"/>
                <a:gd name="connsiteY14" fmla="*/ 17600 h 48518"/>
                <a:gd name="connsiteX15" fmla="*/ 3665 w 11611"/>
                <a:gd name="connsiteY15" fmla="*/ 15603 h 48518"/>
                <a:gd name="connsiteX16" fmla="*/ 4000 w 11611"/>
                <a:gd name="connsiteY16" fmla="*/ 15603 h 48518"/>
                <a:gd name="connsiteX17" fmla="*/ 8713 w 11611"/>
                <a:gd name="connsiteY17" fmla="*/ 15603 h 48518"/>
                <a:gd name="connsiteX18" fmla="*/ 10710 w 11611"/>
                <a:gd name="connsiteY18" fmla="*/ 17265 h 48518"/>
                <a:gd name="connsiteX19" fmla="*/ 10710 w 11611"/>
                <a:gd name="connsiteY19" fmla="*/ 17600 h 48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11" h="48518">
                  <a:moveTo>
                    <a:pt x="991" y="5352"/>
                  </a:moveTo>
                  <a:cubicBezTo>
                    <a:pt x="991" y="2205"/>
                    <a:pt x="3542" y="-346"/>
                    <a:pt x="6689" y="-346"/>
                  </a:cubicBezTo>
                  <a:cubicBezTo>
                    <a:pt x="6716" y="-346"/>
                    <a:pt x="6743" y="-346"/>
                    <a:pt x="6769" y="-346"/>
                  </a:cubicBezTo>
                  <a:cubicBezTo>
                    <a:pt x="9938" y="-346"/>
                    <a:pt x="12529" y="2184"/>
                    <a:pt x="12600" y="5352"/>
                  </a:cubicBezTo>
                  <a:cubicBezTo>
                    <a:pt x="12600" y="8585"/>
                    <a:pt x="10002" y="11221"/>
                    <a:pt x="6769" y="11263"/>
                  </a:cubicBezTo>
                  <a:cubicBezTo>
                    <a:pt x="3579" y="11263"/>
                    <a:pt x="991" y="8678"/>
                    <a:pt x="989" y="5488"/>
                  </a:cubicBezTo>
                  <a:cubicBezTo>
                    <a:pt x="989" y="5443"/>
                    <a:pt x="991" y="5398"/>
                    <a:pt x="991" y="5352"/>
                  </a:cubicBezTo>
                  <a:moveTo>
                    <a:pt x="10710" y="17521"/>
                  </a:moveTo>
                  <a:lnTo>
                    <a:pt x="10710" y="46144"/>
                  </a:lnTo>
                  <a:cubicBezTo>
                    <a:pt x="10800" y="47169"/>
                    <a:pt x="10044" y="48074"/>
                    <a:pt x="9019" y="48165"/>
                  </a:cubicBezTo>
                  <a:cubicBezTo>
                    <a:pt x="8918" y="48175"/>
                    <a:pt x="8814" y="48175"/>
                    <a:pt x="8713" y="48167"/>
                  </a:cubicBezTo>
                  <a:lnTo>
                    <a:pt x="4000" y="48167"/>
                  </a:lnTo>
                  <a:cubicBezTo>
                    <a:pt x="2975" y="48244"/>
                    <a:pt x="2078" y="47475"/>
                    <a:pt x="2001" y="46450"/>
                  </a:cubicBezTo>
                  <a:cubicBezTo>
                    <a:pt x="1993" y="46349"/>
                    <a:pt x="1995" y="46245"/>
                    <a:pt x="2003" y="46144"/>
                  </a:cubicBezTo>
                  <a:lnTo>
                    <a:pt x="2003" y="17600"/>
                  </a:lnTo>
                  <a:cubicBezTo>
                    <a:pt x="1910" y="16591"/>
                    <a:pt x="2656" y="15697"/>
                    <a:pt x="3665" y="15603"/>
                  </a:cubicBezTo>
                  <a:cubicBezTo>
                    <a:pt x="3777" y="15593"/>
                    <a:pt x="3888" y="15593"/>
                    <a:pt x="4000" y="15603"/>
                  </a:cubicBezTo>
                  <a:lnTo>
                    <a:pt x="8713" y="15603"/>
                  </a:lnTo>
                  <a:cubicBezTo>
                    <a:pt x="9722" y="15510"/>
                    <a:pt x="10617" y="16256"/>
                    <a:pt x="10710" y="17265"/>
                  </a:cubicBezTo>
                  <a:cubicBezTo>
                    <a:pt x="10721" y="17377"/>
                    <a:pt x="10721" y="17489"/>
                    <a:pt x="10710" y="17600"/>
                  </a:cubicBezTo>
                </a:path>
              </a:pathLst>
            </a:custGeom>
            <a:solidFill>
              <a:srgbClr val="8FDB42"/>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72" name="Freeform: Shape 71">
              <a:extLst>
                <a:ext uri="{FF2B5EF4-FFF2-40B4-BE49-F238E27FC236}">
                  <a16:creationId xmlns:a16="http://schemas.microsoft.com/office/drawing/2014/main" id="{A523A0B3-DE7C-4721-B8D8-DA5E3252757B}"/>
                </a:ext>
              </a:extLst>
            </p:cNvPr>
            <p:cNvSpPr/>
            <p:nvPr/>
          </p:nvSpPr>
          <p:spPr>
            <a:xfrm>
              <a:off x="11818135" y="6751161"/>
              <a:ext cx="19391" cy="18427"/>
            </a:xfrm>
            <a:custGeom>
              <a:avLst/>
              <a:gdLst>
                <a:gd name="connsiteX0" fmla="*/ 3041 w 34361"/>
                <a:gd name="connsiteY0" fmla="*/ -340 h 32653"/>
                <a:gd name="connsiteX1" fmla="*/ 8766 w 34361"/>
                <a:gd name="connsiteY1" fmla="*/ -340 h 32653"/>
                <a:gd name="connsiteX2" fmla="*/ 11029 w 34361"/>
                <a:gd name="connsiteY2" fmla="*/ 1364 h 32653"/>
                <a:gd name="connsiteX3" fmla="*/ 17606 w 34361"/>
                <a:gd name="connsiteY3" fmla="*/ 22665 h 32653"/>
                <a:gd name="connsiteX4" fmla="*/ 19257 w 34361"/>
                <a:gd name="connsiteY4" fmla="*/ 22665 h 32653"/>
                <a:gd name="connsiteX5" fmla="*/ 26020 w 34361"/>
                <a:gd name="connsiteY5" fmla="*/ 1364 h 32653"/>
                <a:gd name="connsiteX6" fmla="*/ 28230 w 34361"/>
                <a:gd name="connsiteY6" fmla="*/ -340 h 32653"/>
                <a:gd name="connsiteX7" fmla="*/ 33555 w 34361"/>
                <a:gd name="connsiteY7" fmla="*/ -340 h 32653"/>
                <a:gd name="connsiteX8" fmla="*/ 35179 w 34361"/>
                <a:gd name="connsiteY8" fmla="*/ 1976 h 32653"/>
                <a:gd name="connsiteX9" fmla="*/ 23623 w 34361"/>
                <a:gd name="connsiteY9" fmla="*/ 30546 h 32653"/>
                <a:gd name="connsiteX10" fmla="*/ 20961 w 34361"/>
                <a:gd name="connsiteY10" fmla="*/ 32304 h 32653"/>
                <a:gd name="connsiteX11" fmla="*/ 15130 w 34361"/>
                <a:gd name="connsiteY11" fmla="*/ 32304 h 32653"/>
                <a:gd name="connsiteX12" fmla="*/ 12467 w 34361"/>
                <a:gd name="connsiteY12" fmla="*/ 30546 h 32653"/>
                <a:gd name="connsiteX13" fmla="*/ 1178 w 34361"/>
                <a:gd name="connsiteY13" fmla="*/ 1923 h 32653"/>
                <a:gd name="connsiteX14" fmla="*/ 2748 w 34361"/>
                <a:gd name="connsiteY14" fmla="*/ -340 h 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361" h="32653">
                  <a:moveTo>
                    <a:pt x="3041" y="-340"/>
                  </a:moveTo>
                  <a:lnTo>
                    <a:pt x="8766" y="-340"/>
                  </a:lnTo>
                  <a:cubicBezTo>
                    <a:pt x="9839" y="-417"/>
                    <a:pt x="10806" y="310"/>
                    <a:pt x="11029" y="1364"/>
                  </a:cubicBezTo>
                  <a:lnTo>
                    <a:pt x="17606" y="22665"/>
                  </a:lnTo>
                  <a:cubicBezTo>
                    <a:pt x="18005" y="23757"/>
                    <a:pt x="18884" y="23757"/>
                    <a:pt x="19257" y="22665"/>
                  </a:cubicBezTo>
                  <a:lnTo>
                    <a:pt x="26020" y="1364"/>
                  </a:lnTo>
                  <a:cubicBezTo>
                    <a:pt x="26230" y="326"/>
                    <a:pt x="27173" y="-401"/>
                    <a:pt x="28230" y="-340"/>
                  </a:cubicBezTo>
                  <a:lnTo>
                    <a:pt x="33555" y="-340"/>
                  </a:lnTo>
                  <a:cubicBezTo>
                    <a:pt x="35046" y="-340"/>
                    <a:pt x="35685" y="592"/>
                    <a:pt x="35179" y="1976"/>
                  </a:cubicBezTo>
                  <a:lnTo>
                    <a:pt x="23623" y="30546"/>
                  </a:lnTo>
                  <a:cubicBezTo>
                    <a:pt x="23224" y="31657"/>
                    <a:pt x="22140" y="32373"/>
                    <a:pt x="20961" y="32304"/>
                  </a:cubicBezTo>
                  <a:lnTo>
                    <a:pt x="15130" y="32304"/>
                  </a:lnTo>
                  <a:cubicBezTo>
                    <a:pt x="13950" y="32373"/>
                    <a:pt x="12866" y="31657"/>
                    <a:pt x="12467" y="30546"/>
                  </a:cubicBezTo>
                  <a:lnTo>
                    <a:pt x="1178" y="1923"/>
                  </a:lnTo>
                  <a:cubicBezTo>
                    <a:pt x="672" y="592"/>
                    <a:pt x="1178" y="-340"/>
                    <a:pt x="2748" y="-340"/>
                  </a:cubicBezTo>
                </a:path>
              </a:pathLst>
            </a:custGeom>
            <a:solidFill>
              <a:srgbClr val="8FDB42"/>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73" name="Freeform: Shape 72">
              <a:extLst>
                <a:ext uri="{FF2B5EF4-FFF2-40B4-BE49-F238E27FC236}">
                  <a16:creationId xmlns:a16="http://schemas.microsoft.com/office/drawing/2014/main" id="{FD30EAE3-13A4-4360-A399-44A195FA33FD}"/>
                </a:ext>
              </a:extLst>
            </p:cNvPr>
            <p:cNvSpPr/>
            <p:nvPr/>
          </p:nvSpPr>
          <p:spPr>
            <a:xfrm>
              <a:off x="11839093" y="6750822"/>
              <a:ext cx="18454" cy="19157"/>
            </a:xfrm>
            <a:custGeom>
              <a:avLst/>
              <a:gdLst>
                <a:gd name="connsiteX0" fmla="*/ 17931 w 32701"/>
                <a:gd name="connsiteY0" fmla="*/ -324 h 33946"/>
                <a:gd name="connsiteX1" fmla="*/ 33689 w 32701"/>
                <a:gd name="connsiteY1" fmla="*/ 15867 h 33946"/>
                <a:gd name="connsiteX2" fmla="*/ 33614 w 32701"/>
                <a:gd name="connsiteY2" fmla="*/ 17196 h 33946"/>
                <a:gd name="connsiteX3" fmla="*/ 31809 w 32701"/>
                <a:gd name="connsiteY3" fmla="*/ 19012 h 33946"/>
                <a:gd name="connsiteX4" fmla="*/ 31670 w 32701"/>
                <a:gd name="connsiteY4" fmla="*/ 19006 h 33946"/>
                <a:gd name="connsiteX5" fmla="*/ 11568 w 32701"/>
                <a:gd name="connsiteY5" fmla="*/ 19006 h 33946"/>
                <a:gd name="connsiteX6" fmla="*/ 10130 w 32701"/>
                <a:gd name="connsiteY6" fmla="*/ 20950 h 33946"/>
                <a:gd name="connsiteX7" fmla="*/ 18118 w 32701"/>
                <a:gd name="connsiteY7" fmla="*/ 26488 h 33946"/>
                <a:gd name="connsiteX8" fmla="*/ 24455 w 32701"/>
                <a:gd name="connsiteY8" fmla="*/ 23613 h 33946"/>
                <a:gd name="connsiteX9" fmla="*/ 26771 w 32701"/>
                <a:gd name="connsiteY9" fmla="*/ 22148 h 33946"/>
                <a:gd name="connsiteX10" fmla="*/ 31058 w 32701"/>
                <a:gd name="connsiteY10" fmla="*/ 22148 h 33946"/>
                <a:gd name="connsiteX11" fmla="*/ 32789 w 32701"/>
                <a:gd name="connsiteY11" fmla="*/ 24358 h 33946"/>
                <a:gd name="connsiteX12" fmla="*/ 18118 w 32701"/>
                <a:gd name="connsiteY12" fmla="*/ 33571 h 33946"/>
                <a:gd name="connsiteX13" fmla="*/ 994 w 32701"/>
                <a:gd name="connsiteY13" fmla="*/ 17371 h 33946"/>
                <a:gd name="connsiteX14" fmla="*/ 997 w 32701"/>
                <a:gd name="connsiteY14" fmla="*/ 16370 h 33946"/>
                <a:gd name="connsiteX15" fmla="*/ 16866 w 32701"/>
                <a:gd name="connsiteY15" fmla="*/ -340 h 33946"/>
                <a:gd name="connsiteX16" fmla="*/ 18118 w 32701"/>
                <a:gd name="connsiteY16" fmla="*/ -324 h 33946"/>
                <a:gd name="connsiteX17" fmla="*/ 12020 w 32701"/>
                <a:gd name="connsiteY17" fmla="*/ 13362 h 33946"/>
                <a:gd name="connsiteX18" fmla="*/ 23257 w 32701"/>
                <a:gd name="connsiteY18" fmla="*/ 13362 h 33946"/>
                <a:gd name="connsiteX19" fmla="*/ 24774 w 32701"/>
                <a:gd name="connsiteY19" fmla="*/ 11365 h 33946"/>
                <a:gd name="connsiteX20" fmla="*/ 17984 w 32701"/>
                <a:gd name="connsiteY20" fmla="*/ 6705 h 33946"/>
                <a:gd name="connsiteX21" fmla="*/ 10582 w 32701"/>
                <a:gd name="connsiteY21" fmla="*/ 11285 h 33946"/>
                <a:gd name="connsiteX22" fmla="*/ 12020 w 32701"/>
                <a:gd name="connsiteY22" fmla="*/ 13362 h 3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701" h="33946">
                  <a:moveTo>
                    <a:pt x="17931" y="-324"/>
                  </a:moveTo>
                  <a:cubicBezTo>
                    <a:pt x="26753" y="-204"/>
                    <a:pt x="33809" y="7046"/>
                    <a:pt x="33689" y="15867"/>
                  </a:cubicBezTo>
                  <a:cubicBezTo>
                    <a:pt x="33681" y="16312"/>
                    <a:pt x="33657" y="16754"/>
                    <a:pt x="33614" y="17196"/>
                  </a:cubicBezTo>
                  <a:cubicBezTo>
                    <a:pt x="33617" y="18197"/>
                    <a:pt x="32807" y="19009"/>
                    <a:pt x="31809" y="19012"/>
                  </a:cubicBezTo>
                  <a:cubicBezTo>
                    <a:pt x="31764" y="19012"/>
                    <a:pt x="31716" y="19009"/>
                    <a:pt x="31670" y="19006"/>
                  </a:cubicBezTo>
                  <a:lnTo>
                    <a:pt x="11568" y="19006"/>
                  </a:lnTo>
                  <a:cubicBezTo>
                    <a:pt x="10369" y="19006"/>
                    <a:pt x="9624" y="19778"/>
                    <a:pt x="10130" y="20950"/>
                  </a:cubicBezTo>
                  <a:cubicBezTo>
                    <a:pt x="11272" y="24361"/>
                    <a:pt x="14523" y="26616"/>
                    <a:pt x="18118" y="26488"/>
                  </a:cubicBezTo>
                  <a:cubicBezTo>
                    <a:pt x="20589" y="26709"/>
                    <a:pt x="22996" y="25618"/>
                    <a:pt x="24455" y="23613"/>
                  </a:cubicBezTo>
                  <a:cubicBezTo>
                    <a:pt x="24897" y="22734"/>
                    <a:pt x="25789" y="22172"/>
                    <a:pt x="26771" y="22148"/>
                  </a:cubicBezTo>
                  <a:lnTo>
                    <a:pt x="31058" y="22148"/>
                  </a:lnTo>
                  <a:cubicBezTo>
                    <a:pt x="32416" y="22148"/>
                    <a:pt x="33295" y="23027"/>
                    <a:pt x="32789" y="24358"/>
                  </a:cubicBezTo>
                  <a:cubicBezTo>
                    <a:pt x="30387" y="30264"/>
                    <a:pt x="24479" y="33973"/>
                    <a:pt x="18118" y="33571"/>
                  </a:cubicBezTo>
                  <a:cubicBezTo>
                    <a:pt x="8916" y="33826"/>
                    <a:pt x="1250" y="26573"/>
                    <a:pt x="994" y="17371"/>
                  </a:cubicBezTo>
                  <a:cubicBezTo>
                    <a:pt x="986" y="17036"/>
                    <a:pt x="986" y="16703"/>
                    <a:pt x="997" y="16370"/>
                  </a:cubicBezTo>
                  <a:cubicBezTo>
                    <a:pt x="765" y="7373"/>
                    <a:pt x="7869" y="-109"/>
                    <a:pt x="16866" y="-340"/>
                  </a:cubicBezTo>
                  <a:cubicBezTo>
                    <a:pt x="17284" y="-351"/>
                    <a:pt x="17700" y="-346"/>
                    <a:pt x="18118" y="-324"/>
                  </a:cubicBezTo>
                  <a:moveTo>
                    <a:pt x="12020" y="13362"/>
                  </a:moveTo>
                  <a:lnTo>
                    <a:pt x="23257" y="13362"/>
                  </a:lnTo>
                  <a:cubicBezTo>
                    <a:pt x="24508" y="13362"/>
                    <a:pt x="25280" y="12616"/>
                    <a:pt x="24774" y="11365"/>
                  </a:cubicBezTo>
                  <a:cubicBezTo>
                    <a:pt x="23707" y="8545"/>
                    <a:pt x="20999" y="6686"/>
                    <a:pt x="17984" y="6705"/>
                  </a:cubicBezTo>
                  <a:cubicBezTo>
                    <a:pt x="14859" y="6737"/>
                    <a:pt x="12007" y="8502"/>
                    <a:pt x="10582" y="11285"/>
                  </a:cubicBezTo>
                  <a:cubicBezTo>
                    <a:pt x="10023" y="12483"/>
                    <a:pt x="10716" y="13362"/>
                    <a:pt x="12020" y="13362"/>
                  </a:cubicBezTo>
                </a:path>
              </a:pathLst>
            </a:custGeom>
            <a:solidFill>
              <a:srgbClr val="8FDB42"/>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74" name="Freeform: Shape 73">
              <a:extLst>
                <a:ext uri="{FF2B5EF4-FFF2-40B4-BE49-F238E27FC236}">
                  <a16:creationId xmlns:a16="http://schemas.microsoft.com/office/drawing/2014/main" id="{FC9C7462-A15F-4FEB-B3DF-90815CD6B02C}"/>
                </a:ext>
              </a:extLst>
            </p:cNvPr>
            <p:cNvSpPr/>
            <p:nvPr/>
          </p:nvSpPr>
          <p:spPr>
            <a:xfrm>
              <a:off x="11575064" y="6784526"/>
              <a:ext cx="208318" cy="27505"/>
            </a:xfrm>
            <a:custGeom>
              <a:avLst/>
              <a:gdLst>
                <a:gd name="connsiteX0" fmla="*/ 2220 w 369143"/>
                <a:gd name="connsiteY0" fmla="*/ 48333 h 48740"/>
                <a:gd name="connsiteX1" fmla="*/ 4004 w 369143"/>
                <a:gd name="connsiteY1" fmla="*/ 48333 h 48740"/>
                <a:gd name="connsiteX2" fmla="*/ 5226 w 369143"/>
                <a:gd name="connsiteY2" fmla="*/ 47390 h 48740"/>
                <a:gd name="connsiteX3" fmla="*/ 5229 w 369143"/>
                <a:gd name="connsiteY3" fmla="*/ 47135 h 48740"/>
                <a:gd name="connsiteX4" fmla="*/ 5229 w 369143"/>
                <a:gd name="connsiteY4" fmla="*/ 37043 h 48740"/>
                <a:gd name="connsiteX5" fmla="*/ 7172 w 369143"/>
                <a:gd name="connsiteY5" fmla="*/ 36165 h 48740"/>
                <a:gd name="connsiteX6" fmla="*/ 14202 w 369143"/>
                <a:gd name="connsiteY6" fmla="*/ 38109 h 48740"/>
                <a:gd name="connsiteX7" fmla="*/ 26961 w 369143"/>
                <a:gd name="connsiteY7" fmla="*/ 25096 h 48740"/>
                <a:gd name="connsiteX8" fmla="*/ 26955 w 369143"/>
                <a:gd name="connsiteY8" fmla="*/ 24795 h 48740"/>
                <a:gd name="connsiteX9" fmla="*/ 14444 w 369143"/>
                <a:gd name="connsiteY9" fmla="*/ 11751 h 48740"/>
                <a:gd name="connsiteX10" fmla="*/ 14281 w 369143"/>
                <a:gd name="connsiteY10" fmla="*/ 11749 h 48740"/>
                <a:gd name="connsiteX11" fmla="*/ 6533 w 369143"/>
                <a:gd name="connsiteY11" fmla="*/ 14198 h 48740"/>
                <a:gd name="connsiteX12" fmla="*/ 4403 w 369143"/>
                <a:gd name="connsiteY12" fmla="*/ 13453 h 48740"/>
                <a:gd name="connsiteX13" fmla="*/ 4403 w 369143"/>
                <a:gd name="connsiteY13" fmla="*/ 13453 h 48740"/>
                <a:gd name="connsiteX14" fmla="*/ 3098 w 369143"/>
                <a:gd name="connsiteY14" fmla="*/ 12334 h 48740"/>
                <a:gd name="connsiteX15" fmla="*/ 2220 w 369143"/>
                <a:gd name="connsiteY15" fmla="*/ 12334 h 48740"/>
                <a:gd name="connsiteX16" fmla="*/ 998 w 369143"/>
                <a:gd name="connsiteY16" fmla="*/ 13277 h 48740"/>
                <a:gd name="connsiteX17" fmla="*/ 995 w 369143"/>
                <a:gd name="connsiteY17" fmla="*/ 13533 h 48740"/>
                <a:gd name="connsiteX18" fmla="*/ 995 w 369143"/>
                <a:gd name="connsiteY18" fmla="*/ 47135 h 48740"/>
                <a:gd name="connsiteX19" fmla="*/ 1964 w 369143"/>
                <a:gd name="connsiteY19" fmla="*/ 48336 h 48740"/>
                <a:gd name="connsiteX20" fmla="*/ 2220 w 369143"/>
                <a:gd name="connsiteY20" fmla="*/ 48333 h 48740"/>
                <a:gd name="connsiteX21" fmla="*/ 5575 w 369143"/>
                <a:gd name="connsiteY21" fmla="*/ 27991 h 48740"/>
                <a:gd name="connsiteX22" fmla="*/ 5575 w 369143"/>
                <a:gd name="connsiteY22" fmla="*/ 21920 h 48740"/>
                <a:gd name="connsiteX23" fmla="*/ 6107 w 369143"/>
                <a:gd name="connsiteY23" fmla="*/ 19816 h 48740"/>
                <a:gd name="connsiteX24" fmla="*/ 13749 w 369143"/>
                <a:gd name="connsiteY24" fmla="*/ 15769 h 48740"/>
                <a:gd name="connsiteX25" fmla="*/ 22269 w 369143"/>
                <a:gd name="connsiteY25" fmla="*/ 24875 h 48740"/>
                <a:gd name="connsiteX26" fmla="*/ 13749 w 369143"/>
                <a:gd name="connsiteY26" fmla="*/ 34195 h 48740"/>
                <a:gd name="connsiteX27" fmla="*/ 6107 w 369143"/>
                <a:gd name="connsiteY27" fmla="*/ 30094 h 48740"/>
                <a:gd name="connsiteX28" fmla="*/ 5575 w 369143"/>
                <a:gd name="connsiteY28" fmla="*/ 27991 h 48740"/>
                <a:gd name="connsiteX29" fmla="*/ 36967 w 369143"/>
                <a:gd name="connsiteY29" fmla="*/ -340 h 48740"/>
                <a:gd name="connsiteX30" fmla="*/ 34837 w 369143"/>
                <a:gd name="connsiteY30" fmla="*/ -340 h 48740"/>
                <a:gd name="connsiteX31" fmla="*/ 33612 w 369143"/>
                <a:gd name="connsiteY31" fmla="*/ 662 h 48740"/>
                <a:gd name="connsiteX32" fmla="*/ 33612 w 369143"/>
                <a:gd name="connsiteY32" fmla="*/ 885 h 48740"/>
                <a:gd name="connsiteX33" fmla="*/ 33612 w 369143"/>
                <a:gd name="connsiteY33" fmla="*/ 36431 h 48740"/>
                <a:gd name="connsiteX34" fmla="*/ 34581 w 369143"/>
                <a:gd name="connsiteY34" fmla="*/ 37632 h 48740"/>
                <a:gd name="connsiteX35" fmla="*/ 34837 w 369143"/>
                <a:gd name="connsiteY35" fmla="*/ 37629 h 48740"/>
                <a:gd name="connsiteX36" fmla="*/ 36967 w 369143"/>
                <a:gd name="connsiteY36" fmla="*/ 37629 h 48740"/>
                <a:gd name="connsiteX37" fmla="*/ 38189 w 369143"/>
                <a:gd name="connsiteY37" fmla="*/ 36687 h 48740"/>
                <a:gd name="connsiteX38" fmla="*/ 38192 w 369143"/>
                <a:gd name="connsiteY38" fmla="*/ 36431 h 48740"/>
                <a:gd name="connsiteX39" fmla="*/ 38192 w 369143"/>
                <a:gd name="connsiteY39" fmla="*/ 885 h 48740"/>
                <a:gd name="connsiteX40" fmla="*/ 37191 w 369143"/>
                <a:gd name="connsiteY40" fmla="*/ -340 h 48740"/>
                <a:gd name="connsiteX41" fmla="*/ 36967 w 369143"/>
                <a:gd name="connsiteY41" fmla="*/ -340 h 48740"/>
                <a:gd name="connsiteX42" fmla="*/ 44768 w 369143"/>
                <a:gd name="connsiteY42" fmla="*/ 30680 h 48740"/>
                <a:gd name="connsiteX43" fmla="*/ 52485 w 369143"/>
                <a:gd name="connsiteY43" fmla="*/ 38141 h 48740"/>
                <a:gd name="connsiteX44" fmla="*/ 53049 w 369143"/>
                <a:gd name="connsiteY44" fmla="*/ 38109 h 48740"/>
                <a:gd name="connsiteX45" fmla="*/ 61756 w 369143"/>
                <a:gd name="connsiteY45" fmla="*/ 35446 h 48740"/>
                <a:gd name="connsiteX46" fmla="*/ 63992 w 369143"/>
                <a:gd name="connsiteY46" fmla="*/ 36218 h 48740"/>
                <a:gd name="connsiteX47" fmla="*/ 64152 w 369143"/>
                <a:gd name="connsiteY47" fmla="*/ 36724 h 48740"/>
                <a:gd name="connsiteX48" fmla="*/ 65510 w 369143"/>
                <a:gd name="connsiteY48" fmla="*/ 37736 h 48740"/>
                <a:gd name="connsiteX49" fmla="*/ 66096 w 369143"/>
                <a:gd name="connsiteY49" fmla="*/ 37736 h 48740"/>
                <a:gd name="connsiteX50" fmla="*/ 67294 w 369143"/>
                <a:gd name="connsiteY50" fmla="*/ 36761 h 48740"/>
                <a:gd name="connsiteX51" fmla="*/ 67294 w 369143"/>
                <a:gd name="connsiteY51" fmla="*/ 36538 h 48740"/>
                <a:gd name="connsiteX52" fmla="*/ 67294 w 369143"/>
                <a:gd name="connsiteY52" fmla="*/ 22905 h 48740"/>
                <a:gd name="connsiteX53" fmla="*/ 56644 w 369143"/>
                <a:gd name="connsiteY53" fmla="*/ 11935 h 48740"/>
                <a:gd name="connsiteX54" fmla="*/ 45993 w 369143"/>
                <a:gd name="connsiteY54" fmla="*/ 19497 h 48740"/>
                <a:gd name="connsiteX55" fmla="*/ 46712 w 369143"/>
                <a:gd name="connsiteY55" fmla="*/ 20778 h 48740"/>
                <a:gd name="connsiteX56" fmla="*/ 47165 w 369143"/>
                <a:gd name="connsiteY56" fmla="*/ 20802 h 48740"/>
                <a:gd name="connsiteX57" fmla="*/ 49055 w 369143"/>
                <a:gd name="connsiteY57" fmla="*/ 20802 h 48740"/>
                <a:gd name="connsiteX58" fmla="*/ 50386 w 369143"/>
                <a:gd name="connsiteY58" fmla="*/ 19736 h 48740"/>
                <a:gd name="connsiteX59" fmla="*/ 56510 w 369143"/>
                <a:gd name="connsiteY59" fmla="*/ 15929 h 48740"/>
                <a:gd name="connsiteX60" fmla="*/ 62938 w 369143"/>
                <a:gd name="connsiteY60" fmla="*/ 20791 h 48740"/>
                <a:gd name="connsiteX61" fmla="*/ 62981 w 369143"/>
                <a:gd name="connsiteY61" fmla="*/ 21920 h 48740"/>
                <a:gd name="connsiteX62" fmla="*/ 61277 w 369143"/>
                <a:gd name="connsiteY62" fmla="*/ 23491 h 48740"/>
                <a:gd name="connsiteX63" fmla="*/ 55632 w 369143"/>
                <a:gd name="connsiteY63" fmla="*/ 23491 h 48740"/>
                <a:gd name="connsiteX64" fmla="*/ 44981 w 369143"/>
                <a:gd name="connsiteY64" fmla="*/ 30840 h 48740"/>
                <a:gd name="connsiteX65" fmla="*/ 49561 w 369143"/>
                <a:gd name="connsiteY65" fmla="*/ 30840 h 48740"/>
                <a:gd name="connsiteX66" fmla="*/ 55792 w 369143"/>
                <a:gd name="connsiteY66" fmla="*/ 27325 h 48740"/>
                <a:gd name="connsiteX67" fmla="*/ 61330 w 369143"/>
                <a:gd name="connsiteY67" fmla="*/ 27325 h 48740"/>
                <a:gd name="connsiteX68" fmla="*/ 63034 w 369143"/>
                <a:gd name="connsiteY68" fmla="*/ 28691 h 48740"/>
                <a:gd name="connsiteX69" fmla="*/ 63034 w 369143"/>
                <a:gd name="connsiteY69" fmla="*/ 29029 h 48740"/>
                <a:gd name="connsiteX70" fmla="*/ 63034 w 369143"/>
                <a:gd name="connsiteY70" fmla="*/ 29535 h 48740"/>
                <a:gd name="connsiteX71" fmla="*/ 62022 w 369143"/>
                <a:gd name="connsiteY71" fmla="*/ 31585 h 48740"/>
                <a:gd name="connsiteX72" fmla="*/ 54274 w 369143"/>
                <a:gd name="connsiteY72" fmla="*/ 34248 h 48740"/>
                <a:gd name="connsiteX73" fmla="*/ 49561 w 369143"/>
                <a:gd name="connsiteY73" fmla="*/ 30733 h 48740"/>
                <a:gd name="connsiteX74" fmla="*/ 76826 w 369143"/>
                <a:gd name="connsiteY74" fmla="*/ 37789 h 48740"/>
                <a:gd name="connsiteX75" fmla="*/ 78956 w 369143"/>
                <a:gd name="connsiteY75" fmla="*/ 37789 h 48740"/>
                <a:gd name="connsiteX76" fmla="*/ 80179 w 369143"/>
                <a:gd name="connsiteY76" fmla="*/ 36846 h 48740"/>
                <a:gd name="connsiteX77" fmla="*/ 80181 w 369143"/>
                <a:gd name="connsiteY77" fmla="*/ 36591 h 48740"/>
                <a:gd name="connsiteX78" fmla="*/ 80181 w 369143"/>
                <a:gd name="connsiteY78" fmla="*/ 20988 h 48740"/>
                <a:gd name="connsiteX79" fmla="*/ 81299 w 369143"/>
                <a:gd name="connsiteY79" fmla="*/ 18964 h 48740"/>
                <a:gd name="connsiteX80" fmla="*/ 89580 w 369143"/>
                <a:gd name="connsiteY80" fmla="*/ 16035 h 48740"/>
                <a:gd name="connsiteX81" fmla="*/ 95140 w 369143"/>
                <a:gd name="connsiteY81" fmla="*/ 20658 h 48740"/>
                <a:gd name="connsiteX82" fmla="*/ 95118 w 369143"/>
                <a:gd name="connsiteY82" fmla="*/ 21787 h 48740"/>
                <a:gd name="connsiteX83" fmla="*/ 95118 w 369143"/>
                <a:gd name="connsiteY83" fmla="*/ 36591 h 48740"/>
                <a:gd name="connsiteX84" fmla="*/ 96088 w 369143"/>
                <a:gd name="connsiteY84" fmla="*/ 37792 h 48740"/>
                <a:gd name="connsiteX85" fmla="*/ 96343 w 369143"/>
                <a:gd name="connsiteY85" fmla="*/ 37789 h 48740"/>
                <a:gd name="connsiteX86" fmla="*/ 98473 w 369143"/>
                <a:gd name="connsiteY86" fmla="*/ 37789 h 48740"/>
                <a:gd name="connsiteX87" fmla="*/ 99696 w 369143"/>
                <a:gd name="connsiteY87" fmla="*/ 36846 h 48740"/>
                <a:gd name="connsiteX88" fmla="*/ 99698 w 369143"/>
                <a:gd name="connsiteY88" fmla="*/ 36591 h 48740"/>
                <a:gd name="connsiteX89" fmla="*/ 99698 w 369143"/>
                <a:gd name="connsiteY89" fmla="*/ 21574 h 48740"/>
                <a:gd name="connsiteX90" fmla="*/ 90885 w 369143"/>
                <a:gd name="connsiteY90" fmla="*/ 11988 h 48740"/>
                <a:gd name="connsiteX91" fmla="*/ 81326 w 369143"/>
                <a:gd name="connsiteY91" fmla="*/ 14811 h 48740"/>
                <a:gd name="connsiteX92" fmla="*/ 79143 w 369143"/>
                <a:gd name="connsiteY92" fmla="*/ 13932 h 48740"/>
                <a:gd name="connsiteX93" fmla="*/ 79143 w 369143"/>
                <a:gd name="connsiteY93" fmla="*/ 13559 h 48740"/>
                <a:gd name="connsiteX94" fmla="*/ 77758 w 369143"/>
                <a:gd name="connsiteY94" fmla="*/ 12494 h 48740"/>
                <a:gd name="connsiteX95" fmla="*/ 76906 w 369143"/>
                <a:gd name="connsiteY95" fmla="*/ 12494 h 48740"/>
                <a:gd name="connsiteX96" fmla="*/ 75684 w 369143"/>
                <a:gd name="connsiteY96" fmla="*/ 13437 h 48740"/>
                <a:gd name="connsiteX97" fmla="*/ 75681 w 369143"/>
                <a:gd name="connsiteY97" fmla="*/ 13692 h 48740"/>
                <a:gd name="connsiteX98" fmla="*/ 75681 w 369143"/>
                <a:gd name="connsiteY98" fmla="*/ 36591 h 48740"/>
                <a:gd name="connsiteX99" fmla="*/ 76651 w 369143"/>
                <a:gd name="connsiteY99" fmla="*/ 37792 h 48740"/>
                <a:gd name="connsiteX100" fmla="*/ 76906 w 369143"/>
                <a:gd name="connsiteY100" fmla="*/ 37789 h 48740"/>
                <a:gd name="connsiteX101" fmla="*/ 106195 w 369143"/>
                <a:gd name="connsiteY101" fmla="*/ 24982 h 48740"/>
                <a:gd name="connsiteX102" fmla="*/ 118323 w 369143"/>
                <a:gd name="connsiteY102" fmla="*/ 38282 h 48740"/>
                <a:gd name="connsiteX103" fmla="*/ 119055 w 369143"/>
                <a:gd name="connsiteY103" fmla="*/ 38295 h 48740"/>
                <a:gd name="connsiteX104" fmla="*/ 129945 w 369143"/>
                <a:gd name="connsiteY104" fmla="*/ 31212 h 48740"/>
                <a:gd name="connsiteX105" fmla="*/ 128880 w 369143"/>
                <a:gd name="connsiteY105" fmla="*/ 29828 h 48740"/>
                <a:gd name="connsiteX106" fmla="*/ 127043 w 369143"/>
                <a:gd name="connsiteY106" fmla="*/ 29828 h 48740"/>
                <a:gd name="connsiteX107" fmla="*/ 125632 w 369143"/>
                <a:gd name="connsiteY107" fmla="*/ 30813 h 48740"/>
                <a:gd name="connsiteX108" fmla="*/ 119055 w 369143"/>
                <a:gd name="connsiteY108" fmla="*/ 34381 h 48740"/>
                <a:gd name="connsiteX109" fmla="*/ 111068 w 369143"/>
                <a:gd name="connsiteY109" fmla="*/ 28177 h 48740"/>
                <a:gd name="connsiteX110" fmla="*/ 112638 w 369143"/>
                <a:gd name="connsiteY110" fmla="*/ 26340 h 48740"/>
                <a:gd name="connsiteX111" fmla="*/ 129173 w 369143"/>
                <a:gd name="connsiteY111" fmla="*/ 26340 h 48740"/>
                <a:gd name="connsiteX112" fmla="*/ 130821 w 369143"/>
                <a:gd name="connsiteY112" fmla="*/ 24905 h 48740"/>
                <a:gd name="connsiteX113" fmla="*/ 130824 w 369143"/>
                <a:gd name="connsiteY113" fmla="*/ 24769 h 48740"/>
                <a:gd name="connsiteX114" fmla="*/ 119372 w 369143"/>
                <a:gd name="connsiteY114" fmla="*/ 11975 h 48740"/>
                <a:gd name="connsiteX115" fmla="*/ 119055 w 369143"/>
                <a:gd name="connsiteY115" fmla="*/ 11962 h 48740"/>
                <a:gd name="connsiteX116" fmla="*/ 106245 w 369143"/>
                <a:gd name="connsiteY116" fmla="*/ 24444 h 48740"/>
                <a:gd name="connsiteX117" fmla="*/ 106248 w 369143"/>
                <a:gd name="connsiteY117" fmla="*/ 24955 h 48740"/>
                <a:gd name="connsiteX118" fmla="*/ 111707 w 369143"/>
                <a:gd name="connsiteY118" fmla="*/ 20535 h 48740"/>
                <a:gd name="connsiteX119" fmla="*/ 119002 w 369143"/>
                <a:gd name="connsiteY119" fmla="*/ 15849 h 48740"/>
                <a:gd name="connsiteX120" fmla="*/ 125792 w 369143"/>
                <a:gd name="connsiteY120" fmla="*/ 20589 h 48740"/>
                <a:gd name="connsiteX121" fmla="*/ 124327 w 369143"/>
                <a:gd name="connsiteY121" fmla="*/ 22532 h 48740"/>
                <a:gd name="connsiteX122" fmla="*/ 113065 w 369143"/>
                <a:gd name="connsiteY122" fmla="*/ 22532 h 48740"/>
                <a:gd name="connsiteX123" fmla="*/ 111707 w 369143"/>
                <a:gd name="connsiteY123" fmla="*/ 20589 h 48740"/>
                <a:gd name="connsiteX124" fmla="*/ 135670 w 369143"/>
                <a:gd name="connsiteY124" fmla="*/ 16408 h 48740"/>
                <a:gd name="connsiteX125" fmla="*/ 137720 w 369143"/>
                <a:gd name="connsiteY125" fmla="*/ 16408 h 48740"/>
                <a:gd name="connsiteX126" fmla="*/ 138200 w 369143"/>
                <a:gd name="connsiteY126" fmla="*/ 16832 h 48740"/>
                <a:gd name="connsiteX127" fmla="*/ 138200 w 369143"/>
                <a:gd name="connsiteY127" fmla="*/ 16888 h 48740"/>
                <a:gd name="connsiteX128" fmla="*/ 138200 w 369143"/>
                <a:gd name="connsiteY128" fmla="*/ 30414 h 48740"/>
                <a:gd name="connsiteX129" fmla="*/ 145495 w 369143"/>
                <a:gd name="connsiteY129" fmla="*/ 38401 h 48740"/>
                <a:gd name="connsiteX130" fmla="*/ 151592 w 369143"/>
                <a:gd name="connsiteY130" fmla="*/ 37443 h 48740"/>
                <a:gd name="connsiteX131" fmla="*/ 151939 w 369143"/>
                <a:gd name="connsiteY131" fmla="*/ 35819 h 48740"/>
                <a:gd name="connsiteX132" fmla="*/ 151779 w 369143"/>
                <a:gd name="connsiteY132" fmla="*/ 34354 h 48740"/>
                <a:gd name="connsiteX133" fmla="*/ 150314 w 369143"/>
                <a:gd name="connsiteY133" fmla="*/ 33476 h 48740"/>
                <a:gd name="connsiteX134" fmla="*/ 145735 w 369143"/>
                <a:gd name="connsiteY134" fmla="*/ 34221 h 48740"/>
                <a:gd name="connsiteX135" fmla="*/ 142247 w 369143"/>
                <a:gd name="connsiteY135" fmla="*/ 30281 h 48740"/>
                <a:gd name="connsiteX136" fmla="*/ 142247 w 369143"/>
                <a:gd name="connsiteY136" fmla="*/ 16834 h 48740"/>
                <a:gd name="connsiteX137" fmla="*/ 142670 w 369143"/>
                <a:gd name="connsiteY137" fmla="*/ 16355 h 48740"/>
                <a:gd name="connsiteX138" fmla="*/ 142726 w 369143"/>
                <a:gd name="connsiteY138" fmla="*/ 16355 h 48740"/>
                <a:gd name="connsiteX139" fmla="*/ 150714 w 369143"/>
                <a:gd name="connsiteY139" fmla="*/ 16355 h 48740"/>
                <a:gd name="connsiteX140" fmla="*/ 151939 w 369143"/>
                <a:gd name="connsiteY140" fmla="*/ 15354 h 48740"/>
                <a:gd name="connsiteX141" fmla="*/ 151939 w 369143"/>
                <a:gd name="connsiteY141" fmla="*/ 15130 h 48740"/>
                <a:gd name="connsiteX142" fmla="*/ 151939 w 369143"/>
                <a:gd name="connsiteY142" fmla="*/ 13666 h 48740"/>
                <a:gd name="connsiteX143" fmla="*/ 150969 w 369143"/>
                <a:gd name="connsiteY143" fmla="*/ 12465 h 48740"/>
                <a:gd name="connsiteX144" fmla="*/ 150714 w 369143"/>
                <a:gd name="connsiteY144" fmla="*/ 12468 h 48740"/>
                <a:gd name="connsiteX145" fmla="*/ 142726 w 369143"/>
                <a:gd name="connsiteY145" fmla="*/ 12468 h 48740"/>
                <a:gd name="connsiteX146" fmla="*/ 142247 w 369143"/>
                <a:gd name="connsiteY146" fmla="*/ 11988 h 48740"/>
                <a:gd name="connsiteX147" fmla="*/ 142247 w 369143"/>
                <a:gd name="connsiteY147" fmla="*/ 11962 h 48740"/>
                <a:gd name="connsiteX148" fmla="*/ 142247 w 369143"/>
                <a:gd name="connsiteY148" fmla="*/ 6636 h 48740"/>
                <a:gd name="connsiteX149" fmla="*/ 140889 w 369143"/>
                <a:gd name="connsiteY149" fmla="*/ 5571 h 48740"/>
                <a:gd name="connsiteX150" fmla="*/ 138839 w 369143"/>
                <a:gd name="connsiteY150" fmla="*/ 6104 h 48740"/>
                <a:gd name="connsiteX151" fmla="*/ 137827 w 369143"/>
                <a:gd name="connsiteY151" fmla="*/ 7462 h 48740"/>
                <a:gd name="connsiteX152" fmla="*/ 137827 w 369143"/>
                <a:gd name="connsiteY152" fmla="*/ 11855 h 48740"/>
                <a:gd name="connsiteX153" fmla="*/ 137377 w 369143"/>
                <a:gd name="connsiteY153" fmla="*/ 12361 h 48740"/>
                <a:gd name="connsiteX154" fmla="*/ 137321 w 369143"/>
                <a:gd name="connsiteY154" fmla="*/ 12361 h 48740"/>
                <a:gd name="connsiteX155" fmla="*/ 135138 w 369143"/>
                <a:gd name="connsiteY155" fmla="*/ 12361 h 48740"/>
                <a:gd name="connsiteX156" fmla="*/ 133915 w 369143"/>
                <a:gd name="connsiteY156" fmla="*/ 13304 h 48740"/>
                <a:gd name="connsiteX157" fmla="*/ 133913 w 369143"/>
                <a:gd name="connsiteY157" fmla="*/ 13559 h 48740"/>
                <a:gd name="connsiteX158" fmla="*/ 133913 w 369143"/>
                <a:gd name="connsiteY158" fmla="*/ 15024 h 48740"/>
                <a:gd name="connsiteX159" fmla="*/ 134914 w 369143"/>
                <a:gd name="connsiteY159" fmla="*/ 16248 h 48740"/>
                <a:gd name="connsiteX160" fmla="*/ 135138 w 369143"/>
                <a:gd name="connsiteY160" fmla="*/ 16248 h 48740"/>
                <a:gd name="connsiteX161" fmla="*/ 168820 w 369143"/>
                <a:gd name="connsiteY161" fmla="*/ 24023 h 48740"/>
                <a:gd name="connsiteX162" fmla="*/ 169821 w 369143"/>
                <a:gd name="connsiteY162" fmla="*/ 25248 h 48740"/>
                <a:gd name="connsiteX163" fmla="*/ 170044 w 369143"/>
                <a:gd name="connsiteY163" fmla="*/ 25248 h 48740"/>
                <a:gd name="connsiteX164" fmla="*/ 175609 w 369143"/>
                <a:gd name="connsiteY164" fmla="*/ 25248 h 48740"/>
                <a:gd name="connsiteX165" fmla="*/ 176674 w 369143"/>
                <a:gd name="connsiteY165" fmla="*/ 26087 h 48740"/>
                <a:gd name="connsiteX166" fmla="*/ 176674 w 369143"/>
                <a:gd name="connsiteY166" fmla="*/ 26313 h 48740"/>
                <a:gd name="connsiteX167" fmla="*/ 176674 w 369143"/>
                <a:gd name="connsiteY167" fmla="*/ 31772 h 48740"/>
                <a:gd name="connsiteX168" fmla="*/ 177556 w 369143"/>
                <a:gd name="connsiteY168" fmla="*/ 32994 h 48740"/>
                <a:gd name="connsiteX169" fmla="*/ 177872 w 369143"/>
                <a:gd name="connsiteY169" fmla="*/ 32996 h 48740"/>
                <a:gd name="connsiteX170" fmla="*/ 179230 w 369143"/>
                <a:gd name="connsiteY170" fmla="*/ 32996 h 48740"/>
                <a:gd name="connsiteX171" fmla="*/ 180455 w 369143"/>
                <a:gd name="connsiteY171" fmla="*/ 31995 h 48740"/>
                <a:gd name="connsiteX172" fmla="*/ 180455 w 369143"/>
                <a:gd name="connsiteY172" fmla="*/ 31772 h 48740"/>
                <a:gd name="connsiteX173" fmla="*/ 180455 w 369143"/>
                <a:gd name="connsiteY173" fmla="*/ 26313 h 48740"/>
                <a:gd name="connsiteX174" fmla="*/ 181353 w 369143"/>
                <a:gd name="connsiteY174" fmla="*/ 25248 h 48740"/>
                <a:gd name="connsiteX175" fmla="*/ 181520 w 369143"/>
                <a:gd name="connsiteY175" fmla="*/ 25248 h 48740"/>
                <a:gd name="connsiteX176" fmla="*/ 186979 w 369143"/>
                <a:gd name="connsiteY176" fmla="*/ 25248 h 48740"/>
                <a:gd name="connsiteX177" fmla="*/ 188203 w 369143"/>
                <a:gd name="connsiteY177" fmla="*/ 24247 h 48740"/>
                <a:gd name="connsiteX178" fmla="*/ 188203 w 369143"/>
                <a:gd name="connsiteY178" fmla="*/ 24023 h 48740"/>
                <a:gd name="connsiteX179" fmla="*/ 188203 w 369143"/>
                <a:gd name="connsiteY179" fmla="*/ 22665 h 48740"/>
                <a:gd name="connsiteX180" fmla="*/ 187234 w 369143"/>
                <a:gd name="connsiteY180" fmla="*/ 21465 h 48740"/>
                <a:gd name="connsiteX181" fmla="*/ 186979 w 369143"/>
                <a:gd name="connsiteY181" fmla="*/ 21467 h 48740"/>
                <a:gd name="connsiteX182" fmla="*/ 181520 w 369143"/>
                <a:gd name="connsiteY182" fmla="*/ 21467 h 48740"/>
                <a:gd name="connsiteX183" fmla="*/ 180453 w 369143"/>
                <a:gd name="connsiteY183" fmla="*/ 20573 h 48740"/>
                <a:gd name="connsiteX184" fmla="*/ 180455 w 369143"/>
                <a:gd name="connsiteY184" fmla="*/ 20376 h 48740"/>
                <a:gd name="connsiteX185" fmla="*/ 180455 w 369143"/>
                <a:gd name="connsiteY185" fmla="*/ 15050 h 48740"/>
                <a:gd name="connsiteX186" fmla="*/ 179515 w 369143"/>
                <a:gd name="connsiteY186" fmla="*/ 13825 h 48740"/>
                <a:gd name="connsiteX187" fmla="*/ 179230 w 369143"/>
                <a:gd name="connsiteY187" fmla="*/ 13825 h 48740"/>
                <a:gd name="connsiteX188" fmla="*/ 177846 w 369143"/>
                <a:gd name="connsiteY188" fmla="*/ 13825 h 48740"/>
                <a:gd name="connsiteX189" fmla="*/ 176621 w 369143"/>
                <a:gd name="connsiteY189" fmla="*/ 14702 h 48740"/>
                <a:gd name="connsiteX190" fmla="*/ 176621 w 369143"/>
                <a:gd name="connsiteY190" fmla="*/ 15050 h 48740"/>
                <a:gd name="connsiteX191" fmla="*/ 176621 w 369143"/>
                <a:gd name="connsiteY191" fmla="*/ 20376 h 48740"/>
                <a:gd name="connsiteX192" fmla="*/ 175814 w 369143"/>
                <a:gd name="connsiteY192" fmla="*/ 21465 h 48740"/>
                <a:gd name="connsiteX193" fmla="*/ 175556 w 369143"/>
                <a:gd name="connsiteY193" fmla="*/ 21467 h 48740"/>
                <a:gd name="connsiteX194" fmla="*/ 170044 w 369143"/>
                <a:gd name="connsiteY194" fmla="*/ 21467 h 48740"/>
                <a:gd name="connsiteX195" fmla="*/ 168822 w 369143"/>
                <a:gd name="connsiteY195" fmla="*/ 22410 h 48740"/>
                <a:gd name="connsiteX196" fmla="*/ 168820 w 369143"/>
                <a:gd name="connsiteY196" fmla="*/ 22665 h 48740"/>
                <a:gd name="connsiteX197" fmla="*/ 209185 w 369143"/>
                <a:gd name="connsiteY197" fmla="*/ 48360 h 48740"/>
                <a:gd name="connsiteX198" fmla="*/ 210995 w 369143"/>
                <a:gd name="connsiteY198" fmla="*/ 48360 h 48740"/>
                <a:gd name="connsiteX199" fmla="*/ 212194 w 369143"/>
                <a:gd name="connsiteY199" fmla="*/ 47385 h 48740"/>
                <a:gd name="connsiteX200" fmla="*/ 212194 w 369143"/>
                <a:gd name="connsiteY200" fmla="*/ 47161 h 48740"/>
                <a:gd name="connsiteX201" fmla="*/ 212194 w 369143"/>
                <a:gd name="connsiteY201" fmla="*/ 37070 h 48740"/>
                <a:gd name="connsiteX202" fmla="*/ 214137 w 369143"/>
                <a:gd name="connsiteY202" fmla="*/ 36192 h 48740"/>
                <a:gd name="connsiteX203" fmla="*/ 221167 w 369143"/>
                <a:gd name="connsiteY203" fmla="*/ 38135 h 48740"/>
                <a:gd name="connsiteX204" fmla="*/ 233926 w 369143"/>
                <a:gd name="connsiteY204" fmla="*/ 25123 h 48740"/>
                <a:gd name="connsiteX205" fmla="*/ 233921 w 369143"/>
                <a:gd name="connsiteY205" fmla="*/ 24822 h 48740"/>
                <a:gd name="connsiteX206" fmla="*/ 221409 w 369143"/>
                <a:gd name="connsiteY206" fmla="*/ 11778 h 48740"/>
                <a:gd name="connsiteX207" fmla="*/ 221247 w 369143"/>
                <a:gd name="connsiteY207" fmla="*/ 11775 h 48740"/>
                <a:gd name="connsiteX208" fmla="*/ 213525 w 369143"/>
                <a:gd name="connsiteY208" fmla="*/ 14225 h 48740"/>
                <a:gd name="connsiteX209" fmla="*/ 211368 w 369143"/>
                <a:gd name="connsiteY209" fmla="*/ 13479 h 48740"/>
                <a:gd name="connsiteX210" fmla="*/ 211368 w 369143"/>
                <a:gd name="connsiteY210" fmla="*/ 13479 h 48740"/>
                <a:gd name="connsiteX211" fmla="*/ 210064 w 369143"/>
                <a:gd name="connsiteY211" fmla="*/ 12361 h 48740"/>
                <a:gd name="connsiteX212" fmla="*/ 209185 w 369143"/>
                <a:gd name="connsiteY212" fmla="*/ 12361 h 48740"/>
                <a:gd name="connsiteX213" fmla="*/ 207963 w 369143"/>
                <a:gd name="connsiteY213" fmla="*/ 13304 h 48740"/>
                <a:gd name="connsiteX214" fmla="*/ 207960 w 369143"/>
                <a:gd name="connsiteY214" fmla="*/ 13559 h 48740"/>
                <a:gd name="connsiteX215" fmla="*/ 207960 w 369143"/>
                <a:gd name="connsiteY215" fmla="*/ 47161 h 48740"/>
                <a:gd name="connsiteX216" fmla="*/ 208929 w 369143"/>
                <a:gd name="connsiteY216" fmla="*/ 48362 h 48740"/>
                <a:gd name="connsiteX217" fmla="*/ 209185 w 369143"/>
                <a:gd name="connsiteY217" fmla="*/ 48360 h 48740"/>
                <a:gd name="connsiteX218" fmla="*/ 212540 w 369143"/>
                <a:gd name="connsiteY218" fmla="*/ 28017 h 48740"/>
                <a:gd name="connsiteX219" fmla="*/ 212540 w 369143"/>
                <a:gd name="connsiteY219" fmla="*/ 21947 h 48740"/>
                <a:gd name="connsiteX220" fmla="*/ 213072 w 369143"/>
                <a:gd name="connsiteY220" fmla="*/ 19843 h 48740"/>
                <a:gd name="connsiteX221" fmla="*/ 220714 w 369143"/>
                <a:gd name="connsiteY221" fmla="*/ 15796 h 48740"/>
                <a:gd name="connsiteX222" fmla="*/ 229234 w 369143"/>
                <a:gd name="connsiteY222" fmla="*/ 24902 h 48740"/>
                <a:gd name="connsiteX223" fmla="*/ 220714 w 369143"/>
                <a:gd name="connsiteY223" fmla="*/ 34221 h 48740"/>
                <a:gd name="connsiteX224" fmla="*/ 213072 w 369143"/>
                <a:gd name="connsiteY224" fmla="*/ 30121 h 48740"/>
                <a:gd name="connsiteX225" fmla="*/ 212540 w 369143"/>
                <a:gd name="connsiteY225" fmla="*/ 28017 h 48740"/>
                <a:gd name="connsiteX226" fmla="*/ 238740 w 369143"/>
                <a:gd name="connsiteY226" fmla="*/ 24849 h 48740"/>
                <a:gd name="connsiteX227" fmla="*/ 250868 w 369143"/>
                <a:gd name="connsiteY227" fmla="*/ 38148 h 48740"/>
                <a:gd name="connsiteX228" fmla="*/ 251600 w 369143"/>
                <a:gd name="connsiteY228" fmla="*/ 38162 h 48740"/>
                <a:gd name="connsiteX229" fmla="*/ 262491 w 369143"/>
                <a:gd name="connsiteY229" fmla="*/ 31079 h 48740"/>
                <a:gd name="connsiteX230" fmla="*/ 261425 w 369143"/>
                <a:gd name="connsiteY230" fmla="*/ 29695 h 48740"/>
                <a:gd name="connsiteX231" fmla="*/ 259588 w 369143"/>
                <a:gd name="connsiteY231" fmla="*/ 29695 h 48740"/>
                <a:gd name="connsiteX232" fmla="*/ 258177 w 369143"/>
                <a:gd name="connsiteY232" fmla="*/ 30680 h 48740"/>
                <a:gd name="connsiteX233" fmla="*/ 251600 w 369143"/>
                <a:gd name="connsiteY233" fmla="*/ 34248 h 48740"/>
                <a:gd name="connsiteX234" fmla="*/ 243612 w 369143"/>
                <a:gd name="connsiteY234" fmla="*/ 28044 h 48740"/>
                <a:gd name="connsiteX235" fmla="*/ 245184 w 369143"/>
                <a:gd name="connsiteY235" fmla="*/ 26207 h 48740"/>
                <a:gd name="connsiteX236" fmla="*/ 261718 w 369143"/>
                <a:gd name="connsiteY236" fmla="*/ 26207 h 48740"/>
                <a:gd name="connsiteX237" fmla="*/ 263366 w 369143"/>
                <a:gd name="connsiteY237" fmla="*/ 24774 h 48740"/>
                <a:gd name="connsiteX238" fmla="*/ 263369 w 369143"/>
                <a:gd name="connsiteY238" fmla="*/ 24636 h 48740"/>
                <a:gd name="connsiteX239" fmla="*/ 251917 w 369143"/>
                <a:gd name="connsiteY239" fmla="*/ 11842 h 48740"/>
                <a:gd name="connsiteX240" fmla="*/ 251600 w 369143"/>
                <a:gd name="connsiteY240" fmla="*/ 11829 h 48740"/>
                <a:gd name="connsiteX241" fmla="*/ 238791 w 369143"/>
                <a:gd name="connsiteY241" fmla="*/ 24311 h 48740"/>
                <a:gd name="connsiteX242" fmla="*/ 238793 w 369143"/>
                <a:gd name="connsiteY242" fmla="*/ 24822 h 48740"/>
                <a:gd name="connsiteX243" fmla="*/ 244118 w 369143"/>
                <a:gd name="connsiteY243" fmla="*/ 20402 h 48740"/>
                <a:gd name="connsiteX244" fmla="*/ 251414 w 369143"/>
                <a:gd name="connsiteY244" fmla="*/ 15716 h 48740"/>
                <a:gd name="connsiteX245" fmla="*/ 258204 w 369143"/>
                <a:gd name="connsiteY245" fmla="*/ 20455 h 48740"/>
                <a:gd name="connsiteX246" fmla="*/ 256739 w 369143"/>
                <a:gd name="connsiteY246" fmla="*/ 22399 h 48740"/>
                <a:gd name="connsiteX247" fmla="*/ 245476 w 369143"/>
                <a:gd name="connsiteY247" fmla="*/ 22399 h 48740"/>
                <a:gd name="connsiteX248" fmla="*/ 244118 w 369143"/>
                <a:gd name="connsiteY248" fmla="*/ 20455 h 48740"/>
                <a:gd name="connsiteX249" fmla="*/ 268082 w 369143"/>
                <a:gd name="connsiteY249" fmla="*/ 24875 h 48740"/>
                <a:gd name="connsiteX250" fmla="*/ 280801 w 369143"/>
                <a:gd name="connsiteY250" fmla="*/ 38188 h 48740"/>
                <a:gd name="connsiteX251" fmla="*/ 281395 w 369143"/>
                <a:gd name="connsiteY251" fmla="*/ 38188 h 48740"/>
                <a:gd name="connsiteX252" fmla="*/ 294708 w 369143"/>
                <a:gd name="connsiteY252" fmla="*/ 25469 h 48740"/>
                <a:gd name="connsiteX253" fmla="*/ 294708 w 369143"/>
                <a:gd name="connsiteY253" fmla="*/ 24875 h 48740"/>
                <a:gd name="connsiteX254" fmla="*/ 281989 w 369143"/>
                <a:gd name="connsiteY254" fmla="*/ 11874 h 48740"/>
                <a:gd name="connsiteX255" fmla="*/ 281395 w 369143"/>
                <a:gd name="connsiteY255" fmla="*/ 11882 h 48740"/>
                <a:gd name="connsiteX256" fmla="*/ 268087 w 369143"/>
                <a:gd name="connsiteY256" fmla="*/ 24335 h 48740"/>
                <a:gd name="connsiteX257" fmla="*/ 268082 w 369143"/>
                <a:gd name="connsiteY257" fmla="*/ 24875 h 48740"/>
                <a:gd name="connsiteX258" fmla="*/ 272662 w 369143"/>
                <a:gd name="connsiteY258" fmla="*/ 25035 h 48740"/>
                <a:gd name="connsiteX259" fmla="*/ 281012 w 369143"/>
                <a:gd name="connsiteY259" fmla="*/ 15833 h 48740"/>
                <a:gd name="connsiteX260" fmla="*/ 281528 w 369143"/>
                <a:gd name="connsiteY260" fmla="*/ 15822 h 48740"/>
                <a:gd name="connsiteX261" fmla="*/ 290349 w 369143"/>
                <a:gd name="connsiteY261" fmla="*/ 24628 h 48740"/>
                <a:gd name="connsiteX262" fmla="*/ 290341 w 369143"/>
                <a:gd name="connsiteY262" fmla="*/ 25035 h 48740"/>
                <a:gd name="connsiteX263" fmla="*/ 281882 w 369143"/>
                <a:gd name="connsiteY263" fmla="*/ 34240 h 48740"/>
                <a:gd name="connsiteX264" fmla="*/ 281528 w 369143"/>
                <a:gd name="connsiteY264" fmla="*/ 34248 h 48740"/>
                <a:gd name="connsiteX265" fmla="*/ 272654 w 369143"/>
                <a:gd name="connsiteY265" fmla="*/ 25442 h 48740"/>
                <a:gd name="connsiteX266" fmla="*/ 272662 w 369143"/>
                <a:gd name="connsiteY266" fmla="*/ 25035 h 48740"/>
                <a:gd name="connsiteX267" fmla="*/ 302749 w 369143"/>
                <a:gd name="connsiteY267" fmla="*/ 48386 h 48740"/>
                <a:gd name="connsiteX268" fmla="*/ 304533 w 369143"/>
                <a:gd name="connsiteY268" fmla="*/ 48386 h 48740"/>
                <a:gd name="connsiteX269" fmla="*/ 305755 w 369143"/>
                <a:gd name="connsiteY269" fmla="*/ 47444 h 48740"/>
                <a:gd name="connsiteX270" fmla="*/ 305758 w 369143"/>
                <a:gd name="connsiteY270" fmla="*/ 47188 h 48740"/>
                <a:gd name="connsiteX271" fmla="*/ 305758 w 369143"/>
                <a:gd name="connsiteY271" fmla="*/ 37097 h 48740"/>
                <a:gd name="connsiteX272" fmla="*/ 307702 w 369143"/>
                <a:gd name="connsiteY272" fmla="*/ 36218 h 48740"/>
                <a:gd name="connsiteX273" fmla="*/ 314731 w 369143"/>
                <a:gd name="connsiteY273" fmla="*/ 38162 h 48740"/>
                <a:gd name="connsiteX274" fmla="*/ 327490 w 369143"/>
                <a:gd name="connsiteY274" fmla="*/ 25096 h 48740"/>
                <a:gd name="connsiteX275" fmla="*/ 327485 w 369143"/>
                <a:gd name="connsiteY275" fmla="*/ 24849 h 48740"/>
                <a:gd name="connsiteX276" fmla="*/ 314973 w 369143"/>
                <a:gd name="connsiteY276" fmla="*/ 11805 h 48740"/>
                <a:gd name="connsiteX277" fmla="*/ 314811 w 369143"/>
                <a:gd name="connsiteY277" fmla="*/ 11802 h 48740"/>
                <a:gd name="connsiteX278" fmla="*/ 307063 w 369143"/>
                <a:gd name="connsiteY278" fmla="*/ 14252 h 48740"/>
                <a:gd name="connsiteX279" fmla="*/ 304933 w 369143"/>
                <a:gd name="connsiteY279" fmla="*/ 13506 h 48740"/>
                <a:gd name="connsiteX280" fmla="*/ 304933 w 369143"/>
                <a:gd name="connsiteY280" fmla="*/ 13506 h 48740"/>
                <a:gd name="connsiteX281" fmla="*/ 303628 w 369143"/>
                <a:gd name="connsiteY281" fmla="*/ 12388 h 48740"/>
                <a:gd name="connsiteX282" fmla="*/ 302749 w 369143"/>
                <a:gd name="connsiteY282" fmla="*/ 12388 h 48740"/>
                <a:gd name="connsiteX283" fmla="*/ 301527 w 369143"/>
                <a:gd name="connsiteY283" fmla="*/ 13330 h 48740"/>
                <a:gd name="connsiteX284" fmla="*/ 301524 w 369143"/>
                <a:gd name="connsiteY284" fmla="*/ 13586 h 48740"/>
                <a:gd name="connsiteX285" fmla="*/ 301524 w 369143"/>
                <a:gd name="connsiteY285" fmla="*/ 47188 h 48740"/>
                <a:gd name="connsiteX286" fmla="*/ 302494 w 369143"/>
                <a:gd name="connsiteY286" fmla="*/ 48389 h 48740"/>
                <a:gd name="connsiteX287" fmla="*/ 302749 w 369143"/>
                <a:gd name="connsiteY287" fmla="*/ 48386 h 48740"/>
                <a:gd name="connsiteX288" fmla="*/ 306104 w 369143"/>
                <a:gd name="connsiteY288" fmla="*/ 28044 h 48740"/>
                <a:gd name="connsiteX289" fmla="*/ 306104 w 369143"/>
                <a:gd name="connsiteY289" fmla="*/ 21973 h 48740"/>
                <a:gd name="connsiteX290" fmla="*/ 306637 w 369143"/>
                <a:gd name="connsiteY290" fmla="*/ 19870 h 48740"/>
                <a:gd name="connsiteX291" fmla="*/ 314278 w 369143"/>
                <a:gd name="connsiteY291" fmla="*/ 15822 h 48740"/>
                <a:gd name="connsiteX292" fmla="*/ 322799 w 369143"/>
                <a:gd name="connsiteY292" fmla="*/ 24929 h 48740"/>
                <a:gd name="connsiteX293" fmla="*/ 314278 w 369143"/>
                <a:gd name="connsiteY293" fmla="*/ 34248 h 48740"/>
                <a:gd name="connsiteX294" fmla="*/ 306637 w 369143"/>
                <a:gd name="connsiteY294" fmla="*/ 30147 h 48740"/>
                <a:gd name="connsiteX295" fmla="*/ 306104 w 369143"/>
                <a:gd name="connsiteY295" fmla="*/ 28044 h 48740"/>
                <a:gd name="connsiteX296" fmla="*/ 337496 w 369143"/>
                <a:gd name="connsiteY296" fmla="*/ -286 h 48740"/>
                <a:gd name="connsiteX297" fmla="*/ 335366 w 369143"/>
                <a:gd name="connsiteY297" fmla="*/ -286 h 48740"/>
                <a:gd name="connsiteX298" fmla="*/ 334141 w 369143"/>
                <a:gd name="connsiteY298" fmla="*/ 715 h 48740"/>
                <a:gd name="connsiteX299" fmla="*/ 334141 w 369143"/>
                <a:gd name="connsiteY299" fmla="*/ 938 h 48740"/>
                <a:gd name="connsiteX300" fmla="*/ 334141 w 369143"/>
                <a:gd name="connsiteY300" fmla="*/ 36484 h 48740"/>
                <a:gd name="connsiteX301" fmla="*/ 335111 w 369143"/>
                <a:gd name="connsiteY301" fmla="*/ 37685 h 48740"/>
                <a:gd name="connsiteX302" fmla="*/ 335366 w 369143"/>
                <a:gd name="connsiteY302" fmla="*/ 37683 h 48740"/>
                <a:gd name="connsiteX303" fmla="*/ 337496 w 369143"/>
                <a:gd name="connsiteY303" fmla="*/ 37683 h 48740"/>
                <a:gd name="connsiteX304" fmla="*/ 338718 w 369143"/>
                <a:gd name="connsiteY304" fmla="*/ 36740 h 48740"/>
                <a:gd name="connsiteX305" fmla="*/ 338721 w 369143"/>
                <a:gd name="connsiteY305" fmla="*/ 36484 h 48740"/>
                <a:gd name="connsiteX306" fmla="*/ 338721 w 369143"/>
                <a:gd name="connsiteY306" fmla="*/ 885 h 48740"/>
                <a:gd name="connsiteX307" fmla="*/ 337720 w 369143"/>
                <a:gd name="connsiteY307" fmla="*/ -340 h 48740"/>
                <a:gd name="connsiteX308" fmla="*/ 337496 w 369143"/>
                <a:gd name="connsiteY308" fmla="*/ -340 h 48740"/>
                <a:gd name="connsiteX309" fmla="*/ 345484 w 369143"/>
                <a:gd name="connsiteY309" fmla="*/ 24822 h 48740"/>
                <a:gd name="connsiteX310" fmla="*/ 357612 w 369143"/>
                <a:gd name="connsiteY310" fmla="*/ 38122 h 48740"/>
                <a:gd name="connsiteX311" fmla="*/ 358345 w 369143"/>
                <a:gd name="connsiteY311" fmla="*/ 38135 h 48740"/>
                <a:gd name="connsiteX312" fmla="*/ 369235 w 369143"/>
                <a:gd name="connsiteY312" fmla="*/ 31053 h 48740"/>
                <a:gd name="connsiteX313" fmla="*/ 368170 w 369143"/>
                <a:gd name="connsiteY313" fmla="*/ 29668 h 48740"/>
                <a:gd name="connsiteX314" fmla="*/ 366333 w 369143"/>
                <a:gd name="connsiteY314" fmla="*/ 29668 h 48740"/>
                <a:gd name="connsiteX315" fmla="*/ 364921 w 369143"/>
                <a:gd name="connsiteY315" fmla="*/ 30653 h 48740"/>
                <a:gd name="connsiteX316" fmla="*/ 358345 w 369143"/>
                <a:gd name="connsiteY316" fmla="*/ 34221 h 48740"/>
                <a:gd name="connsiteX317" fmla="*/ 350357 w 369143"/>
                <a:gd name="connsiteY317" fmla="*/ 28017 h 48740"/>
                <a:gd name="connsiteX318" fmla="*/ 351928 w 369143"/>
                <a:gd name="connsiteY318" fmla="*/ 26180 h 48740"/>
                <a:gd name="connsiteX319" fmla="*/ 368463 w 369143"/>
                <a:gd name="connsiteY319" fmla="*/ 26180 h 48740"/>
                <a:gd name="connsiteX320" fmla="*/ 370111 w 369143"/>
                <a:gd name="connsiteY320" fmla="*/ 24745 h 48740"/>
                <a:gd name="connsiteX321" fmla="*/ 370113 w 369143"/>
                <a:gd name="connsiteY321" fmla="*/ 24609 h 48740"/>
                <a:gd name="connsiteX322" fmla="*/ 358661 w 369143"/>
                <a:gd name="connsiteY322" fmla="*/ 11815 h 48740"/>
                <a:gd name="connsiteX323" fmla="*/ 358371 w 369143"/>
                <a:gd name="connsiteY323" fmla="*/ 11802 h 48740"/>
                <a:gd name="connsiteX324" fmla="*/ 345535 w 369143"/>
                <a:gd name="connsiteY324" fmla="*/ 24311 h 48740"/>
                <a:gd name="connsiteX325" fmla="*/ 345538 w 369143"/>
                <a:gd name="connsiteY325" fmla="*/ 24795 h 48740"/>
                <a:gd name="connsiteX326" fmla="*/ 350863 w 369143"/>
                <a:gd name="connsiteY326" fmla="*/ 20376 h 48740"/>
                <a:gd name="connsiteX327" fmla="*/ 358185 w 369143"/>
                <a:gd name="connsiteY327" fmla="*/ 15689 h 48740"/>
                <a:gd name="connsiteX328" fmla="*/ 364948 w 369143"/>
                <a:gd name="connsiteY328" fmla="*/ 20429 h 48740"/>
                <a:gd name="connsiteX329" fmla="*/ 363484 w 369143"/>
                <a:gd name="connsiteY329" fmla="*/ 22373 h 48740"/>
                <a:gd name="connsiteX330" fmla="*/ 352221 w 369143"/>
                <a:gd name="connsiteY330" fmla="*/ 22373 h 48740"/>
                <a:gd name="connsiteX331" fmla="*/ 350863 w 369143"/>
                <a:gd name="connsiteY331" fmla="*/ 20429 h 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Lst>
              <a:rect l="l" t="t" r="r" b="b"/>
              <a:pathLst>
                <a:path w="369143" h="48740">
                  <a:moveTo>
                    <a:pt x="2220" y="48333"/>
                  </a:moveTo>
                  <a:lnTo>
                    <a:pt x="4004" y="48333"/>
                  </a:lnTo>
                  <a:cubicBezTo>
                    <a:pt x="4603" y="48410"/>
                    <a:pt x="5149" y="47987"/>
                    <a:pt x="5226" y="47390"/>
                  </a:cubicBezTo>
                  <a:cubicBezTo>
                    <a:pt x="5237" y="47305"/>
                    <a:pt x="5237" y="47220"/>
                    <a:pt x="5229" y="47135"/>
                  </a:cubicBezTo>
                  <a:lnTo>
                    <a:pt x="5229" y="37043"/>
                  </a:lnTo>
                  <a:cubicBezTo>
                    <a:pt x="5229" y="35632"/>
                    <a:pt x="6001" y="35339"/>
                    <a:pt x="7172" y="36165"/>
                  </a:cubicBezTo>
                  <a:cubicBezTo>
                    <a:pt x="9265" y="37507"/>
                    <a:pt x="11717" y="38183"/>
                    <a:pt x="14202" y="38109"/>
                  </a:cubicBezTo>
                  <a:cubicBezTo>
                    <a:pt x="21319" y="38039"/>
                    <a:pt x="27033" y="32214"/>
                    <a:pt x="26961" y="25096"/>
                  </a:cubicBezTo>
                  <a:cubicBezTo>
                    <a:pt x="26961" y="24995"/>
                    <a:pt x="26958" y="24897"/>
                    <a:pt x="26955" y="24795"/>
                  </a:cubicBezTo>
                  <a:cubicBezTo>
                    <a:pt x="27102" y="17740"/>
                    <a:pt x="21502" y="11898"/>
                    <a:pt x="14444" y="11751"/>
                  </a:cubicBezTo>
                  <a:cubicBezTo>
                    <a:pt x="14391" y="11749"/>
                    <a:pt x="14335" y="11749"/>
                    <a:pt x="14281" y="11749"/>
                  </a:cubicBezTo>
                  <a:cubicBezTo>
                    <a:pt x="11496" y="11671"/>
                    <a:pt x="8767" y="12534"/>
                    <a:pt x="6533" y="14198"/>
                  </a:cubicBezTo>
                  <a:cubicBezTo>
                    <a:pt x="5468" y="15024"/>
                    <a:pt x="4643" y="14837"/>
                    <a:pt x="4403" y="13453"/>
                  </a:cubicBezTo>
                  <a:lnTo>
                    <a:pt x="4403" y="13453"/>
                  </a:lnTo>
                  <a:cubicBezTo>
                    <a:pt x="4347" y="12787"/>
                    <a:pt x="3767" y="12289"/>
                    <a:pt x="3098" y="12334"/>
                  </a:cubicBezTo>
                  <a:lnTo>
                    <a:pt x="2220" y="12334"/>
                  </a:lnTo>
                  <a:cubicBezTo>
                    <a:pt x="1621" y="12257"/>
                    <a:pt x="1075" y="12681"/>
                    <a:pt x="998" y="13277"/>
                  </a:cubicBezTo>
                  <a:cubicBezTo>
                    <a:pt x="987" y="13362"/>
                    <a:pt x="987" y="13447"/>
                    <a:pt x="995" y="13533"/>
                  </a:cubicBezTo>
                  <a:lnTo>
                    <a:pt x="995" y="47135"/>
                  </a:lnTo>
                  <a:cubicBezTo>
                    <a:pt x="931" y="47734"/>
                    <a:pt x="1365" y="48272"/>
                    <a:pt x="1964" y="48336"/>
                  </a:cubicBezTo>
                  <a:cubicBezTo>
                    <a:pt x="2049" y="48344"/>
                    <a:pt x="2134" y="48344"/>
                    <a:pt x="2220" y="48333"/>
                  </a:cubicBezTo>
                  <a:moveTo>
                    <a:pt x="5575" y="27991"/>
                  </a:moveTo>
                  <a:lnTo>
                    <a:pt x="5575" y="21920"/>
                  </a:lnTo>
                  <a:cubicBezTo>
                    <a:pt x="5535" y="21180"/>
                    <a:pt x="5721" y="20447"/>
                    <a:pt x="6107" y="19816"/>
                  </a:cubicBezTo>
                  <a:cubicBezTo>
                    <a:pt x="7777" y="17228"/>
                    <a:pt x="10671" y="15695"/>
                    <a:pt x="13749" y="15769"/>
                  </a:cubicBezTo>
                  <a:cubicBezTo>
                    <a:pt x="18606" y="15958"/>
                    <a:pt x="22405" y="20019"/>
                    <a:pt x="22269" y="24875"/>
                  </a:cubicBezTo>
                  <a:cubicBezTo>
                    <a:pt x="22480" y="29799"/>
                    <a:pt x="18672" y="33965"/>
                    <a:pt x="13749" y="34195"/>
                  </a:cubicBezTo>
                  <a:cubicBezTo>
                    <a:pt x="10655" y="34285"/>
                    <a:pt x="7745" y="32722"/>
                    <a:pt x="6107" y="30094"/>
                  </a:cubicBezTo>
                  <a:cubicBezTo>
                    <a:pt x="5721" y="29463"/>
                    <a:pt x="5535" y="28731"/>
                    <a:pt x="5575" y="27991"/>
                  </a:cubicBezTo>
                  <a:moveTo>
                    <a:pt x="36967" y="-340"/>
                  </a:moveTo>
                  <a:lnTo>
                    <a:pt x="34837" y="-340"/>
                  </a:lnTo>
                  <a:cubicBezTo>
                    <a:pt x="34222" y="-401"/>
                    <a:pt x="33673" y="46"/>
                    <a:pt x="33612" y="662"/>
                  </a:cubicBezTo>
                  <a:cubicBezTo>
                    <a:pt x="33604" y="736"/>
                    <a:pt x="33604" y="811"/>
                    <a:pt x="33612" y="885"/>
                  </a:cubicBezTo>
                  <a:lnTo>
                    <a:pt x="33612" y="36431"/>
                  </a:lnTo>
                  <a:cubicBezTo>
                    <a:pt x="33548" y="37030"/>
                    <a:pt x="33982" y="37568"/>
                    <a:pt x="34581" y="37632"/>
                  </a:cubicBezTo>
                  <a:cubicBezTo>
                    <a:pt x="34666" y="37640"/>
                    <a:pt x="34752" y="37640"/>
                    <a:pt x="34837" y="37629"/>
                  </a:cubicBezTo>
                  <a:lnTo>
                    <a:pt x="36967" y="37629"/>
                  </a:lnTo>
                  <a:cubicBezTo>
                    <a:pt x="37566" y="37707"/>
                    <a:pt x="38112" y="37283"/>
                    <a:pt x="38189" y="36687"/>
                  </a:cubicBezTo>
                  <a:cubicBezTo>
                    <a:pt x="38200" y="36602"/>
                    <a:pt x="38200" y="36516"/>
                    <a:pt x="38192" y="36431"/>
                  </a:cubicBezTo>
                  <a:lnTo>
                    <a:pt x="38192" y="885"/>
                  </a:lnTo>
                  <a:cubicBezTo>
                    <a:pt x="38253" y="270"/>
                    <a:pt x="37806" y="-278"/>
                    <a:pt x="37191" y="-340"/>
                  </a:cubicBezTo>
                  <a:cubicBezTo>
                    <a:pt x="37116" y="-348"/>
                    <a:pt x="37041" y="-348"/>
                    <a:pt x="36967" y="-340"/>
                  </a:cubicBezTo>
                  <a:moveTo>
                    <a:pt x="44768" y="30680"/>
                  </a:moveTo>
                  <a:cubicBezTo>
                    <a:pt x="44840" y="34871"/>
                    <a:pt x="48294" y="38210"/>
                    <a:pt x="52485" y="38141"/>
                  </a:cubicBezTo>
                  <a:cubicBezTo>
                    <a:pt x="52674" y="38135"/>
                    <a:pt x="52860" y="38125"/>
                    <a:pt x="53049" y="38109"/>
                  </a:cubicBezTo>
                  <a:cubicBezTo>
                    <a:pt x="56154" y="38127"/>
                    <a:pt x="59192" y="37198"/>
                    <a:pt x="61756" y="35446"/>
                  </a:cubicBezTo>
                  <a:cubicBezTo>
                    <a:pt x="62821" y="34780"/>
                    <a:pt x="63646" y="35020"/>
                    <a:pt x="63992" y="36218"/>
                  </a:cubicBezTo>
                  <a:lnTo>
                    <a:pt x="64152" y="36724"/>
                  </a:lnTo>
                  <a:cubicBezTo>
                    <a:pt x="64275" y="37363"/>
                    <a:pt x="64863" y="37802"/>
                    <a:pt x="65510" y="37736"/>
                  </a:cubicBezTo>
                  <a:lnTo>
                    <a:pt x="66096" y="37736"/>
                  </a:lnTo>
                  <a:cubicBezTo>
                    <a:pt x="66695" y="37797"/>
                    <a:pt x="67233" y="37363"/>
                    <a:pt x="67294" y="36761"/>
                  </a:cubicBezTo>
                  <a:cubicBezTo>
                    <a:pt x="67302" y="36687"/>
                    <a:pt x="67302" y="36612"/>
                    <a:pt x="67294" y="36538"/>
                  </a:cubicBezTo>
                  <a:lnTo>
                    <a:pt x="67294" y="22905"/>
                  </a:lnTo>
                  <a:cubicBezTo>
                    <a:pt x="67294" y="15982"/>
                    <a:pt x="63353" y="11935"/>
                    <a:pt x="56644" y="11935"/>
                  </a:cubicBezTo>
                  <a:cubicBezTo>
                    <a:pt x="50892" y="11935"/>
                    <a:pt x="46872" y="14864"/>
                    <a:pt x="45993" y="19497"/>
                  </a:cubicBezTo>
                  <a:cubicBezTo>
                    <a:pt x="45839" y="20048"/>
                    <a:pt x="46161" y="20623"/>
                    <a:pt x="46712" y="20778"/>
                  </a:cubicBezTo>
                  <a:cubicBezTo>
                    <a:pt x="46858" y="20818"/>
                    <a:pt x="47013" y="20825"/>
                    <a:pt x="47165" y="20802"/>
                  </a:cubicBezTo>
                  <a:lnTo>
                    <a:pt x="49055" y="20802"/>
                  </a:lnTo>
                  <a:cubicBezTo>
                    <a:pt x="49702" y="20825"/>
                    <a:pt x="50269" y="20373"/>
                    <a:pt x="50386" y="19736"/>
                  </a:cubicBezTo>
                  <a:cubicBezTo>
                    <a:pt x="51305" y="17207"/>
                    <a:pt x="53835" y="15633"/>
                    <a:pt x="56510" y="15929"/>
                  </a:cubicBezTo>
                  <a:cubicBezTo>
                    <a:pt x="59628" y="15498"/>
                    <a:pt x="62504" y="17673"/>
                    <a:pt x="62938" y="20791"/>
                  </a:cubicBezTo>
                  <a:cubicBezTo>
                    <a:pt x="62989" y="21164"/>
                    <a:pt x="63005" y="21542"/>
                    <a:pt x="62981" y="21920"/>
                  </a:cubicBezTo>
                  <a:cubicBezTo>
                    <a:pt x="62981" y="22958"/>
                    <a:pt x="62368" y="23491"/>
                    <a:pt x="61277" y="23491"/>
                  </a:cubicBezTo>
                  <a:lnTo>
                    <a:pt x="55632" y="23491"/>
                  </a:lnTo>
                  <a:cubicBezTo>
                    <a:pt x="48975" y="23491"/>
                    <a:pt x="44981" y="26606"/>
                    <a:pt x="44981" y="30840"/>
                  </a:cubicBezTo>
                  <a:moveTo>
                    <a:pt x="49561" y="30840"/>
                  </a:moveTo>
                  <a:cubicBezTo>
                    <a:pt x="49561" y="28417"/>
                    <a:pt x="51638" y="27325"/>
                    <a:pt x="55792" y="27325"/>
                  </a:cubicBezTo>
                  <a:lnTo>
                    <a:pt x="61330" y="27325"/>
                  </a:lnTo>
                  <a:cubicBezTo>
                    <a:pt x="62177" y="27232"/>
                    <a:pt x="62941" y="27844"/>
                    <a:pt x="63034" y="28691"/>
                  </a:cubicBezTo>
                  <a:cubicBezTo>
                    <a:pt x="63047" y="28803"/>
                    <a:pt x="63047" y="28917"/>
                    <a:pt x="63034" y="29029"/>
                  </a:cubicBezTo>
                  <a:lnTo>
                    <a:pt x="63034" y="29535"/>
                  </a:lnTo>
                  <a:cubicBezTo>
                    <a:pt x="63071" y="30347"/>
                    <a:pt x="62688" y="31119"/>
                    <a:pt x="62022" y="31585"/>
                  </a:cubicBezTo>
                  <a:cubicBezTo>
                    <a:pt x="59767" y="33233"/>
                    <a:pt x="57067" y="34160"/>
                    <a:pt x="54274" y="34248"/>
                  </a:cubicBezTo>
                  <a:cubicBezTo>
                    <a:pt x="51611" y="34248"/>
                    <a:pt x="49561" y="33129"/>
                    <a:pt x="49561" y="30733"/>
                  </a:cubicBezTo>
                  <a:moveTo>
                    <a:pt x="76826" y="37789"/>
                  </a:moveTo>
                  <a:lnTo>
                    <a:pt x="78956" y="37789"/>
                  </a:lnTo>
                  <a:cubicBezTo>
                    <a:pt x="79555" y="37866"/>
                    <a:pt x="80101" y="37443"/>
                    <a:pt x="80179" y="36846"/>
                  </a:cubicBezTo>
                  <a:cubicBezTo>
                    <a:pt x="80189" y="36761"/>
                    <a:pt x="80189" y="36676"/>
                    <a:pt x="80181" y="36591"/>
                  </a:cubicBezTo>
                  <a:lnTo>
                    <a:pt x="80181" y="20988"/>
                  </a:lnTo>
                  <a:cubicBezTo>
                    <a:pt x="80123" y="20152"/>
                    <a:pt x="80562" y="19361"/>
                    <a:pt x="81299" y="18964"/>
                  </a:cubicBezTo>
                  <a:cubicBezTo>
                    <a:pt x="83752" y="17274"/>
                    <a:pt x="86609" y="16264"/>
                    <a:pt x="89580" y="16035"/>
                  </a:cubicBezTo>
                  <a:cubicBezTo>
                    <a:pt x="92392" y="15777"/>
                    <a:pt x="94881" y="17846"/>
                    <a:pt x="95140" y="20658"/>
                  </a:cubicBezTo>
                  <a:cubicBezTo>
                    <a:pt x="95174" y="21033"/>
                    <a:pt x="95166" y="21411"/>
                    <a:pt x="95118" y="21787"/>
                  </a:cubicBezTo>
                  <a:lnTo>
                    <a:pt x="95118" y="36591"/>
                  </a:lnTo>
                  <a:cubicBezTo>
                    <a:pt x="95054" y="37190"/>
                    <a:pt x="95489" y="37728"/>
                    <a:pt x="96088" y="37792"/>
                  </a:cubicBezTo>
                  <a:cubicBezTo>
                    <a:pt x="96173" y="37800"/>
                    <a:pt x="96258" y="37800"/>
                    <a:pt x="96343" y="37789"/>
                  </a:cubicBezTo>
                  <a:lnTo>
                    <a:pt x="98473" y="37789"/>
                  </a:lnTo>
                  <a:cubicBezTo>
                    <a:pt x="99072" y="37866"/>
                    <a:pt x="99618" y="37443"/>
                    <a:pt x="99696" y="36846"/>
                  </a:cubicBezTo>
                  <a:cubicBezTo>
                    <a:pt x="99706" y="36761"/>
                    <a:pt x="99706" y="36676"/>
                    <a:pt x="99698" y="36591"/>
                  </a:cubicBezTo>
                  <a:lnTo>
                    <a:pt x="99698" y="21574"/>
                  </a:lnTo>
                  <a:cubicBezTo>
                    <a:pt x="99698" y="15343"/>
                    <a:pt x="96397" y="11988"/>
                    <a:pt x="90885" y="11988"/>
                  </a:cubicBezTo>
                  <a:cubicBezTo>
                    <a:pt x="87495" y="11996"/>
                    <a:pt x="84178" y="12976"/>
                    <a:pt x="81326" y="14811"/>
                  </a:cubicBezTo>
                  <a:cubicBezTo>
                    <a:pt x="80261" y="15503"/>
                    <a:pt x="79436" y="15210"/>
                    <a:pt x="79143" y="13932"/>
                  </a:cubicBezTo>
                  <a:lnTo>
                    <a:pt x="79143" y="13559"/>
                  </a:lnTo>
                  <a:cubicBezTo>
                    <a:pt x="79023" y="12902"/>
                    <a:pt x="78424" y="12444"/>
                    <a:pt x="77758" y="12494"/>
                  </a:cubicBezTo>
                  <a:lnTo>
                    <a:pt x="76906" y="12494"/>
                  </a:lnTo>
                  <a:cubicBezTo>
                    <a:pt x="76307" y="12417"/>
                    <a:pt x="75761" y="12840"/>
                    <a:pt x="75684" y="13437"/>
                  </a:cubicBezTo>
                  <a:cubicBezTo>
                    <a:pt x="75673" y="13522"/>
                    <a:pt x="75673" y="13607"/>
                    <a:pt x="75681" y="13692"/>
                  </a:cubicBezTo>
                  <a:lnTo>
                    <a:pt x="75681" y="36591"/>
                  </a:lnTo>
                  <a:cubicBezTo>
                    <a:pt x="75617" y="37190"/>
                    <a:pt x="76051" y="37728"/>
                    <a:pt x="76651" y="37792"/>
                  </a:cubicBezTo>
                  <a:cubicBezTo>
                    <a:pt x="76736" y="37800"/>
                    <a:pt x="76821" y="37800"/>
                    <a:pt x="76906" y="37789"/>
                  </a:cubicBezTo>
                  <a:moveTo>
                    <a:pt x="106195" y="24982"/>
                  </a:moveTo>
                  <a:cubicBezTo>
                    <a:pt x="105870" y="32003"/>
                    <a:pt x="111299" y="37959"/>
                    <a:pt x="118323" y="38282"/>
                  </a:cubicBezTo>
                  <a:cubicBezTo>
                    <a:pt x="118565" y="38292"/>
                    <a:pt x="118810" y="38298"/>
                    <a:pt x="119055" y="38295"/>
                  </a:cubicBezTo>
                  <a:cubicBezTo>
                    <a:pt x="123824" y="38492"/>
                    <a:pt x="128193" y="35651"/>
                    <a:pt x="129945" y="31212"/>
                  </a:cubicBezTo>
                  <a:cubicBezTo>
                    <a:pt x="130238" y="30387"/>
                    <a:pt x="129706" y="29828"/>
                    <a:pt x="128880" y="29828"/>
                  </a:cubicBezTo>
                  <a:lnTo>
                    <a:pt x="127043" y="29828"/>
                  </a:lnTo>
                  <a:cubicBezTo>
                    <a:pt x="126409" y="29817"/>
                    <a:pt x="125840" y="30214"/>
                    <a:pt x="125632" y="30813"/>
                  </a:cubicBezTo>
                  <a:cubicBezTo>
                    <a:pt x="124357" y="33217"/>
                    <a:pt x="121766" y="34623"/>
                    <a:pt x="119055" y="34381"/>
                  </a:cubicBezTo>
                  <a:cubicBezTo>
                    <a:pt x="115256" y="34477"/>
                    <a:pt x="111914" y="31881"/>
                    <a:pt x="111068" y="28177"/>
                  </a:cubicBezTo>
                  <a:cubicBezTo>
                    <a:pt x="110775" y="27059"/>
                    <a:pt x="111467" y="26340"/>
                    <a:pt x="112638" y="26340"/>
                  </a:cubicBezTo>
                  <a:lnTo>
                    <a:pt x="129173" y="26340"/>
                  </a:lnTo>
                  <a:cubicBezTo>
                    <a:pt x="130025" y="26398"/>
                    <a:pt x="130763" y="25757"/>
                    <a:pt x="130821" y="24905"/>
                  </a:cubicBezTo>
                  <a:cubicBezTo>
                    <a:pt x="130824" y="24859"/>
                    <a:pt x="130824" y="24814"/>
                    <a:pt x="130824" y="24769"/>
                  </a:cubicBezTo>
                  <a:cubicBezTo>
                    <a:pt x="131194" y="18072"/>
                    <a:pt x="126069" y="12345"/>
                    <a:pt x="119372" y="11975"/>
                  </a:cubicBezTo>
                  <a:cubicBezTo>
                    <a:pt x="119266" y="11970"/>
                    <a:pt x="119162" y="11964"/>
                    <a:pt x="119055" y="11962"/>
                  </a:cubicBezTo>
                  <a:cubicBezTo>
                    <a:pt x="112071" y="11871"/>
                    <a:pt x="106336" y="17460"/>
                    <a:pt x="106245" y="24444"/>
                  </a:cubicBezTo>
                  <a:cubicBezTo>
                    <a:pt x="106243" y="24614"/>
                    <a:pt x="106243" y="24785"/>
                    <a:pt x="106248" y="24955"/>
                  </a:cubicBezTo>
                  <a:moveTo>
                    <a:pt x="111707" y="20535"/>
                  </a:moveTo>
                  <a:cubicBezTo>
                    <a:pt x="113006" y="17676"/>
                    <a:pt x="115860" y="15841"/>
                    <a:pt x="119002" y="15849"/>
                  </a:cubicBezTo>
                  <a:cubicBezTo>
                    <a:pt x="122038" y="15844"/>
                    <a:pt x="124751" y="17737"/>
                    <a:pt x="125792" y="20589"/>
                  </a:cubicBezTo>
                  <a:cubicBezTo>
                    <a:pt x="126218" y="21760"/>
                    <a:pt x="125526" y="22532"/>
                    <a:pt x="124327" y="22532"/>
                  </a:cubicBezTo>
                  <a:lnTo>
                    <a:pt x="113065" y="22532"/>
                  </a:lnTo>
                  <a:cubicBezTo>
                    <a:pt x="111786" y="22532"/>
                    <a:pt x="111121" y="21707"/>
                    <a:pt x="111707" y="20589"/>
                  </a:cubicBezTo>
                  <a:moveTo>
                    <a:pt x="135670" y="16408"/>
                  </a:moveTo>
                  <a:lnTo>
                    <a:pt x="137720" y="16408"/>
                  </a:lnTo>
                  <a:cubicBezTo>
                    <a:pt x="137971" y="16392"/>
                    <a:pt x="138184" y="16584"/>
                    <a:pt x="138200" y="16832"/>
                  </a:cubicBezTo>
                  <a:cubicBezTo>
                    <a:pt x="138200" y="16850"/>
                    <a:pt x="138200" y="16869"/>
                    <a:pt x="138200" y="16888"/>
                  </a:cubicBezTo>
                  <a:lnTo>
                    <a:pt x="138200" y="30414"/>
                  </a:lnTo>
                  <a:cubicBezTo>
                    <a:pt x="138200" y="36218"/>
                    <a:pt x="141475" y="38401"/>
                    <a:pt x="145495" y="38401"/>
                  </a:cubicBezTo>
                  <a:cubicBezTo>
                    <a:pt x="147564" y="38404"/>
                    <a:pt x="149622" y="38079"/>
                    <a:pt x="151592" y="37443"/>
                  </a:cubicBezTo>
                  <a:cubicBezTo>
                    <a:pt x="152090" y="37059"/>
                    <a:pt x="152239" y="36373"/>
                    <a:pt x="151939" y="35819"/>
                  </a:cubicBezTo>
                  <a:lnTo>
                    <a:pt x="151779" y="34354"/>
                  </a:lnTo>
                  <a:cubicBezTo>
                    <a:pt x="151779" y="33529"/>
                    <a:pt x="151140" y="33183"/>
                    <a:pt x="150314" y="33476"/>
                  </a:cubicBezTo>
                  <a:cubicBezTo>
                    <a:pt x="148837" y="33963"/>
                    <a:pt x="147292" y="34216"/>
                    <a:pt x="145735" y="34221"/>
                  </a:cubicBezTo>
                  <a:cubicBezTo>
                    <a:pt x="143472" y="34221"/>
                    <a:pt x="142247" y="32996"/>
                    <a:pt x="142247" y="30281"/>
                  </a:cubicBezTo>
                  <a:lnTo>
                    <a:pt x="142247" y="16834"/>
                  </a:lnTo>
                  <a:cubicBezTo>
                    <a:pt x="142231" y="16584"/>
                    <a:pt x="142423" y="16371"/>
                    <a:pt x="142670" y="16355"/>
                  </a:cubicBezTo>
                  <a:cubicBezTo>
                    <a:pt x="142689" y="16355"/>
                    <a:pt x="142707" y="16355"/>
                    <a:pt x="142726" y="16355"/>
                  </a:cubicBezTo>
                  <a:lnTo>
                    <a:pt x="150714" y="16355"/>
                  </a:lnTo>
                  <a:cubicBezTo>
                    <a:pt x="151329" y="16416"/>
                    <a:pt x="151877" y="15969"/>
                    <a:pt x="151939" y="15354"/>
                  </a:cubicBezTo>
                  <a:cubicBezTo>
                    <a:pt x="151947" y="15279"/>
                    <a:pt x="151947" y="15205"/>
                    <a:pt x="151939" y="15130"/>
                  </a:cubicBezTo>
                  <a:lnTo>
                    <a:pt x="151939" y="13666"/>
                  </a:lnTo>
                  <a:cubicBezTo>
                    <a:pt x="152003" y="13067"/>
                    <a:pt x="151569" y="12529"/>
                    <a:pt x="150969" y="12465"/>
                  </a:cubicBezTo>
                  <a:cubicBezTo>
                    <a:pt x="150884" y="12457"/>
                    <a:pt x="150799" y="12457"/>
                    <a:pt x="150714" y="12468"/>
                  </a:cubicBezTo>
                  <a:lnTo>
                    <a:pt x="142726" y="12468"/>
                  </a:lnTo>
                  <a:cubicBezTo>
                    <a:pt x="142462" y="12468"/>
                    <a:pt x="142247" y="12255"/>
                    <a:pt x="142247" y="11988"/>
                  </a:cubicBezTo>
                  <a:cubicBezTo>
                    <a:pt x="142247" y="11980"/>
                    <a:pt x="142247" y="11970"/>
                    <a:pt x="142247" y="11962"/>
                  </a:cubicBezTo>
                  <a:lnTo>
                    <a:pt x="142247" y="6636"/>
                  </a:lnTo>
                  <a:cubicBezTo>
                    <a:pt x="142247" y="5811"/>
                    <a:pt x="141767" y="5332"/>
                    <a:pt x="140889" y="5571"/>
                  </a:cubicBezTo>
                  <a:lnTo>
                    <a:pt x="138839" y="6104"/>
                  </a:lnTo>
                  <a:cubicBezTo>
                    <a:pt x="138200" y="6224"/>
                    <a:pt x="137760" y="6815"/>
                    <a:pt x="137827" y="7462"/>
                  </a:cubicBezTo>
                  <a:lnTo>
                    <a:pt x="137827" y="11855"/>
                  </a:lnTo>
                  <a:cubicBezTo>
                    <a:pt x="137843" y="12119"/>
                    <a:pt x="137640" y="12345"/>
                    <a:pt x="137377" y="12361"/>
                  </a:cubicBezTo>
                  <a:cubicBezTo>
                    <a:pt x="137358" y="12361"/>
                    <a:pt x="137340" y="12361"/>
                    <a:pt x="137321" y="12361"/>
                  </a:cubicBezTo>
                  <a:lnTo>
                    <a:pt x="135138" y="12361"/>
                  </a:lnTo>
                  <a:cubicBezTo>
                    <a:pt x="134539" y="12284"/>
                    <a:pt x="133993" y="12707"/>
                    <a:pt x="133915" y="13304"/>
                  </a:cubicBezTo>
                  <a:cubicBezTo>
                    <a:pt x="133905" y="13389"/>
                    <a:pt x="133905" y="13474"/>
                    <a:pt x="133913" y="13559"/>
                  </a:cubicBezTo>
                  <a:lnTo>
                    <a:pt x="133913" y="15024"/>
                  </a:lnTo>
                  <a:cubicBezTo>
                    <a:pt x="133851" y="15639"/>
                    <a:pt x="134299" y="16187"/>
                    <a:pt x="134914" y="16248"/>
                  </a:cubicBezTo>
                  <a:cubicBezTo>
                    <a:pt x="134988" y="16257"/>
                    <a:pt x="135063" y="16257"/>
                    <a:pt x="135138" y="16248"/>
                  </a:cubicBezTo>
                  <a:moveTo>
                    <a:pt x="168820" y="24023"/>
                  </a:moveTo>
                  <a:cubicBezTo>
                    <a:pt x="168758" y="24638"/>
                    <a:pt x="169206" y="25187"/>
                    <a:pt x="169821" y="25248"/>
                  </a:cubicBezTo>
                  <a:cubicBezTo>
                    <a:pt x="169895" y="25256"/>
                    <a:pt x="169970" y="25256"/>
                    <a:pt x="170044" y="25248"/>
                  </a:cubicBezTo>
                  <a:lnTo>
                    <a:pt x="175609" y="25248"/>
                  </a:lnTo>
                  <a:cubicBezTo>
                    <a:pt x="176134" y="25187"/>
                    <a:pt x="176613" y="25562"/>
                    <a:pt x="176674" y="26087"/>
                  </a:cubicBezTo>
                  <a:cubicBezTo>
                    <a:pt x="176682" y="26161"/>
                    <a:pt x="176682" y="26239"/>
                    <a:pt x="176674" y="26313"/>
                  </a:cubicBezTo>
                  <a:lnTo>
                    <a:pt x="176674" y="31772"/>
                  </a:lnTo>
                  <a:cubicBezTo>
                    <a:pt x="176581" y="32352"/>
                    <a:pt x="176975" y="32898"/>
                    <a:pt x="177556" y="32994"/>
                  </a:cubicBezTo>
                  <a:cubicBezTo>
                    <a:pt x="177659" y="33010"/>
                    <a:pt x="177769" y="33010"/>
                    <a:pt x="177872" y="32996"/>
                  </a:cubicBezTo>
                  <a:lnTo>
                    <a:pt x="179230" y="32996"/>
                  </a:lnTo>
                  <a:cubicBezTo>
                    <a:pt x="179846" y="33058"/>
                    <a:pt x="180394" y="32610"/>
                    <a:pt x="180455" y="31995"/>
                  </a:cubicBezTo>
                  <a:cubicBezTo>
                    <a:pt x="180463" y="31921"/>
                    <a:pt x="180463" y="31846"/>
                    <a:pt x="180455" y="31772"/>
                  </a:cubicBezTo>
                  <a:lnTo>
                    <a:pt x="180455" y="26313"/>
                  </a:lnTo>
                  <a:cubicBezTo>
                    <a:pt x="180410" y="25770"/>
                    <a:pt x="180812" y="25293"/>
                    <a:pt x="181353" y="25248"/>
                  </a:cubicBezTo>
                  <a:cubicBezTo>
                    <a:pt x="181408" y="25243"/>
                    <a:pt x="181464" y="25243"/>
                    <a:pt x="181520" y="25248"/>
                  </a:cubicBezTo>
                  <a:lnTo>
                    <a:pt x="186979" y="25248"/>
                  </a:lnTo>
                  <a:cubicBezTo>
                    <a:pt x="187594" y="25309"/>
                    <a:pt x="188142" y="24862"/>
                    <a:pt x="188203" y="24247"/>
                  </a:cubicBezTo>
                  <a:cubicBezTo>
                    <a:pt x="188211" y="24172"/>
                    <a:pt x="188211" y="24098"/>
                    <a:pt x="188203" y="24023"/>
                  </a:cubicBezTo>
                  <a:lnTo>
                    <a:pt x="188203" y="22665"/>
                  </a:lnTo>
                  <a:cubicBezTo>
                    <a:pt x="188267" y="22066"/>
                    <a:pt x="187833" y="21528"/>
                    <a:pt x="187234" y="21465"/>
                  </a:cubicBezTo>
                  <a:cubicBezTo>
                    <a:pt x="187149" y="21457"/>
                    <a:pt x="187064" y="21457"/>
                    <a:pt x="186979" y="21467"/>
                  </a:cubicBezTo>
                  <a:lnTo>
                    <a:pt x="181520" y="21467"/>
                  </a:lnTo>
                  <a:cubicBezTo>
                    <a:pt x="180977" y="21515"/>
                    <a:pt x="180500" y="21113"/>
                    <a:pt x="180453" y="20573"/>
                  </a:cubicBezTo>
                  <a:cubicBezTo>
                    <a:pt x="180447" y="20506"/>
                    <a:pt x="180447" y="20439"/>
                    <a:pt x="180455" y="20376"/>
                  </a:cubicBezTo>
                  <a:lnTo>
                    <a:pt x="180455" y="15050"/>
                  </a:lnTo>
                  <a:cubicBezTo>
                    <a:pt x="180535" y="14454"/>
                    <a:pt x="180114" y="13905"/>
                    <a:pt x="179515" y="13825"/>
                  </a:cubicBezTo>
                  <a:cubicBezTo>
                    <a:pt x="179422" y="13812"/>
                    <a:pt x="179326" y="13812"/>
                    <a:pt x="179230" y="13825"/>
                  </a:cubicBezTo>
                  <a:lnTo>
                    <a:pt x="177846" y="13825"/>
                  </a:lnTo>
                  <a:cubicBezTo>
                    <a:pt x="177266" y="13730"/>
                    <a:pt x="176717" y="14121"/>
                    <a:pt x="176621" y="14702"/>
                  </a:cubicBezTo>
                  <a:cubicBezTo>
                    <a:pt x="176602" y="14819"/>
                    <a:pt x="176602" y="14936"/>
                    <a:pt x="176621" y="15050"/>
                  </a:cubicBezTo>
                  <a:lnTo>
                    <a:pt x="176621" y="20376"/>
                  </a:lnTo>
                  <a:cubicBezTo>
                    <a:pt x="176698" y="20900"/>
                    <a:pt x="176336" y="21387"/>
                    <a:pt x="175814" y="21465"/>
                  </a:cubicBezTo>
                  <a:cubicBezTo>
                    <a:pt x="175729" y="21478"/>
                    <a:pt x="175641" y="21478"/>
                    <a:pt x="175556" y="21467"/>
                  </a:cubicBezTo>
                  <a:lnTo>
                    <a:pt x="170044" y="21467"/>
                  </a:lnTo>
                  <a:cubicBezTo>
                    <a:pt x="169445" y="21390"/>
                    <a:pt x="168899" y="21813"/>
                    <a:pt x="168822" y="22410"/>
                  </a:cubicBezTo>
                  <a:cubicBezTo>
                    <a:pt x="168812" y="22495"/>
                    <a:pt x="168812" y="22580"/>
                    <a:pt x="168820" y="22665"/>
                  </a:cubicBezTo>
                  <a:close/>
                  <a:moveTo>
                    <a:pt x="209185" y="48360"/>
                  </a:moveTo>
                  <a:lnTo>
                    <a:pt x="210995" y="48360"/>
                  </a:lnTo>
                  <a:cubicBezTo>
                    <a:pt x="211595" y="48421"/>
                    <a:pt x="212132" y="47987"/>
                    <a:pt x="212194" y="47385"/>
                  </a:cubicBezTo>
                  <a:cubicBezTo>
                    <a:pt x="212202" y="47311"/>
                    <a:pt x="212202" y="47236"/>
                    <a:pt x="212194" y="47161"/>
                  </a:cubicBezTo>
                  <a:lnTo>
                    <a:pt x="212194" y="37070"/>
                  </a:lnTo>
                  <a:cubicBezTo>
                    <a:pt x="212194" y="35659"/>
                    <a:pt x="212966" y="35366"/>
                    <a:pt x="214137" y="36192"/>
                  </a:cubicBezTo>
                  <a:cubicBezTo>
                    <a:pt x="216233" y="37528"/>
                    <a:pt x="218682" y="38207"/>
                    <a:pt x="221167" y="38135"/>
                  </a:cubicBezTo>
                  <a:cubicBezTo>
                    <a:pt x="228284" y="38066"/>
                    <a:pt x="233998" y="32240"/>
                    <a:pt x="233926" y="25123"/>
                  </a:cubicBezTo>
                  <a:cubicBezTo>
                    <a:pt x="233926" y="25022"/>
                    <a:pt x="233923" y="24923"/>
                    <a:pt x="233921" y="24822"/>
                  </a:cubicBezTo>
                  <a:cubicBezTo>
                    <a:pt x="234067" y="17766"/>
                    <a:pt x="228468" y="11924"/>
                    <a:pt x="221409" y="11778"/>
                  </a:cubicBezTo>
                  <a:cubicBezTo>
                    <a:pt x="221356" y="11775"/>
                    <a:pt x="221300" y="11775"/>
                    <a:pt x="221247" y="11775"/>
                  </a:cubicBezTo>
                  <a:cubicBezTo>
                    <a:pt x="218469" y="11695"/>
                    <a:pt x="215748" y="12558"/>
                    <a:pt x="213525" y="14225"/>
                  </a:cubicBezTo>
                  <a:cubicBezTo>
                    <a:pt x="212433" y="15050"/>
                    <a:pt x="211608" y="14864"/>
                    <a:pt x="211368" y="13479"/>
                  </a:cubicBezTo>
                  <a:lnTo>
                    <a:pt x="211368" y="13479"/>
                  </a:lnTo>
                  <a:cubicBezTo>
                    <a:pt x="211312" y="12814"/>
                    <a:pt x="210732" y="12316"/>
                    <a:pt x="210064" y="12361"/>
                  </a:cubicBezTo>
                  <a:lnTo>
                    <a:pt x="209185" y="12361"/>
                  </a:lnTo>
                  <a:cubicBezTo>
                    <a:pt x="208586" y="12284"/>
                    <a:pt x="208040" y="12707"/>
                    <a:pt x="207963" y="13304"/>
                  </a:cubicBezTo>
                  <a:cubicBezTo>
                    <a:pt x="207952" y="13389"/>
                    <a:pt x="207952" y="13474"/>
                    <a:pt x="207960" y="13559"/>
                  </a:cubicBezTo>
                  <a:lnTo>
                    <a:pt x="207960" y="47161"/>
                  </a:lnTo>
                  <a:cubicBezTo>
                    <a:pt x="207896" y="47760"/>
                    <a:pt x="208330" y="48298"/>
                    <a:pt x="208929" y="48362"/>
                  </a:cubicBezTo>
                  <a:cubicBezTo>
                    <a:pt x="209014" y="48370"/>
                    <a:pt x="209100" y="48370"/>
                    <a:pt x="209185" y="48360"/>
                  </a:cubicBezTo>
                  <a:moveTo>
                    <a:pt x="212540" y="28017"/>
                  </a:moveTo>
                  <a:lnTo>
                    <a:pt x="212540" y="21947"/>
                  </a:lnTo>
                  <a:cubicBezTo>
                    <a:pt x="212500" y="21206"/>
                    <a:pt x="212686" y="20474"/>
                    <a:pt x="213072" y="19843"/>
                  </a:cubicBezTo>
                  <a:cubicBezTo>
                    <a:pt x="214744" y="17260"/>
                    <a:pt x="217636" y="15727"/>
                    <a:pt x="220714" y="15796"/>
                  </a:cubicBezTo>
                  <a:cubicBezTo>
                    <a:pt x="225571" y="15985"/>
                    <a:pt x="229370" y="20045"/>
                    <a:pt x="229234" y="24902"/>
                  </a:cubicBezTo>
                  <a:cubicBezTo>
                    <a:pt x="229445" y="29825"/>
                    <a:pt x="225637" y="33992"/>
                    <a:pt x="220714" y="34221"/>
                  </a:cubicBezTo>
                  <a:cubicBezTo>
                    <a:pt x="217620" y="34304"/>
                    <a:pt x="214712" y="32746"/>
                    <a:pt x="213072" y="30121"/>
                  </a:cubicBezTo>
                  <a:cubicBezTo>
                    <a:pt x="212686" y="29490"/>
                    <a:pt x="212500" y="28757"/>
                    <a:pt x="212540" y="28017"/>
                  </a:cubicBezTo>
                  <a:moveTo>
                    <a:pt x="238740" y="24849"/>
                  </a:moveTo>
                  <a:cubicBezTo>
                    <a:pt x="238415" y="31870"/>
                    <a:pt x="243844" y="37826"/>
                    <a:pt x="250868" y="38148"/>
                  </a:cubicBezTo>
                  <a:cubicBezTo>
                    <a:pt x="251110" y="38159"/>
                    <a:pt x="251355" y="38165"/>
                    <a:pt x="251600" y="38162"/>
                  </a:cubicBezTo>
                  <a:cubicBezTo>
                    <a:pt x="256369" y="38359"/>
                    <a:pt x="260738" y="35518"/>
                    <a:pt x="262491" y="31079"/>
                  </a:cubicBezTo>
                  <a:cubicBezTo>
                    <a:pt x="262783" y="30254"/>
                    <a:pt x="262251" y="29695"/>
                    <a:pt x="261425" y="29695"/>
                  </a:cubicBezTo>
                  <a:lnTo>
                    <a:pt x="259588" y="29695"/>
                  </a:lnTo>
                  <a:cubicBezTo>
                    <a:pt x="258955" y="29684"/>
                    <a:pt x="258385" y="30081"/>
                    <a:pt x="258177" y="30680"/>
                  </a:cubicBezTo>
                  <a:cubicBezTo>
                    <a:pt x="256907" y="33090"/>
                    <a:pt x="254311" y="34498"/>
                    <a:pt x="251600" y="34248"/>
                  </a:cubicBezTo>
                  <a:cubicBezTo>
                    <a:pt x="247801" y="34344"/>
                    <a:pt x="244459" y="31748"/>
                    <a:pt x="243612" y="28044"/>
                  </a:cubicBezTo>
                  <a:cubicBezTo>
                    <a:pt x="243320" y="26926"/>
                    <a:pt x="244012" y="26207"/>
                    <a:pt x="245184" y="26207"/>
                  </a:cubicBezTo>
                  <a:lnTo>
                    <a:pt x="261718" y="26207"/>
                  </a:lnTo>
                  <a:cubicBezTo>
                    <a:pt x="262570" y="26265"/>
                    <a:pt x="263308" y="25624"/>
                    <a:pt x="263366" y="24774"/>
                  </a:cubicBezTo>
                  <a:cubicBezTo>
                    <a:pt x="263369" y="24726"/>
                    <a:pt x="263369" y="24681"/>
                    <a:pt x="263369" y="24636"/>
                  </a:cubicBezTo>
                  <a:cubicBezTo>
                    <a:pt x="263739" y="17939"/>
                    <a:pt x="258611" y="12212"/>
                    <a:pt x="251917" y="11842"/>
                  </a:cubicBezTo>
                  <a:cubicBezTo>
                    <a:pt x="251811" y="11837"/>
                    <a:pt x="251707" y="11831"/>
                    <a:pt x="251600" y="11829"/>
                  </a:cubicBezTo>
                  <a:cubicBezTo>
                    <a:pt x="244616" y="11738"/>
                    <a:pt x="238881" y="17327"/>
                    <a:pt x="238791" y="24311"/>
                  </a:cubicBezTo>
                  <a:cubicBezTo>
                    <a:pt x="238788" y="24481"/>
                    <a:pt x="238788" y="24652"/>
                    <a:pt x="238793" y="24822"/>
                  </a:cubicBezTo>
                  <a:moveTo>
                    <a:pt x="244118" y="20402"/>
                  </a:moveTo>
                  <a:cubicBezTo>
                    <a:pt x="245418" y="17542"/>
                    <a:pt x="248272" y="15708"/>
                    <a:pt x="251414" y="15716"/>
                  </a:cubicBezTo>
                  <a:cubicBezTo>
                    <a:pt x="254449" y="15711"/>
                    <a:pt x="257163" y="17604"/>
                    <a:pt x="258204" y="20455"/>
                  </a:cubicBezTo>
                  <a:cubicBezTo>
                    <a:pt x="258630" y="21627"/>
                    <a:pt x="257964" y="22399"/>
                    <a:pt x="256739" y="22399"/>
                  </a:cubicBezTo>
                  <a:lnTo>
                    <a:pt x="245476" y="22399"/>
                  </a:lnTo>
                  <a:cubicBezTo>
                    <a:pt x="244225" y="22399"/>
                    <a:pt x="243533" y="21574"/>
                    <a:pt x="244118" y="20455"/>
                  </a:cubicBezTo>
                  <a:moveTo>
                    <a:pt x="268082" y="24875"/>
                  </a:moveTo>
                  <a:cubicBezTo>
                    <a:pt x="267920" y="32064"/>
                    <a:pt x="273615" y="38026"/>
                    <a:pt x="280801" y="38188"/>
                  </a:cubicBezTo>
                  <a:cubicBezTo>
                    <a:pt x="281001" y="38194"/>
                    <a:pt x="281198" y="38194"/>
                    <a:pt x="281395" y="38188"/>
                  </a:cubicBezTo>
                  <a:cubicBezTo>
                    <a:pt x="288584" y="38351"/>
                    <a:pt x="294546" y="32658"/>
                    <a:pt x="294708" y="25469"/>
                  </a:cubicBezTo>
                  <a:cubicBezTo>
                    <a:pt x="294713" y="25269"/>
                    <a:pt x="294713" y="25072"/>
                    <a:pt x="294708" y="24875"/>
                  </a:cubicBezTo>
                  <a:cubicBezTo>
                    <a:pt x="294785" y="17774"/>
                    <a:pt x="289093" y="11954"/>
                    <a:pt x="281989" y="11874"/>
                  </a:cubicBezTo>
                  <a:cubicBezTo>
                    <a:pt x="281792" y="11871"/>
                    <a:pt x="281592" y="11874"/>
                    <a:pt x="281395" y="11882"/>
                  </a:cubicBezTo>
                  <a:cubicBezTo>
                    <a:pt x="274281" y="11647"/>
                    <a:pt x="268324" y="17223"/>
                    <a:pt x="268087" y="24335"/>
                  </a:cubicBezTo>
                  <a:cubicBezTo>
                    <a:pt x="268082" y="24516"/>
                    <a:pt x="268079" y="24694"/>
                    <a:pt x="268082" y="24875"/>
                  </a:cubicBezTo>
                  <a:moveTo>
                    <a:pt x="272662" y="25035"/>
                  </a:moveTo>
                  <a:cubicBezTo>
                    <a:pt x="272427" y="20189"/>
                    <a:pt x="276166" y="16067"/>
                    <a:pt x="281012" y="15833"/>
                  </a:cubicBezTo>
                  <a:cubicBezTo>
                    <a:pt x="281185" y="15825"/>
                    <a:pt x="281355" y="15820"/>
                    <a:pt x="281528" y="15822"/>
                  </a:cubicBezTo>
                  <a:cubicBezTo>
                    <a:pt x="286395" y="15817"/>
                    <a:pt x="290347" y="19760"/>
                    <a:pt x="290349" y="24628"/>
                  </a:cubicBezTo>
                  <a:cubicBezTo>
                    <a:pt x="290352" y="24764"/>
                    <a:pt x="290347" y="24899"/>
                    <a:pt x="290341" y="25035"/>
                  </a:cubicBezTo>
                  <a:cubicBezTo>
                    <a:pt x="290546" y="29913"/>
                    <a:pt x="286760" y="34035"/>
                    <a:pt x="281882" y="34240"/>
                  </a:cubicBezTo>
                  <a:cubicBezTo>
                    <a:pt x="281765" y="34245"/>
                    <a:pt x="281645" y="34248"/>
                    <a:pt x="281528" y="34248"/>
                  </a:cubicBezTo>
                  <a:cubicBezTo>
                    <a:pt x="276645" y="34266"/>
                    <a:pt x="272672" y="30326"/>
                    <a:pt x="272654" y="25442"/>
                  </a:cubicBezTo>
                  <a:cubicBezTo>
                    <a:pt x="272654" y="25307"/>
                    <a:pt x="272656" y="25171"/>
                    <a:pt x="272662" y="25035"/>
                  </a:cubicBezTo>
                  <a:moveTo>
                    <a:pt x="302749" y="48386"/>
                  </a:moveTo>
                  <a:lnTo>
                    <a:pt x="304533" y="48386"/>
                  </a:lnTo>
                  <a:cubicBezTo>
                    <a:pt x="305132" y="48463"/>
                    <a:pt x="305678" y="48040"/>
                    <a:pt x="305755" y="47444"/>
                  </a:cubicBezTo>
                  <a:cubicBezTo>
                    <a:pt x="305766" y="47359"/>
                    <a:pt x="305766" y="47273"/>
                    <a:pt x="305758" y="47188"/>
                  </a:cubicBezTo>
                  <a:lnTo>
                    <a:pt x="305758" y="37097"/>
                  </a:lnTo>
                  <a:cubicBezTo>
                    <a:pt x="305758" y="35686"/>
                    <a:pt x="306530" y="35393"/>
                    <a:pt x="307702" y="36218"/>
                  </a:cubicBezTo>
                  <a:cubicBezTo>
                    <a:pt x="309795" y="37560"/>
                    <a:pt x="312247" y="38236"/>
                    <a:pt x="314731" y="38162"/>
                  </a:cubicBezTo>
                  <a:cubicBezTo>
                    <a:pt x="321861" y="38077"/>
                    <a:pt x="327575" y="32227"/>
                    <a:pt x="327490" y="25096"/>
                  </a:cubicBezTo>
                  <a:cubicBezTo>
                    <a:pt x="327490" y="25014"/>
                    <a:pt x="327488" y="24931"/>
                    <a:pt x="327485" y="24849"/>
                  </a:cubicBezTo>
                  <a:cubicBezTo>
                    <a:pt x="327631" y="17793"/>
                    <a:pt x="322032" y="11951"/>
                    <a:pt x="314973" y="11805"/>
                  </a:cubicBezTo>
                  <a:cubicBezTo>
                    <a:pt x="314920" y="11802"/>
                    <a:pt x="314864" y="11802"/>
                    <a:pt x="314811" y="11802"/>
                  </a:cubicBezTo>
                  <a:cubicBezTo>
                    <a:pt x="312026" y="11725"/>
                    <a:pt x="309297" y="12587"/>
                    <a:pt x="307063" y="14252"/>
                  </a:cubicBezTo>
                  <a:cubicBezTo>
                    <a:pt x="305998" y="15077"/>
                    <a:pt x="305172" y="14891"/>
                    <a:pt x="304933" y="13506"/>
                  </a:cubicBezTo>
                  <a:lnTo>
                    <a:pt x="304933" y="13506"/>
                  </a:lnTo>
                  <a:cubicBezTo>
                    <a:pt x="304877" y="12840"/>
                    <a:pt x="304296" y="12342"/>
                    <a:pt x="303628" y="12388"/>
                  </a:cubicBezTo>
                  <a:lnTo>
                    <a:pt x="302749" y="12388"/>
                  </a:lnTo>
                  <a:cubicBezTo>
                    <a:pt x="302150" y="12310"/>
                    <a:pt x="301604" y="12734"/>
                    <a:pt x="301527" y="13330"/>
                  </a:cubicBezTo>
                  <a:cubicBezTo>
                    <a:pt x="301516" y="13415"/>
                    <a:pt x="301516" y="13501"/>
                    <a:pt x="301524" y="13586"/>
                  </a:cubicBezTo>
                  <a:lnTo>
                    <a:pt x="301524" y="47188"/>
                  </a:lnTo>
                  <a:cubicBezTo>
                    <a:pt x="301461" y="47787"/>
                    <a:pt x="301894" y="48325"/>
                    <a:pt x="302494" y="48389"/>
                  </a:cubicBezTo>
                  <a:cubicBezTo>
                    <a:pt x="302579" y="48397"/>
                    <a:pt x="302664" y="48397"/>
                    <a:pt x="302749" y="48386"/>
                  </a:cubicBezTo>
                  <a:moveTo>
                    <a:pt x="306104" y="28044"/>
                  </a:moveTo>
                  <a:lnTo>
                    <a:pt x="306104" y="21973"/>
                  </a:lnTo>
                  <a:cubicBezTo>
                    <a:pt x="306051" y="21233"/>
                    <a:pt x="306237" y="20495"/>
                    <a:pt x="306637" y="19870"/>
                  </a:cubicBezTo>
                  <a:cubicBezTo>
                    <a:pt x="308306" y="17282"/>
                    <a:pt x="311200" y="15748"/>
                    <a:pt x="314278" y="15822"/>
                  </a:cubicBezTo>
                  <a:cubicBezTo>
                    <a:pt x="319135" y="16012"/>
                    <a:pt x="322935" y="20072"/>
                    <a:pt x="322799" y="24929"/>
                  </a:cubicBezTo>
                  <a:cubicBezTo>
                    <a:pt x="323009" y="29852"/>
                    <a:pt x="319201" y="34019"/>
                    <a:pt x="314278" y="34248"/>
                  </a:cubicBezTo>
                  <a:cubicBezTo>
                    <a:pt x="311184" y="34338"/>
                    <a:pt x="308274" y="32775"/>
                    <a:pt x="306637" y="30147"/>
                  </a:cubicBezTo>
                  <a:cubicBezTo>
                    <a:pt x="306237" y="29522"/>
                    <a:pt x="306051" y="28784"/>
                    <a:pt x="306104" y="28044"/>
                  </a:cubicBezTo>
                  <a:moveTo>
                    <a:pt x="337496" y="-286"/>
                  </a:moveTo>
                  <a:lnTo>
                    <a:pt x="335366" y="-286"/>
                  </a:lnTo>
                  <a:cubicBezTo>
                    <a:pt x="334751" y="-348"/>
                    <a:pt x="334203" y="100"/>
                    <a:pt x="334141" y="715"/>
                  </a:cubicBezTo>
                  <a:cubicBezTo>
                    <a:pt x="334133" y="789"/>
                    <a:pt x="334133" y="864"/>
                    <a:pt x="334141" y="938"/>
                  </a:cubicBezTo>
                  <a:lnTo>
                    <a:pt x="334141" y="36484"/>
                  </a:lnTo>
                  <a:cubicBezTo>
                    <a:pt x="334078" y="37083"/>
                    <a:pt x="334511" y="37621"/>
                    <a:pt x="335111" y="37685"/>
                  </a:cubicBezTo>
                  <a:cubicBezTo>
                    <a:pt x="335196" y="37693"/>
                    <a:pt x="335281" y="37693"/>
                    <a:pt x="335366" y="37683"/>
                  </a:cubicBezTo>
                  <a:lnTo>
                    <a:pt x="337496" y="37683"/>
                  </a:lnTo>
                  <a:cubicBezTo>
                    <a:pt x="338095" y="37760"/>
                    <a:pt x="338641" y="37336"/>
                    <a:pt x="338718" y="36740"/>
                  </a:cubicBezTo>
                  <a:cubicBezTo>
                    <a:pt x="338729" y="36655"/>
                    <a:pt x="338729" y="36570"/>
                    <a:pt x="338721" y="36484"/>
                  </a:cubicBezTo>
                  <a:lnTo>
                    <a:pt x="338721" y="885"/>
                  </a:lnTo>
                  <a:cubicBezTo>
                    <a:pt x="338782" y="270"/>
                    <a:pt x="338335" y="-278"/>
                    <a:pt x="337720" y="-340"/>
                  </a:cubicBezTo>
                  <a:cubicBezTo>
                    <a:pt x="337645" y="-348"/>
                    <a:pt x="337571" y="-348"/>
                    <a:pt x="337496" y="-340"/>
                  </a:cubicBezTo>
                  <a:moveTo>
                    <a:pt x="345484" y="24822"/>
                  </a:moveTo>
                  <a:cubicBezTo>
                    <a:pt x="345159" y="31843"/>
                    <a:pt x="350588" y="37800"/>
                    <a:pt x="357612" y="38122"/>
                  </a:cubicBezTo>
                  <a:cubicBezTo>
                    <a:pt x="357855" y="38132"/>
                    <a:pt x="358100" y="38138"/>
                    <a:pt x="358345" y="38135"/>
                  </a:cubicBezTo>
                  <a:cubicBezTo>
                    <a:pt x="363113" y="38332"/>
                    <a:pt x="367483" y="35491"/>
                    <a:pt x="369235" y="31053"/>
                  </a:cubicBezTo>
                  <a:cubicBezTo>
                    <a:pt x="369528" y="30227"/>
                    <a:pt x="368995" y="29668"/>
                    <a:pt x="368170" y="29668"/>
                  </a:cubicBezTo>
                  <a:lnTo>
                    <a:pt x="366333" y="29668"/>
                  </a:lnTo>
                  <a:cubicBezTo>
                    <a:pt x="365699" y="29657"/>
                    <a:pt x="365129" y="30054"/>
                    <a:pt x="364921" y="30653"/>
                  </a:cubicBezTo>
                  <a:cubicBezTo>
                    <a:pt x="363651" y="33063"/>
                    <a:pt x="361058" y="34471"/>
                    <a:pt x="358345" y="34221"/>
                  </a:cubicBezTo>
                  <a:cubicBezTo>
                    <a:pt x="354561" y="34266"/>
                    <a:pt x="351249" y="31694"/>
                    <a:pt x="350357" y="28017"/>
                  </a:cubicBezTo>
                  <a:cubicBezTo>
                    <a:pt x="350064" y="26899"/>
                    <a:pt x="350756" y="26180"/>
                    <a:pt x="351928" y="26180"/>
                  </a:cubicBezTo>
                  <a:lnTo>
                    <a:pt x="368463" y="26180"/>
                  </a:lnTo>
                  <a:cubicBezTo>
                    <a:pt x="369315" y="26239"/>
                    <a:pt x="370052" y="25597"/>
                    <a:pt x="370111" y="24745"/>
                  </a:cubicBezTo>
                  <a:cubicBezTo>
                    <a:pt x="370113" y="24700"/>
                    <a:pt x="370113" y="24654"/>
                    <a:pt x="370113" y="24609"/>
                  </a:cubicBezTo>
                  <a:cubicBezTo>
                    <a:pt x="370483" y="17913"/>
                    <a:pt x="365358" y="12185"/>
                    <a:pt x="358661" y="11815"/>
                  </a:cubicBezTo>
                  <a:cubicBezTo>
                    <a:pt x="358566" y="11810"/>
                    <a:pt x="358467" y="11805"/>
                    <a:pt x="358371" y="11802"/>
                  </a:cubicBezTo>
                  <a:cubicBezTo>
                    <a:pt x="351371" y="11711"/>
                    <a:pt x="345625" y="17311"/>
                    <a:pt x="345535" y="24311"/>
                  </a:cubicBezTo>
                  <a:cubicBezTo>
                    <a:pt x="345532" y="24473"/>
                    <a:pt x="345532" y="24633"/>
                    <a:pt x="345538" y="24795"/>
                  </a:cubicBezTo>
                  <a:moveTo>
                    <a:pt x="350863" y="20376"/>
                  </a:moveTo>
                  <a:cubicBezTo>
                    <a:pt x="352165" y="17505"/>
                    <a:pt x="355032" y="15671"/>
                    <a:pt x="358185" y="15689"/>
                  </a:cubicBezTo>
                  <a:cubicBezTo>
                    <a:pt x="361215" y="15679"/>
                    <a:pt x="363923" y="17577"/>
                    <a:pt x="364948" y="20429"/>
                  </a:cubicBezTo>
                  <a:cubicBezTo>
                    <a:pt x="365401" y="21600"/>
                    <a:pt x="364708" y="22373"/>
                    <a:pt x="363484" y="22373"/>
                  </a:cubicBezTo>
                  <a:lnTo>
                    <a:pt x="352221" y="22373"/>
                  </a:lnTo>
                  <a:cubicBezTo>
                    <a:pt x="350969" y="22373"/>
                    <a:pt x="350277" y="21547"/>
                    <a:pt x="350863" y="20429"/>
                  </a:cubicBezTo>
                </a:path>
              </a:pathLst>
            </a:custGeom>
            <a:solidFill>
              <a:srgbClr val="FFFFFF"/>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75" name="Freeform: Shape 74">
              <a:extLst>
                <a:ext uri="{FF2B5EF4-FFF2-40B4-BE49-F238E27FC236}">
                  <a16:creationId xmlns:a16="http://schemas.microsoft.com/office/drawing/2014/main" id="{39383576-4C21-4256-9FC4-9DB10AB5C5D6}"/>
                </a:ext>
              </a:extLst>
            </p:cNvPr>
            <p:cNvSpPr/>
            <p:nvPr/>
          </p:nvSpPr>
          <p:spPr>
            <a:xfrm>
              <a:off x="11848503" y="6635533"/>
              <a:ext cx="6855" cy="8973"/>
            </a:xfrm>
            <a:custGeom>
              <a:avLst/>
              <a:gdLst>
                <a:gd name="connsiteX0" fmla="*/ 992 w 12147"/>
                <a:gd name="connsiteY0" fmla="*/ 1467 h 15900"/>
                <a:gd name="connsiteX1" fmla="*/ 992 w 12147"/>
                <a:gd name="connsiteY1" fmla="*/ 295 h 15900"/>
                <a:gd name="connsiteX2" fmla="*/ 1519 w 12147"/>
                <a:gd name="connsiteY2" fmla="*/ -344 h 15900"/>
                <a:gd name="connsiteX3" fmla="*/ 1631 w 12147"/>
                <a:gd name="connsiteY3" fmla="*/ -344 h 15900"/>
                <a:gd name="connsiteX4" fmla="*/ 12521 w 12147"/>
                <a:gd name="connsiteY4" fmla="*/ -344 h 15900"/>
                <a:gd name="connsiteX5" fmla="*/ 13136 w 12147"/>
                <a:gd name="connsiteY5" fmla="*/ 213 h 15900"/>
                <a:gd name="connsiteX6" fmla="*/ 13133 w 12147"/>
                <a:gd name="connsiteY6" fmla="*/ 295 h 15900"/>
                <a:gd name="connsiteX7" fmla="*/ 13133 w 12147"/>
                <a:gd name="connsiteY7" fmla="*/ 1467 h 15900"/>
                <a:gd name="connsiteX8" fmla="*/ 12603 w 12147"/>
                <a:gd name="connsiteY8" fmla="*/ 2103 h 15900"/>
                <a:gd name="connsiteX9" fmla="*/ 12521 w 12147"/>
                <a:gd name="connsiteY9" fmla="*/ 2106 h 15900"/>
                <a:gd name="connsiteX10" fmla="*/ 8926 w 12147"/>
                <a:gd name="connsiteY10" fmla="*/ 2106 h 15900"/>
                <a:gd name="connsiteX11" fmla="*/ 8447 w 12147"/>
                <a:gd name="connsiteY11" fmla="*/ 2471 h 15900"/>
                <a:gd name="connsiteX12" fmla="*/ 8447 w 12147"/>
                <a:gd name="connsiteY12" fmla="*/ 2585 h 15900"/>
                <a:gd name="connsiteX13" fmla="*/ 8447 w 12147"/>
                <a:gd name="connsiteY13" fmla="*/ 14940 h 15900"/>
                <a:gd name="connsiteX14" fmla="*/ 7890 w 12147"/>
                <a:gd name="connsiteY14" fmla="*/ 15555 h 15900"/>
                <a:gd name="connsiteX15" fmla="*/ 7808 w 12147"/>
                <a:gd name="connsiteY15" fmla="*/ 15552 h 15900"/>
                <a:gd name="connsiteX16" fmla="*/ 6184 w 12147"/>
                <a:gd name="connsiteY16" fmla="*/ 15552 h 15900"/>
                <a:gd name="connsiteX17" fmla="*/ 5547 w 12147"/>
                <a:gd name="connsiteY17" fmla="*/ 15022 h 15900"/>
                <a:gd name="connsiteX18" fmla="*/ 5545 w 12147"/>
                <a:gd name="connsiteY18" fmla="*/ 14940 h 15900"/>
                <a:gd name="connsiteX19" fmla="*/ 5545 w 12147"/>
                <a:gd name="connsiteY19" fmla="*/ 2585 h 15900"/>
                <a:gd name="connsiteX20" fmla="*/ 5180 w 12147"/>
                <a:gd name="connsiteY20" fmla="*/ 2106 h 15900"/>
                <a:gd name="connsiteX21" fmla="*/ 5065 w 12147"/>
                <a:gd name="connsiteY21" fmla="*/ 2106 h 15900"/>
                <a:gd name="connsiteX22" fmla="*/ 1631 w 12147"/>
                <a:gd name="connsiteY22" fmla="*/ 2106 h 15900"/>
                <a:gd name="connsiteX23" fmla="*/ 992 w 12147"/>
                <a:gd name="connsiteY23" fmla="*/ 1579 h 15900"/>
                <a:gd name="connsiteX24" fmla="*/ 992 w 12147"/>
                <a:gd name="connsiteY24" fmla="*/ 1467 h 1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147" h="15900">
                  <a:moveTo>
                    <a:pt x="992" y="1467"/>
                  </a:moveTo>
                  <a:lnTo>
                    <a:pt x="992" y="295"/>
                  </a:lnTo>
                  <a:cubicBezTo>
                    <a:pt x="960" y="-27"/>
                    <a:pt x="1197" y="-312"/>
                    <a:pt x="1519" y="-344"/>
                  </a:cubicBezTo>
                  <a:cubicBezTo>
                    <a:pt x="1556" y="-346"/>
                    <a:pt x="1593" y="-346"/>
                    <a:pt x="1631" y="-344"/>
                  </a:cubicBezTo>
                  <a:lnTo>
                    <a:pt x="12521" y="-344"/>
                  </a:lnTo>
                  <a:cubicBezTo>
                    <a:pt x="12843" y="-360"/>
                    <a:pt x="13120" y="-112"/>
                    <a:pt x="13136" y="213"/>
                  </a:cubicBezTo>
                  <a:cubicBezTo>
                    <a:pt x="13136" y="240"/>
                    <a:pt x="13136" y="269"/>
                    <a:pt x="13133" y="295"/>
                  </a:cubicBezTo>
                  <a:lnTo>
                    <a:pt x="13133" y="1467"/>
                  </a:lnTo>
                  <a:cubicBezTo>
                    <a:pt x="13163" y="1789"/>
                    <a:pt x="12925" y="2074"/>
                    <a:pt x="12603" y="2103"/>
                  </a:cubicBezTo>
                  <a:cubicBezTo>
                    <a:pt x="12577" y="2106"/>
                    <a:pt x="12547" y="2109"/>
                    <a:pt x="12521" y="2106"/>
                  </a:cubicBezTo>
                  <a:lnTo>
                    <a:pt x="8926" y="2106"/>
                  </a:lnTo>
                  <a:cubicBezTo>
                    <a:pt x="8692" y="2074"/>
                    <a:pt x="8479" y="2239"/>
                    <a:pt x="8447" y="2471"/>
                  </a:cubicBezTo>
                  <a:cubicBezTo>
                    <a:pt x="8442" y="2508"/>
                    <a:pt x="8442" y="2548"/>
                    <a:pt x="8447" y="2585"/>
                  </a:cubicBezTo>
                  <a:lnTo>
                    <a:pt x="8447" y="14940"/>
                  </a:lnTo>
                  <a:cubicBezTo>
                    <a:pt x="8463" y="15262"/>
                    <a:pt x="8215" y="15539"/>
                    <a:pt x="7890" y="15555"/>
                  </a:cubicBezTo>
                  <a:cubicBezTo>
                    <a:pt x="7864" y="15555"/>
                    <a:pt x="7835" y="15555"/>
                    <a:pt x="7808" y="15552"/>
                  </a:cubicBezTo>
                  <a:lnTo>
                    <a:pt x="6184" y="15552"/>
                  </a:lnTo>
                  <a:cubicBezTo>
                    <a:pt x="5862" y="15581"/>
                    <a:pt x="5577" y="15345"/>
                    <a:pt x="5547" y="15022"/>
                  </a:cubicBezTo>
                  <a:cubicBezTo>
                    <a:pt x="5545" y="14996"/>
                    <a:pt x="5545" y="14966"/>
                    <a:pt x="5545" y="14940"/>
                  </a:cubicBezTo>
                  <a:lnTo>
                    <a:pt x="5545" y="2585"/>
                  </a:lnTo>
                  <a:cubicBezTo>
                    <a:pt x="5577" y="2351"/>
                    <a:pt x="5412" y="2138"/>
                    <a:pt x="5180" y="2106"/>
                  </a:cubicBezTo>
                  <a:cubicBezTo>
                    <a:pt x="5143" y="2101"/>
                    <a:pt x="5103" y="2101"/>
                    <a:pt x="5065" y="2106"/>
                  </a:cubicBezTo>
                  <a:lnTo>
                    <a:pt x="1631" y="2106"/>
                  </a:lnTo>
                  <a:cubicBezTo>
                    <a:pt x="1308" y="2138"/>
                    <a:pt x="1024" y="1901"/>
                    <a:pt x="992" y="1579"/>
                  </a:cubicBezTo>
                  <a:cubicBezTo>
                    <a:pt x="989" y="1542"/>
                    <a:pt x="989" y="1504"/>
                    <a:pt x="992" y="1467"/>
                  </a:cubicBezTo>
                </a:path>
              </a:pathLst>
            </a:custGeom>
            <a:solidFill>
              <a:srgbClr val="FFFFFF"/>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76" name="Freeform: Shape 75">
              <a:extLst>
                <a:ext uri="{FF2B5EF4-FFF2-40B4-BE49-F238E27FC236}">
                  <a16:creationId xmlns:a16="http://schemas.microsoft.com/office/drawing/2014/main" id="{5B328BCE-413E-4A97-8987-3F08B2AB5F71}"/>
                </a:ext>
              </a:extLst>
            </p:cNvPr>
            <p:cNvSpPr/>
            <p:nvPr/>
          </p:nvSpPr>
          <p:spPr>
            <a:xfrm>
              <a:off x="11857776" y="6635662"/>
              <a:ext cx="8810" cy="8977"/>
            </a:xfrm>
            <a:custGeom>
              <a:avLst/>
              <a:gdLst>
                <a:gd name="connsiteX0" fmla="*/ 991 w 15611"/>
                <a:gd name="connsiteY0" fmla="*/ 14943 h 15907"/>
                <a:gd name="connsiteX1" fmla="*/ 991 w 15611"/>
                <a:gd name="connsiteY1" fmla="*/ 458 h 15907"/>
                <a:gd name="connsiteX2" fmla="*/ 1675 w 15611"/>
                <a:gd name="connsiteY2" fmla="*/ -343 h 15907"/>
                <a:gd name="connsiteX3" fmla="*/ 1816 w 15611"/>
                <a:gd name="connsiteY3" fmla="*/ -340 h 15907"/>
                <a:gd name="connsiteX4" fmla="*/ 2668 w 15611"/>
                <a:gd name="connsiteY4" fmla="*/ -340 h 15907"/>
                <a:gd name="connsiteX5" fmla="*/ 3627 w 15611"/>
                <a:gd name="connsiteY5" fmla="*/ 192 h 15907"/>
                <a:gd name="connsiteX6" fmla="*/ 8526 w 15611"/>
                <a:gd name="connsiteY6" fmla="*/ 7381 h 15907"/>
                <a:gd name="connsiteX7" fmla="*/ 8915 w 15611"/>
                <a:gd name="connsiteY7" fmla="*/ 7525 h 15907"/>
                <a:gd name="connsiteX8" fmla="*/ 9059 w 15611"/>
                <a:gd name="connsiteY8" fmla="*/ 7381 h 15907"/>
                <a:gd name="connsiteX9" fmla="*/ 14064 w 15611"/>
                <a:gd name="connsiteY9" fmla="*/ 166 h 15907"/>
                <a:gd name="connsiteX10" fmla="*/ 15050 w 15611"/>
                <a:gd name="connsiteY10" fmla="*/ -340 h 15907"/>
                <a:gd name="connsiteX11" fmla="*/ 15795 w 15611"/>
                <a:gd name="connsiteY11" fmla="*/ -340 h 15907"/>
                <a:gd name="connsiteX12" fmla="*/ 16594 w 15611"/>
                <a:gd name="connsiteY12" fmla="*/ 288 h 15907"/>
                <a:gd name="connsiteX13" fmla="*/ 16594 w 15611"/>
                <a:gd name="connsiteY13" fmla="*/ 458 h 15907"/>
                <a:gd name="connsiteX14" fmla="*/ 16594 w 15611"/>
                <a:gd name="connsiteY14" fmla="*/ 14943 h 15907"/>
                <a:gd name="connsiteX15" fmla="*/ 16035 w 15611"/>
                <a:gd name="connsiteY15" fmla="*/ 15556 h 15907"/>
                <a:gd name="connsiteX16" fmla="*/ 15982 w 15611"/>
                <a:gd name="connsiteY16" fmla="*/ 15556 h 15907"/>
                <a:gd name="connsiteX17" fmla="*/ 14677 w 15611"/>
                <a:gd name="connsiteY17" fmla="*/ 15556 h 15907"/>
                <a:gd name="connsiteX18" fmla="*/ 14064 w 15611"/>
                <a:gd name="connsiteY18" fmla="*/ 15055 h 15907"/>
                <a:gd name="connsiteX19" fmla="*/ 14064 w 15611"/>
                <a:gd name="connsiteY19" fmla="*/ 14943 h 15907"/>
                <a:gd name="connsiteX20" fmla="*/ 14064 w 15611"/>
                <a:gd name="connsiteY20" fmla="*/ 4878 h 15907"/>
                <a:gd name="connsiteX21" fmla="*/ 13585 w 15611"/>
                <a:gd name="connsiteY21" fmla="*/ 4745 h 15907"/>
                <a:gd name="connsiteX22" fmla="*/ 9804 w 15611"/>
                <a:gd name="connsiteY22" fmla="*/ 10284 h 15907"/>
                <a:gd name="connsiteX23" fmla="*/ 8846 w 15611"/>
                <a:gd name="connsiteY23" fmla="*/ 10789 h 15907"/>
                <a:gd name="connsiteX24" fmla="*/ 8846 w 15611"/>
                <a:gd name="connsiteY24" fmla="*/ 10789 h 15907"/>
                <a:gd name="connsiteX25" fmla="*/ 7914 w 15611"/>
                <a:gd name="connsiteY25" fmla="*/ 10284 h 15907"/>
                <a:gd name="connsiteX26" fmla="*/ 4133 w 15611"/>
                <a:gd name="connsiteY26" fmla="*/ 4745 h 15907"/>
                <a:gd name="connsiteX27" fmla="*/ 3654 w 15611"/>
                <a:gd name="connsiteY27" fmla="*/ 4905 h 15907"/>
                <a:gd name="connsiteX28" fmla="*/ 3654 w 15611"/>
                <a:gd name="connsiteY28" fmla="*/ 14943 h 15907"/>
                <a:gd name="connsiteX29" fmla="*/ 3097 w 15611"/>
                <a:gd name="connsiteY29" fmla="*/ 15558 h 15907"/>
                <a:gd name="connsiteX30" fmla="*/ 3015 w 15611"/>
                <a:gd name="connsiteY30" fmla="*/ 15556 h 15907"/>
                <a:gd name="connsiteX31" fmla="*/ 1736 w 15611"/>
                <a:gd name="connsiteY31" fmla="*/ 15556 h 15907"/>
                <a:gd name="connsiteX32" fmla="*/ 1100 w 15611"/>
                <a:gd name="connsiteY32" fmla="*/ 15087 h 15907"/>
                <a:gd name="connsiteX33" fmla="*/ 1097 w 15611"/>
                <a:gd name="connsiteY33" fmla="*/ 14943 h 15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611" h="15907">
                  <a:moveTo>
                    <a:pt x="991" y="14943"/>
                  </a:moveTo>
                  <a:lnTo>
                    <a:pt x="991" y="458"/>
                  </a:lnTo>
                  <a:cubicBezTo>
                    <a:pt x="959" y="48"/>
                    <a:pt x="1265" y="-311"/>
                    <a:pt x="1675" y="-343"/>
                  </a:cubicBezTo>
                  <a:cubicBezTo>
                    <a:pt x="1723" y="-346"/>
                    <a:pt x="1771" y="-346"/>
                    <a:pt x="1816" y="-340"/>
                  </a:cubicBezTo>
                  <a:lnTo>
                    <a:pt x="2668" y="-340"/>
                  </a:lnTo>
                  <a:cubicBezTo>
                    <a:pt x="3062" y="-359"/>
                    <a:pt x="3435" y="-154"/>
                    <a:pt x="3627" y="192"/>
                  </a:cubicBezTo>
                  <a:lnTo>
                    <a:pt x="8526" y="7381"/>
                  </a:lnTo>
                  <a:cubicBezTo>
                    <a:pt x="8593" y="7528"/>
                    <a:pt x="8768" y="7592"/>
                    <a:pt x="8915" y="7525"/>
                  </a:cubicBezTo>
                  <a:cubicBezTo>
                    <a:pt x="8979" y="7496"/>
                    <a:pt x="9029" y="7445"/>
                    <a:pt x="9059" y="7381"/>
                  </a:cubicBezTo>
                  <a:lnTo>
                    <a:pt x="14064" y="166"/>
                  </a:lnTo>
                  <a:cubicBezTo>
                    <a:pt x="14280" y="-165"/>
                    <a:pt x="14655" y="-356"/>
                    <a:pt x="15050" y="-340"/>
                  </a:cubicBezTo>
                  <a:lnTo>
                    <a:pt x="15795" y="-340"/>
                  </a:lnTo>
                  <a:cubicBezTo>
                    <a:pt x="16189" y="-388"/>
                    <a:pt x="16546" y="-106"/>
                    <a:pt x="16594" y="288"/>
                  </a:cubicBezTo>
                  <a:cubicBezTo>
                    <a:pt x="16602" y="344"/>
                    <a:pt x="16602" y="403"/>
                    <a:pt x="16594" y="458"/>
                  </a:cubicBezTo>
                  <a:lnTo>
                    <a:pt x="16594" y="14943"/>
                  </a:lnTo>
                  <a:cubicBezTo>
                    <a:pt x="16610" y="15265"/>
                    <a:pt x="16360" y="15540"/>
                    <a:pt x="16035" y="15556"/>
                  </a:cubicBezTo>
                  <a:cubicBezTo>
                    <a:pt x="16019" y="15556"/>
                    <a:pt x="16000" y="15556"/>
                    <a:pt x="15982" y="15556"/>
                  </a:cubicBezTo>
                  <a:lnTo>
                    <a:pt x="14677" y="15556"/>
                  </a:lnTo>
                  <a:cubicBezTo>
                    <a:pt x="14371" y="15587"/>
                    <a:pt x="14096" y="15364"/>
                    <a:pt x="14064" y="15055"/>
                  </a:cubicBezTo>
                  <a:cubicBezTo>
                    <a:pt x="14062" y="15018"/>
                    <a:pt x="14062" y="14980"/>
                    <a:pt x="14064" y="14943"/>
                  </a:cubicBezTo>
                  <a:lnTo>
                    <a:pt x="14064" y="4878"/>
                  </a:lnTo>
                  <a:cubicBezTo>
                    <a:pt x="14064" y="4506"/>
                    <a:pt x="13798" y="4399"/>
                    <a:pt x="13585" y="4745"/>
                  </a:cubicBezTo>
                  <a:lnTo>
                    <a:pt x="9804" y="10284"/>
                  </a:lnTo>
                  <a:cubicBezTo>
                    <a:pt x="9602" y="10614"/>
                    <a:pt x="9234" y="10808"/>
                    <a:pt x="8846" y="10789"/>
                  </a:cubicBezTo>
                  <a:lnTo>
                    <a:pt x="8846" y="10789"/>
                  </a:lnTo>
                  <a:cubicBezTo>
                    <a:pt x="8465" y="10803"/>
                    <a:pt x="8108" y="10611"/>
                    <a:pt x="7914" y="10284"/>
                  </a:cubicBezTo>
                  <a:lnTo>
                    <a:pt x="4133" y="4745"/>
                  </a:lnTo>
                  <a:cubicBezTo>
                    <a:pt x="3920" y="4452"/>
                    <a:pt x="3654" y="4532"/>
                    <a:pt x="3654" y="4905"/>
                  </a:cubicBezTo>
                  <a:lnTo>
                    <a:pt x="3654" y="14943"/>
                  </a:lnTo>
                  <a:cubicBezTo>
                    <a:pt x="3670" y="15265"/>
                    <a:pt x="3422" y="15542"/>
                    <a:pt x="3097" y="15558"/>
                  </a:cubicBezTo>
                  <a:cubicBezTo>
                    <a:pt x="3071" y="15558"/>
                    <a:pt x="3041" y="15558"/>
                    <a:pt x="3015" y="15556"/>
                  </a:cubicBezTo>
                  <a:lnTo>
                    <a:pt x="1736" y="15556"/>
                  </a:lnTo>
                  <a:cubicBezTo>
                    <a:pt x="1430" y="15601"/>
                    <a:pt x="1145" y="15390"/>
                    <a:pt x="1100" y="15087"/>
                  </a:cubicBezTo>
                  <a:cubicBezTo>
                    <a:pt x="1092" y="15039"/>
                    <a:pt x="1092" y="14991"/>
                    <a:pt x="1097" y="14943"/>
                  </a:cubicBezTo>
                </a:path>
              </a:pathLst>
            </a:custGeom>
            <a:solidFill>
              <a:srgbClr val="FFFFFF"/>
            </a:solidFill>
            <a:ln w="266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grpSp>
      <p:grpSp>
        <p:nvGrpSpPr>
          <p:cNvPr id="77" name="Group 76">
            <a:extLst>
              <a:ext uri="{FF2B5EF4-FFF2-40B4-BE49-F238E27FC236}">
                <a16:creationId xmlns:a16="http://schemas.microsoft.com/office/drawing/2014/main" id="{829221E4-DE74-43E4-B722-8E1DBE1CAD0D}"/>
              </a:ext>
            </a:extLst>
          </p:cNvPr>
          <p:cNvGrpSpPr/>
          <p:nvPr userDrawn="1"/>
        </p:nvGrpSpPr>
        <p:grpSpPr>
          <a:xfrm>
            <a:off x="10855488" y="6628477"/>
            <a:ext cx="218951" cy="162658"/>
            <a:chOff x="10506075" y="6628477"/>
            <a:chExt cx="218951" cy="162658"/>
          </a:xfrm>
        </p:grpSpPr>
        <p:sp>
          <p:nvSpPr>
            <p:cNvPr id="78" name="Rectangle: Rounded Corners 77">
              <a:hlinkClick r:id="" action="ppaction://noaction"/>
              <a:extLst>
                <a:ext uri="{FF2B5EF4-FFF2-40B4-BE49-F238E27FC236}">
                  <a16:creationId xmlns:a16="http://schemas.microsoft.com/office/drawing/2014/main" id="{B5BAF668-566A-410D-80F9-8D04903A6472}"/>
                </a:ext>
              </a:extLst>
            </p:cNvPr>
            <p:cNvSpPr/>
            <p:nvPr userDrawn="1"/>
          </p:nvSpPr>
          <p:spPr>
            <a:xfrm>
              <a:off x="10506075" y="6628477"/>
              <a:ext cx="218951" cy="36000"/>
            </a:xfrm>
            <a:prstGeom prst="roundRect">
              <a:avLst>
                <a:gd name="adj" fmla="val 54020"/>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9" name="Rectangle: Rounded Corners 78">
              <a:hlinkClick r:id="" action="ppaction://noaction"/>
              <a:extLst>
                <a:ext uri="{FF2B5EF4-FFF2-40B4-BE49-F238E27FC236}">
                  <a16:creationId xmlns:a16="http://schemas.microsoft.com/office/drawing/2014/main" id="{8594E6B4-9A79-43EE-8420-06FA82E92F0E}"/>
                </a:ext>
              </a:extLst>
            </p:cNvPr>
            <p:cNvSpPr/>
            <p:nvPr userDrawn="1"/>
          </p:nvSpPr>
          <p:spPr>
            <a:xfrm>
              <a:off x="10506075" y="6691806"/>
              <a:ext cx="218951" cy="36000"/>
            </a:xfrm>
            <a:prstGeom prst="roundRect">
              <a:avLst>
                <a:gd name="adj" fmla="val 54020"/>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0" name="Rectangle: Rounded Corners 79">
              <a:hlinkClick r:id="" action="ppaction://noaction"/>
              <a:extLst>
                <a:ext uri="{FF2B5EF4-FFF2-40B4-BE49-F238E27FC236}">
                  <a16:creationId xmlns:a16="http://schemas.microsoft.com/office/drawing/2014/main" id="{68A4191D-B3CC-4765-9BC7-FC5A13C779AF}"/>
                </a:ext>
              </a:extLst>
            </p:cNvPr>
            <p:cNvSpPr/>
            <p:nvPr userDrawn="1"/>
          </p:nvSpPr>
          <p:spPr>
            <a:xfrm>
              <a:off x="10506075" y="6755135"/>
              <a:ext cx="218951" cy="36000"/>
            </a:xfrm>
            <a:prstGeom prst="roundRect">
              <a:avLst>
                <a:gd name="adj" fmla="val 54020"/>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81" name="Rectangle 80">
            <a:hlinkClick r:id="" action="ppaction://noaction"/>
            <a:extLst>
              <a:ext uri="{FF2B5EF4-FFF2-40B4-BE49-F238E27FC236}">
                <a16:creationId xmlns:a16="http://schemas.microsoft.com/office/drawing/2014/main" id="{0A163233-65A1-477E-B986-07B7D9DD5BE6}"/>
              </a:ext>
            </a:extLst>
          </p:cNvPr>
          <p:cNvSpPr/>
          <p:nvPr userDrawn="1"/>
        </p:nvSpPr>
        <p:spPr>
          <a:xfrm>
            <a:off x="10760869" y="6579908"/>
            <a:ext cx="406177" cy="273659"/>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82" name="Straight Connector 81">
            <a:extLst>
              <a:ext uri="{FF2B5EF4-FFF2-40B4-BE49-F238E27FC236}">
                <a16:creationId xmlns:a16="http://schemas.microsoft.com/office/drawing/2014/main" id="{7D7D31B3-465C-4ACA-8110-3073A91F2342}"/>
              </a:ext>
            </a:extLst>
          </p:cNvPr>
          <p:cNvCxnSpPr/>
          <p:nvPr userDrawn="1"/>
        </p:nvCxnSpPr>
        <p:spPr>
          <a:xfrm>
            <a:off x="5214721" y="6567351"/>
            <a:ext cx="0" cy="290649"/>
          </a:xfrm>
          <a:prstGeom prst="line">
            <a:avLst/>
          </a:prstGeom>
          <a:noFill/>
          <a:ln w="6350" cap="flat" cmpd="sng" algn="ctr">
            <a:solidFill>
              <a:sysClr val="window" lastClr="FFFFFF">
                <a:alpha val="50000"/>
              </a:sysClr>
            </a:solidFill>
            <a:prstDash val="solid"/>
            <a:miter lim="800000"/>
          </a:ln>
          <a:effectLst/>
        </p:spPr>
      </p:cxnSp>
      <p:sp>
        <p:nvSpPr>
          <p:cNvPr id="83" name="Rectangle 82">
            <a:hlinkClick r:id="" action="ppaction://noaction"/>
            <a:hlinkHover r:id="" action="ppaction://noaction" highlightClick="1"/>
            <a:extLst>
              <a:ext uri="{FF2B5EF4-FFF2-40B4-BE49-F238E27FC236}">
                <a16:creationId xmlns:a16="http://schemas.microsoft.com/office/drawing/2014/main" id="{44B0E746-DD7D-4FA1-9065-9457A8DCEFB5}"/>
              </a:ext>
            </a:extLst>
          </p:cNvPr>
          <p:cNvSpPr/>
          <p:nvPr userDrawn="1"/>
        </p:nvSpPr>
        <p:spPr>
          <a:xfrm>
            <a:off x="9539162" y="6570000"/>
            <a:ext cx="1200924" cy="273659"/>
          </a:xfrm>
          <a:prstGeom prst="rect">
            <a:avLst/>
          </a:prstGeom>
          <a:noFill/>
          <a:ln w="317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800" b="0" i="0" u="none" strike="noStrike" kern="0" cap="none" spc="0" normalizeH="0" baseline="0" noProof="0">
                <a:ln>
                  <a:noFill/>
                </a:ln>
                <a:solidFill>
                  <a:prstClr val="white">
                    <a:alpha val="50000"/>
                  </a:prstClr>
                </a:solidFill>
                <a:effectLst/>
                <a:uLnTx/>
                <a:uFillTx/>
                <a:latin typeface="Leelawadee" panose="020B0502040204020203" pitchFamily="34" charset="-34"/>
                <a:ea typeface="+mn-ea"/>
                <a:cs typeface="Leelawadee" panose="020B0502040204020203" pitchFamily="34" charset="-34"/>
              </a:rPr>
              <a:t>Additional </a:t>
            </a:r>
            <a:br>
              <a:rPr kumimoji="0" lang="en-GB" sz="800" b="0" i="0" u="none" strike="noStrike" kern="0" cap="none" spc="0" normalizeH="0" baseline="0" noProof="0">
                <a:ln>
                  <a:noFill/>
                </a:ln>
                <a:solidFill>
                  <a:prstClr val="white">
                    <a:alpha val="50000"/>
                  </a:prstClr>
                </a:solidFill>
                <a:effectLst/>
                <a:uLnTx/>
                <a:uFillTx/>
                <a:latin typeface="Leelawadee" panose="020B0502040204020203" pitchFamily="34" charset="-34"/>
                <a:ea typeface="+mn-ea"/>
                <a:cs typeface="Leelawadee" panose="020B0502040204020203" pitchFamily="34" charset="-34"/>
              </a:rPr>
            </a:br>
            <a:r>
              <a:rPr kumimoji="0" lang="en-GB" sz="800" b="0" i="0" u="none" strike="noStrike" kern="0" cap="none" spc="0" normalizeH="0" baseline="0" noProof="0">
                <a:ln>
                  <a:noFill/>
                </a:ln>
                <a:solidFill>
                  <a:prstClr val="white">
                    <a:alpha val="50000"/>
                  </a:prstClr>
                </a:solidFill>
                <a:effectLst/>
                <a:uLnTx/>
                <a:uFillTx/>
                <a:latin typeface="Leelawadee" panose="020B0502040204020203" pitchFamily="34" charset="-34"/>
                <a:ea typeface="+mn-ea"/>
                <a:cs typeface="Leelawadee" panose="020B0502040204020203" pitchFamily="34" charset="-34"/>
              </a:rPr>
              <a:t>Supporting content</a:t>
            </a:r>
          </a:p>
        </p:txBody>
      </p:sp>
      <p:cxnSp>
        <p:nvCxnSpPr>
          <p:cNvPr id="84" name="Straight Connector 83">
            <a:extLst>
              <a:ext uri="{FF2B5EF4-FFF2-40B4-BE49-F238E27FC236}">
                <a16:creationId xmlns:a16="http://schemas.microsoft.com/office/drawing/2014/main" id="{A63664AC-5425-4DE6-AB7E-E4278845E166}"/>
              </a:ext>
            </a:extLst>
          </p:cNvPr>
          <p:cNvCxnSpPr/>
          <p:nvPr userDrawn="1"/>
        </p:nvCxnSpPr>
        <p:spPr>
          <a:xfrm>
            <a:off x="10737865" y="6567351"/>
            <a:ext cx="0" cy="290649"/>
          </a:xfrm>
          <a:prstGeom prst="line">
            <a:avLst/>
          </a:prstGeom>
          <a:noFill/>
          <a:ln w="6350" cap="flat" cmpd="sng" algn="ctr">
            <a:solidFill>
              <a:sysClr val="window" lastClr="FFFFFF">
                <a:alpha val="50000"/>
              </a:sysClr>
            </a:solidFill>
            <a:prstDash val="solid"/>
            <a:miter lim="800000"/>
          </a:ln>
          <a:effectLst/>
        </p:spPr>
      </p:cxnSp>
    </p:spTree>
    <p:extLst>
      <p:ext uri="{BB962C8B-B14F-4D97-AF65-F5344CB8AC3E}">
        <p14:creationId xmlns:p14="http://schemas.microsoft.com/office/powerpoint/2010/main" val="31603765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6D684D3-FEA7-4674-92EE-043A69C5318F}"/>
              </a:ext>
            </a:extLst>
          </p:cNvPr>
          <p:cNvGraphicFramePr>
            <a:graphicFrameLocks noChangeAspect="1"/>
          </p:cNvGraphicFramePr>
          <p:nvPr userDrawn="1">
            <p:custDataLst>
              <p:tags r:id="rId1"/>
            </p:custDataLst>
            <p:extLst>
              <p:ext uri="{D42A27DB-BD31-4B8C-83A1-F6EECF244321}">
                <p14:modId xmlns:p14="http://schemas.microsoft.com/office/powerpoint/2010/main" val="3824396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56D684D3-FEA7-4674-92EE-043A69C531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object 5">
            <a:extLst>
              <a:ext uri="{FF2B5EF4-FFF2-40B4-BE49-F238E27FC236}">
                <a16:creationId xmlns:a16="http://schemas.microsoft.com/office/drawing/2014/main" id="{47086C8A-84DB-1940-BEA7-DBBB9D5AD42D}"/>
              </a:ext>
            </a:extLst>
          </p:cNvPr>
          <p:cNvSpPr/>
          <p:nvPr userDrawn="1"/>
        </p:nvSpPr>
        <p:spPr>
          <a:xfrm>
            <a:off x="-34288" y="0"/>
            <a:ext cx="12226288" cy="6858000"/>
          </a:xfrm>
          <a:custGeom>
            <a:avLst/>
            <a:gdLst/>
            <a:ahLst/>
            <a:cxnLst/>
            <a:rect l="l" t="t" r="r" b="b"/>
            <a:pathLst>
              <a:path w="4212590" h="6849109">
                <a:moveTo>
                  <a:pt x="4212005" y="0"/>
                </a:moveTo>
                <a:lnTo>
                  <a:pt x="0" y="0"/>
                </a:lnTo>
                <a:lnTo>
                  <a:pt x="0" y="6848995"/>
                </a:lnTo>
                <a:lnTo>
                  <a:pt x="4212005" y="6848995"/>
                </a:lnTo>
                <a:lnTo>
                  <a:pt x="4212005" y="0"/>
                </a:lnTo>
                <a:close/>
              </a:path>
            </a:pathLst>
          </a:custGeom>
          <a:solidFill>
            <a:schemeClr val="accent1"/>
          </a:solidFill>
        </p:spPr>
        <p:txBody>
          <a:bodyPr wrap="square" lIns="0" tIns="0" rIns="0" bIns="0" rtlCol="0"/>
          <a:lstStyle/>
          <a:p>
            <a:pPr rtl="0"/>
            <a:endParaRPr lang="en-US" noProof="0"/>
          </a:p>
        </p:txBody>
      </p:sp>
      <p:pic>
        <p:nvPicPr>
          <p:cNvPr id="5" name="Picture 4" descr="Shape&#10;&#10;Description automatically generated">
            <a:extLst>
              <a:ext uri="{FF2B5EF4-FFF2-40B4-BE49-F238E27FC236}">
                <a16:creationId xmlns:a16="http://schemas.microsoft.com/office/drawing/2014/main" id="{4E7D94B0-F89E-124C-9342-F2D79E56E8F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rot="10800000" flipH="1">
            <a:off x="-34287" y="0"/>
            <a:ext cx="3425828" cy="3429000"/>
          </a:xfrm>
          <a:prstGeom prst="rect">
            <a:avLst/>
          </a:prstGeom>
        </p:spPr>
      </p:pic>
      <p:pic>
        <p:nvPicPr>
          <p:cNvPr id="9" name="Picture 8" descr="Diagram, venn diagram&#10;&#10;Description automatically generated">
            <a:extLst>
              <a:ext uri="{FF2B5EF4-FFF2-40B4-BE49-F238E27FC236}">
                <a16:creationId xmlns:a16="http://schemas.microsoft.com/office/drawing/2014/main" id="{1ED6D30F-6EB1-E940-972C-5C415573E12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391541" y="0"/>
            <a:ext cx="3425828" cy="3429000"/>
          </a:xfrm>
          <a:prstGeom prst="rect">
            <a:avLst/>
          </a:prstGeom>
        </p:spPr>
      </p:pic>
      <p:pic>
        <p:nvPicPr>
          <p:cNvPr id="11" name="Picture 10" descr="Chart, pie chart&#10;&#10;Description automatically generated">
            <a:extLst>
              <a:ext uri="{FF2B5EF4-FFF2-40B4-BE49-F238E27FC236}">
                <a16:creationId xmlns:a16="http://schemas.microsoft.com/office/drawing/2014/main" id="{3C584B47-FF61-1E42-880C-6325350EB380}"/>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288" y="3429000"/>
            <a:ext cx="3425827" cy="3428999"/>
          </a:xfrm>
          <a:prstGeom prst="rect">
            <a:avLst/>
          </a:prstGeom>
        </p:spPr>
      </p:pic>
      <p:pic>
        <p:nvPicPr>
          <p:cNvPr id="13" name="Picture 12" descr="Shape, circle&#10;&#10;Description automatically generated">
            <a:extLst>
              <a:ext uri="{FF2B5EF4-FFF2-40B4-BE49-F238E27FC236}">
                <a16:creationId xmlns:a16="http://schemas.microsoft.com/office/drawing/2014/main" id="{D472BBD1-1FDB-234E-AAC1-6FF28BCB9B69}"/>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391540" y="3428997"/>
            <a:ext cx="3425831" cy="3429003"/>
          </a:xfrm>
          <a:prstGeom prst="rect">
            <a:avLst/>
          </a:prstGeom>
        </p:spPr>
      </p:pic>
      <p:sp>
        <p:nvSpPr>
          <p:cNvPr id="24" name="object 10">
            <a:extLst>
              <a:ext uri="{FF2B5EF4-FFF2-40B4-BE49-F238E27FC236}">
                <a16:creationId xmlns:a16="http://schemas.microsoft.com/office/drawing/2014/main" id="{0994524A-769B-B742-80BC-F1C502F1E422}"/>
              </a:ext>
            </a:extLst>
          </p:cNvPr>
          <p:cNvSpPr/>
          <p:nvPr userDrawn="1"/>
        </p:nvSpPr>
        <p:spPr>
          <a:xfrm>
            <a:off x="7648609" y="3789181"/>
            <a:ext cx="598634" cy="237896"/>
          </a:xfrm>
          <a:custGeom>
            <a:avLst/>
            <a:gdLst/>
            <a:ahLst/>
            <a:cxnLst/>
            <a:rect l="l" t="t" r="r" b="b"/>
            <a:pathLst>
              <a:path w="594359">
                <a:moveTo>
                  <a:pt x="0" y="0"/>
                </a:moveTo>
                <a:lnTo>
                  <a:pt x="594004" y="0"/>
                </a:lnTo>
              </a:path>
            </a:pathLst>
          </a:custGeom>
          <a:ln w="9525">
            <a:solidFill>
              <a:srgbClr val="FFFFFF"/>
            </a:solidFill>
          </a:ln>
        </p:spPr>
        <p:txBody>
          <a:bodyPr wrap="square" lIns="0" tIns="0" rIns="0" bIns="0" rtlCol="0"/>
          <a:lstStyle/>
          <a:p>
            <a:pPr rtl="0"/>
            <a:endParaRPr lang="en-US" noProof="0"/>
          </a:p>
        </p:txBody>
      </p:sp>
      <p:sp>
        <p:nvSpPr>
          <p:cNvPr id="4" name="Text Placeholder 3">
            <a:extLst>
              <a:ext uri="{FF2B5EF4-FFF2-40B4-BE49-F238E27FC236}">
                <a16:creationId xmlns:a16="http://schemas.microsoft.com/office/drawing/2014/main" id="{2D4BF98B-D5FF-D640-8B08-3F30B1F11D9E}"/>
              </a:ext>
            </a:extLst>
          </p:cNvPr>
          <p:cNvSpPr>
            <a:spLocks noGrp="1"/>
          </p:cNvSpPr>
          <p:nvPr>
            <p:ph type="body" sz="quarter" idx="13" hasCustomPrompt="1"/>
          </p:nvPr>
        </p:nvSpPr>
        <p:spPr>
          <a:xfrm>
            <a:off x="7534372" y="3376933"/>
            <a:ext cx="3587051" cy="334962"/>
          </a:xfrm>
        </p:spPr>
        <p:txBody>
          <a:bodyPr/>
          <a:lstStyle>
            <a:lvl1pPr rtl="0">
              <a:buNone/>
              <a:defRPr sz="1800">
                <a:solidFill>
                  <a:schemeClr val="bg1"/>
                </a:solidFill>
                <a:latin typeface="Calibri" panose="020F0502020204030204" pitchFamily="34" charset="0"/>
                <a:cs typeface="Calibri" panose="020F0502020204030204" pitchFamily="34" charset="0"/>
              </a:defRPr>
            </a:lvl1pPr>
          </a:lstStyle>
          <a:p>
            <a:pPr lvl="0"/>
            <a:r>
              <a:rPr lang="en-US" noProof="0"/>
              <a:t>Presenter’s Name</a:t>
            </a:r>
          </a:p>
        </p:txBody>
      </p:sp>
      <p:sp>
        <p:nvSpPr>
          <p:cNvPr id="3" name="Text Placeholder 2">
            <a:extLst>
              <a:ext uri="{FF2B5EF4-FFF2-40B4-BE49-F238E27FC236}">
                <a16:creationId xmlns:a16="http://schemas.microsoft.com/office/drawing/2014/main" id="{A9A7EC67-992E-7743-8D67-9E23F97205EB}"/>
              </a:ext>
            </a:extLst>
          </p:cNvPr>
          <p:cNvSpPr>
            <a:spLocks noGrp="1"/>
          </p:cNvSpPr>
          <p:nvPr>
            <p:ph type="body" sz="quarter" idx="14" hasCustomPrompt="1"/>
          </p:nvPr>
        </p:nvSpPr>
        <p:spPr>
          <a:xfrm>
            <a:off x="7534309" y="3882109"/>
            <a:ext cx="3345069" cy="334962"/>
          </a:xfrm>
        </p:spPr>
        <p:txBody>
          <a:bodyPr/>
          <a:lstStyle>
            <a:lvl1pPr rtl="0">
              <a:buFontTx/>
              <a:buNone/>
              <a:defRPr sz="1500">
                <a:solidFill>
                  <a:schemeClr val="bg1"/>
                </a:solidFill>
                <a:latin typeface="Calibri" panose="020F0502020204030204" pitchFamily="34" charset="0"/>
                <a:cs typeface="Calibri" panose="020F0502020204030204" pitchFamily="34" charset="0"/>
              </a:defRPr>
            </a:lvl1pPr>
            <a:lvl2pPr>
              <a:buFontTx/>
              <a:buNone/>
              <a:defRPr/>
            </a:lvl2pPr>
            <a:lvl3pPr>
              <a:buFontTx/>
              <a:buNone/>
              <a:defRPr/>
            </a:lvl3pPr>
            <a:lvl4pPr>
              <a:buFontTx/>
              <a:buNone/>
              <a:defRPr/>
            </a:lvl4pPr>
            <a:lvl5pPr>
              <a:buFontTx/>
              <a:buNone/>
              <a:defRPr/>
            </a:lvl5pPr>
          </a:lstStyle>
          <a:p>
            <a:pPr lvl="0"/>
            <a:r>
              <a:rPr lang="en-US" noProof="0"/>
              <a:t>Date</a:t>
            </a:r>
          </a:p>
        </p:txBody>
      </p:sp>
      <p:sp>
        <p:nvSpPr>
          <p:cNvPr id="14" name="Text Placeholder 3">
            <a:extLst>
              <a:ext uri="{FF2B5EF4-FFF2-40B4-BE49-F238E27FC236}">
                <a16:creationId xmlns:a16="http://schemas.microsoft.com/office/drawing/2014/main" id="{35CF201F-2D28-5B49-A064-6A811F0B8254}"/>
              </a:ext>
            </a:extLst>
          </p:cNvPr>
          <p:cNvSpPr>
            <a:spLocks noGrp="1"/>
          </p:cNvSpPr>
          <p:nvPr>
            <p:ph type="body" sz="quarter" idx="15" hasCustomPrompt="1"/>
          </p:nvPr>
        </p:nvSpPr>
        <p:spPr>
          <a:xfrm>
            <a:off x="7534372" y="2156693"/>
            <a:ext cx="3811904" cy="932688"/>
          </a:xfrm>
        </p:spPr>
        <p:txBody>
          <a:bodyPr>
            <a:noAutofit/>
          </a:bodyPr>
          <a:lstStyle>
            <a:lvl1pPr marL="7938" indent="-7938" rtl="0">
              <a:spcBef>
                <a:spcPts val="0"/>
              </a:spcBef>
              <a:buNone/>
              <a:tabLst/>
              <a:defRPr sz="3000" b="1" i="0">
                <a:solidFill>
                  <a:schemeClr val="bg1"/>
                </a:solidFill>
                <a:latin typeface="Calibri" panose="020F0502020204030204" pitchFamily="34" charset="0"/>
                <a:cs typeface="Calibri" panose="020F0502020204030204" pitchFamily="34" charset="0"/>
              </a:defRPr>
            </a:lvl1pPr>
          </a:lstStyle>
          <a:p>
            <a:pPr lvl="0"/>
            <a:r>
              <a:rPr lang="en-US" noProof="0"/>
              <a:t>PepsiCo Positive</a:t>
            </a:r>
          </a:p>
          <a:p>
            <a:pPr lvl="0"/>
            <a:r>
              <a:rPr lang="en-US" noProof="0"/>
              <a:t>Template</a:t>
            </a:r>
          </a:p>
        </p:txBody>
      </p:sp>
    </p:spTree>
    <p:extLst>
      <p:ext uri="{BB962C8B-B14F-4D97-AF65-F5344CB8AC3E}">
        <p14:creationId xmlns:p14="http://schemas.microsoft.com/office/powerpoint/2010/main" val="16230568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_3">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6997525-20C6-DD0F-63EA-A64270E09E15}"/>
              </a:ext>
            </a:extLst>
          </p:cNvPr>
          <p:cNvGraphicFramePr>
            <a:graphicFrameLocks noChangeAspect="1"/>
          </p:cNvGraphicFramePr>
          <p:nvPr userDrawn="1">
            <p:custDataLst>
              <p:tags r:id="rId1"/>
            </p:custDataLst>
            <p:extLst>
              <p:ext uri="{D42A27DB-BD31-4B8C-83A1-F6EECF244321}">
                <p14:modId xmlns:p14="http://schemas.microsoft.com/office/powerpoint/2010/main" val="952630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B6997525-20C6-DD0F-63EA-A64270E09E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0CEF2B4A-8D8A-9921-8B20-101701BF0124}"/>
              </a:ext>
            </a:extLst>
          </p:cNvPr>
          <p:cNvPicPr>
            <a:picLocks noChangeAspect="1"/>
          </p:cNvPicPr>
          <p:nvPr userDrawn="1"/>
        </p:nvPicPr>
        <p:blipFill>
          <a:blip r:embed="rId5"/>
          <a:stretch>
            <a:fillRect/>
          </a:stretch>
        </p:blipFill>
        <p:spPr>
          <a:xfrm>
            <a:off x="19504" y="2780"/>
            <a:ext cx="12192000" cy="6855220"/>
          </a:xfrm>
          <a:prstGeom prst="rect">
            <a:avLst/>
          </a:prstGeom>
        </p:spPr>
      </p:pic>
      <p:pic>
        <p:nvPicPr>
          <p:cNvPr id="20" name="Picture 19" descr="A picture containing text, electronics&#10;&#10;Description automatically generated">
            <a:extLst>
              <a:ext uri="{FF2B5EF4-FFF2-40B4-BE49-F238E27FC236}">
                <a16:creationId xmlns:a16="http://schemas.microsoft.com/office/drawing/2014/main" id="{7D525D62-6F88-4E1C-DDCA-3069A179E5E1}"/>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2"/>
          <a:stretch/>
        </p:blipFill>
        <p:spPr>
          <a:xfrm>
            <a:off x="0" y="0"/>
            <a:ext cx="6515154" cy="6858000"/>
          </a:xfrm>
          <a:prstGeom prst="rect">
            <a:avLst/>
          </a:prstGeom>
        </p:spPr>
      </p:pic>
      <p:sp>
        <p:nvSpPr>
          <p:cNvPr id="6" name="Text Placeholder 6">
            <a:extLst>
              <a:ext uri="{FF2B5EF4-FFF2-40B4-BE49-F238E27FC236}">
                <a16:creationId xmlns:a16="http://schemas.microsoft.com/office/drawing/2014/main" id="{87EB40FB-1164-79CB-79D7-1524D4C3B2FD}"/>
              </a:ext>
            </a:extLst>
          </p:cNvPr>
          <p:cNvSpPr>
            <a:spLocks noGrp="1"/>
          </p:cNvSpPr>
          <p:nvPr>
            <p:ph type="body" sz="quarter" idx="15" hasCustomPrompt="1"/>
          </p:nvPr>
        </p:nvSpPr>
        <p:spPr>
          <a:xfrm>
            <a:off x="6916416" y="1907198"/>
            <a:ext cx="4882138" cy="608864"/>
          </a:xfrm>
        </p:spPr>
        <p:txBody>
          <a:bodyPr>
            <a:noAutofit/>
          </a:bodyPr>
          <a:lstStyle>
            <a:lvl1pPr marL="0" indent="0">
              <a:buNone/>
              <a:defRPr sz="3600" b="1" i="0">
                <a:solidFill>
                  <a:schemeClr val="bg1"/>
                </a:solidFill>
                <a:latin typeface="+mn-lt"/>
                <a:ea typeface="+mn-ea"/>
                <a:cs typeface="+mn-cs"/>
              </a:defRPr>
            </a:lvl1pPr>
          </a:lstStyle>
          <a:p>
            <a:pPr lvl="0"/>
            <a:r>
              <a:rPr lang="en-US"/>
              <a:t>Title text</a:t>
            </a:r>
          </a:p>
        </p:txBody>
      </p:sp>
      <p:sp>
        <p:nvSpPr>
          <p:cNvPr id="7" name="Text Placeholder 6">
            <a:extLst>
              <a:ext uri="{FF2B5EF4-FFF2-40B4-BE49-F238E27FC236}">
                <a16:creationId xmlns:a16="http://schemas.microsoft.com/office/drawing/2014/main" id="{4E522F61-7AB0-BC8C-4E13-8BECE93AC1B4}"/>
              </a:ext>
            </a:extLst>
          </p:cNvPr>
          <p:cNvSpPr>
            <a:spLocks noGrp="1"/>
          </p:cNvSpPr>
          <p:nvPr>
            <p:ph type="body" sz="quarter" idx="16" hasCustomPrompt="1"/>
          </p:nvPr>
        </p:nvSpPr>
        <p:spPr>
          <a:xfrm>
            <a:off x="6916416" y="2736147"/>
            <a:ext cx="4882138" cy="608864"/>
          </a:xfrm>
          <a:noFill/>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b="0" i="0">
                <a:solidFill>
                  <a:schemeClr val="bg1"/>
                </a:solidFill>
                <a:latin typeface="+mn-lt"/>
                <a:ea typeface="+mn-ea"/>
                <a:cs typeface="+mn-cs"/>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Subtitle</a:t>
            </a:r>
          </a:p>
          <a:p>
            <a:pPr lvl="0"/>
            <a:endParaRPr lang="en-US"/>
          </a:p>
        </p:txBody>
      </p:sp>
      <p:pic>
        <p:nvPicPr>
          <p:cNvPr id="8" name="Picture 7">
            <a:extLst>
              <a:ext uri="{FF2B5EF4-FFF2-40B4-BE49-F238E27FC236}">
                <a16:creationId xmlns:a16="http://schemas.microsoft.com/office/drawing/2014/main" id="{AFBCD2ED-B4C5-B462-9A73-2116E09AD0F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5560"/>
            <a:ext cx="5214876" cy="4513432"/>
          </a:xfrm>
          <a:prstGeom prst="rect">
            <a:avLst/>
          </a:prstGeom>
        </p:spPr>
      </p:pic>
      <p:sp>
        <p:nvSpPr>
          <p:cNvPr id="9" name="Text Placeholder 6">
            <a:extLst>
              <a:ext uri="{FF2B5EF4-FFF2-40B4-BE49-F238E27FC236}">
                <a16:creationId xmlns:a16="http://schemas.microsoft.com/office/drawing/2014/main" id="{6374CB85-67B5-E257-BF4E-EC7A8FB663DE}"/>
              </a:ext>
            </a:extLst>
          </p:cNvPr>
          <p:cNvSpPr>
            <a:spLocks noGrp="1"/>
          </p:cNvSpPr>
          <p:nvPr>
            <p:ph type="body" sz="quarter" idx="18" hasCustomPrompt="1"/>
          </p:nvPr>
        </p:nvSpPr>
        <p:spPr>
          <a:xfrm>
            <a:off x="6942174" y="3959640"/>
            <a:ext cx="4882138" cy="384460"/>
          </a:xfrm>
          <a:noFill/>
        </p:spPr>
        <p:txBody>
          <a:bodyPr>
            <a:noAutofit/>
          </a:bodyPr>
          <a:lstStyle>
            <a:lvl1pPr marL="0" indent="0">
              <a:buNone/>
              <a:defRPr sz="2000" b="0" i="0">
                <a:solidFill>
                  <a:schemeClr val="bg1"/>
                </a:solidFill>
                <a:latin typeface="+mn-lt"/>
                <a:ea typeface="+mn-ea"/>
                <a:cs typeface="+mn-cs"/>
              </a:defRPr>
            </a:lvl1pPr>
          </a:lstStyle>
          <a:p>
            <a:pPr lvl="0"/>
            <a:r>
              <a:rPr lang="en-US"/>
              <a:t>Date </a:t>
            </a:r>
          </a:p>
        </p:txBody>
      </p:sp>
      <p:sp>
        <p:nvSpPr>
          <p:cNvPr id="4" name="TextBox 3">
            <a:extLst>
              <a:ext uri="{FF2B5EF4-FFF2-40B4-BE49-F238E27FC236}">
                <a16:creationId xmlns:a16="http://schemas.microsoft.com/office/drawing/2014/main" id="{6CEEFA0D-DF3D-CE89-FE60-598006CAECA8}"/>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mn-lt"/>
                <a:ea typeface="+mn-ea"/>
                <a:cs typeface="+mn-cs"/>
              </a:rPr>
              <a:pPr algn="r"/>
              <a:t>‹#›</a:t>
            </a:fld>
            <a:endParaRPr lang="en-US" sz="700" spc="300">
              <a:solidFill>
                <a:schemeClr val="bg1"/>
              </a:solidFill>
              <a:latin typeface="+mn-lt"/>
              <a:ea typeface="+mn-ea"/>
              <a:cs typeface="+mn-cs"/>
            </a:endParaRPr>
          </a:p>
        </p:txBody>
      </p:sp>
      <p:sp>
        <p:nvSpPr>
          <p:cNvPr id="3" name="Rectangle 2">
            <a:extLst>
              <a:ext uri="{FF2B5EF4-FFF2-40B4-BE49-F238E27FC236}">
                <a16:creationId xmlns:a16="http://schemas.microsoft.com/office/drawing/2014/main" id="{75326ACE-97C8-16B8-2BB4-966A62E36AA9}"/>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E02EC330-8540-F574-3F43-B0CC5C51E73D}"/>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B7D0AC80-2A85-8389-7781-D2ACAE472C1A}"/>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E59A9E27-A09A-E72B-112D-FCE664AE90F4}"/>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7443FA9A-2B51-F1D1-159A-96558D3B7C86}"/>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C02EAA39-754A-7E6F-CD96-E2887137756A}"/>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67F0E295-4B7D-6882-6B05-F68C467095F8}"/>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D2002B6F-79EE-3A7E-1C92-9D8366CE262A}"/>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DA446F5D-7AAF-99DF-6095-ED40913CF346}"/>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8" name="Rectangle 17">
            <a:extLst>
              <a:ext uri="{FF2B5EF4-FFF2-40B4-BE49-F238E27FC236}">
                <a16:creationId xmlns:a16="http://schemas.microsoft.com/office/drawing/2014/main" id="{7AD98835-C978-294E-BB3B-AC74182870BD}"/>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pic>
        <p:nvPicPr>
          <p:cNvPr id="19" name="Picture 18" descr="Logo&#10;&#10;Description automatically generated">
            <a:extLst>
              <a:ext uri="{FF2B5EF4-FFF2-40B4-BE49-F238E27FC236}">
                <a16:creationId xmlns:a16="http://schemas.microsoft.com/office/drawing/2014/main" id="{97615AB6-5E78-D7B0-C7EF-37BED6F516AC}"/>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615031" y="5220255"/>
            <a:ext cx="3180246" cy="1304619"/>
          </a:xfrm>
          <a:prstGeom prst="rect">
            <a:avLst/>
          </a:prstGeom>
        </p:spPr>
      </p:pic>
    </p:spTree>
    <p:extLst>
      <p:ext uri="{BB962C8B-B14F-4D97-AF65-F5344CB8AC3E}">
        <p14:creationId xmlns:p14="http://schemas.microsoft.com/office/powerpoint/2010/main" val="87656303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Slide 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A420C90-0DEB-42EB-A2DC-AB17DB2466CE}"/>
              </a:ext>
            </a:extLst>
          </p:cNvPr>
          <p:cNvGraphicFramePr>
            <a:graphicFrameLocks noChangeAspect="1"/>
          </p:cNvGraphicFramePr>
          <p:nvPr userDrawn="1">
            <p:custDataLst>
              <p:tags r:id="rId1"/>
            </p:custDataLst>
            <p:extLst>
              <p:ext uri="{D42A27DB-BD31-4B8C-83A1-F6EECF244321}">
                <p14:modId xmlns:p14="http://schemas.microsoft.com/office/powerpoint/2010/main" val="3941681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3A420C90-0DEB-42EB-A2DC-AB17DB2466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object 5">
            <a:extLst>
              <a:ext uri="{FF2B5EF4-FFF2-40B4-BE49-F238E27FC236}">
                <a16:creationId xmlns:a16="http://schemas.microsoft.com/office/drawing/2014/main" id="{47086C8A-84DB-1940-BEA7-DBBB9D5AD42D}"/>
              </a:ext>
            </a:extLst>
          </p:cNvPr>
          <p:cNvSpPr/>
          <p:nvPr userDrawn="1"/>
        </p:nvSpPr>
        <p:spPr>
          <a:xfrm>
            <a:off x="-34288" y="0"/>
            <a:ext cx="12226288" cy="6858000"/>
          </a:xfrm>
          <a:custGeom>
            <a:avLst/>
            <a:gdLst/>
            <a:ahLst/>
            <a:cxnLst/>
            <a:rect l="l" t="t" r="r" b="b"/>
            <a:pathLst>
              <a:path w="4212590" h="6849109">
                <a:moveTo>
                  <a:pt x="4212005" y="0"/>
                </a:moveTo>
                <a:lnTo>
                  <a:pt x="0" y="0"/>
                </a:lnTo>
                <a:lnTo>
                  <a:pt x="0" y="6848995"/>
                </a:lnTo>
                <a:lnTo>
                  <a:pt x="4212005" y="6848995"/>
                </a:lnTo>
                <a:lnTo>
                  <a:pt x="4212005" y="0"/>
                </a:lnTo>
                <a:close/>
              </a:path>
            </a:pathLst>
          </a:custGeom>
          <a:solidFill>
            <a:srgbClr val="0065E5"/>
          </a:solidFill>
        </p:spPr>
        <p:txBody>
          <a:bodyPr wrap="square" lIns="0" tIns="0" rIns="0" bIns="0" rtlCol="0"/>
          <a:lstStyle/>
          <a:p>
            <a:pPr rtl="0"/>
            <a:endParaRPr lang="en-US" noProof="0"/>
          </a:p>
        </p:txBody>
      </p:sp>
      <p:sp>
        <p:nvSpPr>
          <p:cNvPr id="24" name="object 10">
            <a:extLst>
              <a:ext uri="{FF2B5EF4-FFF2-40B4-BE49-F238E27FC236}">
                <a16:creationId xmlns:a16="http://schemas.microsoft.com/office/drawing/2014/main" id="{0994524A-769B-B742-80BC-F1C502F1E422}"/>
              </a:ext>
            </a:extLst>
          </p:cNvPr>
          <p:cNvSpPr/>
          <p:nvPr/>
        </p:nvSpPr>
        <p:spPr>
          <a:xfrm>
            <a:off x="7648609" y="3789181"/>
            <a:ext cx="598634" cy="237896"/>
          </a:xfrm>
          <a:custGeom>
            <a:avLst/>
            <a:gdLst/>
            <a:ahLst/>
            <a:cxnLst/>
            <a:rect l="l" t="t" r="r" b="b"/>
            <a:pathLst>
              <a:path w="594359">
                <a:moveTo>
                  <a:pt x="0" y="0"/>
                </a:moveTo>
                <a:lnTo>
                  <a:pt x="594004" y="0"/>
                </a:lnTo>
              </a:path>
            </a:pathLst>
          </a:custGeom>
          <a:ln w="9525">
            <a:solidFill>
              <a:srgbClr val="FFFFFF"/>
            </a:solidFill>
          </a:ln>
        </p:spPr>
        <p:txBody>
          <a:bodyPr wrap="square" lIns="0" tIns="0" rIns="0" bIns="0" rtlCol="0"/>
          <a:lstStyle/>
          <a:p>
            <a:pPr rtl="0"/>
            <a:endParaRPr lang="en-US" noProof="0"/>
          </a:p>
        </p:txBody>
      </p:sp>
      <p:sp>
        <p:nvSpPr>
          <p:cNvPr id="4" name="Text Placeholder 3">
            <a:extLst>
              <a:ext uri="{FF2B5EF4-FFF2-40B4-BE49-F238E27FC236}">
                <a16:creationId xmlns:a16="http://schemas.microsoft.com/office/drawing/2014/main" id="{2D4BF98B-D5FF-D640-8B08-3F30B1F11D9E}"/>
              </a:ext>
            </a:extLst>
          </p:cNvPr>
          <p:cNvSpPr>
            <a:spLocks noGrp="1"/>
          </p:cNvSpPr>
          <p:nvPr>
            <p:ph type="body" sz="quarter" idx="13" hasCustomPrompt="1"/>
          </p:nvPr>
        </p:nvSpPr>
        <p:spPr>
          <a:xfrm>
            <a:off x="7534372" y="3376933"/>
            <a:ext cx="3587051" cy="334962"/>
          </a:xfrm>
        </p:spPr>
        <p:txBody>
          <a:bodyPr/>
          <a:lstStyle>
            <a:lvl1pPr rtl="0">
              <a:buNone/>
              <a:defRPr sz="1800">
                <a:solidFill>
                  <a:schemeClr val="bg1"/>
                </a:solidFill>
                <a:latin typeface="Calibri" panose="020F0502020204030204" pitchFamily="34" charset="0"/>
                <a:cs typeface="Calibri" panose="020F0502020204030204" pitchFamily="34" charset="0"/>
              </a:defRPr>
            </a:lvl1pPr>
          </a:lstStyle>
          <a:p>
            <a:pPr lvl="0"/>
            <a:r>
              <a:rPr lang="en-US" noProof="0"/>
              <a:t>Presenter’s Name</a:t>
            </a:r>
          </a:p>
        </p:txBody>
      </p:sp>
      <p:sp>
        <p:nvSpPr>
          <p:cNvPr id="3" name="Text Placeholder 2">
            <a:extLst>
              <a:ext uri="{FF2B5EF4-FFF2-40B4-BE49-F238E27FC236}">
                <a16:creationId xmlns:a16="http://schemas.microsoft.com/office/drawing/2014/main" id="{A9A7EC67-992E-7743-8D67-9E23F97205EB}"/>
              </a:ext>
            </a:extLst>
          </p:cNvPr>
          <p:cNvSpPr>
            <a:spLocks noGrp="1"/>
          </p:cNvSpPr>
          <p:nvPr>
            <p:ph type="body" sz="quarter" idx="14" hasCustomPrompt="1"/>
          </p:nvPr>
        </p:nvSpPr>
        <p:spPr>
          <a:xfrm>
            <a:off x="7534309" y="3882109"/>
            <a:ext cx="3345069" cy="334962"/>
          </a:xfrm>
        </p:spPr>
        <p:txBody>
          <a:bodyPr/>
          <a:lstStyle>
            <a:lvl1pPr rtl="0">
              <a:buFontTx/>
              <a:buNone/>
              <a:defRPr sz="1500">
                <a:solidFill>
                  <a:schemeClr val="bg1"/>
                </a:solidFill>
                <a:latin typeface="Calibri" panose="020F0502020204030204" pitchFamily="34" charset="0"/>
                <a:cs typeface="Calibri" panose="020F0502020204030204" pitchFamily="34" charset="0"/>
              </a:defRPr>
            </a:lvl1pPr>
            <a:lvl2pPr>
              <a:buFontTx/>
              <a:buNone/>
              <a:defRPr/>
            </a:lvl2pPr>
            <a:lvl3pPr>
              <a:buFontTx/>
              <a:buNone/>
              <a:defRPr/>
            </a:lvl3pPr>
            <a:lvl4pPr>
              <a:buFontTx/>
              <a:buNone/>
              <a:defRPr/>
            </a:lvl4pPr>
            <a:lvl5pPr>
              <a:buFontTx/>
              <a:buNone/>
              <a:defRPr/>
            </a:lvl5pPr>
          </a:lstStyle>
          <a:p>
            <a:pPr lvl="0"/>
            <a:r>
              <a:rPr lang="en-US" noProof="0"/>
              <a:t>Date</a:t>
            </a:r>
          </a:p>
        </p:txBody>
      </p:sp>
      <p:sp>
        <p:nvSpPr>
          <p:cNvPr id="14" name="Text Placeholder 3">
            <a:extLst>
              <a:ext uri="{FF2B5EF4-FFF2-40B4-BE49-F238E27FC236}">
                <a16:creationId xmlns:a16="http://schemas.microsoft.com/office/drawing/2014/main" id="{35CF201F-2D28-5B49-A064-6A811F0B8254}"/>
              </a:ext>
            </a:extLst>
          </p:cNvPr>
          <p:cNvSpPr>
            <a:spLocks noGrp="1"/>
          </p:cNvSpPr>
          <p:nvPr>
            <p:ph type="body" sz="quarter" idx="15" hasCustomPrompt="1"/>
          </p:nvPr>
        </p:nvSpPr>
        <p:spPr>
          <a:xfrm>
            <a:off x="7534372" y="2156693"/>
            <a:ext cx="3811904" cy="932688"/>
          </a:xfrm>
        </p:spPr>
        <p:txBody>
          <a:bodyPr>
            <a:noAutofit/>
          </a:bodyPr>
          <a:lstStyle>
            <a:lvl1pPr marL="7938" indent="-7938" rtl="0">
              <a:spcBef>
                <a:spcPts val="0"/>
              </a:spcBef>
              <a:buNone/>
              <a:tabLst/>
              <a:defRPr sz="3000" b="1" i="0">
                <a:solidFill>
                  <a:schemeClr val="bg1"/>
                </a:solidFill>
                <a:latin typeface="Calibri" panose="020F0502020204030204" pitchFamily="34" charset="0"/>
                <a:cs typeface="Calibri" panose="020F0502020204030204" pitchFamily="34" charset="0"/>
              </a:defRPr>
            </a:lvl1pPr>
          </a:lstStyle>
          <a:p>
            <a:pPr lvl="0"/>
            <a:r>
              <a:rPr lang="en-US" noProof="0"/>
              <a:t>PepsiCo Positive</a:t>
            </a:r>
          </a:p>
          <a:p>
            <a:pPr lvl="0"/>
            <a:r>
              <a:rPr lang="en-US" noProof="0"/>
              <a:t>Template</a:t>
            </a:r>
          </a:p>
        </p:txBody>
      </p:sp>
      <p:pic>
        <p:nvPicPr>
          <p:cNvPr id="6" name="Picture 5" descr="A picture containing shape&#10;&#10;Description automatically generated">
            <a:extLst>
              <a:ext uri="{FF2B5EF4-FFF2-40B4-BE49-F238E27FC236}">
                <a16:creationId xmlns:a16="http://schemas.microsoft.com/office/drawing/2014/main" id="{6D296BF9-AF5E-AB4E-95DD-2CED32E414A3}"/>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332925" y="3570"/>
            <a:ext cx="12192000" cy="6854430"/>
          </a:xfrm>
          <a:prstGeom prst="rect">
            <a:avLst/>
          </a:prstGeom>
        </p:spPr>
      </p:pic>
    </p:spTree>
    <p:extLst>
      <p:ext uri="{BB962C8B-B14F-4D97-AF65-F5344CB8AC3E}">
        <p14:creationId xmlns:p14="http://schemas.microsoft.com/office/powerpoint/2010/main" val="400983095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ase Masterslide (Blue footer) w/ PepsiCo logo">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BEE2250-657D-4F69-894E-9C87094AE811}"/>
              </a:ext>
            </a:extLst>
          </p:cNvPr>
          <p:cNvGraphicFramePr>
            <a:graphicFrameLocks noChangeAspect="1"/>
          </p:cNvGraphicFramePr>
          <p:nvPr userDrawn="1">
            <p:custDataLst>
              <p:tags r:id="rId1"/>
            </p:custDataLst>
            <p:extLst>
              <p:ext uri="{D42A27DB-BD31-4B8C-83A1-F6EECF244321}">
                <p14:modId xmlns:p14="http://schemas.microsoft.com/office/powerpoint/2010/main" val="347136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1" name="Object 10" hidden="1">
                        <a:extLst>
                          <a:ext uri="{FF2B5EF4-FFF2-40B4-BE49-F238E27FC236}">
                            <a16:creationId xmlns:a16="http://schemas.microsoft.com/office/drawing/2014/main" id="{5BEE2250-657D-4F69-894E-9C87094AE8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Text Placeholder 13">
            <a:extLst>
              <a:ext uri="{FF2B5EF4-FFF2-40B4-BE49-F238E27FC236}">
                <a16:creationId xmlns:a16="http://schemas.microsoft.com/office/drawing/2014/main" id="{C5C2C756-4887-4DBC-9325-80D683CDBE55}"/>
              </a:ext>
            </a:extLst>
          </p:cNvPr>
          <p:cNvSpPr>
            <a:spLocks noGrp="1"/>
          </p:cNvSpPr>
          <p:nvPr>
            <p:ph type="body" sz="quarter" idx="16"/>
          </p:nvPr>
        </p:nvSpPr>
        <p:spPr>
          <a:xfrm>
            <a:off x="300038" y="1323077"/>
            <a:ext cx="11591925" cy="4985648"/>
          </a:xfrm>
          <a:prstGeom prst="rect">
            <a:avLst/>
          </a:prstGeom>
        </p:spPr>
        <p:txBody>
          <a:bodyPr lIns="0">
            <a:normAutofit/>
          </a:bodyPr>
          <a:lstStyle>
            <a:lvl1pPr marL="0" indent="0" rtl="0">
              <a:buNone/>
              <a:defRPr sz="1200">
                <a:solidFill>
                  <a:schemeClr val="accent2">
                    <a:lumMod val="50000"/>
                  </a:schemeClr>
                </a:solidFill>
                <a:latin typeface="Leelawadee" panose="020B0502040204020203" pitchFamily="34" charset="-34"/>
                <a:cs typeface="Leelawadee" panose="020B0502040204020203" pitchFamily="34" charset="-34"/>
              </a:defRPr>
            </a:lvl1pPr>
          </a:lstStyle>
          <a:p>
            <a:pPr lvl="0"/>
            <a:endParaRPr lang="en-US" noProof="0"/>
          </a:p>
        </p:txBody>
      </p:sp>
      <p:sp>
        <p:nvSpPr>
          <p:cNvPr id="26" name="Text Placeholder 3">
            <a:extLst>
              <a:ext uri="{FF2B5EF4-FFF2-40B4-BE49-F238E27FC236}">
                <a16:creationId xmlns:a16="http://schemas.microsoft.com/office/drawing/2014/main" id="{9590B7C2-3288-42BD-AE48-EE22C309F12C}"/>
              </a:ext>
            </a:extLst>
          </p:cNvPr>
          <p:cNvSpPr>
            <a:spLocks noGrp="1"/>
          </p:cNvSpPr>
          <p:nvPr>
            <p:ph type="body" sz="quarter" idx="15" hasCustomPrompt="1"/>
          </p:nvPr>
        </p:nvSpPr>
        <p:spPr>
          <a:xfrm>
            <a:off x="300038" y="296863"/>
            <a:ext cx="11591925" cy="472463"/>
          </a:xfrm>
          <a:prstGeom prst="rect">
            <a:avLst/>
          </a:prstGeom>
        </p:spPr>
        <p:txBody>
          <a:bodyPr lIns="0" tIns="0" rIns="0" bIns="0" anchor="t" anchorCtr="0">
            <a:noAutofit/>
          </a:bodyPr>
          <a:lstStyle>
            <a:lvl1pPr marL="7938" indent="-7938" algn="l" rtl="0">
              <a:spcBef>
                <a:spcPts val="0"/>
              </a:spcBef>
              <a:buNone/>
              <a:tabLst/>
              <a:defRPr sz="3000" b="1" i="0">
                <a:solidFill>
                  <a:schemeClr val="accent2">
                    <a:lumMod val="50000"/>
                  </a:schemeClr>
                </a:solidFill>
                <a:latin typeface="Leelawadee" panose="020B0502040204020203" pitchFamily="34" charset="-34"/>
                <a:cs typeface="Leelawadee" panose="020B0502040204020203" pitchFamily="34" charset="-34"/>
              </a:defRPr>
            </a:lvl1pPr>
          </a:lstStyle>
          <a:p>
            <a:pPr lvl="0"/>
            <a:r>
              <a:rPr lang="en-US" noProof="0"/>
              <a:t>Title </a:t>
            </a:r>
          </a:p>
        </p:txBody>
      </p:sp>
      <p:sp>
        <p:nvSpPr>
          <p:cNvPr id="16" name="Rectangle 15">
            <a:extLst>
              <a:ext uri="{FF2B5EF4-FFF2-40B4-BE49-F238E27FC236}">
                <a16:creationId xmlns:a16="http://schemas.microsoft.com/office/drawing/2014/main" id="{7658413C-81E2-42E8-A860-42F45D7C1043}"/>
              </a:ext>
            </a:extLst>
          </p:cNvPr>
          <p:cNvSpPr/>
          <p:nvPr userDrawn="1"/>
        </p:nvSpPr>
        <p:spPr>
          <a:xfrm>
            <a:off x="0" y="6570000"/>
            <a:ext cx="12192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100" noProof="0"/>
          </a:p>
        </p:txBody>
      </p:sp>
      <p:cxnSp>
        <p:nvCxnSpPr>
          <p:cNvPr id="19" name="Straight Connector 18">
            <a:extLst>
              <a:ext uri="{FF2B5EF4-FFF2-40B4-BE49-F238E27FC236}">
                <a16:creationId xmlns:a16="http://schemas.microsoft.com/office/drawing/2014/main" id="{CEDD0FA2-961B-4F54-A14B-BA64C23D197C}"/>
              </a:ext>
            </a:extLst>
          </p:cNvPr>
          <p:cNvCxnSpPr/>
          <p:nvPr userDrawn="1"/>
        </p:nvCxnSpPr>
        <p:spPr>
          <a:xfrm>
            <a:off x="634587" y="6570000"/>
            <a:ext cx="0" cy="288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84FAAF54-6B54-482C-A7A4-709CFDFD1650}"/>
              </a:ext>
            </a:extLst>
          </p:cNvPr>
          <p:cNvSpPr txBox="1"/>
          <p:nvPr userDrawn="1"/>
        </p:nvSpPr>
        <p:spPr>
          <a:xfrm>
            <a:off x="806034" y="6650942"/>
            <a:ext cx="3896596" cy="123111"/>
          </a:xfrm>
          <a:prstGeom prst="rect">
            <a:avLst/>
          </a:prstGeom>
          <a:noFill/>
        </p:spPr>
        <p:txBody>
          <a:bodyPr wrap="square" lIns="0" tIns="0" rIns="0" bIns="0" rtlCol="0">
            <a:spAutoFit/>
          </a:bodyPr>
          <a:lstStyle/>
          <a:p>
            <a:pPr rtl="0"/>
            <a:r>
              <a:rPr lang="en-US" sz="800" spc="300" baseline="0" noProof="0">
                <a:solidFill>
                  <a:schemeClr val="bg1"/>
                </a:solidFill>
                <a:latin typeface="Leelawadee" panose="020B0502040204020203" pitchFamily="34" charset="-34"/>
                <a:cs typeface="Leelawadee" panose="020B0502040204020203" pitchFamily="34" charset="-34"/>
              </a:rPr>
              <a:t>CONFIDENTIAL &amp; PROPRIETARY</a:t>
            </a:r>
          </a:p>
        </p:txBody>
      </p:sp>
      <p:sp>
        <p:nvSpPr>
          <p:cNvPr id="21" name="Rectangle 20">
            <a:hlinkClick r:id="" action="ppaction://noaction"/>
            <a:extLst>
              <a:ext uri="{FF2B5EF4-FFF2-40B4-BE49-F238E27FC236}">
                <a16:creationId xmlns:a16="http://schemas.microsoft.com/office/drawing/2014/main" id="{B8AC756B-AFB8-40A0-B830-C4E08A07C4EC}"/>
              </a:ext>
            </a:extLst>
          </p:cNvPr>
          <p:cNvSpPr/>
          <p:nvPr userDrawn="1"/>
        </p:nvSpPr>
        <p:spPr>
          <a:xfrm>
            <a:off x="5214721" y="6579908"/>
            <a:ext cx="1147937"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lnSpc>
                <a:spcPct val="90000"/>
              </a:lnSpc>
            </a:pPr>
            <a:r>
              <a:rPr lang="en-GB" sz="800" b="0">
                <a:solidFill>
                  <a:schemeClr val="bg1">
                    <a:alpha val="50000"/>
                  </a:schemeClr>
                </a:solidFill>
                <a:latin typeface="Leelawadee" panose="020B0502040204020203" pitchFamily="34" charset="-34"/>
                <a:cs typeface="Leelawadee" panose="020B0502040204020203" pitchFamily="34" charset="-34"/>
              </a:rPr>
              <a:t>Intro &amp; objectives</a:t>
            </a:r>
          </a:p>
        </p:txBody>
      </p:sp>
      <p:sp>
        <p:nvSpPr>
          <p:cNvPr id="22" name="Rectangle 21">
            <a:hlinkClick r:id="rId5" action="ppaction://hlinksldjump"/>
            <a:extLst>
              <a:ext uri="{FF2B5EF4-FFF2-40B4-BE49-F238E27FC236}">
                <a16:creationId xmlns:a16="http://schemas.microsoft.com/office/drawing/2014/main" id="{35DFDFD4-BA4C-4FEC-B5B7-61DEBACCE915}"/>
              </a:ext>
            </a:extLst>
          </p:cNvPr>
          <p:cNvSpPr/>
          <p:nvPr userDrawn="1"/>
        </p:nvSpPr>
        <p:spPr>
          <a:xfrm>
            <a:off x="6367021" y="6579908"/>
            <a:ext cx="1126055"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US" sz="800" b="0" noProof="0">
                <a:solidFill>
                  <a:schemeClr val="bg1">
                    <a:alpha val="50000"/>
                  </a:schemeClr>
                </a:solidFill>
                <a:latin typeface="Leelawadee" panose="020B0502040204020203" pitchFamily="34" charset="-34"/>
                <a:cs typeface="Leelawadee" panose="020B0502040204020203" pitchFamily="34" charset="-34"/>
              </a:rPr>
              <a:t>Introducing pep+ </a:t>
            </a:r>
            <a:br>
              <a:rPr lang="en-US" sz="800" b="0" noProof="0">
                <a:solidFill>
                  <a:schemeClr val="bg1">
                    <a:alpha val="50000"/>
                  </a:schemeClr>
                </a:solidFill>
                <a:latin typeface="Leelawadee" panose="020B0502040204020203" pitchFamily="34" charset="-34"/>
                <a:cs typeface="Leelawadee" panose="020B0502040204020203" pitchFamily="34" charset="-34"/>
              </a:rPr>
            </a:br>
            <a:r>
              <a:rPr lang="en-US" sz="800" b="0" noProof="0">
                <a:solidFill>
                  <a:schemeClr val="bg1">
                    <a:alpha val="50000"/>
                  </a:schemeClr>
                </a:solidFill>
                <a:latin typeface="Leelawadee" panose="020B0502040204020203" pitchFamily="34" charset="-34"/>
                <a:cs typeface="Leelawadee" panose="020B0502040204020203" pitchFamily="34" charset="-34"/>
              </a:rPr>
              <a:t>to Customers</a:t>
            </a:r>
          </a:p>
        </p:txBody>
      </p:sp>
      <p:sp>
        <p:nvSpPr>
          <p:cNvPr id="23" name="Rectangle 22">
            <a:hlinkClick r:id="" action="ppaction://noaction"/>
            <a:extLst>
              <a:ext uri="{FF2B5EF4-FFF2-40B4-BE49-F238E27FC236}">
                <a16:creationId xmlns:a16="http://schemas.microsoft.com/office/drawing/2014/main" id="{1FA7F46D-DEA1-464B-884B-AED639F3D093}"/>
              </a:ext>
            </a:extLst>
          </p:cNvPr>
          <p:cNvSpPr/>
          <p:nvPr userDrawn="1"/>
        </p:nvSpPr>
        <p:spPr>
          <a:xfrm>
            <a:off x="7510981" y="6579908"/>
            <a:ext cx="967705"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US" sz="800" b="0" noProof="0">
                <a:solidFill>
                  <a:schemeClr val="bg1">
                    <a:alpha val="50000"/>
                  </a:schemeClr>
                </a:solidFill>
                <a:latin typeface="Leelawadee" panose="020B0502040204020203" pitchFamily="34" charset="-34"/>
                <a:cs typeface="Leelawadee" panose="020B0502040204020203" pitchFamily="34" charset="-34"/>
              </a:rPr>
              <a:t>Exploring </a:t>
            </a:r>
            <a:br>
              <a:rPr lang="en-US" sz="800" b="0" noProof="0">
                <a:solidFill>
                  <a:schemeClr val="bg1">
                    <a:alpha val="50000"/>
                  </a:schemeClr>
                </a:solidFill>
                <a:latin typeface="Leelawadee" panose="020B0502040204020203" pitchFamily="34" charset="-34"/>
                <a:cs typeface="Leelawadee" panose="020B0502040204020203" pitchFamily="34" charset="-34"/>
              </a:rPr>
            </a:br>
            <a:r>
              <a:rPr lang="en-US" sz="800" b="0" noProof="0">
                <a:solidFill>
                  <a:schemeClr val="bg1">
                    <a:alpha val="50000"/>
                  </a:schemeClr>
                </a:solidFill>
                <a:latin typeface="Leelawadee" panose="020B0502040204020203" pitchFamily="34" charset="-34"/>
                <a:cs typeface="Leelawadee" panose="020B0502040204020203" pitchFamily="34" charset="-34"/>
              </a:rPr>
              <a:t>pep+ areas</a:t>
            </a:r>
          </a:p>
        </p:txBody>
      </p:sp>
      <p:sp>
        <p:nvSpPr>
          <p:cNvPr id="24" name="Rectangle 23">
            <a:hlinkClick r:id="" action="ppaction://noaction"/>
            <a:hlinkHover r:id="" action="ppaction://noaction" highlightClick="1"/>
            <a:extLst>
              <a:ext uri="{FF2B5EF4-FFF2-40B4-BE49-F238E27FC236}">
                <a16:creationId xmlns:a16="http://schemas.microsoft.com/office/drawing/2014/main" id="{0064BC68-A61F-4A98-8FF3-53CFBC76498D}"/>
              </a:ext>
            </a:extLst>
          </p:cNvPr>
          <p:cNvSpPr/>
          <p:nvPr userDrawn="1"/>
        </p:nvSpPr>
        <p:spPr>
          <a:xfrm>
            <a:off x="8544692" y="6579908"/>
            <a:ext cx="994577"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GB" sz="800" b="0" noProof="0">
                <a:solidFill>
                  <a:schemeClr val="bg1">
                    <a:alpha val="50000"/>
                  </a:schemeClr>
                </a:solidFill>
                <a:latin typeface="Leelawadee" panose="020B0502040204020203" pitchFamily="34" charset="-34"/>
                <a:cs typeface="Leelawadee" panose="020B0502040204020203" pitchFamily="34" charset="-34"/>
              </a:rPr>
              <a:t>pep+ Customer Engagement</a:t>
            </a:r>
          </a:p>
        </p:txBody>
      </p:sp>
      <p:cxnSp>
        <p:nvCxnSpPr>
          <p:cNvPr id="27" name="Straight Connector 26">
            <a:extLst>
              <a:ext uri="{FF2B5EF4-FFF2-40B4-BE49-F238E27FC236}">
                <a16:creationId xmlns:a16="http://schemas.microsoft.com/office/drawing/2014/main" id="{39972055-E201-4445-9891-BC376D5923CE}"/>
              </a:ext>
            </a:extLst>
          </p:cNvPr>
          <p:cNvCxnSpPr/>
          <p:nvPr userDrawn="1"/>
        </p:nvCxnSpPr>
        <p:spPr>
          <a:xfrm>
            <a:off x="9539270"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0014273-2A42-4DE8-93AF-8BFC599320D6}"/>
              </a:ext>
            </a:extLst>
          </p:cNvPr>
          <p:cNvCxnSpPr/>
          <p:nvPr userDrawn="1"/>
        </p:nvCxnSpPr>
        <p:spPr>
          <a:xfrm>
            <a:off x="848143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71AE860-DCE6-4AF2-8EC7-F157ACB22394}"/>
              </a:ext>
            </a:extLst>
          </p:cNvPr>
          <p:cNvCxnSpPr/>
          <p:nvPr userDrawn="1"/>
        </p:nvCxnSpPr>
        <p:spPr>
          <a:xfrm>
            <a:off x="7493596"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8EFA227-0AFB-4544-8723-E1063B0BD589}"/>
              </a:ext>
            </a:extLst>
          </p:cNvPr>
          <p:cNvCxnSpPr/>
          <p:nvPr userDrawn="1"/>
        </p:nvCxnSpPr>
        <p:spPr>
          <a:xfrm>
            <a:off x="636702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1C3194D-C437-4A08-8DA3-3AD217198B7A}"/>
              </a:ext>
            </a:extLst>
          </p:cNvPr>
          <p:cNvCxnSpPr/>
          <p:nvPr userDrawn="1"/>
        </p:nvCxnSpPr>
        <p:spPr>
          <a:xfrm>
            <a:off x="11186336"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7756E83F-6468-4E9F-AAD7-D3DCD7E9E6A1}"/>
              </a:ext>
            </a:extLst>
          </p:cNvPr>
          <p:cNvGrpSpPr/>
          <p:nvPr userDrawn="1"/>
        </p:nvGrpSpPr>
        <p:grpSpPr>
          <a:xfrm>
            <a:off x="11393217" y="6628477"/>
            <a:ext cx="473369" cy="183554"/>
            <a:chOff x="11393217" y="6628477"/>
            <a:chExt cx="473369" cy="183554"/>
          </a:xfrm>
        </p:grpSpPr>
        <p:sp>
          <p:nvSpPr>
            <p:cNvPr id="33" name="Freeform: Shape 32">
              <a:extLst>
                <a:ext uri="{FF2B5EF4-FFF2-40B4-BE49-F238E27FC236}">
                  <a16:creationId xmlns:a16="http://schemas.microsoft.com/office/drawing/2014/main" id="{D3AFB6FD-F9BF-42D3-8E2F-F1E922881850}"/>
                </a:ext>
              </a:extLst>
            </p:cNvPr>
            <p:cNvSpPr/>
            <p:nvPr/>
          </p:nvSpPr>
          <p:spPr>
            <a:xfrm>
              <a:off x="11432435" y="6628477"/>
              <a:ext cx="90651" cy="18332"/>
            </a:xfrm>
            <a:custGeom>
              <a:avLst/>
              <a:gdLst>
                <a:gd name="connsiteX0" fmla="*/ 11746 w 160635"/>
                <a:gd name="connsiteY0" fmla="*/ 19438 h 32484"/>
                <a:gd name="connsiteX1" fmla="*/ 53842 w 160635"/>
                <a:gd name="connsiteY1" fmla="*/ 32138 h 32484"/>
                <a:gd name="connsiteX2" fmla="*/ 96443 w 160635"/>
                <a:gd name="connsiteY2" fmla="*/ 19438 h 32484"/>
                <a:gd name="connsiteX3" fmla="*/ 138646 w 160635"/>
                <a:gd name="connsiteY3" fmla="*/ 32138 h 32484"/>
                <a:gd name="connsiteX4" fmla="*/ 161624 w 160635"/>
                <a:gd name="connsiteY4" fmla="*/ 25721 h 32484"/>
                <a:gd name="connsiteX5" fmla="*/ 78205 w 160635"/>
                <a:gd name="connsiteY5" fmla="*/ -345 h 32484"/>
                <a:gd name="connsiteX6" fmla="*/ 989 w 160635"/>
                <a:gd name="connsiteY6" fmla="*/ 21648 h 32484"/>
                <a:gd name="connsiteX7" fmla="*/ 11879 w 160635"/>
                <a:gd name="connsiteY7" fmla="*/ 19438 h 3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635" h="32484">
                  <a:moveTo>
                    <a:pt x="11746" y="19438"/>
                  </a:moveTo>
                  <a:cubicBezTo>
                    <a:pt x="29798" y="19438"/>
                    <a:pt x="34671" y="32138"/>
                    <a:pt x="53842" y="32138"/>
                  </a:cubicBezTo>
                  <a:cubicBezTo>
                    <a:pt x="73012" y="32138"/>
                    <a:pt x="77645" y="19438"/>
                    <a:pt x="96443" y="19438"/>
                  </a:cubicBezTo>
                  <a:cubicBezTo>
                    <a:pt x="113644" y="19438"/>
                    <a:pt x="120700" y="32138"/>
                    <a:pt x="138646" y="32138"/>
                  </a:cubicBezTo>
                  <a:cubicBezTo>
                    <a:pt x="146732" y="32029"/>
                    <a:pt x="154651" y="29819"/>
                    <a:pt x="161624" y="25721"/>
                  </a:cubicBezTo>
                  <a:cubicBezTo>
                    <a:pt x="137136" y="8707"/>
                    <a:pt x="108023" y="-388"/>
                    <a:pt x="78205" y="-345"/>
                  </a:cubicBezTo>
                  <a:cubicBezTo>
                    <a:pt x="50915" y="-377"/>
                    <a:pt x="24164" y="7240"/>
                    <a:pt x="989" y="21648"/>
                  </a:cubicBezTo>
                  <a:cubicBezTo>
                    <a:pt x="4440" y="20210"/>
                    <a:pt x="8140" y="19459"/>
                    <a:pt x="11879" y="19438"/>
                  </a:cubicBezTo>
                </a:path>
              </a:pathLst>
            </a:custGeom>
            <a:solidFill>
              <a:srgbClr val="4FE3F2"/>
            </a:solidFill>
            <a:ln w="2661" cap="flat">
              <a:noFill/>
              <a:prstDash val="solid"/>
              <a:miter/>
            </a:ln>
          </p:spPr>
          <p:txBody>
            <a:bodyPr rtlCol="0" anchor="ctr"/>
            <a:lstStyle/>
            <a:p>
              <a:endParaRPr lang="pl-PL"/>
            </a:p>
          </p:txBody>
        </p:sp>
        <p:sp>
          <p:nvSpPr>
            <p:cNvPr id="34" name="Freeform: Shape 33">
              <a:extLst>
                <a:ext uri="{FF2B5EF4-FFF2-40B4-BE49-F238E27FC236}">
                  <a16:creationId xmlns:a16="http://schemas.microsoft.com/office/drawing/2014/main" id="{0E4115AE-22C8-4EC8-93E6-F3B48FDFA3A2}"/>
                </a:ext>
              </a:extLst>
            </p:cNvPr>
            <p:cNvSpPr/>
            <p:nvPr/>
          </p:nvSpPr>
          <p:spPr>
            <a:xfrm>
              <a:off x="11432374" y="6628522"/>
              <a:ext cx="90726" cy="18332"/>
            </a:xfrm>
            <a:custGeom>
              <a:avLst/>
              <a:gdLst>
                <a:gd name="connsiteX0" fmla="*/ 78205 w 160768"/>
                <a:gd name="connsiteY0" fmla="*/ -345 h 32484"/>
                <a:gd name="connsiteX1" fmla="*/ 989 w 160768"/>
                <a:gd name="connsiteY1" fmla="*/ 21648 h 32484"/>
                <a:gd name="connsiteX2" fmla="*/ 11879 w 160768"/>
                <a:gd name="connsiteY2" fmla="*/ 19438 h 32484"/>
                <a:gd name="connsiteX3" fmla="*/ 53975 w 160768"/>
                <a:gd name="connsiteY3" fmla="*/ 32138 h 32484"/>
                <a:gd name="connsiteX4" fmla="*/ 96577 w 160768"/>
                <a:gd name="connsiteY4" fmla="*/ 19438 h 32484"/>
                <a:gd name="connsiteX5" fmla="*/ 138806 w 160768"/>
                <a:gd name="connsiteY5" fmla="*/ 32138 h 32484"/>
                <a:gd name="connsiteX6" fmla="*/ 161757 w 160768"/>
                <a:gd name="connsiteY6" fmla="*/ 25722 h 32484"/>
                <a:gd name="connsiteX7" fmla="*/ 78338 w 160768"/>
                <a:gd name="connsiteY7" fmla="*/ -345 h 3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8" h="32484">
                  <a:moveTo>
                    <a:pt x="78205" y="-345"/>
                  </a:moveTo>
                  <a:cubicBezTo>
                    <a:pt x="50915" y="-377"/>
                    <a:pt x="24164" y="7240"/>
                    <a:pt x="989" y="21648"/>
                  </a:cubicBezTo>
                  <a:cubicBezTo>
                    <a:pt x="4439" y="20210"/>
                    <a:pt x="8140" y="19459"/>
                    <a:pt x="11879" y="19438"/>
                  </a:cubicBezTo>
                  <a:cubicBezTo>
                    <a:pt x="29931" y="19438"/>
                    <a:pt x="34804" y="32138"/>
                    <a:pt x="53975" y="32138"/>
                  </a:cubicBezTo>
                  <a:cubicBezTo>
                    <a:pt x="73146" y="32138"/>
                    <a:pt x="77778" y="19438"/>
                    <a:pt x="96577" y="19438"/>
                  </a:cubicBezTo>
                  <a:cubicBezTo>
                    <a:pt x="113777" y="19438"/>
                    <a:pt x="120833" y="32138"/>
                    <a:pt x="138806" y="32138"/>
                  </a:cubicBezTo>
                  <a:cubicBezTo>
                    <a:pt x="146884" y="32027"/>
                    <a:pt x="154792" y="29814"/>
                    <a:pt x="161757" y="25722"/>
                  </a:cubicBezTo>
                  <a:cubicBezTo>
                    <a:pt x="137269" y="8707"/>
                    <a:pt x="108156" y="-388"/>
                    <a:pt x="78338" y="-345"/>
                  </a:cubicBezTo>
                </a:path>
              </a:pathLst>
            </a:custGeom>
            <a:solidFill>
              <a:srgbClr val="BAF2FA"/>
            </a:solidFill>
            <a:ln w="2661" cap="flat">
              <a:noFill/>
              <a:prstDash val="solid"/>
              <a:miter/>
            </a:ln>
          </p:spPr>
          <p:txBody>
            <a:bodyPr rtlCol="0" anchor="ctr"/>
            <a:lstStyle/>
            <a:p>
              <a:endParaRPr lang="pl-PL"/>
            </a:p>
          </p:txBody>
        </p:sp>
        <p:sp>
          <p:nvSpPr>
            <p:cNvPr id="35" name="Freeform: Shape 34">
              <a:extLst>
                <a:ext uri="{FF2B5EF4-FFF2-40B4-BE49-F238E27FC236}">
                  <a16:creationId xmlns:a16="http://schemas.microsoft.com/office/drawing/2014/main" id="{6033A954-3A22-43DF-99AC-E12FBD3207B5}"/>
                </a:ext>
              </a:extLst>
            </p:cNvPr>
            <p:cNvSpPr/>
            <p:nvPr/>
          </p:nvSpPr>
          <p:spPr>
            <a:xfrm>
              <a:off x="11427415" y="6639597"/>
              <a:ext cx="108562" cy="21802"/>
            </a:xfrm>
            <a:custGeom>
              <a:avLst/>
              <a:gdLst>
                <a:gd name="connsiteX0" fmla="*/ 105230 w 192373"/>
                <a:gd name="connsiteY0" fmla="*/ -266 h 38634"/>
                <a:gd name="connsiteX1" fmla="*/ 62628 w 192373"/>
                <a:gd name="connsiteY1" fmla="*/ 12435 h 38634"/>
                <a:gd name="connsiteX2" fmla="*/ 20532 w 192373"/>
                <a:gd name="connsiteY2" fmla="*/ -266 h 38634"/>
                <a:gd name="connsiteX3" fmla="*/ 9642 w 192373"/>
                <a:gd name="connsiteY3" fmla="*/ 1944 h 38634"/>
                <a:gd name="connsiteX4" fmla="*/ 989 w 192373"/>
                <a:gd name="connsiteY4" fmla="*/ 7775 h 38634"/>
                <a:gd name="connsiteX5" fmla="*/ 21171 w 192373"/>
                <a:gd name="connsiteY5" fmla="*/ 25615 h 38634"/>
                <a:gd name="connsiteX6" fmla="*/ 62628 w 192373"/>
                <a:gd name="connsiteY6" fmla="*/ 38289 h 38634"/>
                <a:gd name="connsiteX7" fmla="*/ 105230 w 192373"/>
                <a:gd name="connsiteY7" fmla="*/ 25588 h 38634"/>
                <a:gd name="connsiteX8" fmla="*/ 147459 w 192373"/>
                <a:gd name="connsiteY8" fmla="*/ 38289 h 38634"/>
                <a:gd name="connsiteX9" fmla="*/ 190700 w 192373"/>
                <a:gd name="connsiteY9" fmla="*/ 25588 h 38634"/>
                <a:gd name="connsiteX10" fmla="*/ 193363 w 192373"/>
                <a:gd name="connsiteY10" fmla="*/ 25588 h 38634"/>
                <a:gd name="connsiteX11" fmla="*/ 170438 w 192373"/>
                <a:gd name="connsiteY11" fmla="*/ 5938 h 38634"/>
                <a:gd name="connsiteX12" fmla="*/ 147486 w 192373"/>
                <a:gd name="connsiteY12" fmla="*/ 12355 h 38634"/>
                <a:gd name="connsiteX13" fmla="*/ 105257 w 192373"/>
                <a:gd name="connsiteY13" fmla="*/ -346 h 38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2373" h="38634">
                  <a:moveTo>
                    <a:pt x="105230" y="-266"/>
                  </a:moveTo>
                  <a:cubicBezTo>
                    <a:pt x="86592" y="-266"/>
                    <a:pt x="81799" y="12435"/>
                    <a:pt x="62628" y="12435"/>
                  </a:cubicBezTo>
                  <a:cubicBezTo>
                    <a:pt x="43457" y="12435"/>
                    <a:pt x="38665" y="-266"/>
                    <a:pt x="20532" y="-266"/>
                  </a:cubicBezTo>
                  <a:cubicBezTo>
                    <a:pt x="16794" y="-244"/>
                    <a:pt x="13093" y="506"/>
                    <a:pt x="9642" y="1944"/>
                  </a:cubicBezTo>
                  <a:cubicBezTo>
                    <a:pt x="6687" y="3781"/>
                    <a:pt x="3785" y="5725"/>
                    <a:pt x="989" y="7775"/>
                  </a:cubicBezTo>
                  <a:cubicBezTo>
                    <a:pt x="8031" y="13356"/>
                    <a:pt x="14768" y="19312"/>
                    <a:pt x="21171" y="25615"/>
                  </a:cubicBezTo>
                  <a:cubicBezTo>
                    <a:pt x="38691" y="25908"/>
                    <a:pt x="43697" y="38289"/>
                    <a:pt x="62628" y="38289"/>
                  </a:cubicBezTo>
                  <a:cubicBezTo>
                    <a:pt x="81559" y="38289"/>
                    <a:pt x="86432" y="25588"/>
                    <a:pt x="105230" y="25588"/>
                  </a:cubicBezTo>
                  <a:cubicBezTo>
                    <a:pt x="122431" y="25588"/>
                    <a:pt x="129487" y="38289"/>
                    <a:pt x="147459" y="38289"/>
                  </a:cubicBezTo>
                  <a:cubicBezTo>
                    <a:pt x="167456" y="38289"/>
                    <a:pt x="173872" y="25588"/>
                    <a:pt x="190700" y="25588"/>
                  </a:cubicBezTo>
                  <a:cubicBezTo>
                    <a:pt x="191632" y="25588"/>
                    <a:pt x="192484" y="25588"/>
                    <a:pt x="193363" y="25588"/>
                  </a:cubicBezTo>
                  <a:cubicBezTo>
                    <a:pt x="186416" y="18269"/>
                    <a:pt x="178734" y="11684"/>
                    <a:pt x="170438" y="5938"/>
                  </a:cubicBezTo>
                  <a:cubicBezTo>
                    <a:pt x="163472" y="10031"/>
                    <a:pt x="155564" y="12243"/>
                    <a:pt x="147486" y="12355"/>
                  </a:cubicBezTo>
                  <a:cubicBezTo>
                    <a:pt x="129513" y="12355"/>
                    <a:pt x="122457" y="-346"/>
                    <a:pt x="105257" y="-346"/>
                  </a:cubicBezTo>
                </a:path>
              </a:pathLst>
            </a:custGeom>
            <a:solidFill>
              <a:srgbClr val="4FE3F2"/>
            </a:solidFill>
            <a:ln w="2661" cap="flat">
              <a:noFill/>
              <a:prstDash val="solid"/>
              <a:miter/>
            </a:ln>
          </p:spPr>
          <p:txBody>
            <a:bodyPr rtlCol="0" anchor="ctr"/>
            <a:lstStyle/>
            <a:p>
              <a:endParaRPr lang="pl-PL"/>
            </a:p>
          </p:txBody>
        </p:sp>
        <p:sp>
          <p:nvSpPr>
            <p:cNvPr id="36" name="Freeform: Shape 35">
              <a:extLst>
                <a:ext uri="{FF2B5EF4-FFF2-40B4-BE49-F238E27FC236}">
                  <a16:creationId xmlns:a16="http://schemas.microsoft.com/office/drawing/2014/main" id="{CAEED6B0-43B6-41F0-B2E9-67BE1EAA6A80}"/>
                </a:ext>
              </a:extLst>
            </p:cNvPr>
            <p:cNvSpPr/>
            <p:nvPr/>
          </p:nvSpPr>
          <p:spPr>
            <a:xfrm>
              <a:off x="11438745" y="6654277"/>
              <a:ext cx="111537" cy="22389"/>
            </a:xfrm>
            <a:custGeom>
              <a:avLst/>
              <a:gdLst>
                <a:gd name="connsiteX0" fmla="*/ 127250 w 197645"/>
                <a:gd name="connsiteY0" fmla="*/ 12355 h 39673"/>
                <a:gd name="connsiteX1" fmla="*/ 85048 w 197645"/>
                <a:gd name="connsiteY1" fmla="*/ -346 h 39673"/>
                <a:gd name="connsiteX2" fmla="*/ 42446 w 197645"/>
                <a:gd name="connsiteY2" fmla="*/ 12355 h 39673"/>
                <a:gd name="connsiteX3" fmla="*/ 989 w 197645"/>
                <a:gd name="connsiteY3" fmla="*/ -319 h 39673"/>
                <a:gd name="connsiteX4" fmla="*/ 24233 w 197645"/>
                <a:gd name="connsiteY4" fmla="*/ 25881 h 39673"/>
                <a:gd name="connsiteX5" fmla="*/ 33100 w 197645"/>
                <a:gd name="connsiteY5" fmla="*/ 38209 h 39673"/>
                <a:gd name="connsiteX6" fmla="*/ 42446 w 197645"/>
                <a:gd name="connsiteY6" fmla="*/ 39327 h 39673"/>
                <a:gd name="connsiteX7" fmla="*/ 85048 w 197645"/>
                <a:gd name="connsiteY7" fmla="*/ 26627 h 39673"/>
                <a:gd name="connsiteX8" fmla="*/ 127250 w 197645"/>
                <a:gd name="connsiteY8" fmla="*/ 39327 h 39673"/>
                <a:gd name="connsiteX9" fmla="*/ 170517 w 197645"/>
                <a:gd name="connsiteY9" fmla="*/ 26627 h 39673"/>
                <a:gd name="connsiteX10" fmla="*/ 198635 w 197645"/>
                <a:gd name="connsiteY10" fmla="*/ 36478 h 39673"/>
                <a:gd name="connsiteX11" fmla="*/ 173153 w 197645"/>
                <a:gd name="connsiteY11" fmla="*/ -266 h 39673"/>
                <a:gd name="connsiteX12" fmla="*/ 170491 w 197645"/>
                <a:gd name="connsiteY12" fmla="*/ -266 h 39673"/>
                <a:gd name="connsiteX13" fmla="*/ 127223 w 197645"/>
                <a:gd name="connsiteY13" fmla="*/ 12435 h 39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7645" h="39673">
                  <a:moveTo>
                    <a:pt x="127250" y="12355"/>
                  </a:moveTo>
                  <a:cubicBezTo>
                    <a:pt x="109304" y="12355"/>
                    <a:pt x="102248" y="-346"/>
                    <a:pt x="85048" y="-346"/>
                  </a:cubicBezTo>
                  <a:cubicBezTo>
                    <a:pt x="66409" y="-346"/>
                    <a:pt x="61616" y="12355"/>
                    <a:pt x="42446" y="12355"/>
                  </a:cubicBezTo>
                  <a:cubicBezTo>
                    <a:pt x="23275" y="12355"/>
                    <a:pt x="18482" y="-26"/>
                    <a:pt x="989" y="-319"/>
                  </a:cubicBezTo>
                  <a:cubicBezTo>
                    <a:pt x="9333" y="7866"/>
                    <a:pt x="17100" y="16621"/>
                    <a:pt x="24233" y="25881"/>
                  </a:cubicBezTo>
                  <a:cubicBezTo>
                    <a:pt x="27295" y="29902"/>
                    <a:pt x="30277" y="34002"/>
                    <a:pt x="33100" y="38209"/>
                  </a:cubicBezTo>
                  <a:cubicBezTo>
                    <a:pt x="36157" y="38971"/>
                    <a:pt x="39296" y="39346"/>
                    <a:pt x="42446" y="39327"/>
                  </a:cubicBezTo>
                  <a:cubicBezTo>
                    <a:pt x="61510" y="39327"/>
                    <a:pt x="66249" y="26627"/>
                    <a:pt x="85048" y="26627"/>
                  </a:cubicBezTo>
                  <a:cubicBezTo>
                    <a:pt x="102248" y="26627"/>
                    <a:pt x="109304" y="39327"/>
                    <a:pt x="127250" y="39327"/>
                  </a:cubicBezTo>
                  <a:cubicBezTo>
                    <a:pt x="147273" y="39327"/>
                    <a:pt x="153690" y="26627"/>
                    <a:pt x="170517" y="26627"/>
                  </a:cubicBezTo>
                  <a:cubicBezTo>
                    <a:pt x="184283" y="26627"/>
                    <a:pt x="189635" y="32245"/>
                    <a:pt x="198635" y="36478"/>
                  </a:cubicBezTo>
                  <a:cubicBezTo>
                    <a:pt x="192063" y="23003"/>
                    <a:pt x="183471" y="10611"/>
                    <a:pt x="173153" y="-266"/>
                  </a:cubicBezTo>
                  <a:cubicBezTo>
                    <a:pt x="172301" y="-266"/>
                    <a:pt x="171449" y="-266"/>
                    <a:pt x="170491" y="-266"/>
                  </a:cubicBezTo>
                  <a:cubicBezTo>
                    <a:pt x="153663" y="-266"/>
                    <a:pt x="147246" y="12435"/>
                    <a:pt x="127223" y="12435"/>
                  </a:cubicBezTo>
                </a:path>
              </a:pathLst>
            </a:custGeom>
            <a:solidFill>
              <a:srgbClr val="0066E5"/>
            </a:solidFill>
            <a:ln w="2661" cap="flat">
              <a:noFill/>
              <a:prstDash val="solid"/>
              <a:miter/>
            </a:ln>
          </p:spPr>
          <p:txBody>
            <a:bodyPr rtlCol="0" anchor="ctr"/>
            <a:lstStyle/>
            <a:p>
              <a:endParaRPr lang="pl-PL"/>
            </a:p>
          </p:txBody>
        </p:sp>
        <p:sp>
          <p:nvSpPr>
            <p:cNvPr id="37" name="Freeform: Shape 36">
              <a:extLst>
                <a:ext uri="{FF2B5EF4-FFF2-40B4-BE49-F238E27FC236}">
                  <a16:creationId xmlns:a16="http://schemas.microsoft.com/office/drawing/2014/main" id="{6B7EC4E6-71F4-400C-A03C-8FD2B3FF4A51}"/>
                </a:ext>
              </a:extLst>
            </p:cNvPr>
            <p:cNvSpPr/>
            <p:nvPr/>
          </p:nvSpPr>
          <p:spPr>
            <a:xfrm>
              <a:off x="11456867" y="6669498"/>
              <a:ext cx="99186" cy="29390"/>
            </a:xfrm>
            <a:custGeom>
              <a:avLst/>
              <a:gdLst>
                <a:gd name="connsiteX0" fmla="*/ 95139 w 175759"/>
                <a:gd name="connsiteY0" fmla="*/ 12355 h 52080"/>
                <a:gd name="connsiteX1" fmla="*/ 52936 w 175759"/>
                <a:gd name="connsiteY1" fmla="*/ -346 h 52080"/>
                <a:gd name="connsiteX2" fmla="*/ 10335 w 175759"/>
                <a:gd name="connsiteY2" fmla="*/ 12355 h 52080"/>
                <a:gd name="connsiteX3" fmla="*/ 989 w 175759"/>
                <a:gd name="connsiteY3" fmla="*/ 11210 h 52080"/>
                <a:gd name="connsiteX4" fmla="*/ 23248 w 175759"/>
                <a:gd name="connsiteY4" fmla="*/ 51735 h 52080"/>
                <a:gd name="connsiteX5" fmla="*/ 22929 w 175759"/>
                <a:gd name="connsiteY5" fmla="*/ 50963 h 52080"/>
                <a:gd name="connsiteX6" fmla="*/ 110183 w 175759"/>
                <a:gd name="connsiteY6" fmla="*/ 22633 h 52080"/>
                <a:gd name="connsiteX7" fmla="*/ 176748 w 175759"/>
                <a:gd name="connsiteY7" fmla="*/ 38262 h 52080"/>
                <a:gd name="connsiteX8" fmla="*/ 166310 w 175759"/>
                <a:gd name="connsiteY8" fmla="*/ 9506 h 52080"/>
                <a:gd name="connsiteX9" fmla="*/ 138193 w 175759"/>
                <a:gd name="connsiteY9" fmla="*/ -346 h 52080"/>
                <a:gd name="connsiteX10" fmla="*/ 94926 w 175759"/>
                <a:gd name="connsiteY10" fmla="*/ 12355 h 52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5759" h="52080">
                  <a:moveTo>
                    <a:pt x="95139" y="12355"/>
                  </a:moveTo>
                  <a:cubicBezTo>
                    <a:pt x="77193" y="12355"/>
                    <a:pt x="70137" y="-346"/>
                    <a:pt x="52936" y="-346"/>
                  </a:cubicBezTo>
                  <a:cubicBezTo>
                    <a:pt x="34298" y="-346"/>
                    <a:pt x="29505" y="12355"/>
                    <a:pt x="10335" y="12355"/>
                  </a:cubicBezTo>
                  <a:cubicBezTo>
                    <a:pt x="7182" y="12379"/>
                    <a:pt x="4043" y="11993"/>
                    <a:pt x="989" y="11210"/>
                  </a:cubicBezTo>
                  <a:cubicBezTo>
                    <a:pt x="9634" y="24007"/>
                    <a:pt x="17087" y="37573"/>
                    <a:pt x="23248" y="51735"/>
                  </a:cubicBezTo>
                  <a:lnTo>
                    <a:pt x="22929" y="50963"/>
                  </a:lnTo>
                  <a:cubicBezTo>
                    <a:pt x="48205" y="32375"/>
                    <a:pt x="78806" y="22438"/>
                    <a:pt x="110183" y="22633"/>
                  </a:cubicBezTo>
                  <a:cubicBezTo>
                    <a:pt x="133286" y="22574"/>
                    <a:pt x="156083" y="27926"/>
                    <a:pt x="176748" y="38262"/>
                  </a:cubicBezTo>
                  <a:cubicBezTo>
                    <a:pt x="174298" y="28333"/>
                    <a:pt x="170800" y="18695"/>
                    <a:pt x="166310" y="9506"/>
                  </a:cubicBezTo>
                  <a:cubicBezTo>
                    <a:pt x="157311" y="5273"/>
                    <a:pt x="151959" y="-346"/>
                    <a:pt x="138193" y="-346"/>
                  </a:cubicBezTo>
                  <a:cubicBezTo>
                    <a:pt x="121365" y="-346"/>
                    <a:pt x="114949" y="12355"/>
                    <a:pt x="94926" y="12355"/>
                  </a:cubicBezTo>
                </a:path>
              </a:pathLst>
            </a:custGeom>
            <a:solidFill>
              <a:srgbClr val="143DCF"/>
            </a:solidFill>
            <a:ln w="2661" cap="flat">
              <a:noFill/>
              <a:prstDash val="solid"/>
              <a:miter/>
            </a:ln>
          </p:spPr>
          <p:txBody>
            <a:bodyPr rtlCol="0" anchor="ctr"/>
            <a:lstStyle/>
            <a:p>
              <a:endParaRPr lang="pl-PL"/>
            </a:p>
          </p:txBody>
        </p:sp>
        <p:sp>
          <p:nvSpPr>
            <p:cNvPr id="38" name="Freeform: Shape 37">
              <a:extLst>
                <a:ext uri="{FF2B5EF4-FFF2-40B4-BE49-F238E27FC236}">
                  <a16:creationId xmlns:a16="http://schemas.microsoft.com/office/drawing/2014/main" id="{206A50DF-5D98-407A-B3D3-BDB2CFD2FB80}"/>
                </a:ext>
              </a:extLst>
            </p:cNvPr>
            <p:cNvSpPr/>
            <p:nvPr/>
          </p:nvSpPr>
          <p:spPr>
            <a:xfrm>
              <a:off x="11469428" y="6682464"/>
              <a:ext cx="88352" cy="28821"/>
            </a:xfrm>
            <a:custGeom>
              <a:avLst/>
              <a:gdLst>
                <a:gd name="connsiteX0" fmla="*/ 154808 w 156561"/>
                <a:gd name="connsiteY0" fmla="*/ 15287 h 51071"/>
                <a:gd name="connsiteX1" fmla="*/ 88243 w 156561"/>
                <a:gd name="connsiteY1" fmla="*/ -343 h 51071"/>
                <a:gd name="connsiteX2" fmla="*/ 989 w 156561"/>
                <a:gd name="connsiteY2" fmla="*/ 27987 h 51071"/>
                <a:gd name="connsiteX3" fmla="*/ 1308 w 156561"/>
                <a:gd name="connsiteY3" fmla="*/ 28760 h 51071"/>
                <a:gd name="connsiteX4" fmla="*/ 2533 w 156561"/>
                <a:gd name="connsiteY4" fmla="*/ 31635 h 51071"/>
                <a:gd name="connsiteX5" fmla="*/ 3172 w 156561"/>
                <a:gd name="connsiteY5" fmla="*/ 33153 h 51071"/>
                <a:gd name="connsiteX6" fmla="*/ 5568 w 156561"/>
                <a:gd name="connsiteY6" fmla="*/ 39170 h 51071"/>
                <a:gd name="connsiteX7" fmla="*/ 5888 w 156561"/>
                <a:gd name="connsiteY7" fmla="*/ 40049 h 51071"/>
                <a:gd name="connsiteX8" fmla="*/ 6740 w 156561"/>
                <a:gd name="connsiteY8" fmla="*/ 42339 h 51071"/>
                <a:gd name="connsiteX9" fmla="*/ 7619 w 156561"/>
                <a:gd name="connsiteY9" fmla="*/ 44709 h 51071"/>
                <a:gd name="connsiteX10" fmla="*/ 8364 w 156561"/>
                <a:gd name="connsiteY10" fmla="*/ 46892 h 51071"/>
                <a:gd name="connsiteX11" fmla="*/ 9269 w 156561"/>
                <a:gd name="connsiteY11" fmla="*/ 49555 h 51071"/>
                <a:gd name="connsiteX12" fmla="*/ 9669 w 156561"/>
                <a:gd name="connsiteY12" fmla="*/ 50726 h 51071"/>
                <a:gd name="connsiteX13" fmla="*/ 88243 w 156561"/>
                <a:gd name="connsiteY13" fmla="*/ 28360 h 51071"/>
                <a:gd name="connsiteX14" fmla="*/ 109544 w 156561"/>
                <a:gd name="connsiteY14" fmla="*/ 29825 h 51071"/>
                <a:gd name="connsiteX15" fmla="*/ 112606 w 156561"/>
                <a:gd name="connsiteY15" fmla="*/ 30038 h 51071"/>
                <a:gd name="connsiteX16" fmla="*/ 112925 w 156561"/>
                <a:gd name="connsiteY16" fmla="*/ 30038 h 51071"/>
                <a:gd name="connsiteX17" fmla="*/ 113378 w 156561"/>
                <a:gd name="connsiteY17" fmla="*/ 30038 h 51071"/>
                <a:gd name="connsiteX18" fmla="*/ 116040 w 156561"/>
                <a:gd name="connsiteY18" fmla="*/ 30677 h 51071"/>
                <a:gd name="connsiteX19" fmla="*/ 116040 w 156561"/>
                <a:gd name="connsiteY19" fmla="*/ 30677 h 51071"/>
                <a:gd name="connsiteX20" fmla="*/ 123256 w 156561"/>
                <a:gd name="connsiteY20" fmla="*/ 18722 h 51071"/>
                <a:gd name="connsiteX21" fmla="*/ 139232 w 156561"/>
                <a:gd name="connsiteY21" fmla="*/ 15873 h 51071"/>
                <a:gd name="connsiteX22" fmla="*/ 139232 w 156561"/>
                <a:gd name="connsiteY22" fmla="*/ 15873 h 51071"/>
                <a:gd name="connsiteX23" fmla="*/ 140536 w 156561"/>
                <a:gd name="connsiteY23" fmla="*/ 37520 h 51071"/>
                <a:gd name="connsiteX24" fmla="*/ 150015 w 156561"/>
                <a:gd name="connsiteY24" fmla="*/ 29691 h 51071"/>
                <a:gd name="connsiteX25" fmla="*/ 157550 w 156561"/>
                <a:gd name="connsiteY25" fmla="*/ 29212 h 51071"/>
                <a:gd name="connsiteX26" fmla="*/ 154888 w 156561"/>
                <a:gd name="connsiteY26" fmla="*/ 15180 h 5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6561" h="51071">
                  <a:moveTo>
                    <a:pt x="154808" y="15287"/>
                  </a:moveTo>
                  <a:cubicBezTo>
                    <a:pt x="134143" y="4950"/>
                    <a:pt x="111346" y="-401"/>
                    <a:pt x="88243" y="-343"/>
                  </a:cubicBezTo>
                  <a:cubicBezTo>
                    <a:pt x="56866" y="-537"/>
                    <a:pt x="26265" y="9400"/>
                    <a:pt x="989" y="27987"/>
                  </a:cubicBezTo>
                  <a:lnTo>
                    <a:pt x="1308" y="28760"/>
                  </a:lnTo>
                  <a:cubicBezTo>
                    <a:pt x="1734" y="29718"/>
                    <a:pt x="2134" y="30677"/>
                    <a:pt x="2533" y="31635"/>
                  </a:cubicBezTo>
                  <a:lnTo>
                    <a:pt x="3172" y="33153"/>
                  </a:lnTo>
                  <a:cubicBezTo>
                    <a:pt x="3997" y="35150"/>
                    <a:pt x="4796" y="37147"/>
                    <a:pt x="5568" y="39170"/>
                  </a:cubicBezTo>
                  <a:lnTo>
                    <a:pt x="5888" y="40049"/>
                  </a:lnTo>
                  <a:cubicBezTo>
                    <a:pt x="6181" y="40821"/>
                    <a:pt x="6474" y="41593"/>
                    <a:pt x="6740" y="42339"/>
                  </a:cubicBezTo>
                  <a:lnTo>
                    <a:pt x="7619" y="44709"/>
                  </a:lnTo>
                  <a:cubicBezTo>
                    <a:pt x="7858" y="45454"/>
                    <a:pt x="8124" y="46173"/>
                    <a:pt x="8364" y="46892"/>
                  </a:cubicBezTo>
                  <a:cubicBezTo>
                    <a:pt x="8604" y="47611"/>
                    <a:pt x="8977" y="48649"/>
                    <a:pt x="9269" y="49555"/>
                  </a:cubicBezTo>
                  <a:lnTo>
                    <a:pt x="9669" y="50726"/>
                  </a:lnTo>
                  <a:cubicBezTo>
                    <a:pt x="33212" y="35978"/>
                    <a:pt x="60461" y="28222"/>
                    <a:pt x="88243" y="28360"/>
                  </a:cubicBezTo>
                  <a:cubicBezTo>
                    <a:pt x="95368" y="28358"/>
                    <a:pt x="102485" y="28847"/>
                    <a:pt x="109544" y="29825"/>
                  </a:cubicBezTo>
                  <a:cubicBezTo>
                    <a:pt x="110569" y="29835"/>
                    <a:pt x="111591" y="29907"/>
                    <a:pt x="112606" y="30038"/>
                  </a:cubicBezTo>
                  <a:lnTo>
                    <a:pt x="112925" y="30038"/>
                  </a:lnTo>
                  <a:lnTo>
                    <a:pt x="113378" y="30038"/>
                  </a:lnTo>
                  <a:cubicBezTo>
                    <a:pt x="114278" y="30189"/>
                    <a:pt x="115170" y="30402"/>
                    <a:pt x="116040" y="30677"/>
                  </a:cubicBezTo>
                  <a:lnTo>
                    <a:pt x="116040" y="30677"/>
                  </a:lnTo>
                  <a:cubicBezTo>
                    <a:pt x="116123" y="25684"/>
                    <a:pt x="118879" y="21121"/>
                    <a:pt x="123256" y="18722"/>
                  </a:cubicBezTo>
                  <a:cubicBezTo>
                    <a:pt x="129460" y="14994"/>
                    <a:pt x="139232" y="15873"/>
                    <a:pt x="139232" y="15873"/>
                  </a:cubicBezTo>
                  <a:lnTo>
                    <a:pt x="139232" y="15873"/>
                  </a:lnTo>
                  <a:cubicBezTo>
                    <a:pt x="140068" y="23059"/>
                    <a:pt x="140504" y="30285"/>
                    <a:pt x="140536" y="37520"/>
                  </a:cubicBezTo>
                  <a:cubicBezTo>
                    <a:pt x="142291" y="33566"/>
                    <a:pt x="145800" y="30666"/>
                    <a:pt x="150015" y="29691"/>
                  </a:cubicBezTo>
                  <a:cubicBezTo>
                    <a:pt x="152483" y="29124"/>
                    <a:pt x="155029" y="28962"/>
                    <a:pt x="157550" y="29212"/>
                  </a:cubicBezTo>
                  <a:cubicBezTo>
                    <a:pt x="156858" y="24446"/>
                    <a:pt x="155953" y="19787"/>
                    <a:pt x="154888" y="15180"/>
                  </a:cubicBezTo>
                </a:path>
              </a:pathLst>
            </a:custGeom>
            <a:solidFill>
              <a:srgbClr val="00A652"/>
            </a:solidFill>
            <a:ln w="2661" cap="flat">
              <a:noFill/>
              <a:prstDash val="solid"/>
              <a:miter/>
            </a:ln>
          </p:spPr>
          <p:txBody>
            <a:bodyPr rtlCol="0" anchor="ctr"/>
            <a:lstStyle/>
            <a:p>
              <a:endParaRPr lang="pl-PL"/>
            </a:p>
          </p:txBody>
        </p:sp>
        <p:sp>
          <p:nvSpPr>
            <p:cNvPr id="39" name="Freeform: Shape 38">
              <a:extLst>
                <a:ext uri="{FF2B5EF4-FFF2-40B4-BE49-F238E27FC236}">
                  <a16:creationId xmlns:a16="http://schemas.microsoft.com/office/drawing/2014/main" id="{5F10B24A-1392-456B-A508-EA0192A3E94C}"/>
                </a:ext>
              </a:extLst>
            </p:cNvPr>
            <p:cNvSpPr/>
            <p:nvPr/>
          </p:nvSpPr>
          <p:spPr>
            <a:xfrm>
              <a:off x="11474267" y="6698648"/>
              <a:ext cx="56271" cy="28174"/>
            </a:xfrm>
            <a:custGeom>
              <a:avLst/>
              <a:gdLst>
                <a:gd name="connsiteX0" fmla="*/ 79563 w 99714"/>
                <a:gd name="connsiteY0" fmla="*/ -344 h 49925"/>
                <a:gd name="connsiteX1" fmla="*/ 989 w 99714"/>
                <a:gd name="connsiteY1" fmla="*/ 22022 h 49925"/>
                <a:gd name="connsiteX2" fmla="*/ 1228 w 99714"/>
                <a:gd name="connsiteY2" fmla="*/ 22821 h 49925"/>
                <a:gd name="connsiteX3" fmla="*/ 2373 w 99714"/>
                <a:gd name="connsiteY3" fmla="*/ 26442 h 49925"/>
                <a:gd name="connsiteX4" fmla="*/ 2773 w 99714"/>
                <a:gd name="connsiteY4" fmla="*/ 27694 h 49925"/>
                <a:gd name="connsiteX5" fmla="*/ 4184 w 99714"/>
                <a:gd name="connsiteY5" fmla="*/ 32540 h 49925"/>
                <a:gd name="connsiteX6" fmla="*/ 4610 w 99714"/>
                <a:gd name="connsiteY6" fmla="*/ 34137 h 49925"/>
                <a:gd name="connsiteX7" fmla="*/ 5515 w 99714"/>
                <a:gd name="connsiteY7" fmla="*/ 37545 h 49925"/>
                <a:gd name="connsiteX8" fmla="*/ 6021 w 99714"/>
                <a:gd name="connsiteY8" fmla="*/ 39542 h 49925"/>
                <a:gd name="connsiteX9" fmla="*/ 6767 w 99714"/>
                <a:gd name="connsiteY9" fmla="*/ 42658 h 49925"/>
                <a:gd name="connsiteX10" fmla="*/ 7246 w 99714"/>
                <a:gd name="connsiteY10" fmla="*/ 44708 h 49925"/>
                <a:gd name="connsiteX11" fmla="*/ 8231 w 99714"/>
                <a:gd name="connsiteY11" fmla="*/ 49128 h 49925"/>
                <a:gd name="connsiteX12" fmla="*/ 8231 w 99714"/>
                <a:gd name="connsiteY12" fmla="*/ 49580 h 49925"/>
                <a:gd name="connsiteX13" fmla="*/ 61936 w 99714"/>
                <a:gd name="connsiteY13" fmla="*/ 32566 h 49925"/>
                <a:gd name="connsiteX14" fmla="*/ 65877 w 99714"/>
                <a:gd name="connsiteY14" fmla="*/ 29904 h 49925"/>
                <a:gd name="connsiteX15" fmla="*/ 78125 w 99714"/>
                <a:gd name="connsiteY15" fmla="*/ 28732 h 49925"/>
                <a:gd name="connsiteX16" fmla="*/ 81373 w 99714"/>
                <a:gd name="connsiteY16" fmla="*/ 29478 h 49925"/>
                <a:gd name="connsiteX17" fmla="*/ 82278 w 99714"/>
                <a:gd name="connsiteY17" fmla="*/ 24339 h 49925"/>
                <a:gd name="connsiteX18" fmla="*/ 88509 w 99714"/>
                <a:gd name="connsiteY18" fmla="*/ 6579 h 49925"/>
                <a:gd name="connsiteX19" fmla="*/ 100704 w 99714"/>
                <a:gd name="connsiteY19" fmla="*/ 1254 h 49925"/>
                <a:gd name="connsiteX20" fmla="*/ 79403 w 99714"/>
                <a:gd name="connsiteY20" fmla="*/ -211 h 49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9714" h="49925">
                  <a:moveTo>
                    <a:pt x="79563" y="-344"/>
                  </a:moveTo>
                  <a:cubicBezTo>
                    <a:pt x="51781" y="-482"/>
                    <a:pt x="24532" y="7274"/>
                    <a:pt x="989" y="22022"/>
                  </a:cubicBezTo>
                  <a:lnTo>
                    <a:pt x="1228" y="22821"/>
                  </a:lnTo>
                  <a:cubicBezTo>
                    <a:pt x="1628" y="24019"/>
                    <a:pt x="2001" y="25244"/>
                    <a:pt x="2373" y="26442"/>
                  </a:cubicBezTo>
                  <a:lnTo>
                    <a:pt x="2773" y="27694"/>
                  </a:lnTo>
                  <a:cubicBezTo>
                    <a:pt x="3252" y="29318"/>
                    <a:pt x="3731" y="30915"/>
                    <a:pt x="4184" y="32540"/>
                  </a:cubicBezTo>
                  <a:cubicBezTo>
                    <a:pt x="4317" y="33072"/>
                    <a:pt x="4450" y="33605"/>
                    <a:pt x="4610" y="34137"/>
                  </a:cubicBezTo>
                  <a:cubicBezTo>
                    <a:pt x="4903" y="35282"/>
                    <a:pt x="5222" y="36400"/>
                    <a:pt x="5515" y="37545"/>
                  </a:cubicBezTo>
                  <a:cubicBezTo>
                    <a:pt x="5675" y="38211"/>
                    <a:pt x="5861" y="38877"/>
                    <a:pt x="6021" y="39542"/>
                  </a:cubicBezTo>
                  <a:cubicBezTo>
                    <a:pt x="6181" y="40208"/>
                    <a:pt x="6527" y="41619"/>
                    <a:pt x="6767" y="42658"/>
                  </a:cubicBezTo>
                  <a:lnTo>
                    <a:pt x="7246" y="44708"/>
                  </a:lnTo>
                  <a:cubicBezTo>
                    <a:pt x="7592" y="46172"/>
                    <a:pt x="7912" y="47663"/>
                    <a:pt x="8231" y="49128"/>
                  </a:cubicBezTo>
                  <a:lnTo>
                    <a:pt x="8231" y="49580"/>
                  </a:lnTo>
                  <a:cubicBezTo>
                    <a:pt x="24862" y="40482"/>
                    <a:pt x="43101" y="34704"/>
                    <a:pt x="61936" y="32566"/>
                  </a:cubicBezTo>
                  <a:cubicBezTo>
                    <a:pt x="63078" y="31451"/>
                    <a:pt x="64415" y="30548"/>
                    <a:pt x="65877" y="29904"/>
                  </a:cubicBezTo>
                  <a:cubicBezTo>
                    <a:pt x="69748" y="28287"/>
                    <a:pt x="74016" y="27880"/>
                    <a:pt x="78125" y="28732"/>
                  </a:cubicBezTo>
                  <a:cubicBezTo>
                    <a:pt x="79227" y="28892"/>
                    <a:pt x="80313" y="29139"/>
                    <a:pt x="81373" y="29478"/>
                  </a:cubicBezTo>
                  <a:cubicBezTo>
                    <a:pt x="81719" y="27773"/>
                    <a:pt x="82012" y="26069"/>
                    <a:pt x="82278" y="24339"/>
                  </a:cubicBezTo>
                  <a:cubicBezTo>
                    <a:pt x="82278" y="24339"/>
                    <a:pt x="84355" y="11558"/>
                    <a:pt x="88509" y="6579"/>
                  </a:cubicBezTo>
                  <a:cubicBezTo>
                    <a:pt x="91555" y="3043"/>
                    <a:pt x="96042" y="1086"/>
                    <a:pt x="100704" y="1254"/>
                  </a:cubicBezTo>
                  <a:cubicBezTo>
                    <a:pt x="93645" y="277"/>
                    <a:pt x="86528" y="-213"/>
                    <a:pt x="79403" y="-211"/>
                  </a:cubicBezTo>
                </a:path>
              </a:pathLst>
            </a:custGeom>
            <a:solidFill>
              <a:srgbClr val="8FD942"/>
            </a:solidFill>
            <a:ln w="2661" cap="flat">
              <a:noFill/>
              <a:prstDash val="solid"/>
              <a:miter/>
            </a:ln>
          </p:spPr>
          <p:txBody>
            <a:bodyPr rtlCol="0" anchor="ctr"/>
            <a:lstStyle/>
            <a:p>
              <a:endParaRPr lang="pl-PL"/>
            </a:p>
          </p:txBody>
        </p:sp>
        <p:sp>
          <p:nvSpPr>
            <p:cNvPr id="40" name="Freeform: Shape 39">
              <a:extLst>
                <a:ext uri="{FF2B5EF4-FFF2-40B4-BE49-F238E27FC236}">
                  <a16:creationId xmlns:a16="http://schemas.microsoft.com/office/drawing/2014/main" id="{4FB00F28-27EA-46FF-B8B4-ED75CD612BC9}"/>
                </a:ext>
              </a:extLst>
            </p:cNvPr>
            <p:cNvSpPr/>
            <p:nvPr/>
          </p:nvSpPr>
          <p:spPr>
            <a:xfrm>
              <a:off x="11478444" y="6717190"/>
              <a:ext cx="30172" cy="26310"/>
            </a:xfrm>
            <a:custGeom>
              <a:avLst/>
              <a:gdLst>
                <a:gd name="connsiteX0" fmla="*/ 989 w 53465"/>
                <a:gd name="connsiteY0" fmla="*/ 16669 h 46622"/>
                <a:gd name="connsiteX1" fmla="*/ 1415 w 53465"/>
                <a:gd name="connsiteY1" fmla="*/ 18878 h 46622"/>
                <a:gd name="connsiteX2" fmla="*/ 1921 w 53465"/>
                <a:gd name="connsiteY2" fmla="*/ 21541 h 46622"/>
                <a:gd name="connsiteX3" fmla="*/ 2426 w 53465"/>
                <a:gd name="connsiteY3" fmla="*/ 24337 h 46622"/>
                <a:gd name="connsiteX4" fmla="*/ 2719 w 53465"/>
                <a:gd name="connsiteY4" fmla="*/ 26014 h 46622"/>
                <a:gd name="connsiteX5" fmla="*/ 2719 w 53465"/>
                <a:gd name="connsiteY5" fmla="*/ 26361 h 46622"/>
                <a:gd name="connsiteX6" fmla="*/ 2719 w 53465"/>
                <a:gd name="connsiteY6" fmla="*/ 26573 h 46622"/>
                <a:gd name="connsiteX7" fmla="*/ 3199 w 53465"/>
                <a:gd name="connsiteY7" fmla="*/ 29449 h 46622"/>
                <a:gd name="connsiteX8" fmla="*/ 3651 w 53465"/>
                <a:gd name="connsiteY8" fmla="*/ 32484 h 46622"/>
                <a:gd name="connsiteX9" fmla="*/ 3891 w 53465"/>
                <a:gd name="connsiteY9" fmla="*/ 34268 h 46622"/>
                <a:gd name="connsiteX10" fmla="*/ 4370 w 53465"/>
                <a:gd name="connsiteY10" fmla="*/ 38103 h 46622"/>
                <a:gd name="connsiteX11" fmla="*/ 4743 w 53465"/>
                <a:gd name="connsiteY11" fmla="*/ 41165 h 46622"/>
                <a:gd name="connsiteX12" fmla="*/ 4743 w 53465"/>
                <a:gd name="connsiteY12" fmla="*/ 41324 h 46622"/>
                <a:gd name="connsiteX13" fmla="*/ 4743 w 53465"/>
                <a:gd name="connsiteY13" fmla="*/ 41324 h 46622"/>
                <a:gd name="connsiteX14" fmla="*/ 4743 w 53465"/>
                <a:gd name="connsiteY14" fmla="*/ 41324 h 46622"/>
                <a:gd name="connsiteX15" fmla="*/ 4743 w 53465"/>
                <a:gd name="connsiteY15" fmla="*/ 41671 h 46622"/>
                <a:gd name="connsiteX16" fmla="*/ 4743 w 53465"/>
                <a:gd name="connsiteY16" fmla="*/ 42443 h 46622"/>
                <a:gd name="connsiteX17" fmla="*/ 4743 w 53465"/>
                <a:gd name="connsiteY17" fmla="*/ 42949 h 46622"/>
                <a:gd name="connsiteX18" fmla="*/ 5063 w 53465"/>
                <a:gd name="connsiteY18" fmla="*/ 46277 h 46622"/>
                <a:gd name="connsiteX19" fmla="*/ 5063 w 53465"/>
                <a:gd name="connsiteY19" fmla="*/ 46037 h 46622"/>
                <a:gd name="connsiteX20" fmla="*/ 24313 w 53465"/>
                <a:gd name="connsiteY20" fmla="*/ 38049 h 46622"/>
                <a:gd name="connsiteX21" fmla="*/ 36668 w 53465"/>
                <a:gd name="connsiteY21" fmla="*/ 34481 h 46622"/>
                <a:gd name="connsiteX22" fmla="*/ 44416 w 53465"/>
                <a:gd name="connsiteY22" fmla="*/ 21168 h 46622"/>
                <a:gd name="connsiteX23" fmla="*/ 50460 w 53465"/>
                <a:gd name="connsiteY23" fmla="*/ 6737 h 46622"/>
                <a:gd name="connsiteX24" fmla="*/ 50833 w 53465"/>
                <a:gd name="connsiteY24" fmla="*/ 5592 h 46622"/>
                <a:gd name="connsiteX25" fmla="*/ 54454 w 53465"/>
                <a:gd name="connsiteY25" fmla="*/ -346 h 46622"/>
                <a:gd name="connsiteX26" fmla="*/ 989 w 53465"/>
                <a:gd name="connsiteY26" fmla="*/ 16669 h 4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3465" h="46622">
                  <a:moveTo>
                    <a:pt x="989" y="16669"/>
                  </a:moveTo>
                  <a:cubicBezTo>
                    <a:pt x="1148" y="17414"/>
                    <a:pt x="1282" y="18160"/>
                    <a:pt x="1415" y="18878"/>
                  </a:cubicBezTo>
                  <a:cubicBezTo>
                    <a:pt x="1548" y="19597"/>
                    <a:pt x="1761" y="20609"/>
                    <a:pt x="1921" y="21541"/>
                  </a:cubicBezTo>
                  <a:cubicBezTo>
                    <a:pt x="2080" y="22473"/>
                    <a:pt x="2267" y="23405"/>
                    <a:pt x="2426" y="24337"/>
                  </a:cubicBezTo>
                  <a:cubicBezTo>
                    <a:pt x="2586" y="25269"/>
                    <a:pt x="2613" y="25455"/>
                    <a:pt x="2719" y="26014"/>
                  </a:cubicBezTo>
                  <a:cubicBezTo>
                    <a:pt x="2719" y="26147"/>
                    <a:pt x="2719" y="26254"/>
                    <a:pt x="2719" y="26361"/>
                  </a:cubicBezTo>
                  <a:lnTo>
                    <a:pt x="2719" y="26573"/>
                  </a:lnTo>
                  <a:lnTo>
                    <a:pt x="3199" y="29449"/>
                  </a:lnTo>
                  <a:cubicBezTo>
                    <a:pt x="3358" y="30461"/>
                    <a:pt x="3492" y="31473"/>
                    <a:pt x="3651" y="32484"/>
                  </a:cubicBezTo>
                  <a:lnTo>
                    <a:pt x="3891" y="34268"/>
                  </a:lnTo>
                  <a:cubicBezTo>
                    <a:pt x="4077" y="35546"/>
                    <a:pt x="4211" y="36931"/>
                    <a:pt x="4370" y="38103"/>
                  </a:cubicBezTo>
                  <a:cubicBezTo>
                    <a:pt x="4530" y="39274"/>
                    <a:pt x="4610" y="40153"/>
                    <a:pt x="4743" y="41165"/>
                  </a:cubicBezTo>
                  <a:lnTo>
                    <a:pt x="4743" y="41324"/>
                  </a:lnTo>
                  <a:lnTo>
                    <a:pt x="4743" y="41324"/>
                  </a:lnTo>
                  <a:lnTo>
                    <a:pt x="4743" y="41324"/>
                  </a:lnTo>
                  <a:cubicBezTo>
                    <a:pt x="4743" y="41324"/>
                    <a:pt x="4743" y="41564"/>
                    <a:pt x="4743" y="41671"/>
                  </a:cubicBezTo>
                  <a:lnTo>
                    <a:pt x="4743" y="42443"/>
                  </a:lnTo>
                  <a:cubicBezTo>
                    <a:pt x="4756" y="42610"/>
                    <a:pt x="4756" y="42781"/>
                    <a:pt x="4743" y="42949"/>
                  </a:cubicBezTo>
                  <a:cubicBezTo>
                    <a:pt x="4743" y="44067"/>
                    <a:pt x="4983" y="45185"/>
                    <a:pt x="5063" y="46277"/>
                  </a:cubicBezTo>
                  <a:lnTo>
                    <a:pt x="5063" y="46037"/>
                  </a:lnTo>
                  <a:cubicBezTo>
                    <a:pt x="11274" y="42906"/>
                    <a:pt x="17710" y="40235"/>
                    <a:pt x="24313" y="38049"/>
                  </a:cubicBezTo>
                  <a:cubicBezTo>
                    <a:pt x="28360" y="36691"/>
                    <a:pt x="32487" y="35387"/>
                    <a:pt x="36668" y="34481"/>
                  </a:cubicBezTo>
                  <a:cubicBezTo>
                    <a:pt x="39546" y="30224"/>
                    <a:pt x="42134" y="25775"/>
                    <a:pt x="44416" y="21168"/>
                  </a:cubicBezTo>
                  <a:cubicBezTo>
                    <a:pt x="46735" y="16493"/>
                    <a:pt x="48756" y="11671"/>
                    <a:pt x="50460" y="6737"/>
                  </a:cubicBezTo>
                  <a:cubicBezTo>
                    <a:pt x="50460" y="6338"/>
                    <a:pt x="50700" y="5965"/>
                    <a:pt x="50833" y="5592"/>
                  </a:cubicBezTo>
                  <a:cubicBezTo>
                    <a:pt x="51589" y="3371"/>
                    <a:pt x="52825" y="1343"/>
                    <a:pt x="54454" y="-346"/>
                  </a:cubicBezTo>
                  <a:cubicBezTo>
                    <a:pt x="35701" y="1822"/>
                    <a:pt x="17545" y="7600"/>
                    <a:pt x="989" y="16669"/>
                  </a:cubicBezTo>
                </a:path>
              </a:pathLst>
            </a:custGeom>
            <a:solidFill>
              <a:srgbClr val="00A652"/>
            </a:solidFill>
            <a:ln w="2661" cap="flat">
              <a:noFill/>
              <a:prstDash val="solid"/>
              <a:miter/>
            </a:ln>
          </p:spPr>
          <p:txBody>
            <a:bodyPr rtlCol="0" anchor="ctr"/>
            <a:lstStyle/>
            <a:p>
              <a:endParaRPr lang="pl-PL"/>
            </a:p>
          </p:txBody>
        </p:sp>
        <p:sp>
          <p:nvSpPr>
            <p:cNvPr id="41" name="Freeform: Shape 40">
              <a:extLst>
                <a:ext uri="{FF2B5EF4-FFF2-40B4-BE49-F238E27FC236}">
                  <a16:creationId xmlns:a16="http://schemas.microsoft.com/office/drawing/2014/main" id="{DF17F175-B538-4C5F-BB95-C0FD825095CC}"/>
                </a:ext>
              </a:extLst>
            </p:cNvPr>
            <p:cNvSpPr/>
            <p:nvPr/>
          </p:nvSpPr>
          <p:spPr>
            <a:xfrm>
              <a:off x="11480833" y="6736694"/>
              <a:ext cx="17385" cy="17249"/>
            </a:xfrm>
            <a:custGeom>
              <a:avLst/>
              <a:gdLst>
                <a:gd name="connsiteX0" fmla="*/ 20239 w 30806"/>
                <a:gd name="connsiteY0" fmla="*/ 3409 h 30566"/>
                <a:gd name="connsiteX1" fmla="*/ 989 w 30806"/>
                <a:gd name="connsiteY1" fmla="*/ 11397 h 30566"/>
                <a:gd name="connsiteX2" fmla="*/ 989 w 30806"/>
                <a:gd name="connsiteY2" fmla="*/ 11636 h 30566"/>
                <a:gd name="connsiteX3" fmla="*/ 989 w 30806"/>
                <a:gd name="connsiteY3" fmla="*/ 13154 h 30566"/>
                <a:gd name="connsiteX4" fmla="*/ 989 w 30806"/>
                <a:gd name="connsiteY4" fmla="*/ 13314 h 30566"/>
                <a:gd name="connsiteX5" fmla="*/ 1122 w 30806"/>
                <a:gd name="connsiteY5" fmla="*/ 15550 h 30566"/>
                <a:gd name="connsiteX6" fmla="*/ 1122 w 30806"/>
                <a:gd name="connsiteY6" fmla="*/ 16029 h 30566"/>
                <a:gd name="connsiteX7" fmla="*/ 1122 w 30806"/>
                <a:gd name="connsiteY7" fmla="*/ 16029 h 30566"/>
                <a:gd name="connsiteX8" fmla="*/ 1122 w 30806"/>
                <a:gd name="connsiteY8" fmla="*/ 16269 h 30566"/>
                <a:gd name="connsiteX9" fmla="*/ 1122 w 30806"/>
                <a:gd name="connsiteY9" fmla="*/ 18186 h 30566"/>
                <a:gd name="connsiteX10" fmla="*/ 1122 w 30806"/>
                <a:gd name="connsiteY10" fmla="*/ 19731 h 30566"/>
                <a:gd name="connsiteX11" fmla="*/ 1122 w 30806"/>
                <a:gd name="connsiteY11" fmla="*/ 19917 h 30566"/>
                <a:gd name="connsiteX12" fmla="*/ 1122 w 30806"/>
                <a:gd name="connsiteY12" fmla="*/ 21674 h 30566"/>
                <a:gd name="connsiteX13" fmla="*/ 1122 w 30806"/>
                <a:gd name="connsiteY13" fmla="*/ 23219 h 30566"/>
                <a:gd name="connsiteX14" fmla="*/ 1122 w 30806"/>
                <a:gd name="connsiteY14" fmla="*/ 23538 h 30566"/>
                <a:gd name="connsiteX15" fmla="*/ 1122 w 30806"/>
                <a:gd name="connsiteY15" fmla="*/ 23538 h 30566"/>
                <a:gd name="connsiteX16" fmla="*/ 1122 w 30806"/>
                <a:gd name="connsiteY16" fmla="*/ 24710 h 30566"/>
                <a:gd name="connsiteX17" fmla="*/ 1122 w 30806"/>
                <a:gd name="connsiteY17" fmla="*/ 26174 h 30566"/>
                <a:gd name="connsiteX18" fmla="*/ 1122 w 30806"/>
                <a:gd name="connsiteY18" fmla="*/ 26174 h 30566"/>
                <a:gd name="connsiteX19" fmla="*/ 1122 w 30806"/>
                <a:gd name="connsiteY19" fmla="*/ 26307 h 30566"/>
                <a:gd name="connsiteX20" fmla="*/ 1122 w 30806"/>
                <a:gd name="connsiteY20" fmla="*/ 27266 h 30566"/>
                <a:gd name="connsiteX21" fmla="*/ 1122 w 30806"/>
                <a:gd name="connsiteY21" fmla="*/ 29023 h 30566"/>
                <a:gd name="connsiteX22" fmla="*/ 1122 w 30806"/>
                <a:gd name="connsiteY22" fmla="*/ 30221 h 30566"/>
                <a:gd name="connsiteX23" fmla="*/ 1122 w 30806"/>
                <a:gd name="connsiteY23" fmla="*/ 30221 h 30566"/>
                <a:gd name="connsiteX24" fmla="*/ 2852 w 30806"/>
                <a:gd name="connsiteY24" fmla="*/ 29050 h 30566"/>
                <a:gd name="connsiteX25" fmla="*/ 12172 w 30806"/>
                <a:gd name="connsiteY25" fmla="*/ 22020 h 30566"/>
                <a:gd name="connsiteX26" fmla="*/ 27988 w 30806"/>
                <a:gd name="connsiteY26" fmla="*/ 5060 h 30566"/>
                <a:gd name="connsiteX27" fmla="*/ 29345 w 30806"/>
                <a:gd name="connsiteY27" fmla="*/ 3222 h 30566"/>
                <a:gd name="connsiteX28" fmla="*/ 31795 w 30806"/>
                <a:gd name="connsiteY28" fmla="*/ -346 h 30566"/>
                <a:gd name="connsiteX29" fmla="*/ 19441 w 30806"/>
                <a:gd name="connsiteY29" fmla="*/ 3222 h 30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0806" h="30566">
                  <a:moveTo>
                    <a:pt x="20239" y="3409"/>
                  </a:moveTo>
                  <a:cubicBezTo>
                    <a:pt x="13636" y="5600"/>
                    <a:pt x="7203" y="8268"/>
                    <a:pt x="989" y="11397"/>
                  </a:cubicBezTo>
                  <a:lnTo>
                    <a:pt x="989" y="11636"/>
                  </a:lnTo>
                  <a:cubicBezTo>
                    <a:pt x="989" y="12142"/>
                    <a:pt x="989" y="12648"/>
                    <a:pt x="989" y="13154"/>
                  </a:cubicBezTo>
                  <a:lnTo>
                    <a:pt x="989" y="13314"/>
                  </a:lnTo>
                  <a:cubicBezTo>
                    <a:pt x="989" y="14059"/>
                    <a:pt x="989" y="14805"/>
                    <a:pt x="1122" y="15550"/>
                  </a:cubicBezTo>
                  <a:lnTo>
                    <a:pt x="1122" y="16029"/>
                  </a:lnTo>
                  <a:lnTo>
                    <a:pt x="1122" y="16029"/>
                  </a:lnTo>
                  <a:lnTo>
                    <a:pt x="1122" y="16269"/>
                  </a:lnTo>
                  <a:cubicBezTo>
                    <a:pt x="1122" y="16908"/>
                    <a:pt x="1122" y="17547"/>
                    <a:pt x="1122" y="18186"/>
                  </a:cubicBezTo>
                  <a:cubicBezTo>
                    <a:pt x="1122" y="18825"/>
                    <a:pt x="1122" y="19225"/>
                    <a:pt x="1122" y="19731"/>
                  </a:cubicBezTo>
                  <a:lnTo>
                    <a:pt x="1122" y="19917"/>
                  </a:lnTo>
                  <a:lnTo>
                    <a:pt x="1122" y="21674"/>
                  </a:lnTo>
                  <a:cubicBezTo>
                    <a:pt x="1122" y="22207"/>
                    <a:pt x="1122" y="22713"/>
                    <a:pt x="1122" y="23219"/>
                  </a:cubicBezTo>
                  <a:cubicBezTo>
                    <a:pt x="1135" y="23325"/>
                    <a:pt x="1135" y="23432"/>
                    <a:pt x="1122" y="23538"/>
                  </a:cubicBezTo>
                  <a:lnTo>
                    <a:pt x="1122" y="23538"/>
                  </a:lnTo>
                  <a:cubicBezTo>
                    <a:pt x="1122" y="23937"/>
                    <a:pt x="1122" y="24310"/>
                    <a:pt x="1122" y="24710"/>
                  </a:cubicBezTo>
                  <a:cubicBezTo>
                    <a:pt x="1122" y="25109"/>
                    <a:pt x="1122" y="25695"/>
                    <a:pt x="1122" y="26174"/>
                  </a:cubicBezTo>
                  <a:lnTo>
                    <a:pt x="1122" y="26174"/>
                  </a:lnTo>
                  <a:lnTo>
                    <a:pt x="1122" y="26307"/>
                  </a:lnTo>
                  <a:cubicBezTo>
                    <a:pt x="1122" y="26627"/>
                    <a:pt x="1122" y="26946"/>
                    <a:pt x="1122" y="27266"/>
                  </a:cubicBezTo>
                  <a:cubicBezTo>
                    <a:pt x="1122" y="27585"/>
                    <a:pt x="1122" y="28437"/>
                    <a:pt x="1122" y="29023"/>
                  </a:cubicBezTo>
                  <a:cubicBezTo>
                    <a:pt x="1122" y="29609"/>
                    <a:pt x="1122" y="29822"/>
                    <a:pt x="1122" y="30221"/>
                  </a:cubicBezTo>
                  <a:lnTo>
                    <a:pt x="1122" y="30221"/>
                  </a:lnTo>
                  <a:lnTo>
                    <a:pt x="2852" y="29050"/>
                  </a:lnTo>
                  <a:cubicBezTo>
                    <a:pt x="6090" y="26888"/>
                    <a:pt x="9203" y="24539"/>
                    <a:pt x="12172" y="22020"/>
                  </a:cubicBezTo>
                  <a:cubicBezTo>
                    <a:pt x="18035" y="16948"/>
                    <a:pt x="23336" y="11263"/>
                    <a:pt x="27988" y="5060"/>
                  </a:cubicBezTo>
                  <a:lnTo>
                    <a:pt x="29345" y="3222"/>
                  </a:lnTo>
                  <a:cubicBezTo>
                    <a:pt x="30198" y="2024"/>
                    <a:pt x="31023" y="853"/>
                    <a:pt x="31795" y="-346"/>
                  </a:cubicBezTo>
                  <a:cubicBezTo>
                    <a:pt x="27615" y="666"/>
                    <a:pt x="23488" y="1864"/>
                    <a:pt x="19441" y="3222"/>
                  </a:cubicBezTo>
                </a:path>
              </a:pathLst>
            </a:custGeom>
            <a:solidFill>
              <a:srgbClr val="8FD942"/>
            </a:solidFill>
            <a:ln w="2661" cap="flat">
              <a:noFill/>
              <a:prstDash val="solid"/>
              <a:miter/>
            </a:ln>
          </p:spPr>
          <p:txBody>
            <a:bodyPr rtlCol="0" anchor="ctr"/>
            <a:lstStyle/>
            <a:p>
              <a:endParaRPr lang="pl-PL"/>
            </a:p>
          </p:txBody>
        </p:sp>
        <p:sp>
          <p:nvSpPr>
            <p:cNvPr id="42" name="Freeform: Shape 41">
              <a:extLst>
                <a:ext uri="{FF2B5EF4-FFF2-40B4-BE49-F238E27FC236}">
                  <a16:creationId xmlns:a16="http://schemas.microsoft.com/office/drawing/2014/main" id="{CAEA9710-6ABC-4724-A68F-2555E83AC1AF}"/>
                </a:ext>
              </a:extLst>
            </p:cNvPr>
            <p:cNvSpPr/>
            <p:nvPr/>
          </p:nvSpPr>
          <p:spPr>
            <a:xfrm>
              <a:off x="11402788" y="6644225"/>
              <a:ext cx="49180" cy="59563"/>
            </a:xfrm>
            <a:custGeom>
              <a:avLst/>
              <a:gdLst>
                <a:gd name="connsiteX0" fmla="*/ 64918 w 87147"/>
                <a:gd name="connsiteY0" fmla="*/ 17494 h 105546"/>
                <a:gd name="connsiteX1" fmla="*/ 44735 w 87147"/>
                <a:gd name="connsiteY1" fmla="*/ -346 h 105546"/>
                <a:gd name="connsiteX2" fmla="*/ 14302 w 87147"/>
                <a:gd name="connsiteY2" fmla="*/ 29263 h 105546"/>
                <a:gd name="connsiteX3" fmla="*/ 989 w 87147"/>
                <a:gd name="connsiteY3" fmla="*/ 50111 h 105546"/>
                <a:gd name="connsiteX4" fmla="*/ 2160 w 87147"/>
                <a:gd name="connsiteY4" fmla="*/ 51602 h 105546"/>
                <a:gd name="connsiteX5" fmla="*/ 36774 w 87147"/>
                <a:gd name="connsiteY5" fmla="*/ 105200 h 105546"/>
                <a:gd name="connsiteX6" fmla="*/ 80015 w 87147"/>
                <a:gd name="connsiteY6" fmla="*/ 49286 h 105546"/>
                <a:gd name="connsiteX7" fmla="*/ 80894 w 87147"/>
                <a:gd name="connsiteY7" fmla="*/ 48647 h 105546"/>
                <a:gd name="connsiteX8" fmla="*/ 88136 w 87147"/>
                <a:gd name="connsiteY8" fmla="*/ 43641 h 105546"/>
                <a:gd name="connsiteX9" fmla="*/ 64891 w 87147"/>
                <a:gd name="connsiteY9" fmla="*/ 17441 h 105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147" h="105546">
                  <a:moveTo>
                    <a:pt x="64918" y="17494"/>
                  </a:moveTo>
                  <a:cubicBezTo>
                    <a:pt x="58514" y="11192"/>
                    <a:pt x="51778" y="5235"/>
                    <a:pt x="44735" y="-346"/>
                  </a:cubicBezTo>
                  <a:cubicBezTo>
                    <a:pt x="33206" y="7994"/>
                    <a:pt x="22955" y="17968"/>
                    <a:pt x="14302" y="29263"/>
                  </a:cubicBezTo>
                  <a:cubicBezTo>
                    <a:pt x="9269" y="35815"/>
                    <a:pt x="4815" y="42791"/>
                    <a:pt x="989" y="50111"/>
                  </a:cubicBezTo>
                  <a:cubicBezTo>
                    <a:pt x="1388" y="50590"/>
                    <a:pt x="1761" y="51096"/>
                    <a:pt x="2160" y="51602"/>
                  </a:cubicBezTo>
                  <a:cubicBezTo>
                    <a:pt x="15061" y="68552"/>
                    <a:pt x="26632" y="86472"/>
                    <a:pt x="36774" y="105200"/>
                  </a:cubicBezTo>
                  <a:cubicBezTo>
                    <a:pt x="45936" y="83034"/>
                    <a:pt x="60868" y="63728"/>
                    <a:pt x="80015" y="49286"/>
                  </a:cubicBezTo>
                  <a:lnTo>
                    <a:pt x="80894" y="48647"/>
                  </a:lnTo>
                  <a:cubicBezTo>
                    <a:pt x="83263" y="46916"/>
                    <a:pt x="85660" y="45238"/>
                    <a:pt x="88136" y="43641"/>
                  </a:cubicBezTo>
                  <a:cubicBezTo>
                    <a:pt x="81003" y="34380"/>
                    <a:pt x="73236" y="25626"/>
                    <a:pt x="64891" y="17441"/>
                  </a:cubicBezTo>
                </a:path>
              </a:pathLst>
            </a:custGeom>
            <a:solidFill>
              <a:srgbClr val="FAC200"/>
            </a:solidFill>
            <a:ln w="2661" cap="flat">
              <a:noFill/>
              <a:prstDash val="solid"/>
              <a:miter/>
            </a:ln>
          </p:spPr>
          <p:txBody>
            <a:bodyPr rtlCol="0" anchor="ctr"/>
            <a:lstStyle/>
            <a:p>
              <a:endParaRPr lang="pl-PL"/>
            </a:p>
          </p:txBody>
        </p:sp>
        <p:sp>
          <p:nvSpPr>
            <p:cNvPr id="43" name="Freeform: Shape 42">
              <a:extLst>
                <a:ext uri="{FF2B5EF4-FFF2-40B4-BE49-F238E27FC236}">
                  <a16:creationId xmlns:a16="http://schemas.microsoft.com/office/drawing/2014/main" id="{EFC843AF-BE1D-4F13-94C9-CAD4C1E2A166}"/>
                </a:ext>
              </a:extLst>
            </p:cNvPr>
            <p:cNvSpPr/>
            <p:nvPr/>
          </p:nvSpPr>
          <p:spPr>
            <a:xfrm>
              <a:off x="11393217" y="6700272"/>
              <a:ext cx="51283" cy="56601"/>
            </a:xfrm>
            <a:custGeom>
              <a:avLst/>
              <a:gdLst>
                <a:gd name="connsiteX0" fmla="*/ 90133 w 90874"/>
                <a:gd name="connsiteY0" fmla="*/ 93882 h 100298"/>
                <a:gd name="connsiteX1" fmla="*/ 81613 w 90874"/>
                <a:gd name="connsiteY1" fmla="*/ 68055 h 100298"/>
                <a:gd name="connsiteX2" fmla="*/ 53762 w 90874"/>
                <a:gd name="connsiteY2" fmla="*/ 5909 h 100298"/>
                <a:gd name="connsiteX3" fmla="*/ 53762 w 90874"/>
                <a:gd name="connsiteY3" fmla="*/ 5909 h 100298"/>
                <a:gd name="connsiteX4" fmla="*/ 34165 w 90874"/>
                <a:gd name="connsiteY4" fmla="*/ 1276 h 100298"/>
                <a:gd name="connsiteX5" fmla="*/ 2213 w 90874"/>
                <a:gd name="connsiteY5" fmla="*/ 132 h 100298"/>
                <a:gd name="connsiteX6" fmla="*/ 989 w 90874"/>
                <a:gd name="connsiteY6" fmla="*/ 19089 h 100298"/>
                <a:gd name="connsiteX7" fmla="*/ 9376 w 90874"/>
                <a:gd name="connsiteY7" fmla="*/ 68081 h 100298"/>
                <a:gd name="connsiteX8" fmla="*/ 14888 w 90874"/>
                <a:gd name="connsiteY8" fmla="*/ 81395 h 100298"/>
                <a:gd name="connsiteX9" fmla="*/ 27854 w 90874"/>
                <a:gd name="connsiteY9" fmla="*/ 81182 h 100298"/>
                <a:gd name="connsiteX10" fmla="*/ 80388 w 90874"/>
                <a:gd name="connsiteY10" fmla="*/ 93829 h 100298"/>
                <a:gd name="connsiteX11" fmla="*/ 91864 w 90874"/>
                <a:gd name="connsiteY11" fmla="*/ 99953 h 100298"/>
                <a:gd name="connsiteX12" fmla="*/ 90080 w 90874"/>
                <a:gd name="connsiteY12" fmla="*/ 93829 h 10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874" h="100298">
                  <a:moveTo>
                    <a:pt x="90133" y="93882"/>
                  </a:moveTo>
                  <a:cubicBezTo>
                    <a:pt x="87470" y="85008"/>
                    <a:pt x="84629" y="76397"/>
                    <a:pt x="81613" y="68055"/>
                  </a:cubicBezTo>
                  <a:cubicBezTo>
                    <a:pt x="73918" y="46663"/>
                    <a:pt x="64607" y="25890"/>
                    <a:pt x="53762" y="5909"/>
                  </a:cubicBezTo>
                  <a:lnTo>
                    <a:pt x="53762" y="5909"/>
                  </a:lnTo>
                  <a:cubicBezTo>
                    <a:pt x="47353" y="3883"/>
                    <a:pt x="40803" y="2336"/>
                    <a:pt x="34165" y="1276"/>
                  </a:cubicBezTo>
                  <a:cubicBezTo>
                    <a:pt x="23600" y="-390"/>
                    <a:pt x="12872" y="-774"/>
                    <a:pt x="2213" y="132"/>
                  </a:cubicBezTo>
                  <a:cubicBezTo>
                    <a:pt x="1401" y="6418"/>
                    <a:pt x="991" y="12750"/>
                    <a:pt x="989" y="19089"/>
                  </a:cubicBezTo>
                  <a:cubicBezTo>
                    <a:pt x="973" y="35779"/>
                    <a:pt x="3808" y="52348"/>
                    <a:pt x="9376" y="68081"/>
                  </a:cubicBezTo>
                  <a:cubicBezTo>
                    <a:pt x="10992" y="72627"/>
                    <a:pt x="12829" y="77063"/>
                    <a:pt x="14888" y="81395"/>
                  </a:cubicBezTo>
                  <a:cubicBezTo>
                    <a:pt x="19174" y="81128"/>
                    <a:pt x="23488" y="81048"/>
                    <a:pt x="27854" y="81182"/>
                  </a:cubicBezTo>
                  <a:cubicBezTo>
                    <a:pt x="46046" y="81775"/>
                    <a:pt x="63920" y="86078"/>
                    <a:pt x="80388" y="93829"/>
                  </a:cubicBezTo>
                  <a:cubicBezTo>
                    <a:pt x="84329" y="95605"/>
                    <a:pt x="88155" y="97645"/>
                    <a:pt x="91864" y="99953"/>
                  </a:cubicBezTo>
                  <a:cubicBezTo>
                    <a:pt x="91278" y="97903"/>
                    <a:pt x="90692" y="95853"/>
                    <a:pt x="90080" y="93829"/>
                  </a:cubicBezTo>
                </a:path>
              </a:pathLst>
            </a:custGeom>
            <a:solidFill>
              <a:srgbClr val="FAC200"/>
            </a:solidFill>
            <a:ln w="2661" cap="flat">
              <a:noFill/>
              <a:prstDash val="solid"/>
              <a:miter/>
            </a:ln>
          </p:spPr>
          <p:txBody>
            <a:bodyPr rtlCol="0" anchor="ctr"/>
            <a:lstStyle/>
            <a:p>
              <a:endParaRPr lang="pl-PL"/>
            </a:p>
          </p:txBody>
        </p:sp>
        <p:sp>
          <p:nvSpPr>
            <p:cNvPr id="44" name="Freeform: Shape 43">
              <a:extLst>
                <a:ext uri="{FF2B5EF4-FFF2-40B4-BE49-F238E27FC236}">
                  <a16:creationId xmlns:a16="http://schemas.microsoft.com/office/drawing/2014/main" id="{A94532DB-46CC-413E-BD47-5BB6C601D373}"/>
                </a:ext>
              </a:extLst>
            </p:cNvPr>
            <p:cNvSpPr/>
            <p:nvPr/>
          </p:nvSpPr>
          <p:spPr>
            <a:xfrm>
              <a:off x="11444530" y="6711466"/>
              <a:ext cx="36834" cy="78871"/>
            </a:xfrm>
            <a:custGeom>
              <a:avLst/>
              <a:gdLst>
                <a:gd name="connsiteX0" fmla="*/ 64785 w 65270"/>
                <a:gd name="connsiteY0" fmla="*/ 76205 h 139760"/>
                <a:gd name="connsiteX1" fmla="*/ 66249 w 65270"/>
                <a:gd name="connsiteY1" fmla="*/ 75246 h 139760"/>
                <a:gd name="connsiteX2" fmla="*/ 66249 w 65270"/>
                <a:gd name="connsiteY2" fmla="*/ 74048 h 139760"/>
                <a:gd name="connsiteX3" fmla="*/ 66249 w 65270"/>
                <a:gd name="connsiteY3" fmla="*/ 72291 h 139760"/>
                <a:gd name="connsiteX4" fmla="*/ 66249 w 65270"/>
                <a:gd name="connsiteY4" fmla="*/ 71332 h 139760"/>
                <a:gd name="connsiteX5" fmla="*/ 66249 w 65270"/>
                <a:gd name="connsiteY5" fmla="*/ 71199 h 139760"/>
                <a:gd name="connsiteX6" fmla="*/ 66249 w 65270"/>
                <a:gd name="connsiteY6" fmla="*/ 71199 h 139760"/>
                <a:gd name="connsiteX7" fmla="*/ 66249 w 65270"/>
                <a:gd name="connsiteY7" fmla="*/ 69734 h 139760"/>
                <a:gd name="connsiteX8" fmla="*/ 66249 w 65270"/>
                <a:gd name="connsiteY8" fmla="*/ 68563 h 139760"/>
                <a:gd name="connsiteX9" fmla="*/ 66249 w 65270"/>
                <a:gd name="connsiteY9" fmla="*/ 68563 h 139760"/>
                <a:gd name="connsiteX10" fmla="*/ 66249 w 65270"/>
                <a:gd name="connsiteY10" fmla="*/ 68243 h 139760"/>
                <a:gd name="connsiteX11" fmla="*/ 66249 w 65270"/>
                <a:gd name="connsiteY11" fmla="*/ 66699 h 139760"/>
                <a:gd name="connsiteX12" fmla="*/ 66249 w 65270"/>
                <a:gd name="connsiteY12" fmla="*/ 64942 h 139760"/>
                <a:gd name="connsiteX13" fmla="*/ 66249 w 65270"/>
                <a:gd name="connsiteY13" fmla="*/ 64755 h 139760"/>
                <a:gd name="connsiteX14" fmla="*/ 66249 w 65270"/>
                <a:gd name="connsiteY14" fmla="*/ 63211 h 139760"/>
                <a:gd name="connsiteX15" fmla="*/ 66249 w 65270"/>
                <a:gd name="connsiteY15" fmla="*/ 61294 h 139760"/>
                <a:gd name="connsiteX16" fmla="*/ 66249 w 65270"/>
                <a:gd name="connsiteY16" fmla="*/ 61054 h 139760"/>
                <a:gd name="connsiteX17" fmla="*/ 66249 w 65270"/>
                <a:gd name="connsiteY17" fmla="*/ 61054 h 139760"/>
                <a:gd name="connsiteX18" fmla="*/ 66249 w 65270"/>
                <a:gd name="connsiteY18" fmla="*/ 60575 h 139760"/>
                <a:gd name="connsiteX19" fmla="*/ 66116 w 65270"/>
                <a:gd name="connsiteY19" fmla="*/ 58338 h 139760"/>
                <a:gd name="connsiteX20" fmla="*/ 66116 w 65270"/>
                <a:gd name="connsiteY20" fmla="*/ 58179 h 139760"/>
                <a:gd name="connsiteX21" fmla="*/ 66116 w 65270"/>
                <a:gd name="connsiteY21" fmla="*/ 56661 h 139760"/>
                <a:gd name="connsiteX22" fmla="*/ 65797 w 65270"/>
                <a:gd name="connsiteY22" fmla="*/ 53333 h 139760"/>
                <a:gd name="connsiteX23" fmla="*/ 65797 w 65270"/>
                <a:gd name="connsiteY23" fmla="*/ 52827 h 139760"/>
                <a:gd name="connsiteX24" fmla="*/ 65797 w 65270"/>
                <a:gd name="connsiteY24" fmla="*/ 51868 h 139760"/>
                <a:gd name="connsiteX25" fmla="*/ 65797 w 65270"/>
                <a:gd name="connsiteY25" fmla="*/ 51442 h 139760"/>
                <a:gd name="connsiteX26" fmla="*/ 65424 w 65270"/>
                <a:gd name="connsiteY26" fmla="*/ 48380 h 139760"/>
                <a:gd name="connsiteX27" fmla="*/ 64971 w 65270"/>
                <a:gd name="connsiteY27" fmla="*/ 44546 h 139760"/>
                <a:gd name="connsiteX28" fmla="*/ 64705 w 65270"/>
                <a:gd name="connsiteY28" fmla="*/ 42762 h 139760"/>
                <a:gd name="connsiteX29" fmla="*/ 64705 w 65270"/>
                <a:gd name="connsiteY29" fmla="*/ 41830 h 139760"/>
                <a:gd name="connsiteX30" fmla="*/ 64386 w 65270"/>
                <a:gd name="connsiteY30" fmla="*/ 39753 h 139760"/>
                <a:gd name="connsiteX31" fmla="*/ 64386 w 65270"/>
                <a:gd name="connsiteY31" fmla="*/ 39753 h 139760"/>
                <a:gd name="connsiteX32" fmla="*/ 63906 w 65270"/>
                <a:gd name="connsiteY32" fmla="*/ 36878 h 139760"/>
                <a:gd name="connsiteX33" fmla="*/ 63906 w 65270"/>
                <a:gd name="connsiteY33" fmla="*/ 36665 h 139760"/>
                <a:gd name="connsiteX34" fmla="*/ 63640 w 65270"/>
                <a:gd name="connsiteY34" fmla="*/ 35094 h 139760"/>
                <a:gd name="connsiteX35" fmla="*/ 63640 w 65270"/>
                <a:gd name="connsiteY35" fmla="*/ 34641 h 139760"/>
                <a:gd name="connsiteX36" fmla="*/ 63640 w 65270"/>
                <a:gd name="connsiteY36" fmla="*/ 33816 h 139760"/>
                <a:gd name="connsiteX37" fmla="*/ 63294 w 65270"/>
                <a:gd name="connsiteY37" fmla="*/ 31979 h 139760"/>
                <a:gd name="connsiteX38" fmla="*/ 63294 w 65270"/>
                <a:gd name="connsiteY38" fmla="*/ 31845 h 139760"/>
                <a:gd name="connsiteX39" fmla="*/ 62815 w 65270"/>
                <a:gd name="connsiteY39" fmla="*/ 29183 h 139760"/>
                <a:gd name="connsiteX40" fmla="*/ 62362 w 65270"/>
                <a:gd name="connsiteY40" fmla="*/ 26973 h 139760"/>
                <a:gd name="connsiteX41" fmla="*/ 62362 w 65270"/>
                <a:gd name="connsiteY41" fmla="*/ 26520 h 139760"/>
                <a:gd name="connsiteX42" fmla="*/ 61377 w 65270"/>
                <a:gd name="connsiteY42" fmla="*/ 22100 h 139760"/>
                <a:gd name="connsiteX43" fmla="*/ 61377 w 65270"/>
                <a:gd name="connsiteY43" fmla="*/ 22100 h 139760"/>
                <a:gd name="connsiteX44" fmla="*/ 60951 w 65270"/>
                <a:gd name="connsiteY44" fmla="*/ 20316 h 139760"/>
                <a:gd name="connsiteX45" fmla="*/ 60951 w 65270"/>
                <a:gd name="connsiteY45" fmla="*/ 20130 h 139760"/>
                <a:gd name="connsiteX46" fmla="*/ 60205 w 65270"/>
                <a:gd name="connsiteY46" fmla="*/ 17015 h 139760"/>
                <a:gd name="connsiteX47" fmla="*/ 60205 w 65270"/>
                <a:gd name="connsiteY47" fmla="*/ 17015 h 139760"/>
                <a:gd name="connsiteX48" fmla="*/ 59753 w 65270"/>
                <a:gd name="connsiteY48" fmla="*/ 15177 h 139760"/>
                <a:gd name="connsiteX49" fmla="*/ 59753 w 65270"/>
                <a:gd name="connsiteY49" fmla="*/ 15177 h 139760"/>
                <a:gd name="connsiteX50" fmla="*/ 58847 w 65270"/>
                <a:gd name="connsiteY50" fmla="*/ 11769 h 139760"/>
                <a:gd name="connsiteX51" fmla="*/ 58421 w 65270"/>
                <a:gd name="connsiteY51" fmla="*/ 10172 h 139760"/>
                <a:gd name="connsiteX52" fmla="*/ 57010 w 65270"/>
                <a:gd name="connsiteY52" fmla="*/ 5326 h 139760"/>
                <a:gd name="connsiteX53" fmla="*/ 57010 w 65270"/>
                <a:gd name="connsiteY53" fmla="*/ 5166 h 139760"/>
                <a:gd name="connsiteX54" fmla="*/ 56691 w 65270"/>
                <a:gd name="connsiteY54" fmla="*/ 4208 h 139760"/>
                <a:gd name="connsiteX55" fmla="*/ 56691 w 65270"/>
                <a:gd name="connsiteY55" fmla="*/ 4074 h 139760"/>
                <a:gd name="connsiteX56" fmla="*/ 55546 w 65270"/>
                <a:gd name="connsiteY56" fmla="*/ 453 h 139760"/>
                <a:gd name="connsiteX57" fmla="*/ 55306 w 65270"/>
                <a:gd name="connsiteY57" fmla="*/ -346 h 139760"/>
                <a:gd name="connsiteX58" fmla="*/ 55306 w 65270"/>
                <a:gd name="connsiteY58" fmla="*/ -346 h 139760"/>
                <a:gd name="connsiteX59" fmla="*/ 32141 w 65270"/>
                <a:gd name="connsiteY59" fmla="*/ 19597 h 139760"/>
                <a:gd name="connsiteX60" fmla="*/ 11293 w 65270"/>
                <a:gd name="connsiteY60" fmla="*/ 48114 h 139760"/>
                <a:gd name="connsiteX61" fmla="*/ 2320 w 65270"/>
                <a:gd name="connsiteY61" fmla="*/ 73941 h 139760"/>
                <a:gd name="connsiteX62" fmla="*/ 989 w 65270"/>
                <a:gd name="connsiteY62" fmla="*/ 80065 h 139760"/>
                <a:gd name="connsiteX63" fmla="*/ 5355 w 65270"/>
                <a:gd name="connsiteY63" fmla="*/ 96467 h 139760"/>
                <a:gd name="connsiteX64" fmla="*/ 6447 w 65270"/>
                <a:gd name="connsiteY64" fmla="*/ 100940 h 139760"/>
                <a:gd name="connsiteX65" fmla="*/ 14142 w 65270"/>
                <a:gd name="connsiteY65" fmla="*/ 139415 h 139760"/>
                <a:gd name="connsiteX66" fmla="*/ 35443 w 65270"/>
                <a:gd name="connsiteY66" fmla="*/ 100940 h 139760"/>
                <a:gd name="connsiteX67" fmla="*/ 64732 w 65270"/>
                <a:gd name="connsiteY67" fmla="*/ 76098 h 13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5270" h="139760">
                  <a:moveTo>
                    <a:pt x="64785" y="76205"/>
                  </a:moveTo>
                  <a:lnTo>
                    <a:pt x="66249" y="75246"/>
                  </a:lnTo>
                  <a:cubicBezTo>
                    <a:pt x="66249" y="74847"/>
                    <a:pt x="66249" y="74447"/>
                    <a:pt x="66249" y="74048"/>
                  </a:cubicBezTo>
                  <a:cubicBezTo>
                    <a:pt x="66249" y="73648"/>
                    <a:pt x="66249" y="72876"/>
                    <a:pt x="66249" y="72291"/>
                  </a:cubicBezTo>
                  <a:cubicBezTo>
                    <a:pt x="66249" y="71705"/>
                    <a:pt x="66249" y="71652"/>
                    <a:pt x="66249" y="71332"/>
                  </a:cubicBezTo>
                  <a:lnTo>
                    <a:pt x="66249" y="71199"/>
                  </a:lnTo>
                  <a:lnTo>
                    <a:pt x="66249" y="71199"/>
                  </a:lnTo>
                  <a:cubicBezTo>
                    <a:pt x="66249" y="70720"/>
                    <a:pt x="66249" y="70214"/>
                    <a:pt x="66249" y="69734"/>
                  </a:cubicBezTo>
                  <a:cubicBezTo>
                    <a:pt x="66249" y="69255"/>
                    <a:pt x="66249" y="68962"/>
                    <a:pt x="66249" y="68563"/>
                  </a:cubicBezTo>
                  <a:lnTo>
                    <a:pt x="66249" y="68563"/>
                  </a:lnTo>
                  <a:cubicBezTo>
                    <a:pt x="66263" y="68456"/>
                    <a:pt x="66263" y="68350"/>
                    <a:pt x="66249" y="68243"/>
                  </a:cubicBezTo>
                  <a:cubicBezTo>
                    <a:pt x="66249" y="67737"/>
                    <a:pt x="66249" y="67232"/>
                    <a:pt x="66249" y="66699"/>
                  </a:cubicBezTo>
                  <a:lnTo>
                    <a:pt x="66249" y="64942"/>
                  </a:lnTo>
                  <a:lnTo>
                    <a:pt x="66249" y="64755"/>
                  </a:lnTo>
                  <a:cubicBezTo>
                    <a:pt x="66249" y="64249"/>
                    <a:pt x="66249" y="63744"/>
                    <a:pt x="66249" y="63211"/>
                  </a:cubicBezTo>
                  <a:cubicBezTo>
                    <a:pt x="66249" y="62679"/>
                    <a:pt x="66249" y="61933"/>
                    <a:pt x="66249" y="61294"/>
                  </a:cubicBezTo>
                  <a:lnTo>
                    <a:pt x="66249" y="61054"/>
                  </a:lnTo>
                  <a:lnTo>
                    <a:pt x="66249" y="61054"/>
                  </a:lnTo>
                  <a:lnTo>
                    <a:pt x="66249" y="60575"/>
                  </a:lnTo>
                  <a:cubicBezTo>
                    <a:pt x="66249" y="59830"/>
                    <a:pt x="66249" y="59084"/>
                    <a:pt x="66116" y="58338"/>
                  </a:cubicBezTo>
                  <a:lnTo>
                    <a:pt x="66116" y="58179"/>
                  </a:lnTo>
                  <a:cubicBezTo>
                    <a:pt x="66116" y="57673"/>
                    <a:pt x="66116" y="57167"/>
                    <a:pt x="66116" y="56661"/>
                  </a:cubicBezTo>
                  <a:cubicBezTo>
                    <a:pt x="66116" y="55543"/>
                    <a:pt x="65930" y="54451"/>
                    <a:pt x="65797" y="53333"/>
                  </a:cubicBezTo>
                  <a:cubicBezTo>
                    <a:pt x="65797" y="53146"/>
                    <a:pt x="65797" y="52987"/>
                    <a:pt x="65797" y="52827"/>
                  </a:cubicBezTo>
                  <a:cubicBezTo>
                    <a:pt x="65797" y="52667"/>
                    <a:pt x="65797" y="52188"/>
                    <a:pt x="65797" y="51868"/>
                  </a:cubicBezTo>
                  <a:lnTo>
                    <a:pt x="65797" y="51442"/>
                  </a:lnTo>
                  <a:cubicBezTo>
                    <a:pt x="65797" y="50430"/>
                    <a:pt x="65557" y="49392"/>
                    <a:pt x="65424" y="48380"/>
                  </a:cubicBezTo>
                  <a:cubicBezTo>
                    <a:pt x="65291" y="47368"/>
                    <a:pt x="65131" y="45718"/>
                    <a:pt x="64971" y="44546"/>
                  </a:cubicBezTo>
                  <a:cubicBezTo>
                    <a:pt x="64971" y="43960"/>
                    <a:pt x="64785" y="43348"/>
                    <a:pt x="64705" y="42762"/>
                  </a:cubicBezTo>
                  <a:cubicBezTo>
                    <a:pt x="64625" y="42176"/>
                    <a:pt x="64705" y="42150"/>
                    <a:pt x="64705" y="41830"/>
                  </a:cubicBezTo>
                  <a:lnTo>
                    <a:pt x="64386" y="39753"/>
                  </a:lnTo>
                  <a:lnTo>
                    <a:pt x="64386" y="39753"/>
                  </a:lnTo>
                  <a:lnTo>
                    <a:pt x="63906" y="36878"/>
                  </a:lnTo>
                  <a:lnTo>
                    <a:pt x="63906" y="36665"/>
                  </a:lnTo>
                  <a:cubicBezTo>
                    <a:pt x="63906" y="36132"/>
                    <a:pt x="63720" y="35600"/>
                    <a:pt x="63640" y="35094"/>
                  </a:cubicBezTo>
                  <a:lnTo>
                    <a:pt x="63640" y="34641"/>
                  </a:lnTo>
                  <a:cubicBezTo>
                    <a:pt x="63640" y="34348"/>
                    <a:pt x="63640" y="34082"/>
                    <a:pt x="63640" y="33816"/>
                  </a:cubicBezTo>
                  <a:cubicBezTo>
                    <a:pt x="63640" y="33550"/>
                    <a:pt x="63400" y="32591"/>
                    <a:pt x="63294" y="31979"/>
                  </a:cubicBezTo>
                  <a:lnTo>
                    <a:pt x="63294" y="31845"/>
                  </a:lnTo>
                  <a:lnTo>
                    <a:pt x="62815" y="29183"/>
                  </a:lnTo>
                  <a:cubicBezTo>
                    <a:pt x="62655" y="28437"/>
                    <a:pt x="62522" y="27718"/>
                    <a:pt x="62362" y="26973"/>
                  </a:cubicBezTo>
                  <a:lnTo>
                    <a:pt x="62362" y="26520"/>
                  </a:lnTo>
                  <a:cubicBezTo>
                    <a:pt x="62042" y="25056"/>
                    <a:pt x="61723" y="23565"/>
                    <a:pt x="61377" y="22100"/>
                  </a:cubicBezTo>
                  <a:lnTo>
                    <a:pt x="61377" y="22100"/>
                  </a:lnTo>
                  <a:cubicBezTo>
                    <a:pt x="61244" y="21515"/>
                    <a:pt x="61084" y="20902"/>
                    <a:pt x="60951" y="20316"/>
                  </a:cubicBezTo>
                  <a:lnTo>
                    <a:pt x="60951" y="20130"/>
                  </a:lnTo>
                  <a:cubicBezTo>
                    <a:pt x="60711" y="19092"/>
                    <a:pt x="60472" y="18053"/>
                    <a:pt x="60205" y="17015"/>
                  </a:cubicBezTo>
                  <a:lnTo>
                    <a:pt x="60205" y="17015"/>
                  </a:lnTo>
                  <a:cubicBezTo>
                    <a:pt x="60046" y="16402"/>
                    <a:pt x="59912" y="15790"/>
                    <a:pt x="59753" y="15177"/>
                  </a:cubicBezTo>
                  <a:lnTo>
                    <a:pt x="59753" y="15177"/>
                  </a:lnTo>
                  <a:cubicBezTo>
                    <a:pt x="59460" y="14033"/>
                    <a:pt x="59140" y="12914"/>
                    <a:pt x="58847" y="11769"/>
                  </a:cubicBezTo>
                  <a:cubicBezTo>
                    <a:pt x="58688" y="11237"/>
                    <a:pt x="58554" y="10704"/>
                    <a:pt x="58421" y="10172"/>
                  </a:cubicBezTo>
                  <a:cubicBezTo>
                    <a:pt x="57969" y="8548"/>
                    <a:pt x="57489" y="6950"/>
                    <a:pt x="57010" y="5326"/>
                  </a:cubicBezTo>
                  <a:lnTo>
                    <a:pt x="57010" y="5166"/>
                  </a:lnTo>
                  <a:lnTo>
                    <a:pt x="56691" y="4208"/>
                  </a:lnTo>
                  <a:lnTo>
                    <a:pt x="56691" y="4074"/>
                  </a:lnTo>
                  <a:cubicBezTo>
                    <a:pt x="56318" y="2876"/>
                    <a:pt x="55945" y="1651"/>
                    <a:pt x="55546" y="453"/>
                  </a:cubicBezTo>
                  <a:lnTo>
                    <a:pt x="55306" y="-346"/>
                  </a:lnTo>
                  <a:lnTo>
                    <a:pt x="55306" y="-346"/>
                  </a:lnTo>
                  <a:cubicBezTo>
                    <a:pt x="46772" y="5297"/>
                    <a:pt x="38990" y="11998"/>
                    <a:pt x="32141" y="19597"/>
                  </a:cubicBezTo>
                  <a:cubicBezTo>
                    <a:pt x="23791" y="27995"/>
                    <a:pt x="16762" y="37610"/>
                    <a:pt x="11293" y="48114"/>
                  </a:cubicBezTo>
                  <a:cubicBezTo>
                    <a:pt x="7430" y="56395"/>
                    <a:pt x="4423" y="65048"/>
                    <a:pt x="2320" y="73941"/>
                  </a:cubicBezTo>
                  <a:cubicBezTo>
                    <a:pt x="1814" y="76071"/>
                    <a:pt x="1362" y="78122"/>
                    <a:pt x="989" y="80065"/>
                  </a:cubicBezTo>
                  <a:cubicBezTo>
                    <a:pt x="2533" y="85391"/>
                    <a:pt x="3971" y="90876"/>
                    <a:pt x="5355" y="96467"/>
                  </a:cubicBezTo>
                  <a:cubicBezTo>
                    <a:pt x="5728" y="97932"/>
                    <a:pt x="6101" y="99449"/>
                    <a:pt x="6447" y="100940"/>
                  </a:cubicBezTo>
                  <a:cubicBezTo>
                    <a:pt x="9376" y="113215"/>
                    <a:pt x="11985" y="126022"/>
                    <a:pt x="14142" y="139415"/>
                  </a:cubicBezTo>
                  <a:cubicBezTo>
                    <a:pt x="18559" y="125279"/>
                    <a:pt x="25807" y="112187"/>
                    <a:pt x="35443" y="100940"/>
                  </a:cubicBezTo>
                  <a:cubicBezTo>
                    <a:pt x="44062" y="91398"/>
                    <a:pt x="53911" y="83045"/>
                    <a:pt x="64732" y="76098"/>
                  </a:cubicBezTo>
                </a:path>
              </a:pathLst>
            </a:custGeom>
            <a:solidFill>
              <a:srgbClr val="FAC200"/>
            </a:solidFill>
            <a:ln w="2661" cap="flat">
              <a:noFill/>
              <a:prstDash val="solid"/>
              <a:miter/>
            </a:ln>
          </p:spPr>
          <p:txBody>
            <a:bodyPr rtlCol="0" anchor="ctr"/>
            <a:lstStyle/>
            <a:p>
              <a:endParaRPr lang="pl-PL"/>
            </a:p>
          </p:txBody>
        </p:sp>
        <p:sp>
          <p:nvSpPr>
            <p:cNvPr id="45" name="Freeform: Shape 44">
              <a:extLst>
                <a:ext uri="{FF2B5EF4-FFF2-40B4-BE49-F238E27FC236}">
                  <a16:creationId xmlns:a16="http://schemas.microsoft.com/office/drawing/2014/main" id="{5DB10F4A-C19F-4433-86E4-F48C78645815}"/>
                </a:ext>
              </a:extLst>
            </p:cNvPr>
            <p:cNvSpPr/>
            <p:nvPr/>
          </p:nvSpPr>
          <p:spPr>
            <a:xfrm>
              <a:off x="11422998" y="6669063"/>
              <a:ext cx="51268" cy="87781"/>
            </a:xfrm>
            <a:custGeom>
              <a:avLst/>
              <a:gdLst>
                <a:gd name="connsiteX0" fmla="*/ 91837 w 90848"/>
                <a:gd name="connsiteY0" fmla="*/ 74447 h 155549"/>
                <a:gd name="connsiteX1" fmla="*/ 91438 w 90848"/>
                <a:gd name="connsiteY1" fmla="*/ 73276 h 155549"/>
                <a:gd name="connsiteX2" fmla="*/ 90532 w 90848"/>
                <a:gd name="connsiteY2" fmla="*/ 70613 h 155549"/>
                <a:gd name="connsiteX3" fmla="*/ 89787 w 90848"/>
                <a:gd name="connsiteY3" fmla="*/ 68430 h 155549"/>
                <a:gd name="connsiteX4" fmla="*/ 88908 w 90848"/>
                <a:gd name="connsiteY4" fmla="*/ 66060 h 155549"/>
                <a:gd name="connsiteX5" fmla="*/ 88056 w 90848"/>
                <a:gd name="connsiteY5" fmla="*/ 63770 h 155549"/>
                <a:gd name="connsiteX6" fmla="*/ 87737 w 90848"/>
                <a:gd name="connsiteY6" fmla="*/ 62892 h 155549"/>
                <a:gd name="connsiteX7" fmla="*/ 85341 w 90848"/>
                <a:gd name="connsiteY7" fmla="*/ 56874 h 155549"/>
                <a:gd name="connsiteX8" fmla="*/ 84701 w 90848"/>
                <a:gd name="connsiteY8" fmla="*/ 55356 h 155549"/>
                <a:gd name="connsiteX9" fmla="*/ 83477 w 90848"/>
                <a:gd name="connsiteY9" fmla="*/ 52481 h 155549"/>
                <a:gd name="connsiteX10" fmla="*/ 61217 w 90848"/>
                <a:gd name="connsiteY10" fmla="*/ 11956 h 155549"/>
                <a:gd name="connsiteX11" fmla="*/ 52351 w 90848"/>
                <a:gd name="connsiteY11" fmla="*/ -346 h 155549"/>
                <a:gd name="connsiteX12" fmla="*/ 45108 w 90848"/>
                <a:gd name="connsiteY12" fmla="*/ 4660 h 155549"/>
                <a:gd name="connsiteX13" fmla="*/ 44230 w 90848"/>
                <a:gd name="connsiteY13" fmla="*/ 5299 h 155549"/>
                <a:gd name="connsiteX14" fmla="*/ 989 w 90848"/>
                <a:gd name="connsiteY14" fmla="*/ 61214 h 155549"/>
                <a:gd name="connsiteX15" fmla="*/ 989 w 90848"/>
                <a:gd name="connsiteY15" fmla="*/ 61214 h 155549"/>
                <a:gd name="connsiteX16" fmla="*/ 28840 w 90848"/>
                <a:gd name="connsiteY16" fmla="*/ 123253 h 155549"/>
                <a:gd name="connsiteX17" fmla="*/ 37360 w 90848"/>
                <a:gd name="connsiteY17" fmla="*/ 149080 h 155549"/>
                <a:gd name="connsiteX18" fmla="*/ 39144 w 90848"/>
                <a:gd name="connsiteY18" fmla="*/ 155204 h 155549"/>
                <a:gd name="connsiteX19" fmla="*/ 40475 w 90848"/>
                <a:gd name="connsiteY19" fmla="*/ 149080 h 155549"/>
                <a:gd name="connsiteX20" fmla="*/ 49448 w 90848"/>
                <a:gd name="connsiteY20" fmla="*/ 123253 h 155549"/>
                <a:gd name="connsiteX21" fmla="*/ 68646 w 90848"/>
                <a:gd name="connsiteY21" fmla="*/ 94284 h 155549"/>
                <a:gd name="connsiteX22" fmla="*/ 91811 w 90848"/>
                <a:gd name="connsiteY22" fmla="*/ 74341 h 155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0848" h="155549">
                  <a:moveTo>
                    <a:pt x="91837" y="74447"/>
                  </a:moveTo>
                  <a:lnTo>
                    <a:pt x="91438" y="73276"/>
                  </a:lnTo>
                  <a:cubicBezTo>
                    <a:pt x="91145" y="72397"/>
                    <a:pt x="90852" y="71518"/>
                    <a:pt x="90532" y="70613"/>
                  </a:cubicBezTo>
                  <a:lnTo>
                    <a:pt x="89787" y="68430"/>
                  </a:lnTo>
                  <a:lnTo>
                    <a:pt x="88908" y="66060"/>
                  </a:lnTo>
                  <a:cubicBezTo>
                    <a:pt x="88642" y="65288"/>
                    <a:pt x="88349" y="64516"/>
                    <a:pt x="88056" y="63770"/>
                  </a:cubicBezTo>
                  <a:lnTo>
                    <a:pt x="87737" y="62892"/>
                  </a:lnTo>
                  <a:cubicBezTo>
                    <a:pt x="86965" y="60868"/>
                    <a:pt x="86166" y="58871"/>
                    <a:pt x="85341" y="56874"/>
                  </a:cubicBezTo>
                  <a:lnTo>
                    <a:pt x="84701" y="55356"/>
                  </a:lnTo>
                  <a:cubicBezTo>
                    <a:pt x="84302" y="54398"/>
                    <a:pt x="83903" y="53439"/>
                    <a:pt x="83477" y="52481"/>
                  </a:cubicBezTo>
                  <a:cubicBezTo>
                    <a:pt x="77315" y="38318"/>
                    <a:pt x="69863" y="24752"/>
                    <a:pt x="61217" y="11956"/>
                  </a:cubicBezTo>
                  <a:cubicBezTo>
                    <a:pt x="58395" y="7775"/>
                    <a:pt x="55413" y="3675"/>
                    <a:pt x="52351" y="-346"/>
                  </a:cubicBezTo>
                  <a:cubicBezTo>
                    <a:pt x="49874" y="1252"/>
                    <a:pt x="47478" y="2929"/>
                    <a:pt x="45108" y="4660"/>
                  </a:cubicBezTo>
                  <a:lnTo>
                    <a:pt x="44230" y="5299"/>
                  </a:lnTo>
                  <a:cubicBezTo>
                    <a:pt x="25083" y="19741"/>
                    <a:pt x="10151" y="39048"/>
                    <a:pt x="989" y="61214"/>
                  </a:cubicBezTo>
                  <a:lnTo>
                    <a:pt x="989" y="61214"/>
                  </a:lnTo>
                  <a:cubicBezTo>
                    <a:pt x="11823" y="81162"/>
                    <a:pt x="21134" y="101901"/>
                    <a:pt x="28840" y="123253"/>
                  </a:cubicBezTo>
                  <a:cubicBezTo>
                    <a:pt x="31822" y="131534"/>
                    <a:pt x="34698" y="140134"/>
                    <a:pt x="37360" y="149080"/>
                  </a:cubicBezTo>
                  <a:cubicBezTo>
                    <a:pt x="37972" y="151104"/>
                    <a:pt x="38558" y="153154"/>
                    <a:pt x="39144" y="155204"/>
                  </a:cubicBezTo>
                  <a:cubicBezTo>
                    <a:pt x="39517" y="153261"/>
                    <a:pt x="39969" y="151210"/>
                    <a:pt x="40475" y="149080"/>
                  </a:cubicBezTo>
                  <a:cubicBezTo>
                    <a:pt x="42579" y="140187"/>
                    <a:pt x="45585" y="131534"/>
                    <a:pt x="49448" y="123253"/>
                  </a:cubicBezTo>
                  <a:cubicBezTo>
                    <a:pt x="54372" y="112696"/>
                    <a:pt x="60842" y="102932"/>
                    <a:pt x="68646" y="94284"/>
                  </a:cubicBezTo>
                  <a:cubicBezTo>
                    <a:pt x="75494" y="86685"/>
                    <a:pt x="83277" y="79983"/>
                    <a:pt x="91811" y="74341"/>
                  </a:cubicBezTo>
                  <a:close/>
                </a:path>
              </a:pathLst>
            </a:custGeom>
            <a:solidFill>
              <a:srgbClr val="E09C00"/>
            </a:solidFill>
            <a:ln w="2661" cap="flat">
              <a:noFill/>
              <a:prstDash val="solid"/>
              <a:miter/>
            </a:ln>
          </p:spPr>
          <p:txBody>
            <a:bodyPr rtlCol="0" anchor="ctr"/>
            <a:lstStyle/>
            <a:p>
              <a:endParaRPr lang="pl-PL"/>
            </a:p>
          </p:txBody>
        </p:sp>
        <p:sp>
          <p:nvSpPr>
            <p:cNvPr id="46" name="Freeform: Shape 45">
              <a:extLst>
                <a:ext uri="{FF2B5EF4-FFF2-40B4-BE49-F238E27FC236}">
                  <a16:creationId xmlns:a16="http://schemas.microsoft.com/office/drawing/2014/main" id="{C58F6F34-4AC8-4E5C-A8D7-1383F5BB6EDC}"/>
                </a:ext>
              </a:extLst>
            </p:cNvPr>
            <p:cNvSpPr/>
            <p:nvPr/>
          </p:nvSpPr>
          <p:spPr>
            <a:xfrm>
              <a:off x="11393940" y="6672699"/>
              <a:ext cx="29090" cy="31088"/>
            </a:xfrm>
            <a:custGeom>
              <a:avLst/>
              <a:gdLst>
                <a:gd name="connsiteX0" fmla="*/ 17790 w 51548"/>
                <a:gd name="connsiteY0" fmla="*/ 1145 h 55089"/>
                <a:gd name="connsiteX1" fmla="*/ 16618 w 51548"/>
                <a:gd name="connsiteY1" fmla="*/ -346 h 55089"/>
                <a:gd name="connsiteX2" fmla="*/ 16272 w 51548"/>
                <a:gd name="connsiteY2" fmla="*/ 293 h 55089"/>
                <a:gd name="connsiteX3" fmla="*/ 989 w 51548"/>
                <a:gd name="connsiteY3" fmla="*/ 48939 h 55089"/>
                <a:gd name="connsiteX4" fmla="*/ 32940 w 51548"/>
                <a:gd name="connsiteY4" fmla="*/ 50111 h 55089"/>
                <a:gd name="connsiteX5" fmla="*/ 52537 w 51548"/>
                <a:gd name="connsiteY5" fmla="*/ 54744 h 55089"/>
                <a:gd name="connsiteX6" fmla="*/ 17923 w 51548"/>
                <a:gd name="connsiteY6" fmla="*/ 1145 h 55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48" h="55089">
                  <a:moveTo>
                    <a:pt x="17790" y="1145"/>
                  </a:moveTo>
                  <a:cubicBezTo>
                    <a:pt x="17390" y="640"/>
                    <a:pt x="17018" y="134"/>
                    <a:pt x="16618" y="-346"/>
                  </a:cubicBezTo>
                  <a:cubicBezTo>
                    <a:pt x="16618" y="-133"/>
                    <a:pt x="16405" y="80"/>
                    <a:pt x="16272" y="293"/>
                  </a:cubicBezTo>
                  <a:cubicBezTo>
                    <a:pt x="8353" y="15484"/>
                    <a:pt x="3180" y="31952"/>
                    <a:pt x="989" y="48939"/>
                  </a:cubicBezTo>
                  <a:cubicBezTo>
                    <a:pt x="11647" y="48055"/>
                    <a:pt x="22375" y="48449"/>
                    <a:pt x="32940" y="50111"/>
                  </a:cubicBezTo>
                  <a:cubicBezTo>
                    <a:pt x="39578" y="51171"/>
                    <a:pt x="46128" y="52718"/>
                    <a:pt x="52537" y="54744"/>
                  </a:cubicBezTo>
                  <a:cubicBezTo>
                    <a:pt x="42395" y="36015"/>
                    <a:pt x="30823" y="18096"/>
                    <a:pt x="17923" y="1145"/>
                  </a:cubicBezTo>
                </a:path>
              </a:pathLst>
            </a:custGeom>
            <a:solidFill>
              <a:srgbClr val="E09C00"/>
            </a:solidFill>
            <a:ln w="2661" cap="flat">
              <a:noFill/>
              <a:prstDash val="solid"/>
              <a:miter/>
            </a:ln>
          </p:spPr>
          <p:txBody>
            <a:bodyPr rtlCol="0" anchor="ctr"/>
            <a:lstStyle/>
            <a:p>
              <a:endParaRPr lang="pl-PL"/>
            </a:p>
          </p:txBody>
        </p:sp>
        <p:sp>
          <p:nvSpPr>
            <p:cNvPr id="47" name="Freeform: Shape 46">
              <a:extLst>
                <a:ext uri="{FF2B5EF4-FFF2-40B4-BE49-F238E27FC236}">
                  <a16:creationId xmlns:a16="http://schemas.microsoft.com/office/drawing/2014/main" id="{1B66D66E-FFBD-4D11-9DFA-5F8AFF1557A6}"/>
                </a:ext>
              </a:extLst>
            </p:cNvPr>
            <p:cNvSpPr/>
            <p:nvPr/>
          </p:nvSpPr>
          <p:spPr>
            <a:xfrm>
              <a:off x="11401092" y="6746296"/>
              <a:ext cx="50862" cy="44116"/>
            </a:xfrm>
            <a:custGeom>
              <a:avLst/>
              <a:gdLst>
                <a:gd name="connsiteX0" fmla="*/ 83423 w 90129"/>
                <a:gd name="connsiteY0" fmla="*/ 39327 h 78174"/>
                <a:gd name="connsiteX1" fmla="*/ 82332 w 90129"/>
                <a:gd name="connsiteY1" fmla="*/ 34854 h 78174"/>
                <a:gd name="connsiteX2" fmla="*/ 77965 w 90129"/>
                <a:gd name="connsiteY2" fmla="*/ 18453 h 78174"/>
                <a:gd name="connsiteX3" fmla="*/ 66489 w 90129"/>
                <a:gd name="connsiteY3" fmla="*/ 12328 h 78174"/>
                <a:gd name="connsiteX4" fmla="*/ 13956 w 90129"/>
                <a:gd name="connsiteY4" fmla="*/ -292 h 78174"/>
                <a:gd name="connsiteX5" fmla="*/ 989 w 90129"/>
                <a:gd name="connsiteY5" fmla="*/ -79 h 78174"/>
                <a:gd name="connsiteX6" fmla="*/ 7619 w 90129"/>
                <a:gd name="connsiteY6" fmla="*/ 12355 h 78174"/>
                <a:gd name="connsiteX7" fmla="*/ 28227 w 90129"/>
                <a:gd name="connsiteY7" fmla="*/ 39354 h 78174"/>
                <a:gd name="connsiteX8" fmla="*/ 91118 w 90129"/>
                <a:gd name="connsiteY8" fmla="*/ 77829 h 78174"/>
                <a:gd name="connsiteX9" fmla="*/ 83423 w 90129"/>
                <a:gd name="connsiteY9" fmla="*/ 39354 h 78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129" h="78174">
                  <a:moveTo>
                    <a:pt x="83423" y="39327"/>
                  </a:moveTo>
                  <a:cubicBezTo>
                    <a:pt x="83077" y="37836"/>
                    <a:pt x="82704" y="36319"/>
                    <a:pt x="82332" y="34854"/>
                  </a:cubicBezTo>
                  <a:cubicBezTo>
                    <a:pt x="80947" y="29263"/>
                    <a:pt x="79509" y="23804"/>
                    <a:pt x="77965" y="18453"/>
                  </a:cubicBezTo>
                  <a:cubicBezTo>
                    <a:pt x="74272" y="16235"/>
                    <a:pt x="70448" y="14192"/>
                    <a:pt x="66489" y="12328"/>
                  </a:cubicBezTo>
                  <a:cubicBezTo>
                    <a:pt x="50021" y="4588"/>
                    <a:pt x="32144" y="293"/>
                    <a:pt x="13956" y="-292"/>
                  </a:cubicBezTo>
                  <a:cubicBezTo>
                    <a:pt x="9589" y="-425"/>
                    <a:pt x="5275" y="-292"/>
                    <a:pt x="989" y="-79"/>
                  </a:cubicBezTo>
                  <a:cubicBezTo>
                    <a:pt x="3012" y="4181"/>
                    <a:pt x="5222" y="8327"/>
                    <a:pt x="7619" y="12355"/>
                  </a:cubicBezTo>
                  <a:cubicBezTo>
                    <a:pt x="13418" y="22122"/>
                    <a:pt x="20335" y="31182"/>
                    <a:pt x="28227" y="39354"/>
                  </a:cubicBezTo>
                  <a:cubicBezTo>
                    <a:pt x="45566" y="57332"/>
                    <a:pt x="67216" y="70576"/>
                    <a:pt x="91118" y="77829"/>
                  </a:cubicBezTo>
                  <a:cubicBezTo>
                    <a:pt x="88961" y="64516"/>
                    <a:pt x="86352" y="51629"/>
                    <a:pt x="83423" y="39354"/>
                  </a:cubicBezTo>
                </a:path>
              </a:pathLst>
            </a:custGeom>
            <a:solidFill>
              <a:srgbClr val="E09C00"/>
            </a:solidFill>
            <a:ln w="2661" cap="flat">
              <a:noFill/>
              <a:prstDash val="solid"/>
              <a:miter/>
            </a:ln>
          </p:spPr>
          <p:txBody>
            <a:bodyPr rtlCol="0" anchor="ctr"/>
            <a:lstStyle/>
            <a:p>
              <a:endParaRPr lang="pl-PL"/>
            </a:p>
          </p:txBody>
        </p:sp>
        <p:sp>
          <p:nvSpPr>
            <p:cNvPr id="48" name="Freeform: Shape 47">
              <a:extLst>
                <a:ext uri="{FF2B5EF4-FFF2-40B4-BE49-F238E27FC236}">
                  <a16:creationId xmlns:a16="http://schemas.microsoft.com/office/drawing/2014/main" id="{133DD1B9-31C8-4292-97C3-D2495474BE1E}"/>
                </a:ext>
              </a:extLst>
            </p:cNvPr>
            <p:cNvSpPr/>
            <p:nvPr/>
          </p:nvSpPr>
          <p:spPr>
            <a:xfrm>
              <a:off x="11451983" y="6691629"/>
              <a:ext cx="106699" cy="102254"/>
            </a:xfrm>
            <a:custGeom>
              <a:avLst/>
              <a:gdLst>
                <a:gd name="connsiteX0" fmla="*/ 189954 w 189072"/>
                <a:gd name="connsiteY0" fmla="*/ 30014 h 181196"/>
                <a:gd name="connsiteX1" fmla="*/ 188463 w 189072"/>
                <a:gd name="connsiteY1" fmla="*/ 13159 h 181196"/>
                <a:gd name="connsiteX2" fmla="*/ 180928 w 189072"/>
                <a:gd name="connsiteY2" fmla="*/ 13639 h 181196"/>
                <a:gd name="connsiteX3" fmla="*/ 171449 w 189072"/>
                <a:gd name="connsiteY3" fmla="*/ 21467 h 181196"/>
                <a:gd name="connsiteX4" fmla="*/ 171449 w 189072"/>
                <a:gd name="connsiteY4" fmla="*/ 21467 h 181196"/>
                <a:gd name="connsiteX5" fmla="*/ 171449 w 189072"/>
                <a:gd name="connsiteY5" fmla="*/ 21467 h 181196"/>
                <a:gd name="connsiteX6" fmla="*/ 169080 w 189072"/>
                <a:gd name="connsiteY6" fmla="*/ 52513 h 181196"/>
                <a:gd name="connsiteX7" fmla="*/ 162370 w 189072"/>
                <a:gd name="connsiteY7" fmla="*/ 81988 h 181196"/>
                <a:gd name="connsiteX8" fmla="*/ 161944 w 189072"/>
                <a:gd name="connsiteY8" fmla="*/ 83373 h 181196"/>
                <a:gd name="connsiteX9" fmla="*/ 151773 w 189072"/>
                <a:gd name="connsiteY9" fmla="*/ 109200 h 181196"/>
                <a:gd name="connsiteX10" fmla="*/ 145169 w 189072"/>
                <a:gd name="connsiteY10" fmla="*/ 120649 h 181196"/>
                <a:gd name="connsiteX11" fmla="*/ 143785 w 189072"/>
                <a:gd name="connsiteY11" fmla="*/ 121395 h 181196"/>
                <a:gd name="connsiteX12" fmla="*/ 142853 w 189072"/>
                <a:gd name="connsiteY12" fmla="*/ 121102 h 181196"/>
                <a:gd name="connsiteX13" fmla="*/ 142400 w 189072"/>
                <a:gd name="connsiteY13" fmla="*/ 118785 h 181196"/>
                <a:gd name="connsiteX14" fmla="*/ 147992 w 189072"/>
                <a:gd name="connsiteY14" fmla="*/ 109200 h 181196"/>
                <a:gd name="connsiteX15" fmla="*/ 158323 w 189072"/>
                <a:gd name="connsiteY15" fmla="*/ 83373 h 181196"/>
                <a:gd name="connsiteX16" fmla="*/ 159042 w 189072"/>
                <a:gd name="connsiteY16" fmla="*/ 81030 h 181196"/>
                <a:gd name="connsiteX17" fmla="*/ 165725 w 189072"/>
                <a:gd name="connsiteY17" fmla="*/ 51315 h 181196"/>
                <a:gd name="connsiteX18" fmla="*/ 168121 w 189072"/>
                <a:gd name="connsiteY18" fmla="*/ 20215 h 181196"/>
                <a:gd name="connsiteX19" fmla="*/ 166763 w 189072"/>
                <a:gd name="connsiteY19" fmla="*/ -340 h 181196"/>
                <a:gd name="connsiteX20" fmla="*/ 166763 w 189072"/>
                <a:gd name="connsiteY20" fmla="*/ -340 h 181196"/>
                <a:gd name="connsiteX21" fmla="*/ 166763 w 189072"/>
                <a:gd name="connsiteY21" fmla="*/ -340 h 181196"/>
                <a:gd name="connsiteX22" fmla="*/ 154062 w 189072"/>
                <a:gd name="connsiteY22" fmla="*/ 2589 h 181196"/>
                <a:gd name="connsiteX23" fmla="*/ 146847 w 189072"/>
                <a:gd name="connsiteY23" fmla="*/ 14544 h 181196"/>
                <a:gd name="connsiteX24" fmla="*/ 146847 w 189072"/>
                <a:gd name="connsiteY24" fmla="*/ 14544 h 181196"/>
                <a:gd name="connsiteX25" fmla="*/ 144371 w 189072"/>
                <a:gd name="connsiteY25" fmla="*/ 46016 h 181196"/>
                <a:gd name="connsiteX26" fmla="*/ 137181 w 189072"/>
                <a:gd name="connsiteY26" fmla="*/ 76636 h 181196"/>
                <a:gd name="connsiteX27" fmla="*/ 134972 w 189072"/>
                <a:gd name="connsiteY27" fmla="*/ 83293 h 181196"/>
                <a:gd name="connsiteX28" fmla="*/ 123070 w 189072"/>
                <a:gd name="connsiteY28" fmla="*/ 109120 h 181196"/>
                <a:gd name="connsiteX29" fmla="*/ 120167 w 189072"/>
                <a:gd name="connsiteY29" fmla="*/ 113700 h 181196"/>
                <a:gd name="connsiteX30" fmla="*/ 118783 w 189072"/>
                <a:gd name="connsiteY30" fmla="*/ 114445 h 181196"/>
                <a:gd name="connsiteX31" fmla="*/ 117851 w 189072"/>
                <a:gd name="connsiteY31" fmla="*/ 114152 h 181196"/>
                <a:gd name="connsiteX32" fmla="*/ 117409 w 189072"/>
                <a:gd name="connsiteY32" fmla="*/ 111860 h 181196"/>
                <a:gd name="connsiteX33" fmla="*/ 117425 w 189072"/>
                <a:gd name="connsiteY33" fmla="*/ 111836 h 181196"/>
                <a:gd name="connsiteX34" fmla="*/ 119156 w 189072"/>
                <a:gd name="connsiteY34" fmla="*/ 109173 h 181196"/>
                <a:gd name="connsiteX35" fmla="*/ 131430 w 189072"/>
                <a:gd name="connsiteY35" fmla="*/ 83346 h 181196"/>
                <a:gd name="connsiteX36" fmla="*/ 133827 w 189072"/>
                <a:gd name="connsiteY36" fmla="*/ 76343 h 181196"/>
                <a:gd name="connsiteX37" fmla="*/ 141069 w 189072"/>
                <a:gd name="connsiteY37" fmla="*/ 45590 h 181196"/>
                <a:gd name="connsiteX38" fmla="*/ 143465 w 189072"/>
                <a:gd name="connsiteY38" fmla="*/ 14038 h 181196"/>
                <a:gd name="connsiteX39" fmla="*/ 143465 w 189072"/>
                <a:gd name="connsiteY39" fmla="*/ 13798 h 181196"/>
                <a:gd name="connsiteX40" fmla="*/ 143465 w 189072"/>
                <a:gd name="connsiteY40" fmla="*/ 13798 h 181196"/>
                <a:gd name="connsiteX41" fmla="*/ 140403 w 189072"/>
                <a:gd name="connsiteY41" fmla="*/ 13585 h 181196"/>
                <a:gd name="connsiteX42" fmla="*/ 128208 w 189072"/>
                <a:gd name="connsiteY42" fmla="*/ 18911 h 181196"/>
                <a:gd name="connsiteX43" fmla="*/ 121978 w 189072"/>
                <a:gd name="connsiteY43" fmla="*/ 36670 h 181196"/>
                <a:gd name="connsiteX44" fmla="*/ 121073 w 189072"/>
                <a:gd name="connsiteY44" fmla="*/ 41809 h 181196"/>
                <a:gd name="connsiteX45" fmla="*/ 120673 w 189072"/>
                <a:gd name="connsiteY45" fmla="*/ 43993 h 181196"/>
                <a:gd name="connsiteX46" fmla="*/ 110901 w 189072"/>
                <a:gd name="connsiteY46" fmla="*/ 75944 h 181196"/>
                <a:gd name="connsiteX47" fmla="*/ 107546 w 189072"/>
                <a:gd name="connsiteY47" fmla="*/ 83453 h 181196"/>
                <a:gd name="connsiteX48" fmla="*/ 93807 w 189072"/>
                <a:gd name="connsiteY48" fmla="*/ 106218 h 181196"/>
                <a:gd name="connsiteX49" fmla="*/ 92476 w 189072"/>
                <a:gd name="connsiteY49" fmla="*/ 106883 h 181196"/>
                <a:gd name="connsiteX50" fmla="*/ 91464 w 189072"/>
                <a:gd name="connsiteY50" fmla="*/ 106564 h 181196"/>
                <a:gd name="connsiteX51" fmla="*/ 91118 w 189072"/>
                <a:gd name="connsiteY51" fmla="*/ 104221 h 181196"/>
                <a:gd name="connsiteX52" fmla="*/ 103792 w 189072"/>
                <a:gd name="connsiteY52" fmla="*/ 83266 h 181196"/>
                <a:gd name="connsiteX53" fmla="*/ 107147 w 189072"/>
                <a:gd name="connsiteY53" fmla="*/ 76024 h 181196"/>
                <a:gd name="connsiteX54" fmla="*/ 117105 w 189072"/>
                <a:gd name="connsiteY54" fmla="*/ 44019 h 181196"/>
                <a:gd name="connsiteX55" fmla="*/ 117691 w 189072"/>
                <a:gd name="connsiteY55" fmla="*/ 41064 h 181196"/>
                <a:gd name="connsiteX56" fmla="*/ 105470 w 189072"/>
                <a:gd name="connsiteY56" fmla="*/ 42235 h 181196"/>
                <a:gd name="connsiteX57" fmla="*/ 101502 w 189072"/>
                <a:gd name="connsiteY57" fmla="*/ 44898 h 181196"/>
                <a:gd name="connsiteX58" fmla="*/ 97881 w 189072"/>
                <a:gd name="connsiteY58" fmla="*/ 50835 h 181196"/>
                <a:gd name="connsiteX59" fmla="*/ 97509 w 189072"/>
                <a:gd name="connsiteY59" fmla="*/ 51980 h 181196"/>
                <a:gd name="connsiteX60" fmla="*/ 91491 w 189072"/>
                <a:gd name="connsiteY60" fmla="*/ 66412 h 181196"/>
                <a:gd name="connsiteX61" fmla="*/ 83716 w 189072"/>
                <a:gd name="connsiteY61" fmla="*/ 79725 h 181196"/>
                <a:gd name="connsiteX62" fmla="*/ 81266 w 189072"/>
                <a:gd name="connsiteY62" fmla="*/ 83293 h 181196"/>
                <a:gd name="connsiteX63" fmla="*/ 79909 w 189072"/>
                <a:gd name="connsiteY63" fmla="*/ 85130 h 181196"/>
                <a:gd name="connsiteX64" fmla="*/ 64093 w 189072"/>
                <a:gd name="connsiteY64" fmla="*/ 102091 h 181196"/>
                <a:gd name="connsiteX65" fmla="*/ 54774 w 189072"/>
                <a:gd name="connsiteY65" fmla="*/ 109120 h 181196"/>
                <a:gd name="connsiteX66" fmla="*/ 53043 w 189072"/>
                <a:gd name="connsiteY66" fmla="*/ 110292 h 181196"/>
                <a:gd name="connsiteX67" fmla="*/ 53043 w 189072"/>
                <a:gd name="connsiteY67" fmla="*/ 110292 h 181196"/>
                <a:gd name="connsiteX68" fmla="*/ 51578 w 189072"/>
                <a:gd name="connsiteY68" fmla="*/ 111250 h 181196"/>
                <a:gd name="connsiteX69" fmla="*/ 22290 w 189072"/>
                <a:gd name="connsiteY69" fmla="*/ 136092 h 181196"/>
                <a:gd name="connsiteX70" fmla="*/ 989 w 189072"/>
                <a:gd name="connsiteY70" fmla="*/ 174567 h 181196"/>
                <a:gd name="connsiteX71" fmla="*/ 1468 w 189072"/>
                <a:gd name="connsiteY71" fmla="*/ 174700 h 181196"/>
                <a:gd name="connsiteX72" fmla="*/ 21065 w 189072"/>
                <a:gd name="connsiteY72" fmla="*/ 179120 h 181196"/>
                <a:gd name="connsiteX73" fmla="*/ 43511 w 189072"/>
                <a:gd name="connsiteY73" fmla="*/ 180851 h 181196"/>
                <a:gd name="connsiteX74" fmla="*/ 43910 w 189072"/>
                <a:gd name="connsiteY74" fmla="*/ 180851 h 181196"/>
                <a:gd name="connsiteX75" fmla="*/ 148924 w 189072"/>
                <a:gd name="connsiteY75" fmla="*/ 136119 h 181196"/>
                <a:gd name="connsiteX76" fmla="*/ 169559 w 189072"/>
                <a:gd name="connsiteY76" fmla="*/ 109120 h 181196"/>
                <a:gd name="connsiteX77" fmla="*/ 179783 w 189072"/>
                <a:gd name="connsiteY77" fmla="*/ 88325 h 181196"/>
                <a:gd name="connsiteX78" fmla="*/ 181674 w 189072"/>
                <a:gd name="connsiteY78" fmla="*/ 83293 h 181196"/>
                <a:gd name="connsiteX79" fmla="*/ 187718 w 189072"/>
                <a:gd name="connsiteY79" fmla="*/ 60527 h 181196"/>
                <a:gd name="connsiteX80" fmla="*/ 190061 w 189072"/>
                <a:gd name="connsiteY80" fmla="*/ 34301 h 181196"/>
                <a:gd name="connsiteX81" fmla="*/ 190061 w 189072"/>
                <a:gd name="connsiteY81" fmla="*/ 29854 h 181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89072" h="181196">
                  <a:moveTo>
                    <a:pt x="189954" y="30014"/>
                  </a:moveTo>
                  <a:cubicBezTo>
                    <a:pt x="189784" y="24372"/>
                    <a:pt x="189286" y="18743"/>
                    <a:pt x="188463" y="13159"/>
                  </a:cubicBezTo>
                  <a:cubicBezTo>
                    <a:pt x="185942" y="12909"/>
                    <a:pt x="183396" y="13072"/>
                    <a:pt x="180928" y="13639"/>
                  </a:cubicBezTo>
                  <a:cubicBezTo>
                    <a:pt x="176713" y="14613"/>
                    <a:pt x="173204" y="17513"/>
                    <a:pt x="171449" y="21467"/>
                  </a:cubicBezTo>
                  <a:lnTo>
                    <a:pt x="171449" y="21467"/>
                  </a:lnTo>
                  <a:lnTo>
                    <a:pt x="171449" y="21467"/>
                  </a:lnTo>
                  <a:cubicBezTo>
                    <a:pt x="171487" y="31862"/>
                    <a:pt x="170693" y="42243"/>
                    <a:pt x="169080" y="52513"/>
                  </a:cubicBezTo>
                  <a:cubicBezTo>
                    <a:pt x="167522" y="62479"/>
                    <a:pt x="165280" y="72328"/>
                    <a:pt x="162370" y="81988"/>
                  </a:cubicBezTo>
                  <a:cubicBezTo>
                    <a:pt x="162210" y="82441"/>
                    <a:pt x="162077" y="82893"/>
                    <a:pt x="161944" y="83373"/>
                  </a:cubicBezTo>
                  <a:cubicBezTo>
                    <a:pt x="159260" y="92244"/>
                    <a:pt x="155860" y="100882"/>
                    <a:pt x="151773" y="109200"/>
                  </a:cubicBezTo>
                  <a:cubicBezTo>
                    <a:pt x="149821" y="113154"/>
                    <a:pt x="147614" y="116980"/>
                    <a:pt x="145169" y="120649"/>
                  </a:cubicBezTo>
                  <a:cubicBezTo>
                    <a:pt x="144860" y="121112"/>
                    <a:pt x="144341" y="121392"/>
                    <a:pt x="143785" y="121395"/>
                  </a:cubicBezTo>
                  <a:cubicBezTo>
                    <a:pt x="143452" y="121387"/>
                    <a:pt x="143130" y="121286"/>
                    <a:pt x="142853" y="121102"/>
                  </a:cubicBezTo>
                  <a:cubicBezTo>
                    <a:pt x="142091" y="120585"/>
                    <a:pt x="141892" y="119552"/>
                    <a:pt x="142400" y="118785"/>
                  </a:cubicBezTo>
                  <a:cubicBezTo>
                    <a:pt x="144458" y="115707"/>
                    <a:pt x="146325" y="112507"/>
                    <a:pt x="147992" y="109200"/>
                  </a:cubicBezTo>
                  <a:cubicBezTo>
                    <a:pt x="152161" y="100898"/>
                    <a:pt x="155617" y="92258"/>
                    <a:pt x="158323" y="83373"/>
                  </a:cubicBezTo>
                  <a:lnTo>
                    <a:pt x="159042" y="81030"/>
                  </a:lnTo>
                  <a:cubicBezTo>
                    <a:pt x="161944" y="71290"/>
                    <a:pt x="164178" y="61361"/>
                    <a:pt x="165725" y="51315"/>
                  </a:cubicBezTo>
                  <a:cubicBezTo>
                    <a:pt x="167306" y="41024"/>
                    <a:pt x="168108" y="30626"/>
                    <a:pt x="168121" y="20215"/>
                  </a:cubicBezTo>
                  <a:cubicBezTo>
                    <a:pt x="168116" y="13341"/>
                    <a:pt x="167663" y="6474"/>
                    <a:pt x="166763" y="-340"/>
                  </a:cubicBezTo>
                  <a:lnTo>
                    <a:pt x="166763" y="-340"/>
                  </a:lnTo>
                  <a:lnTo>
                    <a:pt x="166763" y="-340"/>
                  </a:lnTo>
                  <a:cubicBezTo>
                    <a:pt x="162351" y="-431"/>
                    <a:pt x="157987" y="576"/>
                    <a:pt x="154062" y="2589"/>
                  </a:cubicBezTo>
                  <a:cubicBezTo>
                    <a:pt x="149685" y="4988"/>
                    <a:pt x="146929" y="9552"/>
                    <a:pt x="146847" y="14544"/>
                  </a:cubicBezTo>
                  <a:lnTo>
                    <a:pt x="146847" y="14544"/>
                  </a:lnTo>
                  <a:cubicBezTo>
                    <a:pt x="146868" y="25085"/>
                    <a:pt x="146040" y="35608"/>
                    <a:pt x="144371" y="46016"/>
                  </a:cubicBezTo>
                  <a:cubicBezTo>
                    <a:pt x="142752" y="56390"/>
                    <a:pt x="140347" y="66625"/>
                    <a:pt x="137181" y="76636"/>
                  </a:cubicBezTo>
                  <a:cubicBezTo>
                    <a:pt x="136489" y="78899"/>
                    <a:pt x="135744" y="81109"/>
                    <a:pt x="134972" y="83293"/>
                  </a:cubicBezTo>
                  <a:cubicBezTo>
                    <a:pt x="131840" y="92263"/>
                    <a:pt x="127854" y="100911"/>
                    <a:pt x="123070" y="109120"/>
                  </a:cubicBezTo>
                  <a:cubicBezTo>
                    <a:pt x="122111" y="110744"/>
                    <a:pt x="121153" y="112262"/>
                    <a:pt x="120167" y="113700"/>
                  </a:cubicBezTo>
                  <a:cubicBezTo>
                    <a:pt x="119861" y="114166"/>
                    <a:pt x="119342" y="114448"/>
                    <a:pt x="118783" y="114445"/>
                  </a:cubicBezTo>
                  <a:cubicBezTo>
                    <a:pt x="118450" y="114437"/>
                    <a:pt x="118128" y="114336"/>
                    <a:pt x="117851" y="114152"/>
                  </a:cubicBezTo>
                  <a:cubicBezTo>
                    <a:pt x="117095" y="113641"/>
                    <a:pt x="116898" y="112616"/>
                    <a:pt x="117409" y="111860"/>
                  </a:cubicBezTo>
                  <a:cubicBezTo>
                    <a:pt x="117414" y="111852"/>
                    <a:pt x="117419" y="111844"/>
                    <a:pt x="117425" y="111836"/>
                  </a:cubicBezTo>
                  <a:cubicBezTo>
                    <a:pt x="118011" y="110957"/>
                    <a:pt x="118570" y="110052"/>
                    <a:pt x="119156" y="109173"/>
                  </a:cubicBezTo>
                  <a:cubicBezTo>
                    <a:pt x="124127" y="101010"/>
                    <a:pt x="128240" y="92356"/>
                    <a:pt x="131430" y="83346"/>
                  </a:cubicBezTo>
                  <a:cubicBezTo>
                    <a:pt x="132256" y="81056"/>
                    <a:pt x="133054" y="78713"/>
                    <a:pt x="133827" y="76343"/>
                  </a:cubicBezTo>
                  <a:cubicBezTo>
                    <a:pt x="137027" y="66292"/>
                    <a:pt x="139447" y="56012"/>
                    <a:pt x="141069" y="45590"/>
                  </a:cubicBezTo>
                  <a:cubicBezTo>
                    <a:pt x="142738" y="35158"/>
                    <a:pt x="143540" y="24603"/>
                    <a:pt x="143465" y="14038"/>
                  </a:cubicBezTo>
                  <a:lnTo>
                    <a:pt x="143465" y="13798"/>
                  </a:lnTo>
                  <a:lnTo>
                    <a:pt x="143465" y="13798"/>
                  </a:lnTo>
                  <a:cubicBezTo>
                    <a:pt x="142451" y="13655"/>
                    <a:pt x="141428" y="13583"/>
                    <a:pt x="140403" y="13585"/>
                  </a:cubicBezTo>
                  <a:cubicBezTo>
                    <a:pt x="135741" y="13418"/>
                    <a:pt x="131255" y="15375"/>
                    <a:pt x="128208" y="18911"/>
                  </a:cubicBezTo>
                  <a:cubicBezTo>
                    <a:pt x="124055" y="23890"/>
                    <a:pt x="121978" y="36670"/>
                    <a:pt x="121978" y="36670"/>
                  </a:cubicBezTo>
                  <a:cubicBezTo>
                    <a:pt x="121712" y="38401"/>
                    <a:pt x="121419" y="40105"/>
                    <a:pt x="121073" y="41809"/>
                  </a:cubicBezTo>
                  <a:cubicBezTo>
                    <a:pt x="121073" y="41809"/>
                    <a:pt x="121073" y="42608"/>
                    <a:pt x="120673" y="43993"/>
                  </a:cubicBezTo>
                  <a:cubicBezTo>
                    <a:pt x="118469" y="54936"/>
                    <a:pt x="115196" y="65640"/>
                    <a:pt x="110901" y="75944"/>
                  </a:cubicBezTo>
                  <a:cubicBezTo>
                    <a:pt x="109871" y="78394"/>
                    <a:pt x="108753" y="80896"/>
                    <a:pt x="107546" y="83453"/>
                  </a:cubicBezTo>
                  <a:cubicBezTo>
                    <a:pt x="103744" y="91483"/>
                    <a:pt x="99141" y="99111"/>
                    <a:pt x="93807" y="106218"/>
                  </a:cubicBezTo>
                  <a:cubicBezTo>
                    <a:pt x="93488" y="106633"/>
                    <a:pt x="92998" y="106878"/>
                    <a:pt x="92476" y="106883"/>
                  </a:cubicBezTo>
                  <a:cubicBezTo>
                    <a:pt x="92114" y="106886"/>
                    <a:pt x="91760" y="106774"/>
                    <a:pt x="91464" y="106564"/>
                  </a:cubicBezTo>
                  <a:cubicBezTo>
                    <a:pt x="90724" y="106013"/>
                    <a:pt x="90567" y="104964"/>
                    <a:pt x="91118" y="104221"/>
                  </a:cubicBezTo>
                  <a:cubicBezTo>
                    <a:pt x="95956" y="97626"/>
                    <a:pt x="100198" y="90615"/>
                    <a:pt x="103792" y="83266"/>
                  </a:cubicBezTo>
                  <a:cubicBezTo>
                    <a:pt x="104964" y="80896"/>
                    <a:pt x="106082" y="78473"/>
                    <a:pt x="107147" y="76024"/>
                  </a:cubicBezTo>
                  <a:cubicBezTo>
                    <a:pt x="111572" y="65733"/>
                    <a:pt x="114911" y="55005"/>
                    <a:pt x="117105" y="44019"/>
                  </a:cubicBezTo>
                  <a:cubicBezTo>
                    <a:pt x="117318" y="43034"/>
                    <a:pt x="117505" y="42049"/>
                    <a:pt x="117691" y="41064"/>
                  </a:cubicBezTo>
                  <a:cubicBezTo>
                    <a:pt x="113593" y="40212"/>
                    <a:pt x="109333" y="40619"/>
                    <a:pt x="105470" y="42235"/>
                  </a:cubicBezTo>
                  <a:cubicBezTo>
                    <a:pt x="103995" y="42872"/>
                    <a:pt x="102650" y="43774"/>
                    <a:pt x="101502" y="44898"/>
                  </a:cubicBezTo>
                  <a:cubicBezTo>
                    <a:pt x="99868" y="46583"/>
                    <a:pt x="98632" y="48612"/>
                    <a:pt x="97881" y="50835"/>
                  </a:cubicBezTo>
                  <a:cubicBezTo>
                    <a:pt x="97881" y="51208"/>
                    <a:pt x="97615" y="51581"/>
                    <a:pt x="97509" y="51980"/>
                  </a:cubicBezTo>
                  <a:cubicBezTo>
                    <a:pt x="95812" y="56914"/>
                    <a:pt x="93802" y="61734"/>
                    <a:pt x="91491" y="66412"/>
                  </a:cubicBezTo>
                  <a:cubicBezTo>
                    <a:pt x="89190" y="71013"/>
                    <a:pt x="86594" y="75459"/>
                    <a:pt x="83716" y="79725"/>
                  </a:cubicBezTo>
                  <a:cubicBezTo>
                    <a:pt x="82944" y="80923"/>
                    <a:pt x="82119" y="82095"/>
                    <a:pt x="81266" y="83293"/>
                  </a:cubicBezTo>
                  <a:lnTo>
                    <a:pt x="79909" y="85130"/>
                  </a:lnTo>
                  <a:cubicBezTo>
                    <a:pt x="75257" y="91334"/>
                    <a:pt x="69956" y="97019"/>
                    <a:pt x="64093" y="102091"/>
                  </a:cubicBezTo>
                  <a:cubicBezTo>
                    <a:pt x="61124" y="104610"/>
                    <a:pt x="58011" y="106958"/>
                    <a:pt x="54774" y="109120"/>
                  </a:cubicBezTo>
                  <a:lnTo>
                    <a:pt x="53043" y="110292"/>
                  </a:lnTo>
                  <a:lnTo>
                    <a:pt x="53043" y="110292"/>
                  </a:lnTo>
                  <a:lnTo>
                    <a:pt x="51578" y="111250"/>
                  </a:lnTo>
                  <a:cubicBezTo>
                    <a:pt x="40757" y="118197"/>
                    <a:pt x="30909" y="126550"/>
                    <a:pt x="22290" y="136092"/>
                  </a:cubicBezTo>
                  <a:cubicBezTo>
                    <a:pt x="12654" y="147339"/>
                    <a:pt x="5406" y="160429"/>
                    <a:pt x="989" y="174567"/>
                  </a:cubicBezTo>
                  <a:lnTo>
                    <a:pt x="1468" y="174700"/>
                  </a:lnTo>
                  <a:cubicBezTo>
                    <a:pt x="7888" y="176636"/>
                    <a:pt x="14435" y="178114"/>
                    <a:pt x="21065" y="179120"/>
                  </a:cubicBezTo>
                  <a:cubicBezTo>
                    <a:pt x="28491" y="180278"/>
                    <a:pt x="35994" y="180856"/>
                    <a:pt x="43511" y="180851"/>
                  </a:cubicBezTo>
                  <a:lnTo>
                    <a:pt x="43910" y="180851"/>
                  </a:lnTo>
                  <a:cubicBezTo>
                    <a:pt x="83532" y="180798"/>
                    <a:pt x="121432" y="164652"/>
                    <a:pt x="148924" y="136119"/>
                  </a:cubicBezTo>
                  <a:cubicBezTo>
                    <a:pt x="156824" y="127947"/>
                    <a:pt x="163749" y="118889"/>
                    <a:pt x="169559" y="109120"/>
                  </a:cubicBezTo>
                  <a:cubicBezTo>
                    <a:pt x="173507" y="102466"/>
                    <a:pt x="176926" y="95514"/>
                    <a:pt x="179783" y="88325"/>
                  </a:cubicBezTo>
                  <a:cubicBezTo>
                    <a:pt x="180449" y="86674"/>
                    <a:pt x="181088" y="84970"/>
                    <a:pt x="181674" y="83293"/>
                  </a:cubicBezTo>
                  <a:cubicBezTo>
                    <a:pt x="184304" y="75880"/>
                    <a:pt x="186325" y="68268"/>
                    <a:pt x="187718" y="60527"/>
                  </a:cubicBezTo>
                  <a:cubicBezTo>
                    <a:pt x="189283" y="51874"/>
                    <a:pt x="190066" y="43095"/>
                    <a:pt x="190061" y="34301"/>
                  </a:cubicBezTo>
                  <a:cubicBezTo>
                    <a:pt x="190061" y="32810"/>
                    <a:pt x="190061" y="31318"/>
                    <a:pt x="190061" y="29854"/>
                  </a:cubicBezTo>
                </a:path>
              </a:pathLst>
            </a:custGeom>
            <a:solidFill>
              <a:srgbClr val="143DCF"/>
            </a:solidFill>
            <a:ln w="2661" cap="flat">
              <a:noFill/>
              <a:prstDash val="solid"/>
              <a:miter/>
            </a:ln>
          </p:spPr>
          <p:txBody>
            <a:bodyPr rtlCol="0" anchor="ctr"/>
            <a:lstStyle/>
            <a:p>
              <a:endParaRPr lang="pl-PL"/>
            </a:p>
          </p:txBody>
        </p:sp>
        <p:sp>
          <p:nvSpPr>
            <p:cNvPr id="49" name="Freeform: Shape 48">
              <a:extLst>
                <a:ext uri="{FF2B5EF4-FFF2-40B4-BE49-F238E27FC236}">
                  <a16:creationId xmlns:a16="http://schemas.microsoft.com/office/drawing/2014/main" id="{8633F5E6-DB68-4A59-841C-30295A548C34}"/>
                </a:ext>
              </a:extLst>
            </p:cNvPr>
            <p:cNvSpPr/>
            <p:nvPr/>
          </p:nvSpPr>
          <p:spPr>
            <a:xfrm>
              <a:off x="11502581" y="6714997"/>
              <a:ext cx="17090" cy="37099"/>
            </a:xfrm>
            <a:custGeom>
              <a:avLst/>
              <a:gdLst>
                <a:gd name="connsiteX0" fmla="*/ 31273 w 30283"/>
                <a:gd name="connsiteY0" fmla="*/ 400 h 65740"/>
                <a:gd name="connsiteX1" fmla="*/ 28024 w 30283"/>
                <a:gd name="connsiteY1" fmla="*/ -346 h 65740"/>
                <a:gd name="connsiteX2" fmla="*/ 27438 w 30283"/>
                <a:gd name="connsiteY2" fmla="*/ 2610 h 65740"/>
                <a:gd name="connsiteX3" fmla="*/ 17374 w 30283"/>
                <a:gd name="connsiteY3" fmla="*/ 34721 h 65740"/>
                <a:gd name="connsiteX4" fmla="*/ 13992 w 30283"/>
                <a:gd name="connsiteY4" fmla="*/ 41963 h 65740"/>
                <a:gd name="connsiteX5" fmla="*/ 1318 w 30283"/>
                <a:gd name="connsiteY5" fmla="*/ 62732 h 65740"/>
                <a:gd name="connsiteX6" fmla="*/ 1664 w 30283"/>
                <a:gd name="connsiteY6" fmla="*/ 65075 h 65740"/>
                <a:gd name="connsiteX7" fmla="*/ 2650 w 30283"/>
                <a:gd name="connsiteY7" fmla="*/ 65394 h 65740"/>
                <a:gd name="connsiteX8" fmla="*/ 4007 w 30283"/>
                <a:gd name="connsiteY8" fmla="*/ 64729 h 65740"/>
                <a:gd name="connsiteX9" fmla="*/ 17747 w 30283"/>
                <a:gd name="connsiteY9" fmla="*/ 41963 h 65740"/>
                <a:gd name="connsiteX10" fmla="*/ 21101 w 30283"/>
                <a:gd name="connsiteY10" fmla="*/ 34481 h 65740"/>
                <a:gd name="connsiteX11" fmla="*/ 30873 w 30283"/>
                <a:gd name="connsiteY11" fmla="*/ 2530 h 65740"/>
                <a:gd name="connsiteX12" fmla="*/ 31273 w 30283"/>
                <a:gd name="connsiteY12" fmla="*/ 347 h 6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283" h="65740">
                  <a:moveTo>
                    <a:pt x="31273" y="400"/>
                  </a:moveTo>
                  <a:cubicBezTo>
                    <a:pt x="30213" y="62"/>
                    <a:pt x="29126" y="-186"/>
                    <a:pt x="28024" y="-346"/>
                  </a:cubicBezTo>
                  <a:cubicBezTo>
                    <a:pt x="27838" y="640"/>
                    <a:pt x="27652" y="1625"/>
                    <a:pt x="27438" y="2610"/>
                  </a:cubicBezTo>
                  <a:cubicBezTo>
                    <a:pt x="25218" y="13636"/>
                    <a:pt x="21844" y="24398"/>
                    <a:pt x="17374" y="34721"/>
                  </a:cubicBezTo>
                  <a:cubicBezTo>
                    <a:pt x="16309" y="37171"/>
                    <a:pt x="15190" y="39594"/>
                    <a:pt x="13992" y="41963"/>
                  </a:cubicBezTo>
                  <a:cubicBezTo>
                    <a:pt x="10400" y="49254"/>
                    <a:pt x="6159" y="56203"/>
                    <a:pt x="1318" y="62732"/>
                  </a:cubicBezTo>
                  <a:cubicBezTo>
                    <a:pt x="767" y="63475"/>
                    <a:pt x="924" y="64524"/>
                    <a:pt x="1664" y="65075"/>
                  </a:cubicBezTo>
                  <a:cubicBezTo>
                    <a:pt x="1952" y="65283"/>
                    <a:pt x="2295" y="65394"/>
                    <a:pt x="2650" y="65394"/>
                  </a:cubicBezTo>
                  <a:cubicBezTo>
                    <a:pt x="3182" y="65405"/>
                    <a:pt x="3688" y="65157"/>
                    <a:pt x="4007" y="64729"/>
                  </a:cubicBezTo>
                  <a:cubicBezTo>
                    <a:pt x="9341" y="57622"/>
                    <a:pt x="13944" y="49994"/>
                    <a:pt x="17747" y="41963"/>
                  </a:cubicBezTo>
                  <a:cubicBezTo>
                    <a:pt x="18945" y="39301"/>
                    <a:pt x="20063" y="36931"/>
                    <a:pt x="21101" y="34481"/>
                  </a:cubicBezTo>
                  <a:cubicBezTo>
                    <a:pt x="25380" y="24172"/>
                    <a:pt x="28653" y="13471"/>
                    <a:pt x="30873" y="2530"/>
                  </a:cubicBezTo>
                  <a:cubicBezTo>
                    <a:pt x="31140" y="1145"/>
                    <a:pt x="31273" y="347"/>
                    <a:pt x="31273" y="347"/>
                  </a:cubicBezTo>
                </a:path>
              </a:pathLst>
            </a:custGeom>
            <a:solidFill>
              <a:srgbClr val="8FD942"/>
            </a:solidFill>
            <a:ln w="2661" cap="flat">
              <a:noFill/>
              <a:prstDash val="solid"/>
              <a:miter/>
            </a:ln>
          </p:spPr>
          <p:txBody>
            <a:bodyPr rtlCol="0" anchor="ctr"/>
            <a:lstStyle/>
            <a:p>
              <a:endParaRPr lang="pl-PL"/>
            </a:p>
          </p:txBody>
        </p:sp>
        <p:sp>
          <p:nvSpPr>
            <p:cNvPr id="50" name="Freeform: Shape 49">
              <a:extLst>
                <a:ext uri="{FF2B5EF4-FFF2-40B4-BE49-F238E27FC236}">
                  <a16:creationId xmlns:a16="http://schemas.microsoft.com/office/drawing/2014/main" id="{55D947DD-B85E-4F9F-ACB1-0A7D5E67D7E8}"/>
                </a:ext>
              </a:extLst>
            </p:cNvPr>
            <p:cNvSpPr/>
            <p:nvPr/>
          </p:nvSpPr>
          <p:spPr>
            <a:xfrm>
              <a:off x="11517500" y="6699685"/>
              <a:ext cx="16773" cy="56738"/>
            </a:xfrm>
            <a:custGeom>
              <a:avLst/>
              <a:gdLst>
                <a:gd name="connsiteX0" fmla="*/ 27995 w 29722"/>
                <a:gd name="connsiteY0" fmla="*/ -239 h 100540"/>
                <a:gd name="connsiteX1" fmla="*/ 27542 w 29722"/>
                <a:gd name="connsiteY1" fmla="*/ -239 h 100540"/>
                <a:gd name="connsiteX2" fmla="*/ 27356 w 29722"/>
                <a:gd name="connsiteY2" fmla="*/ -239 h 100540"/>
                <a:gd name="connsiteX3" fmla="*/ 27356 w 29722"/>
                <a:gd name="connsiteY3" fmla="*/ -239 h 100540"/>
                <a:gd name="connsiteX4" fmla="*/ 24959 w 29722"/>
                <a:gd name="connsiteY4" fmla="*/ 31313 h 100540"/>
                <a:gd name="connsiteX5" fmla="*/ 17691 w 29722"/>
                <a:gd name="connsiteY5" fmla="*/ 62093 h 100540"/>
                <a:gd name="connsiteX6" fmla="*/ 15294 w 29722"/>
                <a:gd name="connsiteY6" fmla="*/ 69095 h 100540"/>
                <a:gd name="connsiteX7" fmla="*/ 3020 w 29722"/>
                <a:gd name="connsiteY7" fmla="*/ 94923 h 100540"/>
                <a:gd name="connsiteX8" fmla="*/ 1289 w 29722"/>
                <a:gd name="connsiteY8" fmla="*/ 97585 h 100540"/>
                <a:gd name="connsiteX9" fmla="*/ 1691 w 29722"/>
                <a:gd name="connsiteY9" fmla="*/ 99886 h 100540"/>
                <a:gd name="connsiteX10" fmla="*/ 1715 w 29722"/>
                <a:gd name="connsiteY10" fmla="*/ 99902 h 100540"/>
                <a:gd name="connsiteX11" fmla="*/ 2647 w 29722"/>
                <a:gd name="connsiteY11" fmla="*/ 100195 h 100540"/>
                <a:gd name="connsiteX12" fmla="*/ 4031 w 29722"/>
                <a:gd name="connsiteY12" fmla="*/ 99449 h 100540"/>
                <a:gd name="connsiteX13" fmla="*/ 6933 w 29722"/>
                <a:gd name="connsiteY13" fmla="*/ 94870 h 100540"/>
                <a:gd name="connsiteX14" fmla="*/ 18835 w 29722"/>
                <a:gd name="connsiteY14" fmla="*/ 69042 h 100540"/>
                <a:gd name="connsiteX15" fmla="*/ 21045 w 29722"/>
                <a:gd name="connsiteY15" fmla="*/ 62386 h 100540"/>
                <a:gd name="connsiteX16" fmla="*/ 28234 w 29722"/>
                <a:gd name="connsiteY16" fmla="*/ 31766 h 100540"/>
                <a:gd name="connsiteX17" fmla="*/ 30711 w 29722"/>
                <a:gd name="connsiteY17" fmla="*/ 293 h 100540"/>
                <a:gd name="connsiteX18" fmla="*/ 30711 w 29722"/>
                <a:gd name="connsiteY18" fmla="*/ 293 h 100540"/>
                <a:gd name="connsiteX19" fmla="*/ 30711 w 29722"/>
                <a:gd name="connsiteY19" fmla="*/ 293 h 100540"/>
                <a:gd name="connsiteX20" fmla="*/ 28048 w 29722"/>
                <a:gd name="connsiteY20" fmla="*/ -346 h 100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722" h="100540">
                  <a:moveTo>
                    <a:pt x="27995" y="-239"/>
                  </a:moveTo>
                  <a:lnTo>
                    <a:pt x="27542" y="-239"/>
                  </a:lnTo>
                  <a:lnTo>
                    <a:pt x="27356" y="-239"/>
                  </a:lnTo>
                  <a:lnTo>
                    <a:pt x="27356" y="-239"/>
                  </a:lnTo>
                  <a:cubicBezTo>
                    <a:pt x="27430" y="10326"/>
                    <a:pt x="26629" y="20881"/>
                    <a:pt x="24959" y="31313"/>
                  </a:cubicBezTo>
                  <a:cubicBezTo>
                    <a:pt x="23330" y="41745"/>
                    <a:pt x="20899" y="52033"/>
                    <a:pt x="17691" y="62093"/>
                  </a:cubicBezTo>
                  <a:cubicBezTo>
                    <a:pt x="16918" y="64462"/>
                    <a:pt x="16120" y="66806"/>
                    <a:pt x="15294" y="69095"/>
                  </a:cubicBezTo>
                  <a:cubicBezTo>
                    <a:pt x="12104" y="78106"/>
                    <a:pt x="7991" y="86759"/>
                    <a:pt x="3020" y="94923"/>
                  </a:cubicBezTo>
                  <a:cubicBezTo>
                    <a:pt x="2434" y="95855"/>
                    <a:pt x="1875" y="96760"/>
                    <a:pt x="1289" y="97585"/>
                  </a:cubicBezTo>
                  <a:cubicBezTo>
                    <a:pt x="764" y="98331"/>
                    <a:pt x="945" y="99361"/>
                    <a:pt x="1691" y="99886"/>
                  </a:cubicBezTo>
                  <a:cubicBezTo>
                    <a:pt x="1699" y="99891"/>
                    <a:pt x="1707" y="99897"/>
                    <a:pt x="1715" y="99902"/>
                  </a:cubicBezTo>
                  <a:cubicBezTo>
                    <a:pt x="1992" y="100086"/>
                    <a:pt x="2314" y="100187"/>
                    <a:pt x="2647" y="100195"/>
                  </a:cubicBezTo>
                  <a:cubicBezTo>
                    <a:pt x="3203" y="100195"/>
                    <a:pt x="3725" y="99915"/>
                    <a:pt x="4031" y="99449"/>
                  </a:cubicBezTo>
                  <a:cubicBezTo>
                    <a:pt x="5016" y="98011"/>
                    <a:pt x="5975" y="96494"/>
                    <a:pt x="6933" y="94870"/>
                  </a:cubicBezTo>
                  <a:cubicBezTo>
                    <a:pt x="11718" y="86661"/>
                    <a:pt x="15704" y="78013"/>
                    <a:pt x="18835" y="69042"/>
                  </a:cubicBezTo>
                  <a:cubicBezTo>
                    <a:pt x="19608" y="66859"/>
                    <a:pt x="20327" y="64649"/>
                    <a:pt x="21045" y="62386"/>
                  </a:cubicBezTo>
                  <a:cubicBezTo>
                    <a:pt x="24211" y="52374"/>
                    <a:pt x="26616" y="42139"/>
                    <a:pt x="28234" y="31766"/>
                  </a:cubicBezTo>
                  <a:cubicBezTo>
                    <a:pt x="29904" y="21357"/>
                    <a:pt x="30732" y="10835"/>
                    <a:pt x="30711" y="293"/>
                  </a:cubicBezTo>
                  <a:lnTo>
                    <a:pt x="30711" y="293"/>
                  </a:lnTo>
                  <a:lnTo>
                    <a:pt x="30711" y="293"/>
                  </a:lnTo>
                  <a:cubicBezTo>
                    <a:pt x="29840" y="19"/>
                    <a:pt x="28948" y="-194"/>
                    <a:pt x="28048" y="-346"/>
                  </a:cubicBezTo>
                </a:path>
              </a:pathLst>
            </a:custGeom>
            <a:solidFill>
              <a:srgbClr val="8FD942"/>
            </a:solidFill>
            <a:ln w="2661" cap="flat">
              <a:noFill/>
              <a:prstDash val="solid"/>
              <a:miter/>
            </a:ln>
          </p:spPr>
          <p:txBody>
            <a:bodyPr rtlCol="0" anchor="ctr"/>
            <a:lstStyle/>
            <a:p>
              <a:endParaRPr lang="pl-PL"/>
            </a:p>
          </p:txBody>
        </p:sp>
        <p:sp>
          <p:nvSpPr>
            <p:cNvPr id="51" name="Freeform: Shape 50">
              <a:extLst>
                <a:ext uri="{FF2B5EF4-FFF2-40B4-BE49-F238E27FC236}">
                  <a16:creationId xmlns:a16="http://schemas.microsoft.com/office/drawing/2014/main" id="{9DD492D6-6086-43B5-B7F0-79E13D51A2CA}"/>
                </a:ext>
              </a:extLst>
            </p:cNvPr>
            <p:cNvSpPr/>
            <p:nvPr/>
          </p:nvSpPr>
          <p:spPr>
            <a:xfrm>
              <a:off x="11531661" y="6691648"/>
              <a:ext cx="16507" cy="68726"/>
            </a:xfrm>
            <a:custGeom>
              <a:avLst/>
              <a:gdLst>
                <a:gd name="connsiteX0" fmla="*/ 30239 w 29251"/>
                <a:gd name="connsiteY0" fmla="*/ 21351 h 121784"/>
                <a:gd name="connsiteX1" fmla="*/ 28934 w 29251"/>
                <a:gd name="connsiteY1" fmla="*/ -296 h 121784"/>
                <a:gd name="connsiteX2" fmla="*/ 25526 w 29251"/>
                <a:gd name="connsiteY2" fmla="*/ -296 h 121784"/>
                <a:gd name="connsiteX3" fmla="*/ 26911 w 29251"/>
                <a:gd name="connsiteY3" fmla="*/ 20313 h 121784"/>
                <a:gd name="connsiteX4" fmla="*/ 24514 w 29251"/>
                <a:gd name="connsiteY4" fmla="*/ 51412 h 121784"/>
                <a:gd name="connsiteX5" fmla="*/ 17911 w 29251"/>
                <a:gd name="connsiteY5" fmla="*/ 81074 h 121784"/>
                <a:gd name="connsiteX6" fmla="*/ 17192 w 29251"/>
                <a:gd name="connsiteY6" fmla="*/ 83417 h 121784"/>
                <a:gd name="connsiteX7" fmla="*/ 6861 w 29251"/>
                <a:gd name="connsiteY7" fmla="*/ 109244 h 121784"/>
                <a:gd name="connsiteX8" fmla="*/ 1270 w 29251"/>
                <a:gd name="connsiteY8" fmla="*/ 118830 h 121784"/>
                <a:gd name="connsiteX9" fmla="*/ 1722 w 29251"/>
                <a:gd name="connsiteY9" fmla="*/ 121146 h 121784"/>
                <a:gd name="connsiteX10" fmla="*/ 2654 w 29251"/>
                <a:gd name="connsiteY10" fmla="*/ 121439 h 121784"/>
                <a:gd name="connsiteX11" fmla="*/ 4039 w 29251"/>
                <a:gd name="connsiteY11" fmla="*/ 120694 h 121784"/>
                <a:gd name="connsiteX12" fmla="*/ 10642 w 29251"/>
                <a:gd name="connsiteY12" fmla="*/ 109244 h 121784"/>
                <a:gd name="connsiteX13" fmla="*/ 20813 w 29251"/>
                <a:gd name="connsiteY13" fmla="*/ 83417 h 121784"/>
                <a:gd name="connsiteX14" fmla="*/ 21239 w 29251"/>
                <a:gd name="connsiteY14" fmla="*/ 82032 h 121784"/>
                <a:gd name="connsiteX15" fmla="*/ 27869 w 29251"/>
                <a:gd name="connsiteY15" fmla="*/ 52557 h 121784"/>
                <a:gd name="connsiteX16" fmla="*/ 30239 w 29251"/>
                <a:gd name="connsiteY16" fmla="*/ 21511 h 121784"/>
                <a:gd name="connsiteX17" fmla="*/ 30239 w 29251"/>
                <a:gd name="connsiteY17" fmla="*/ 21511 h 121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251" h="121784">
                  <a:moveTo>
                    <a:pt x="30239" y="21351"/>
                  </a:moveTo>
                  <a:cubicBezTo>
                    <a:pt x="30207" y="14117"/>
                    <a:pt x="29770" y="6891"/>
                    <a:pt x="28934" y="-296"/>
                  </a:cubicBezTo>
                  <a:cubicBezTo>
                    <a:pt x="27800" y="-362"/>
                    <a:pt x="26660" y="-362"/>
                    <a:pt x="25526" y="-296"/>
                  </a:cubicBezTo>
                  <a:cubicBezTo>
                    <a:pt x="26448" y="6534"/>
                    <a:pt x="26911" y="13419"/>
                    <a:pt x="26911" y="20313"/>
                  </a:cubicBezTo>
                  <a:cubicBezTo>
                    <a:pt x="26898" y="30724"/>
                    <a:pt x="26096" y="41121"/>
                    <a:pt x="24514" y="51412"/>
                  </a:cubicBezTo>
                  <a:cubicBezTo>
                    <a:pt x="22991" y="61437"/>
                    <a:pt x="20784" y="71347"/>
                    <a:pt x="17911" y="81074"/>
                  </a:cubicBezTo>
                  <a:lnTo>
                    <a:pt x="17192" y="83417"/>
                  </a:lnTo>
                  <a:cubicBezTo>
                    <a:pt x="14487" y="92302"/>
                    <a:pt x="11031" y="100942"/>
                    <a:pt x="6861" y="109244"/>
                  </a:cubicBezTo>
                  <a:cubicBezTo>
                    <a:pt x="5189" y="112549"/>
                    <a:pt x="3323" y="115749"/>
                    <a:pt x="1270" y="118830"/>
                  </a:cubicBezTo>
                  <a:cubicBezTo>
                    <a:pt x="761" y="119596"/>
                    <a:pt x="961" y="120630"/>
                    <a:pt x="1722" y="121146"/>
                  </a:cubicBezTo>
                  <a:cubicBezTo>
                    <a:pt x="1999" y="121330"/>
                    <a:pt x="2321" y="121431"/>
                    <a:pt x="2654" y="121439"/>
                  </a:cubicBezTo>
                  <a:cubicBezTo>
                    <a:pt x="3211" y="121436"/>
                    <a:pt x="3730" y="121157"/>
                    <a:pt x="4039" y="120694"/>
                  </a:cubicBezTo>
                  <a:cubicBezTo>
                    <a:pt x="6483" y="117024"/>
                    <a:pt x="8691" y="113198"/>
                    <a:pt x="10642" y="109244"/>
                  </a:cubicBezTo>
                  <a:cubicBezTo>
                    <a:pt x="14729" y="100926"/>
                    <a:pt x="18129" y="92289"/>
                    <a:pt x="20813" y="83417"/>
                  </a:cubicBezTo>
                  <a:cubicBezTo>
                    <a:pt x="20813" y="82938"/>
                    <a:pt x="21080" y="82485"/>
                    <a:pt x="21239" y="82032"/>
                  </a:cubicBezTo>
                  <a:cubicBezTo>
                    <a:pt x="24123" y="72370"/>
                    <a:pt x="26338" y="62523"/>
                    <a:pt x="27869" y="52557"/>
                  </a:cubicBezTo>
                  <a:cubicBezTo>
                    <a:pt x="29483" y="42287"/>
                    <a:pt x="30276" y="31906"/>
                    <a:pt x="30239" y="21511"/>
                  </a:cubicBezTo>
                  <a:lnTo>
                    <a:pt x="30239" y="21511"/>
                  </a:lnTo>
                  <a:close/>
                </a:path>
              </a:pathLst>
            </a:custGeom>
            <a:solidFill>
              <a:srgbClr val="8FD942"/>
            </a:solidFill>
            <a:ln w="2661" cap="flat">
              <a:noFill/>
              <a:prstDash val="solid"/>
              <a:miter/>
            </a:ln>
          </p:spPr>
          <p:txBody>
            <a:bodyPr rtlCol="0" anchor="ctr"/>
            <a:lstStyle/>
            <a:p>
              <a:endParaRPr lang="pl-PL"/>
            </a:p>
          </p:txBody>
        </p:sp>
        <p:sp>
          <p:nvSpPr>
            <p:cNvPr id="52" name="Freeform: Shape 51">
              <a:extLst>
                <a:ext uri="{FF2B5EF4-FFF2-40B4-BE49-F238E27FC236}">
                  <a16:creationId xmlns:a16="http://schemas.microsoft.com/office/drawing/2014/main" id="{1E439839-E60D-45C7-8184-C2EB1106DBBE}"/>
                </a:ext>
              </a:extLst>
            </p:cNvPr>
            <p:cNvSpPr/>
            <p:nvPr/>
          </p:nvSpPr>
          <p:spPr>
            <a:xfrm>
              <a:off x="11646242" y="6644465"/>
              <a:ext cx="64654" cy="65032"/>
            </a:xfrm>
            <a:custGeom>
              <a:avLst/>
              <a:gdLst>
                <a:gd name="connsiteX0" fmla="*/ 989 w 114568"/>
                <a:gd name="connsiteY0" fmla="*/ 56475 h 115237"/>
                <a:gd name="connsiteX1" fmla="*/ 60738 w 114568"/>
                <a:gd name="connsiteY1" fmla="*/ 114892 h 115237"/>
                <a:gd name="connsiteX2" fmla="*/ 112233 w 114568"/>
                <a:gd name="connsiteY2" fmla="*/ 83340 h 115237"/>
                <a:gd name="connsiteX3" fmla="*/ 105550 w 114568"/>
                <a:gd name="connsiteY3" fmla="*/ 75219 h 115237"/>
                <a:gd name="connsiteX4" fmla="*/ 87870 w 114568"/>
                <a:gd name="connsiteY4" fmla="*/ 75219 h 115237"/>
                <a:gd name="connsiteX5" fmla="*/ 79057 w 114568"/>
                <a:gd name="connsiteY5" fmla="*/ 80545 h 115237"/>
                <a:gd name="connsiteX6" fmla="*/ 59833 w 114568"/>
                <a:gd name="connsiteY6" fmla="*/ 87361 h 115237"/>
                <a:gd name="connsiteX7" fmla="*/ 37440 w 114568"/>
                <a:gd name="connsiteY7" fmla="*/ 72850 h 115237"/>
                <a:gd name="connsiteX8" fmla="*/ 35523 w 114568"/>
                <a:gd name="connsiteY8" fmla="*/ 66646 h 115237"/>
                <a:gd name="connsiteX9" fmla="*/ 109011 w 114568"/>
                <a:gd name="connsiteY9" fmla="*/ 66646 h 115237"/>
                <a:gd name="connsiteX10" fmla="*/ 115447 w 114568"/>
                <a:gd name="connsiteY10" fmla="*/ 61488 h 115237"/>
                <a:gd name="connsiteX11" fmla="*/ 115481 w 114568"/>
                <a:gd name="connsiteY11" fmla="*/ 60895 h 115237"/>
                <a:gd name="connsiteX12" fmla="*/ 60685 w 114568"/>
                <a:gd name="connsiteY12" fmla="*/ -346 h 115237"/>
                <a:gd name="connsiteX13" fmla="*/ 989 w 114568"/>
                <a:gd name="connsiteY13" fmla="*/ 56368 h 115237"/>
                <a:gd name="connsiteX14" fmla="*/ 59380 w 114568"/>
                <a:gd name="connsiteY14" fmla="*/ 26946 h 115237"/>
                <a:gd name="connsiteX15" fmla="*/ 81533 w 114568"/>
                <a:gd name="connsiteY15" fmla="*/ 46303 h 115237"/>
                <a:gd name="connsiteX16" fmla="*/ 42605 w 114568"/>
                <a:gd name="connsiteY16" fmla="*/ 46303 h 115237"/>
                <a:gd name="connsiteX17" fmla="*/ 35683 w 114568"/>
                <a:gd name="connsiteY17" fmla="*/ 46303 h 115237"/>
                <a:gd name="connsiteX18" fmla="*/ 59380 w 114568"/>
                <a:gd name="connsiteY18" fmla="*/ 26973 h 11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4568" h="115237">
                  <a:moveTo>
                    <a:pt x="989" y="56475"/>
                  </a:moveTo>
                  <a:cubicBezTo>
                    <a:pt x="989" y="91089"/>
                    <a:pt x="27322" y="114892"/>
                    <a:pt x="60738" y="114892"/>
                  </a:cubicBezTo>
                  <a:cubicBezTo>
                    <a:pt x="87364" y="114892"/>
                    <a:pt x="105789" y="101446"/>
                    <a:pt x="112233" y="83340"/>
                  </a:cubicBezTo>
                  <a:cubicBezTo>
                    <a:pt x="113963" y="78415"/>
                    <a:pt x="110742" y="75219"/>
                    <a:pt x="105550" y="75219"/>
                  </a:cubicBezTo>
                  <a:lnTo>
                    <a:pt x="87870" y="75219"/>
                  </a:lnTo>
                  <a:cubicBezTo>
                    <a:pt x="83796" y="75219"/>
                    <a:pt x="81639" y="77350"/>
                    <a:pt x="79057" y="80545"/>
                  </a:cubicBezTo>
                  <a:cubicBezTo>
                    <a:pt x="75808" y="84379"/>
                    <a:pt x="69098" y="87361"/>
                    <a:pt x="59833" y="87361"/>
                  </a:cubicBezTo>
                  <a:cubicBezTo>
                    <a:pt x="50034" y="87806"/>
                    <a:pt x="41037" y="81975"/>
                    <a:pt x="37440" y="72850"/>
                  </a:cubicBezTo>
                  <a:cubicBezTo>
                    <a:pt x="36641" y="70834"/>
                    <a:pt x="35999" y="68760"/>
                    <a:pt x="35523" y="66646"/>
                  </a:cubicBezTo>
                  <a:lnTo>
                    <a:pt x="109011" y="66646"/>
                  </a:lnTo>
                  <a:cubicBezTo>
                    <a:pt x="112212" y="67000"/>
                    <a:pt x="115092" y="64689"/>
                    <a:pt x="115447" y="61488"/>
                  </a:cubicBezTo>
                  <a:cubicBezTo>
                    <a:pt x="115468" y="61291"/>
                    <a:pt x="115479" y="61094"/>
                    <a:pt x="115481" y="60895"/>
                  </a:cubicBezTo>
                  <a:cubicBezTo>
                    <a:pt x="117185" y="22926"/>
                    <a:pt x="89787" y="-346"/>
                    <a:pt x="60685" y="-346"/>
                  </a:cubicBezTo>
                  <a:cubicBezTo>
                    <a:pt x="26070" y="-346"/>
                    <a:pt x="989" y="22233"/>
                    <a:pt x="989" y="56368"/>
                  </a:cubicBezTo>
                  <a:moveTo>
                    <a:pt x="59380" y="26946"/>
                  </a:moveTo>
                  <a:cubicBezTo>
                    <a:pt x="79616" y="26946"/>
                    <a:pt x="81533" y="46303"/>
                    <a:pt x="81533" y="46303"/>
                  </a:cubicBezTo>
                  <a:lnTo>
                    <a:pt x="42605" y="46303"/>
                  </a:lnTo>
                  <a:lnTo>
                    <a:pt x="35683" y="46303"/>
                  </a:lnTo>
                  <a:cubicBezTo>
                    <a:pt x="35683" y="46303"/>
                    <a:pt x="39171" y="26973"/>
                    <a:pt x="59380" y="26973"/>
                  </a:cubicBezTo>
                </a:path>
              </a:pathLst>
            </a:custGeom>
            <a:solidFill>
              <a:srgbClr val="FFFFFF"/>
            </a:solidFill>
            <a:ln w="2661" cap="flat">
              <a:noFill/>
              <a:prstDash val="solid"/>
              <a:miter/>
            </a:ln>
          </p:spPr>
          <p:txBody>
            <a:bodyPr rtlCol="0" anchor="ctr"/>
            <a:lstStyle/>
            <a:p>
              <a:endParaRPr lang="pl-PL"/>
            </a:p>
          </p:txBody>
        </p:sp>
        <p:sp>
          <p:nvSpPr>
            <p:cNvPr id="53" name="Freeform: Shape 52">
              <a:extLst>
                <a:ext uri="{FF2B5EF4-FFF2-40B4-BE49-F238E27FC236}">
                  <a16:creationId xmlns:a16="http://schemas.microsoft.com/office/drawing/2014/main" id="{9906A6DB-4D27-471C-9F2B-F7991038BA17}"/>
                </a:ext>
              </a:extLst>
            </p:cNvPr>
            <p:cNvSpPr/>
            <p:nvPr/>
          </p:nvSpPr>
          <p:spPr>
            <a:xfrm>
              <a:off x="11719462" y="6644495"/>
              <a:ext cx="64897" cy="89810"/>
            </a:xfrm>
            <a:custGeom>
              <a:avLst/>
              <a:gdLst>
                <a:gd name="connsiteX0" fmla="*/ 115987 w 114998"/>
                <a:gd name="connsiteY0" fmla="*/ 57140 h 159144"/>
                <a:gd name="connsiteX1" fmla="*/ 58501 w 114998"/>
                <a:gd name="connsiteY1" fmla="*/ -346 h 159144"/>
                <a:gd name="connsiteX2" fmla="*/ 58475 w 114998"/>
                <a:gd name="connsiteY2" fmla="*/ -346 h 159144"/>
                <a:gd name="connsiteX3" fmla="*/ 29958 w 114998"/>
                <a:gd name="connsiteY3" fmla="*/ 7269 h 159144"/>
                <a:gd name="connsiteX4" fmla="*/ 23142 w 114998"/>
                <a:gd name="connsiteY4" fmla="*/ 1784 h 159144"/>
                <a:gd name="connsiteX5" fmla="*/ 8178 w 114998"/>
                <a:gd name="connsiteY5" fmla="*/ 1784 h 159144"/>
                <a:gd name="connsiteX6" fmla="*/ 989 w 114998"/>
                <a:gd name="connsiteY6" fmla="*/ 8947 h 159144"/>
                <a:gd name="connsiteX7" fmla="*/ 989 w 114998"/>
                <a:gd name="connsiteY7" fmla="*/ 57114 h 159144"/>
                <a:gd name="connsiteX8" fmla="*/ 989 w 114998"/>
                <a:gd name="connsiteY8" fmla="*/ 57114 h 159144"/>
                <a:gd name="connsiteX9" fmla="*/ 989 w 114998"/>
                <a:gd name="connsiteY9" fmla="*/ 151610 h 159144"/>
                <a:gd name="connsiteX10" fmla="*/ 8178 w 114998"/>
                <a:gd name="connsiteY10" fmla="*/ 158799 h 159144"/>
                <a:gd name="connsiteX11" fmla="*/ 23142 w 114998"/>
                <a:gd name="connsiteY11" fmla="*/ 158799 h 159144"/>
                <a:gd name="connsiteX12" fmla="*/ 30304 w 114998"/>
                <a:gd name="connsiteY12" fmla="*/ 151610 h 159144"/>
                <a:gd name="connsiteX13" fmla="*/ 30304 w 114998"/>
                <a:gd name="connsiteY13" fmla="*/ 107197 h 159144"/>
                <a:gd name="connsiteX14" fmla="*/ 58475 w 114998"/>
                <a:gd name="connsiteY14" fmla="*/ 114599 h 159144"/>
                <a:gd name="connsiteX15" fmla="*/ 115934 w 114998"/>
                <a:gd name="connsiteY15" fmla="*/ 57140 h 159144"/>
                <a:gd name="connsiteX16" fmla="*/ 86432 w 114998"/>
                <a:gd name="connsiteY16" fmla="*/ 57140 h 159144"/>
                <a:gd name="connsiteX17" fmla="*/ 58475 w 114998"/>
                <a:gd name="connsiteY17" fmla="*/ 85098 h 159144"/>
                <a:gd name="connsiteX18" fmla="*/ 30491 w 114998"/>
                <a:gd name="connsiteY18" fmla="*/ 57140 h 159144"/>
                <a:gd name="connsiteX19" fmla="*/ 58475 w 114998"/>
                <a:gd name="connsiteY19" fmla="*/ 29156 h 159144"/>
                <a:gd name="connsiteX20" fmla="*/ 86432 w 114998"/>
                <a:gd name="connsiteY20" fmla="*/ 57140 h 159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998" h="159144">
                  <a:moveTo>
                    <a:pt x="115987" y="57140"/>
                  </a:moveTo>
                  <a:cubicBezTo>
                    <a:pt x="115987" y="25391"/>
                    <a:pt x="90250" y="-346"/>
                    <a:pt x="58501" y="-346"/>
                  </a:cubicBezTo>
                  <a:cubicBezTo>
                    <a:pt x="58493" y="-346"/>
                    <a:pt x="58483" y="-346"/>
                    <a:pt x="58475" y="-346"/>
                  </a:cubicBezTo>
                  <a:cubicBezTo>
                    <a:pt x="48466" y="-346"/>
                    <a:pt x="38633" y="2280"/>
                    <a:pt x="29958" y="7269"/>
                  </a:cubicBezTo>
                  <a:cubicBezTo>
                    <a:pt x="29220" y="4088"/>
                    <a:pt x="26406" y="1824"/>
                    <a:pt x="23142" y="1784"/>
                  </a:cubicBezTo>
                  <a:lnTo>
                    <a:pt x="8178" y="1784"/>
                  </a:lnTo>
                  <a:cubicBezTo>
                    <a:pt x="4224" y="1798"/>
                    <a:pt x="1018" y="4993"/>
                    <a:pt x="989" y="8947"/>
                  </a:cubicBezTo>
                  <a:lnTo>
                    <a:pt x="989" y="57114"/>
                  </a:lnTo>
                  <a:lnTo>
                    <a:pt x="989" y="57114"/>
                  </a:lnTo>
                  <a:lnTo>
                    <a:pt x="989" y="151610"/>
                  </a:lnTo>
                  <a:cubicBezTo>
                    <a:pt x="1002" y="155574"/>
                    <a:pt x="4213" y="158786"/>
                    <a:pt x="8178" y="158799"/>
                  </a:cubicBezTo>
                  <a:lnTo>
                    <a:pt x="23142" y="158799"/>
                  </a:lnTo>
                  <a:cubicBezTo>
                    <a:pt x="27096" y="158770"/>
                    <a:pt x="30291" y="155564"/>
                    <a:pt x="30304" y="151610"/>
                  </a:cubicBezTo>
                  <a:lnTo>
                    <a:pt x="30304" y="107197"/>
                  </a:lnTo>
                  <a:cubicBezTo>
                    <a:pt x="38899" y="112051"/>
                    <a:pt x="48604" y="114602"/>
                    <a:pt x="58475" y="114599"/>
                  </a:cubicBezTo>
                  <a:cubicBezTo>
                    <a:pt x="90208" y="114599"/>
                    <a:pt x="115934" y="88873"/>
                    <a:pt x="115934" y="57140"/>
                  </a:cubicBezTo>
                  <a:moveTo>
                    <a:pt x="86432" y="57140"/>
                  </a:moveTo>
                  <a:cubicBezTo>
                    <a:pt x="86432" y="72581"/>
                    <a:pt x="73915" y="85098"/>
                    <a:pt x="58475" y="85098"/>
                  </a:cubicBezTo>
                  <a:cubicBezTo>
                    <a:pt x="43029" y="85098"/>
                    <a:pt x="30506" y="72586"/>
                    <a:pt x="30491" y="57140"/>
                  </a:cubicBezTo>
                  <a:cubicBezTo>
                    <a:pt x="30504" y="41692"/>
                    <a:pt x="43026" y="29172"/>
                    <a:pt x="58475" y="29156"/>
                  </a:cubicBezTo>
                  <a:cubicBezTo>
                    <a:pt x="73921" y="29172"/>
                    <a:pt x="86432" y="41694"/>
                    <a:pt x="86432" y="57140"/>
                  </a:cubicBezTo>
                </a:path>
              </a:pathLst>
            </a:custGeom>
            <a:solidFill>
              <a:srgbClr val="FFFFFF"/>
            </a:solidFill>
            <a:ln w="2661" cap="flat">
              <a:noFill/>
              <a:prstDash val="solid"/>
              <a:miter/>
            </a:ln>
          </p:spPr>
          <p:txBody>
            <a:bodyPr rtlCol="0" anchor="ctr"/>
            <a:lstStyle/>
            <a:p>
              <a:endParaRPr lang="pl-PL"/>
            </a:p>
          </p:txBody>
        </p:sp>
        <p:sp>
          <p:nvSpPr>
            <p:cNvPr id="54" name="Freeform: Shape 53">
              <a:extLst>
                <a:ext uri="{FF2B5EF4-FFF2-40B4-BE49-F238E27FC236}">
                  <a16:creationId xmlns:a16="http://schemas.microsoft.com/office/drawing/2014/main" id="{FB94503A-DBA0-4DF7-9E8D-AD556EF46AB4}"/>
                </a:ext>
              </a:extLst>
            </p:cNvPr>
            <p:cNvSpPr/>
            <p:nvPr/>
          </p:nvSpPr>
          <p:spPr>
            <a:xfrm>
              <a:off x="11792669" y="6644495"/>
              <a:ext cx="64867" cy="64867"/>
            </a:xfrm>
            <a:custGeom>
              <a:avLst/>
              <a:gdLst>
                <a:gd name="connsiteX0" fmla="*/ 115934 w 114945"/>
                <a:gd name="connsiteY0" fmla="*/ 64596 h 114945"/>
                <a:gd name="connsiteX1" fmla="*/ 115934 w 114945"/>
                <a:gd name="connsiteY1" fmla="*/ 49632 h 114945"/>
                <a:gd name="connsiteX2" fmla="*/ 108745 w 114945"/>
                <a:gd name="connsiteY2" fmla="*/ 42443 h 114945"/>
                <a:gd name="connsiteX3" fmla="*/ 73119 w 114945"/>
                <a:gd name="connsiteY3" fmla="*/ 42443 h 114945"/>
                <a:gd name="connsiteX4" fmla="*/ 73119 w 114945"/>
                <a:gd name="connsiteY4" fmla="*/ 6843 h 114945"/>
                <a:gd name="connsiteX5" fmla="*/ 65930 w 114945"/>
                <a:gd name="connsiteY5" fmla="*/ -346 h 114945"/>
                <a:gd name="connsiteX6" fmla="*/ 50993 w 114945"/>
                <a:gd name="connsiteY6" fmla="*/ -346 h 114945"/>
                <a:gd name="connsiteX7" fmla="*/ 43804 w 114945"/>
                <a:gd name="connsiteY7" fmla="*/ 6843 h 114945"/>
                <a:gd name="connsiteX8" fmla="*/ 43804 w 114945"/>
                <a:gd name="connsiteY8" fmla="*/ 42469 h 114945"/>
                <a:gd name="connsiteX9" fmla="*/ 8178 w 114945"/>
                <a:gd name="connsiteY9" fmla="*/ 42469 h 114945"/>
                <a:gd name="connsiteX10" fmla="*/ 989 w 114945"/>
                <a:gd name="connsiteY10" fmla="*/ 49658 h 114945"/>
                <a:gd name="connsiteX11" fmla="*/ 989 w 114945"/>
                <a:gd name="connsiteY11" fmla="*/ 64596 h 114945"/>
                <a:gd name="connsiteX12" fmla="*/ 8178 w 114945"/>
                <a:gd name="connsiteY12" fmla="*/ 71785 h 114945"/>
                <a:gd name="connsiteX13" fmla="*/ 43804 w 114945"/>
                <a:gd name="connsiteY13" fmla="*/ 71785 h 114945"/>
                <a:gd name="connsiteX14" fmla="*/ 43804 w 114945"/>
                <a:gd name="connsiteY14" fmla="*/ 107410 h 114945"/>
                <a:gd name="connsiteX15" fmla="*/ 50993 w 114945"/>
                <a:gd name="connsiteY15" fmla="*/ 114599 h 114945"/>
                <a:gd name="connsiteX16" fmla="*/ 65930 w 114945"/>
                <a:gd name="connsiteY16" fmla="*/ 114599 h 114945"/>
                <a:gd name="connsiteX17" fmla="*/ 73119 w 114945"/>
                <a:gd name="connsiteY17" fmla="*/ 107410 h 114945"/>
                <a:gd name="connsiteX18" fmla="*/ 73119 w 114945"/>
                <a:gd name="connsiteY18" fmla="*/ 71785 h 114945"/>
                <a:gd name="connsiteX19" fmla="*/ 108745 w 114945"/>
                <a:gd name="connsiteY19" fmla="*/ 71785 h 114945"/>
                <a:gd name="connsiteX20" fmla="*/ 115934 w 114945"/>
                <a:gd name="connsiteY20" fmla="*/ 64596 h 114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945" h="114945">
                  <a:moveTo>
                    <a:pt x="115934" y="64596"/>
                  </a:moveTo>
                  <a:lnTo>
                    <a:pt x="115934" y="49632"/>
                  </a:lnTo>
                  <a:cubicBezTo>
                    <a:pt x="115918" y="45667"/>
                    <a:pt x="112709" y="42456"/>
                    <a:pt x="108745" y="42443"/>
                  </a:cubicBezTo>
                  <a:lnTo>
                    <a:pt x="73119" y="42443"/>
                  </a:lnTo>
                  <a:lnTo>
                    <a:pt x="73119" y="6843"/>
                  </a:lnTo>
                  <a:cubicBezTo>
                    <a:pt x="73103" y="2879"/>
                    <a:pt x="69894" y="-332"/>
                    <a:pt x="65930" y="-346"/>
                  </a:cubicBezTo>
                  <a:lnTo>
                    <a:pt x="50993" y="-346"/>
                  </a:lnTo>
                  <a:cubicBezTo>
                    <a:pt x="47028" y="-330"/>
                    <a:pt x="43817" y="2879"/>
                    <a:pt x="43804" y="6843"/>
                  </a:cubicBezTo>
                  <a:lnTo>
                    <a:pt x="43804" y="42469"/>
                  </a:lnTo>
                  <a:lnTo>
                    <a:pt x="8178" y="42469"/>
                  </a:lnTo>
                  <a:cubicBezTo>
                    <a:pt x="4213" y="42483"/>
                    <a:pt x="1002" y="45694"/>
                    <a:pt x="989" y="49658"/>
                  </a:cubicBezTo>
                  <a:lnTo>
                    <a:pt x="989" y="64596"/>
                  </a:lnTo>
                  <a:cubicBezTo>
                    <a:pt x="1002" y="68560"/>
                    <a:pt x="4213" y="71771"/>
                    <a:pt x="8178" y="71785"/>
                  </a:cubicBezTo>
                  <a:lnTo>
                    <a:pt x="43804" y="71785"/>
                  </a:lnTo>
                  <a:lnTo>
                    <a:pt x="43804" y="107410"/>
                  </a:lnTo>
                  <a:cubicBezTo>
                    <a:pt x="43820" y="111375"/>
                    <a:pt x="47028" y="114586"/>
                    <a:pt x="50993" y="114599"/>
                  </a:cubicBezTo>
                  <a:lnTo>
                    <a:pt x="65930" y="114599"/>
                  </a:lnTo>
                  <a:cubicBezTo>
                    <a:pt x="69900" y="114599"/>
                    <a:pt x="73119" y="111380"/>
                    <a:pt x="73119" y="107410"/>
                  </a:cubicBezTo>
                  <a:lnTo>
                    <a:pt x="73119" y="71785"/>
                  </a:lnTo>
                  <a:lnTo>
                    <a:pt x="108745" y="71785"/>
                  </a:lnTo>
                  <a:cubicBezTo>
                    <a:pt x="112709" y="71771"/>
                    <a:pt x="115918" y="68560"/>
                    <a:pt x="115934" y="64596"/>
                  </a:cubicBezTo>
                </a:path>
              </a:pathLst>
            </a:custGeom>
            <a:solidFill>
              <a:srgbClr val="8FDB42"/>
            </a:solidFill>
            <a:ln w="2661" cap="flat">
              <a:noFill/>
              <a:prstDash val="solid"/>
              <a:miter/>
            </a:ln>
          </p:spPr>
          <p:txBody>
            <a:bodyPr rtlCol="0" anchor="ctr"/>
            <a:lstStyle/>
            <a:p>
              <a:endParaRPr lang="pl-PL"/>
            </a:p>
          </p:txBody>
        </p:sp>
        <p:sp>
          <p:nvSpPr>
            <p:cNvPr id="55" name="Freeform: Shape 54">
              <a:extLst>
                <a:ext uri="{FF2B5EF4-FFF2-40B4-BE49-F238E27FC236}">
                  <a16:creationId xmlns:a16="http://schemas.microsoft.com/office/drawing/2014/main" id="{5E7C6A3D-039F-40C1-92AA-9B3347DB1A11}"/>
                </a:ext>
              </a:extLst>
            </p:cNvPr>
            <p:cNvSpPr/>
            <p:nvPr/>
          </p:nvSpPr>
          <p:spPr>
            <a:xfrm>
              <a:off x="11574954" y="6644781"/>
              <a:ext cx="64867" cy="89524"/>
            </a:xfrm>
            <a:custGeom>
              <a:avLst/>
              <a:gdLst>
                <a:gd name="connsiteX0" fmla="*/ 115934 w 114945"/>
                <a:gd name="connsiteY0" fmla="*/ 57114 h 158638"/>
                <a:gd name="connsiteX1" fmla="*/ 58475 w 114945"/>
                <a:gd name="connsiteY1" fmla="*/ -346 h 158638"/>
                <a:gd name="connsiteX2" fmla="*/ 29905 w 114945"/>
                <a:gd name="connsiteY2" fmla="*/ 7296 h 158638"/>
                <a:gd name="connsiteX3" fmla="*/ 23115 w 114945"/>
                <a:gd name="connsiteY3" fmla="*/ 2131 h 158638"/>
                <a:gd name="connsiteX4" fmla="*/ 8178 w 114945"/>
                <a:gd name="connsiteY4" fmla="*/ 2131 h 158638"/>
                <a:gd name="connsiteX5" fmla="*/ 989 w 114945"/>
                <a:gd name="connsiteY5" fmla="*/ 9320 h 158638"/>
                <a:gd name="connsiteX6" fmla="*/ 989 w 114945"/>
                <a:gd name="connsiteY6" fmla="*/ 57114 h 158638"/>
                <a:gd name="connsiteX7" fmla="*/ 989 w 114945"/>
                <a:gd name="connsiteY7" fmla="*/ 57114 h 158638"/>
                <a:gd name="connsiteX8" fmla="*/ 989 w 114945"/>
                <a:gd name="connsiteY8" fmla="*/ 151104 h 158638"/>
                <a:gd name="connsiteX9" fmla="*/ 8178 w 114945"/>
                <a:gd name="connsiteY9" fmla="*/ 158293 h 158638"/>
                <a:gd name="connsiteX10" fmla="*/ 23115 w 114945"/>
                <a:gd name="connsiteY10" fmla="*/ 158293 h 158638"/>
                <a:gd name="connsiteX11" fmla="*/ 30304 w 114945"/>
                <a:gd name="connsiteY11" fmla="*/ 151104 h 158638"/>
                <a:gd name="connsiteX12" fmla="*/ 30304 w 114945"/>
                <a:gd name="connsiteY12" fmla="*/ 107171 h 158638"/>
                <a:gd name="connsiteX13" fmla="*/ 58475 w 114945"/>
                <a:gd name="connsiteY13" fmla="*/ 114573 h 158638"/>
                <a:gd name="connsiteX14" fmla="*/ 115934 w 114945"/>
                <a:gd name="connsiteY14" fmla="*/ 57114 h 158638"/>
                <a:gd name="connsiteX15" fmla="*/ 86432 w 114945"/>
                <a:gd name="connsiteY15" fmla="*/ 57114 h 158638"/>
                <a:gd name="connsiteX16" fmla="*/ 58475 w 114945"/>
                <a:gd name="connsiteY16" fmla="*/ 85098 h 158638"/>
                <a:gd name="connsiteX17" fmla="*/ 30491 w 114945"/>
                <a:gd name="connsiteY17" fmla="*/ 57114 h 158638"/>
                <a:gd name="connsiteX18" fmla="*/ 58475 w 114945"/>
                <a:gd name="connsiteY18" fmla="*/ 29156 h 158638"/>
                <a:gd name="connsiteX19" fmla="*/ 86432 w 114945"/>
                <a:gd name="connsiteY19" fmla="*/ 57114 h 158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4945" h="158638">
                  <a:moveTo>
                    <a:pt x="115934" y="57114"/>
                  </a:moveTo>
                  <a:cubicBezTo>
                    <a:pt x="115934" y="25381"/>
                    <a:pt x="90208" y="-346"/>
                    <a:pt x="58475" y="-346"/>
                  </a:cubicBezTo>
                  <a:cubicBezTo>
                    <a:pt x="48447" y="-340"/>
                    <a:pt x="38596" y="2293"/>
                    <a:pt x="29905" y="7296"/>
                  </a:cubicBezTo>
                  <a:cubicBezTo>
                    <a:pt x="29034" y="4261"/>
                    <a:pt x="26273" y="2160"/>
                    <a:pt x="23115" y="2131"/>
                  </a:cubicBezTo>
                  <a:lnTo>
                    <a:pt x="8178" y="2131"/>
                  </a:lnTo>
                  <a:cubicBezTo>
                    <a:pt x="4213" y="2144"/>
                    <a:pt x="1002" y="5355"/>
                    <a:pt x="989" y="9320"/>
                  </a:cubicBezTo>
                  <a:lnTo>
                    <a:pt x="989" y="57114"/>
                  </a:lnTo>
                  <a:lnTo>
                    <a:pt x="989" y="57114"/>
                  </a:lnTo>
                  <a:lnTo>
                    <a:pt x="989" y="151104"/>
                  </a:lnTo>
                  <a:cubicBezTo>
                    <a:pt x="1002" y="155069"/>
                    <a:pt x="4213" y="158280"/>
                    <a:pt x="8178" y="158293"/>
                  </a:cubicBezTo>
                  <a:lnTo>
                    <a:pt x="23115" y="158293"/>
                  </a:lnTo>
                  <a:cubicBezTo>
                    <a:pt x="27080" y="158280"/>
                    <a:pt x="30291" y="155069"/>
                    <a:pt x="30304" y="151104"/>
                  </a:cubicBezTo>
                  <a:lnTo>
                    <a:pt x="30304" y="107171"/>
                  </a:lnTo>
                  <a:cubicBezTo>
                    <a:pt x="38899" y="112025"/>
                    <a:pt x="48604" y="114575"/>
                    <a:pt x="58475" y="114573"/>
                  </a:cubicBezTo>
                  <a:cubicBezTo>
                    <a:pt x="90202" y="114557"/>
                    <a:pt x="115918" y="88841"/>
                    <a:pt x="115934" y="57114"/>
                  </a:cubicBezTo>
                  <a:moveTo>
                    <a:pt x="86432" y="57114"/>
                  </a:moveTo>
                  <a:cubicBezTo>
                    <a:pt x="86432" y="72559"/>
                    <a:pt x="73920" y="85082"/>
                    <a:pt x="58475" y="85098"/>
                  </a:cubicBezTo>
                  <a:cubicBezTo>
                    <a:pt x="43026" y="85082"/>
                    <a:pt x="30506" y="72562"/>
                    <a:pt x="30491" y="57114"/>
                  </a:cubicBezTo>
                  <a:cubicBezTo>
                    <a:pt x="30506" y="41668"/>
                    <a:pt x="43029" y="29156"/>
                    <a:pt x="58475" y="29156"/>
                  </a:cubicBezTo>
                  <a:cubicBezTo>
                    <a:pt x="73915" y="29156"/>
                    <a:pt x="86432" y="41673"/>
                    <a:pt x="86432" y="57114"/>
                  </a:cubicBezTo>
                </a:path>
              </a:pathLst>
            </a:custGeom>
            <a:solidFill>
              <a:srgbClr val="FFFFFF"/>
            </a:solidFill>
            <a:ln w="2661" cap="flat">
              <a:noFill/>
              <a:prstDash val="solid"/>
              <a:miter/>
            </a:ln>
          </p:spPr>
          <p:txBody>
            <a:bodyPr rtlCol="0" anchor="ctr"/>
            <a:lstStyle/>
            <a:p>
              <a:endParaRPr lang="pl-PL"/>
            </a:p>
          </p:txBody>
        </p:sp>
        <p:sp>
          <p:nvSpPr>
            <p:cNvPr id="56" name="Freeform: Shape 55">
              <a:extLst>
                <a:ext uri="{FF2B5EF4-FFF2-40B4-BE49-F238E27FC236}">
                  <a16:creationId xmlns:a16="http://schemas.microsoft.com/office/drawing/2014/main" id="{072D5A43-74B2-4FE5-A7B5-2557AE74AD9F}"/>
                </a:ext>
              </a:extLst>
            </p:cNvPr>
            <p:cNvSpPr/>
            <p:nvPr/>
          </p:nvSpPr>
          <p:spPr>
            <a:xfrm>
              <a:off x="11574969" y="6750860"/>
              <a:ext cx="19691" cy="26558"/>
            </a:xfrm>
            <a:custGeom>
              <a:avLst/>
              <a:gdLst>
                <a:gd name="connsiteX0" fmla="*/ 1103 w 34893"/>
                <a:gd name="connsiteY0" fmla="*/ 44632 h 47062"/>
                <a:gd name="connsiteX1" fmla="*/ 1103 w 34893"/>
                <a:gd name="connsiteY1" fmla="*/ 2270 h 47062"/>
                <a:gd name="connsiteX2" fmla="*/ 2765 w 34893"/>
                <a:gd name="connsiteY2" fmla="*/ 273 h 47062"/>
                <a:gd name="connsiteX3" fmla="*/ 3100 w 34893"/>
                <a:gd name="connsiteY3" fmla="*/ 273 h 47062"/>
                <a:gd name="connsiteX4" fmla="*/ 5124 w 34893"/>
                <a:gd name="connsiteY4" fmla="*/ 273 h 47062"/>
                <a:gd name="connsiteX5" fmla="*/ 7387 w 34893"/>
                <a:gd name="connsiteY5" fmla="*/ 1897 h 47062"/>
                <a:gd name="connsiteX6" fmla="*/ 9704 w 34893"/>
                <a:gd name="connsiteY6" fmla="*/ 2589 h 47062"/>
                <a:gd name="connsiteX7" fmla="*/ 19316 w 34893"/>
                <a:gd name="connsiteY7" fmla="*/ -339 h 47062"/>
                <a:gd name="connsiteX8" fmla="*/ 35880 w 34893"/>
                <a:gd name="connsiteY8" fmla="*/ 16060 h 47062"/>
                <a:gd name="connsiteX9" fmla="*/ 35877 w 34893"/>
                <a:gd name="connsiteY9" fmla="*/ 16462 h 47062"/>
                <a:gd name="connsiteX10" fmla="*/ 19667 w 34893"/>
                <a:gd name="connsiteY10" fmla="*/ 33524 h 47062"/>
                <a:gd name="connsiteX11" fmla="*/ 19182 w 34893"/>
                <a:gd name="connsiteY11" fmla="*/ 33529 h 47062"/>
                <a:gd name="connsiteX12" fmla="*/ 11195 w 34893"/>
                <a:gd name="connsiteY12" fmla="*/ 31585 h 47062"/>
                <a:gd name="connsiteX13" fmla="*/ 9118 w 34893"/>
                <a:gd name="connsiteY13" fmla="*/ 32597 h 47062"/>
                <a:gd name="connsiteX14" fmla="*/ 9118 w 34893"/>
                <a:gd name="connsiteY14" fmla="*/ 44712 h 47062"/>
                <a:gd name="connsiteX15" fmla="*/ 7456 w 34893"/>
                <a:gd name="connsiteY15" fmla="*/ 46709 h 47062"/>
                <a:gd name="connsiteX16" fmla="*/ 7121 w 34893"/>
                <a:gd name="connsiteY16" fmla="*/ 46709 h 47062"/>
                <a:gd name="connsiteX17" fmla="*/ 2994 w 34893"/>
                <a:gd name="connsiteY17" fmla="*/ 46709 h 47062"/>
                <a:gd name="connsiteX18" fmla="*/ 997 w 34893"/>
                <a:gd name="connsiteY18" fmla="*/ 45048 h 47062"/>
                <a:gd name="connsiteX19" fmla="*/ 997 w 34893"/>
                <a:gd name="connsiteY19" fmla="*/ 44712 h 47062"/>
                <a:gd name="connsiteX20" fmla="*/ 10236 w 34893"/>
                <a:gd name="connsiteY20" fmla="*/ 22106 h 47062"/>
                <a:gd name="connsiteX21" fmla="*/ 18224 w 34893"/>
                <a:gd name="connsiteY21" fmla="*/ 26127 h 47062"/>
                <a:gd name="connsiteX22" fmla="*/ 26968 w 34893"/>
                <a:gd name="connsiteY22" fmla="*/ 16571 h 47062"/>
                <a:gd name="connsiteX23" fmla="*/ 26957 w 34893"/>
                <a:gd name="connsiteY23" fmla="*/ 16382 h 47062"/>
                <a:gd name="connsiteX24" fmla="*/ 18250 w 34893"/>
                <a:gd name="connsiteY24" fmla="*/ 6983 h 47062"/>
                <a:gd name="connsiteX25" fmla="*/ 10263 w 34893"/>
                <a:gd name="connsiteY25" fmla="*/ 10977 h 47062"/>
                <a:gd name="connsiteX26" fmla="*/ 9677 w 34893"/>
                <a:gd name="connsiteY26" fmla="*/ 13133 h 47062"/>
                <a:gd name="connsiteX27" fmla="*/ 9677 w 34893"/>
                <a:gd name="connsiteY27" fmla="*/ 19896 h 47062"/>
                <a:gd name="connsiteX28" fmla="*/ 10263 w 34893"/>
                <a:gd name="connsiteY28" fmla="*/ 22027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893" h="47062">
                  <a:moveTo>
                    <a:pt x="1103" y="44632"/>
                  </a:moveTo>
                  <a:lnTo>
                    <a:pt x="1103" y="2270"/>
                  </a:lnTo>
                  <a:cubicBezTo>
                    <a:pt x="1010" y="1261"/>
                    <a:pt x="1756" y="366"/>
                    <a:pt x="2765" y="273"/>
                  </a:cubicBezTo>
                  <a:cubicBezTo>
                    <a:pt x="2877" y="262"/>
                    <a:pt x="2988" y="262"/>
                    <a:pt x="3100" y="273"/>
                  </a:cubicBezTo>
                  <a:lnTo>
                    <a:pt x="5124" y="273"/>
                  </a:lnTo>
                  <a:cubicBezTo>
                    <a:pt x="6170" y="201"/>
                    <a:pt x="7121" y="883"/>
                    <a:pt x="7387" y="1897"/>
                  </a:cubicBezTo>
                  <a:cubicBezTo>
                    <a:pt x="7707" y="3228"/>
                    <a:pt x="8638" y="3415"/>
                    <a:pt x="9704" y="2589"/>
                  </a:cubicBezTo>
                  <a:cubicBezTo>
                    <a:pt x="12502" y="592"/>
                    <a:pt x="15878" y="-435"/>
                    <a:pt x="19316" y="-339"/>
                  </a:cubicBezTo>
                  <a:cubicBezTo>
                    <a:pt x="28419" y="-385"/>
                    <a:pt x="35834" y="6956"/>
                    <a:pt x="35880" y="16060"/>
                  </a:cubicBezTo>
                  <a:cubicBezTo>
                    <a:pt x="35880" y="16193"/>
                    <a:pt x="35880" y="16329"/>
                    <a:pt x="35877" y="16462"/>
                  </a:cubicBezTo>
                  <a:cubicBezTo>
                    <a:pt x="36111" y="25650"/>
                    <a:pt x="28856" y="33289"/>
                    <a:pt x="19667" y="33524"/>
                  </a:cubicBezTo>
                  <a:cubicBezTo>
                    <a:pt x="19505" y="33529"/>
                    <a:pt x="19345" y="33529"/>
                    <a:pt x="19182" y="33529"/>
                  </a:cubicBezTo>
                  <a:cubicBezTo>
                    <a:pt x="16397" y="33582"/>
                    <a:pt x="13644" y="32914"/>
                    <a:pt x="11195" y="31585"/>
                  </a:cubicBezTo>
                  <a:cubicBezTo>
                    <a:pt x="9943" y="30840"/>
                    <a:pt x="9118" y="31213"/>
                    <a:pt x="9118" y="32597"/>
                  </a:cubicBezTo>
                  <a:lnTo>
                    <a:pt x="9118" y="44712"/>
                  </a:lnTo>
                  <a:cubicBezTo>
                    <a:pt x="9211" y="45721"/>
                    <a:pt x="8465" y="46616"/>
                    <a:pt x="7456" y="46709"/>
                  </a:cubicBezTo>
                  <a:cubicBezTo>
                    <a:pt x="7344" y="46720"/>
                    <a:pt x="7233" y="46720"/>
                    <a:pt x="7121" y="46709"/>
                  </a:cubicBezTo>
                  <a:lnTo>
                    <a:pt x="2994" y="46709"/>
                  </a:lnTo>
                  <a:cubicBezTo>
                    <a:pt x="1982" y="46802"/>
                    <a:pt x="1090" y="46057"/>
                    <a:pt x="997" y="45048"/>
                  </a:cubicBezTo>
                  <a:cubicBezTo>
                    <a:pt x="986" y="44936"/>
                    <a:pt x="986" y="44824"/>
                    <a:pt x="997" y="44712"/>
                  </a:cubicBezTo>
                  <a:moveTo>
                    <a:pt x="10236" y="22106"/>
                  </a:moveTo>
                  <a:cubicBezTo>
                    <a:pt x="12039" y="24721"/>
                    <a:pt x="15050" y="26236"/>
                    <a:pt x="18224" y="26127"/>
                  </a:cubicBezTo>
                  <a:cubicBezTo>
                    <a:pt x="23277" y="25903"/>
                    <a:pt x="27192" y="21625"/>
                    <a:pt x="26968" y="16571"/>
                  </a:cubicBezTo>
                  <a:cubicBezTo>
                    <a:pt x="26965" y="16507"/>
                    <a:pt x="26963" y="16446"/>
                    <a:pt x="26957" y="16382"/>
                  </a:cubicBezTo>
                  <a:cubicBezTo>
                    <a:pt x="27122" y="11392"/>
                    <a:pt x="23238" y="7198"/>
                    <a:pt x="18250" y="6983"/>
                  </a:cubicBezTo>
                  <a:cubicBezTo>
                    <a:pt x="15085" y="6884"/>
                    <a:pt x="12081" y="8386"/>
                    <a:pt x="10263" y="10977"/>
                  </a:cubicBezTo>
                  <a:cubicBezTo>
                    <a:pt x="9837" y="11613"/>
                    <a:pt x="9632" y="12369"/>
                    <a:pt x="9677" y="13133"/>
                  </a:cubicBezTo>
                  <a:lnTo>
                    <a:pt x="9677" y="19896"/>
                  </a:lnTo>
                  <a:cubicBezTo>
                    <a:pt x="9650" y="20650"/>
                    <a:pt x="9855" y="21393"/>
                    <a:pt x="10263" y="22027"/>
                  </a:cubicBezTo>
                </a:path>
              </a:pathLst>
            </a:custGeom>
            <a:solidFill>
              <a:srgbClr val="FFFFFF"/>
            </a:solidFill>
            <a:ln w="2661" cap="flat">
              <a:noFill/>
              <a:prstDash val="solid"/>
              <a:miter/>
            </a:ln>
          </p:spPr>
          <p:txBody>
            <a:bodyPr rtlCol="0" anchor="ctr"/>
            <a:lstStyle/>
            <a:p>
              <a:endParaRPr lang="pl-PL"/>
            </a:p>
          </p:txBody>
        </p:sp>
        <p:sp>
          <p:nvSpPr>
            <p:cNvPr id="57" name="Freeform: Shape 56">
              <a:extLst>
                <a:ext uri="{FF2B5EF4-FFF2-40B4-BE49-F238E27FC236}">
                  <a16:creationId xmlns:a16="http://schemas.microsoft.com/office/drawing/2014/main" id="{E30E7CD8-31A2-4680-96BD-44DDCD3DC772}"/>
                </a:ext>
              </a:extLst>
            </p:cNvPr>
            <p:cNvSpPr/>
            <p:nvPr/>
          </p:nvSpPr>
          <p:spPr>
            <a:xfrm>
              <a:off x="11597252" y="6750822"/>
              <a:ext cx="18514" cy="19157"/>
            </a:xfrm>
            <a:custGeom>
              <a:avLst/>
              <a:gdLst>
                <a:gd name="connsiteX0" fmla="*/ 18038 w 32808"/>
                <a:gd name="connsiteY0" fmla="*/ -324 h 33946"/>
                <a:gd name="connsiteX1" fmla="*/ 33795 w 32808"/>
                <a:gd name="connsiteY1" fmla="*/ 15867 h 33946"/>
                <a:gd name="connsiteX2" fmla="*/ 33721 w 32808"/>
                <a:gd name="connsiteY2" fmla="*/ 17196 h 33946"/>
                <a:gd name="connsiteX3" fmla="*/ 31915 w 32808"/>
                <a:gd name="connsiteY3" fmla="*/ 19012 h 33946"/>
                <a:gd name="connsiteX4" fmla="*/ 31777 w 32808"/>
                <a:gd name="connsiteY4" fmla="*/ 19006 h 33946"/>
                <a:gd name="connsiteX5" fmla="*/ 11568 w 32808"/>
                <a:gd name="connsiteY5" fmla="*/ 19006 h 33946"/>
                <a:gd name="connsiteX6" fmla="*/ 10130 w 32808"/>
                <a:gd name="connsiteY6" fmla="*/ 20950 h 33946"/>
                <a:gd name="connsiteX7" fmla="*/ 18118 w 32808"/>
                <a:gd name="connsiteY7" fmla="*/ 26488 h 33946"/>
                <a:gd name="connsiteX8" fmla="*/ 24455 w 32808"/>
                <a:gd name="connsiteY8" fmla="*/ 23613 h 33946"/>
                <a:gd name="connsiteX9" fmla="*/ 26771 w 32808"/>
                <a:gd name="connsiteY9" fmla="*/ 22148 h 33946"/>
                <a:gd name="connsiteX10" fmla="*/ 31058 w 32808"/>
                <a:gd name="connsiteY10" fmla="*/ 22148 h 33946"/>
                <a:gd name="connsiteX11" fmla="*/ 32815 w 32808"/>
                <a:gd name="connsiteY11" fmla="*/ 24358 h 33946"/>
                <a:gd name="connsiteX12" fmla="*/ 18118 w 32808"/>
                <a:gd name="connsiteY12" fmla="*/ 33571 h 33946"/>
                <a:gd name="connsiteX13" fmla="*/ 994 w 32808"/>
                <a:gd name="connsiteY13" fmla="*/ 17371 h 33946"/>
                <a:gd name="connsiteX14" fmla="*/ 997 w 32808"/>
                <a:gd name="connsiteY14" fmla="*/ 16370 h 33946"/>
                <a:gd name="connsiteX15" fmla="*/ 16866 w 32808"/>
                <a:gd name="connsiteY15" fmla="*/ -340 h 33946"/>
                <a:gd name="connsiteX16" fmla="*/ 18118 w 32808"/>
                <a:gd name="connsiteY16" fmla="*/ -324 h 33946"/>
                <a:gd name="connsiteX17" fmla="*/ 12020 w 32808"/>
                <a:gd name="connsiteY17" fmla="*/ 13362 h 33946"/>
                <a:gd name="connsiteX18" fmla="*/ 23257 w 32808"/>
                <a:gd name="connsiteY18" fmla="*/ 13362 h 33946"/>
                <a:gd name="connsiteX19" fmla="*/ 24774 w 32808"/>
                <a:gd name="connsiteY19" fmla="*/ 11365 h 33946"/>
                <a:gd name="connsiteX20" fmla="*/ 17985 w 32808"/>
                <a:gd name="connsiteY20" fmla="*/ 6705 h 33946"/>
                <a:gd name="connsiteX21" fmla="*/ 10582 w 32808"/>
                <a:gd name="connsiteY21" fmla="*/ 11285 h 33946"/>
                <a:gd name="connsiteX22" fmla="*/ 12020 w 32808"/>
                <a:gd name="connsiteY22" fmla="*/ 13362 h 3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808" h="33946">
                  <a:moveTo>
                    <a:pt x="18038" y="-324"/>
                  </a:moveTo>
                  <a:cubicBezTo>
                    <a:pt x="26859" y="-204"/>
                    <a:pt x="33915" y="7046"/>
                    <a:pt x="33795" y="15867"/>
                  </a:cubicBezTo>
                  <a:cubicBezTo>
                    <a:pt x="33787" y="16312"/>
                    <a:pt x="33763" y="16754"/>
                    <a:pt x="33721" y="17196"/>
                  </a:cubicBezTo>
                  <a:cubicBezTo>
                    <a:pt x="33723" y="18197"/>
                    <a:pt x="32914" y="19009"/>
                    <a:pt x="31915" y="19012"/>
                  </a:cubicBezTo>
                  <a:cubicBezTo>
                    <a:pt x="31870" y="19012"/>
                    <a:pt x="31822" y="19009"/>
                    <a:pt x="31777" y="19006"/>
                  </a:cubicBezTo>
                  <a:lnTo>
                    <a:pt x="11568" y="19006"/>
                  </a:lnTo>
                  <a:cubicBezTo>
                    <a:pt x="10396" y="19006"/>
                    <a:pt x="9624" y="19778"/>
                    <a:pt x="10130" y="20950"/>
                  </a:cubicBezTo>
                  <a:cubicBezTo>
                    <a:pt x="11272" y="24361"/>
                    <a:pt x="14523" y="26616"/>
                    <a:pt x="18118" y="26488"/>
                  </a:cubicBezTo>
                  <a:cubicBezTo>
                    <a:pt x="20589" y="26709"/>
                    <a:pt x="22996" y="25618"/>
                    <a:pt x="24455" y="23613"/>
                  </a:cubicBezTo>
                  <a:cubicBezTo>
                    <a:pt x="24897" y="22734"/>
                    <a:pt x="25789" y="22172"/>
                    <a:pt x="26771" y="22148"/>
                  </a:cubicBezTo>
                  <a:lnTo>
                    <a:pt x="31058" y="22148"/>
                  </a:lnTo>
                  <a:cubicBezTo>
                    <a:pt x="32443" y="22148"/>
                    <a:pt x="33295" y="23027"/>
                    <a:pt x="32815" y="24358"/>
                  </a:cubicBezTo>
                  <a:cubicBezTo>
                    <a:pt x="30403" y="30267"/>
                    <a:pt x="24487" y="33975"/>
                    <a:pt x="18118" y="33571"/>
                  </a:cubicBezTo>
                  <a:cubicBezTo>
                    <a:pt x="8916" y="33826"/>
                    <a:pt x="1250" y="26573"/>
                    <a:pt x="994" y="17371"/>
                  </a:cubicBezTo>
                  <a:cubicBezTo>
                    <a:pt x="986" y="17036"/>
                    <a:pt x="986" y="16703"/>
                    <a:pt x="997" y="16370"/>
                  </a:cubicBezTo>
                  <a:cubicBezTo>
                    <a:pt x="765" y="7373"/>
                    <a:pt x="7869" y="-109"/>
                    <a:pt x="16866" y="-340"/>
                  </a:cubicBezTo>
                  <a:cubicBezTo>
                    <a:pt x="17284" y="-351"/>
                    <a:pt x="17702" y="-346"/>
                    <a:pt x="18118" y="-324"/>
                  </a:cubicBezTo>
                  <a:moveTo>
                    <a:pt x="12020" y="13362"/>
                  </a:moveTo>
                  <a:lnTo>
                    <a:pt x="23257" y="13362"/>
                  </a:lnTo>
                  <a:cubicBezTo>
                    <a:pt x="24508" y="13362"/>
                    <a:pt x="25280" y="12616"/>
                    <a:pt x="24774" y="11365"/>
                  </a:cubicBezTo>
                  <a:cubicBezTo>
                    <a:pt x="23707" y="8545"/>
                    <a:pt x="20999" y="6686"/>
                    <a:pt x="17985" y="6705"/>
                  </a:cubicBezTo>
                  <a:cubicBezTo>
                    <a:pt x="14859" y="6737"/>
                    <a:pt x="12007" y="8502"/>
                    <a:pt x="10582" y="11285"/>
                  </a:cubicBezTo>
                  <a:cubicBezTo>
                    <a:pt x="10023" y="12483"/>
                    <a:pt x="10716" y="13362"/>
                    <a:pt x="12020" y="13362"/>
                  </a:cubicBezTo>
                </a:path>
              </a:pathLst>
            </a:custGeom>
            <a:solidFill>
              <a:srgbClr val="FFFFFF"/>
            </a:solidFill>
            <a:ln w="2661" cap="flat">
              <a:noFill/>
              <a:prstDash val="solid"/>
              <a:miter/>
            </a:ln>
          </p:spPr>
          <p:txBody>
            <a:bodyPr rtlCol="0" anchor="ctr"/>
            <a:lstStyle/>
            <a:p>
              <a:endParaRPr lang="pl-PL"/>
            </a:p>
          </p:txBody>
        </p:sp>
        <p:sp>
          <p:nvSpPr>
            <p:cNvPr id="58" name="Freeform: Shape 57">
              <a:extLst>
                <a:ext uri="{FF2B5EF4-FFF2-40B4-BE49-F238E27FC236}">
                  <a16:creationId xmlns:a16="http://schemas.microsoft.com/office/drawing/2014/main" id="{F9AC8DA7-2BB2-4BD4-9977-CF8F2BAF94EF}"/>
                </a:ext>
              </a:extLst>
            </p:cNvPr>
            <p:cNvSpPr/>
            <p:nvPr/>
          </p:nvSpPr>
          <p:spPr>
            <a:xfrm>
              <a:off x="11619475" y="6750860"/>
              <a:ext cx="19631" cy="26558"/>
            </a:xfrm>
            <a:custGeom>
              <a:avLst/>
              <a:gdLst>
                <a:gd name="connsiteX0" fmla="*/ 997 w 34787"/>
                <a:gd name="connsiteY0" fmla="*/ 44632 h 47062"/>
                <a:gd name="connsiteX1" fmla="*/ 997 w 34787"/>
                <a:gd name="connsiteY1" fmla="*/ 2270 h 47062"/>
                <a:gd name="connsiteX2" fmla="*/ 2658 w 34787"/>
                <a:gd name="connsiteY2" fmla="*/ 273 h 47062"/>
                <a:gd name="connsiteX3" fmla="*/ 2994 w 34787"/>
                <a:gd name="connsiteY3" fmla="*/ 273 h 47062"/>
                <a:gd name="connsiteX4" fmla="*/ 5017 w 34787"/>
                <a:gd name="connsiteY4" fmla="*/ 273 h 47062"/>
                <a:gd name="connsiteX5" fmla="*/ 7280 w 34787"/>
                <a:gd name="connsiteY5" fmla="*/ 1897 h 47062"/>
                <a:gd name="connsiteX6" fmla="*/ 9597 w 34787"/>
                <a:gd name="connsiteY6" fmla="*/ 2589 h 47062"/>
                <a:gd name="connsiteX7" fmla="*/ 19209 w 34787"/>
                <a:gd name="connsiteY7" fmla="*/ -339 h 47062"/>
                <a:gd name="connsiteX8" fmla="*/ 35773 w 34787"/>
                <a:gd name="connsiteY8" fmla="*/ 16060 h 47062"/>
                <a:gd name="connsiteX9" fmla="*/ 35770 w 34787"/>
                <a:gd name="connsiteY9" fmla="*/ 16462 h 47062"/>
                <a:gd name="connsiteX10" fmla="*/ 19560 w 34787"/>
                <a:gd name="connsiteY10" fmla="*/ 33524 h 47062"/>
                <a:gd name="connsiteX11" fmla="*/ 19076 w 34787"/>
                <a:gd name="connsiteY11" fmla="*/ 33529 h 47062"/>
                <a:gd name="connsiteX12" fmla="*/ 11088 w 34787"/>
                <a:gd name="connsiteY12" fmla="*/ 31585 h 47062"/>
                <a:gd name="connsiteX13" fmla="*/ 9011 w 34787"/>
                <a:gd name="connsiteY13" fmla="*/ 32597 h 47062"/>
                <a:gd name="connsiteX14" fmla="*/ 9011 w 34787"/>
                <a:gd name="connsiteY14" fmla="*/ 44712 h 47062"/>
                <a:gd name="connsiteX15" fmla="*/ 7350 w 34787"/>
                <a:gd name="connsiteY15" fmla="*/ 46709 h 47062"/>
                <a:gd name="connsiteX16" fmla="*/ 7014 w 34787"/>
                <a:gd name="connsiteY16" fmla="*/ 46709 h 47062"/>
                <a:gd name="connsiteX17" fmla="*/ 3100 w 34787"/>
                <a:gd name="connsiteY17" fmla="*/ 46709 h 47062"/>
                <a:gd name="connsiteX18" fmla="*/ 1103 w 34787"/>
                <a:gd name="connsiteY18" fmla="*/ 45048 h 47062"/>
                <a:gd name="connsiteX19" fmla="*/ 1103 w 34787"/>
                <a:gd name="connsiteY19" fmla="*/ 44712 h 47062"/>
                <a:gd name="connsiteX20" fmla="*/ 10342 w 34787"/>
                <a:gd name="connsiteY20" fmla="*/ 22106 h 47062"/>
                <a:gd name="connsiteX21" fmla="*/ 18330 w 34787"/>
                <a:gd name="connsiteY21" fmla="*/ 26127 h 47062"/>
                <a:gd name="connsiteX22" fmla="*/ 27042 w 34787"/>
                <a:gd name="connsiteY22" fmla="*/ 16539 h 47062"/>
                <a:gd name="connsiteX23" fmla="*/ 27037 w 34787"/>
                <a:gd name="connsiteY23" fmla="*/ 16462 h 47062"/>
                <a:gd name="connsiteX24" fmla="*/ 18330 w 34787"/>
                <a:gd name="connsiteY24" fmla="*/ 7063 h 47062"/>
                <a:gd name="connsiteX25" fmla="*/ 10342 w 34787"/>
                <a:gd name="connsiteY25" fmla="*/ 11057 h 47062"/>
                <a:gd name="connsiteX26" fmla="*/ 9757 w 34787"/>
                <a:gd name="connsiteY26" fmla="*/ 13213 h 47062"/>
                <a:gd name="connsiteX27" fmla="*/ 9757 w 34787"/>
                <a:gd name="connsiteY27" fmla="*/ 19976 h 47062"/>
                <a:gd name="connsiteX28" fmla="*/ 10342 w 34787"/>
                <a:gd name="connsiteY28" fmla="*/ 22106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787" h="47062">
                  <a:moveTo>
                    <a:pt x="997" y="44632"/>
                  </a:moveTo>
                  <a:lnTo>
                    <a:pt x="997" y="2270"/>
                  </a:lnTo>
                  <a:cubicBezTo>
                    <a:pt x="903" y="1261"/>
                    <a:pt x="1649" y="366"/>
                    <a:pt x="2658" y="273"/>
                  </a:cubicBezTo>
                  <a:cubicBezTo>
                    <a:pt x="2770" y="262"/>
                    <a:pt x="2882" y="262"/>
                    <a:pt x="2994" y="273"/>
                  </a:cubicBezTo>
                  <a:lnTo>
                    <a:pt x="5017" y="273"/>
                  </a:lnTo>
                  <a:cubicBezTo>
                    <a:pt x="6064" y="201"/>
                    <a:pt x="7014" y="883"/>
                    <a:pt x="7280" y="1897"/>
                  </a:cubicBezTo>
                  <a:cubicBezTo>
                    <a:pt x="7600" y="3228"/>
                    <a:pt x="8532" y="3415"/>
                    <a:pt x="9597" y="2589"/>
                  </a:cubicBezTo>
                  <a:cubicBezTo>
                    <a:pt x="12395" y="592"/>
                    <a:pt x="15771" y="-435"/>
                    <a:pt x="19209" y="-339"/>
                  </a:cubicBezTo>
                  <a:cubicBezTo>
                    <a:pt x="28312" y="-385"/>
                    <a:pt x="35728" y="6956"/>
                    <a:pt x="35773" y="16060"/>
                  </a:cubicBezTo>
                  <a:cubicBezTo>
                    <a:pt x="35773" y="16193"/>
                    <a:pt x="35773" y="16329"/>
                    <a:pt x="35770" y="16462"/>
                  </a:cubicBezTo>
                  <a:cubicBezTo>
                    <a:pt x="36005" y="25650"/>
                    <a:pt x="28749" y="33289"/>
                    <a:pt x="19560" y="33524"/>
                  </a:cubicBezTo>
                  <a:cubicBezTo>
                    <a:pt x="19398" y="33529"/>
                    <a:pt x="19238" y="33529"/>
                    <a:pt x="19076" y="33529"/>
                  </a:cubicBezTo>
                  <a:cubicBezTo>
                    <a:pt x="16291" y="33582"/>
                    <a:pt x="13538" y="32914"/>
                    <a:pt x="11088" y="31585"/>
                  </a:cubicBezTo>
                  <a:cubicBezTo>
                    <a:pt x="9836" y="30840"/>
                    <a:pt x="9011" y="31213"/>
                    <a:pt x="9011" y="32597"/>
                  </a:cubicBezTo>
                  <a:lnTo>
                    <a:pt x="9011" y="44712"/>
                  </a:lnTo>
                  <a:cubicBezTo>
                    <a:pt x="9104" y="45721"/>
                    <a:pt x="8359" y="46616"/>
                    <a:pt x="7350" y="46709"/>
                  </a:cubicBezTo>
                  <a:cubicBezTo>
                    <a:pt x="7238" y="46720"/>
                    <a:pt x="7126" y="46720"/>
                    <a:pt x="7014" y="46709"/>
                  </a:cubicBezTo>
                  <a:lnTo>
                    <a:pt x="3100" y="46709"/>
                  </a:lnTo>
                  <a:cubicBezTo>
                    <a:pt x="2088" y="46802"/>
                    <a:pt x="1196" y="46057"/>
                    <a:pt x="1103" y="45048"/>
                  </a:cubicBezTo>
                  <a:cubicBezTo>
                    <a:pt x="1092" y="44936"/>
                    <a:pt x="1092" y="44824"/>
                    <a:pt x="1103" y="44712"/>
                  </a:cubicBezTo>
                  <a:moveTo>
                    <a:pt x="10342" y="22106"/>
                  </a:moveTo>
                  <a:cubicBezTo>
                    <a:pt x="12145" y="24721"/>
                    <a:pt x="15156" y="26236"/>
                    <a:pt x="18330" y="26127"/>
                  </a:cubicBezTo>
                  <a:cubicBezTo>
                    <a:pt x="23384" y="25885"/>
                    <a:pt x="27282" y="21592"/>
                    <a:pt x="27042" y="16539"/>
                  </a:cubicBezTo>
                  <a:cubicBezTo>
                    <a:pt x="27040" y="16515"/>
                    <a:pt x="27040" y="16488"/>
                    <a:pt x="27037" y="16462"/>
                  </a:cubicBezTo>
                  <a:cubicBezTo>
                    <a:pt x="27202" y="11472"/>
                    <a:pt x="23317" y="7278"/>
                    <a:pt x="18330" y="7063"/>
                  </a:cubicBezTo>
                  <a:cubicBezTo>
                    <a:pt x="15164" y="6964"/>
                    <a:pt x="12161" y="8466"/>
                    <a:pt x="10342" y="11057"/>
                  </a:cubicBezTo>
                  <a:cubicBezTo>
                    <a:pt x="9919" y="11693"/>
                    <a:pt x="9711" y="12449"/>
                    <a:pt x="9757" y="13213"/>
                  </a:cubicBezTo>
                  <a:lnTo>
                    <a:pt x="9757" y="19976"/>
                  </a:lnTo>
                  <a:cubicBezTo>
                    <a:pt x="9730" y="20730"/>
                    <a:pt x="9935" y="21473"/>
                    <a:pt x="10342" y="22106"/>
                  </a:cubicBezTo>
                </a:path>
              </a:pathLst>
            </a:custGeom>
            <a:solidFill>
              <a:srgbClr val="FFFFFF"/>
            </a:solidFill>
            <a:ln w="2661" cap="flat">
              <a:noFill/>
              <a:prstDash val="solid"/>
              <a:miter/>
            </a:ln>
          </p:spPr>
          <p:txBody>
            <a:bodyPr rtlCol="0" anchor="ctr"/>
            <a:lstStyle/>
            <a:p>
              <a:endParaRPr lang="pl-PL"/>
            </a:p>
          </p:txBody>
        </p:sp>
        <p:sp>
          <p:nvSpPr>
            <p:cNvPr id="59" name="Freeform: Shape 58">
              <a:extLst>
                <a:ext uri="{FF2B5EF4-FFF2-40B4-BE49-F238E27FC236}">
                  <a16:creationId xmlns:a16="http://schemas.microsoft.com/office/drawing/2014/main" id="{F7C757C5-19BA-4868-8474-BD5352F3CEBC}"/>
                </a:ext>
              </a:extLst>
            </p:cNvPr>
            <p:cNvSpPr/>
            <p:nvPr/>
          </p:nvSpPr>
          <p:spPr>
            <a:xfrm>
              <a:off x="11641544" y="6750833"/>
              <a:ext cx="16868" cy="19128"/>
            </a:xfrm>
            <a:custGeom>
              <a:avLst/>
              <a:gdLst>
                <a:gd name="connsiteX0" fmla="*/ 16181 w 29890"/>
                <a:gd name="connsiteY0" fmla="*/ -346 h 33895"/>
                <a:gd name="connsiteX1" fmla="*/ 30186 w 29890"/>
                <a:gd name="connsiteY1" fmla="*/ 9400 h 33895"/>
                <a:gd name="connsiteX2" fmla="*/ 28296 w 29890"/>
                <a:gd name="connsiteY2" fmla="*/ 11476 h 33895"/>
                <a:gd name="connsiteX3" fmla="*/ 24275 w 29890"/>
                <a:gd name="connsiteY3" fmla="*/ 11476 h 33895"/>
                <a:gd name="connsiteX4" fmla="*/ 22092 w 29890"/>
                <a:gd name="connsiteY4" fmla="*/ 9719 h 33895"/>
                <a:gd name="connsiteX5" fmla="*/ 16048 w 29890"/>
                <a:gd name="connsiteY5" fmla="*/ 6444 h 33895"/>
                <a:gd name="connsiteX6" fmla="*/ 10723 w 29890"/>
                <a:gd name="connsiteY6" fmla="*/ 9266 h 33895"/>
                <a:gd name="connsiteX7" fmla="*/ 30879 w 29890"/>
                <a:gd name="connsiteY7" fmla="*/ 23591 h 33895"/>
                <a:gd name="connsiteX8" fmla="*/ 16687 w 29890"/>
                <a:gd name="connsiteY8" fmla="*/ 33550 h 33895"/>
                <a:gd name="connsiteX9" fmla="*/ 1057 w 29890"/>
                <a:gd name="connsiteY9" fmla="*/ 23511 h 33895"/>
                <a:gd name="connsiteX10" fmla="*/ 2895 w 29890"/>
                <a:gd name="connsiteY10" fmla="*/ 21381 h 33895"/>
                <a:gd name="connsiteX11" fmla="*/ 7155 w 29890"/>
                <a:gd name="connsiteY11" fmla="*/ 21381 h 33895"/>
                <a:gd name="connsiteX12" fmla="*/ 9338 w 29890"/>
                <a:gd name="connsiteY12" fmla="*/ 23006 h 33895"/>
                <a:gd name="connsiteX13" fmla="*/ 16873 w 29890"/>
                <a:gd name="connsiteY13" fmla="*/ 26786 h 33895"/>
                <a:gd name="connsiteX14" fmla="*/ 22411 w 29890"/>
                <a:gd name="connsiteY14" fmla="*/ 23645 h 33895"/>
                <a:gd name="connsiteX15" fmla="*/ 2256 w 29890"/>
                <a:gd name="connsiteY15" fmla="*/ 9453 h 33895"/>
                <a:gd name="connsiteX16" fmla="*/ 16128 w 29890"/>
                <a:gd name="connsiteY16" fmla="*/ -346 h 3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890" h="33895">
                  <a:moveTo>
                    <a:pt x="16181" y="-346"/>
                  </a:moveTo>
                  <a:cubicBezTo>
                    <a:pt x="24169" y="-346"/>
                    <a:pt x="28855" y="3622"/>
                    <a:pt x="30186" y="9400"/>
                  </a:cubicBezTo>
                  <a:cubicBezTo>
                    <a:pt x="30479" y="10704"/>
                    <a:pt x="29681" y="11476"/>
                    <a:pt x="28296" y="11476"/>
                  </a:cubicBezTo>
                  <a:lnTo>
                    <a:pt x="24275" y="11476"/>
                  </a:lnTo>
                  <a:cubicBezTo>
                    <a:pt x="23077" y="11476"/>
                    <a:pt x="22518" y="10837"/>
                    <a:pt x="22092" y="9719"/>
                  </a:cubicBezTo>
                  <a:cubicBezTo>
                    <a:pt x="21320" y="7642"/>
                    <a:pt x="19429" y="6444"/>
                    <a:pt x="16048" y="6444"/>
                  </a:cubicBezTo>
                  <a:cubicBezTo>
                    <a:pt x="12666" y="6444"/>
                    <a:pt x="10723" y="7562"/>
                    <a:pt x="10723" y="9266"/>
                  </a:cubicBezTo>
                  <a:cubicBezTo>
                    <a:pt x="10723" y="15364"/>
                    <a:pt x="30879" y="10971"/>
                    <a:pt x="30879" y="23591"/>
                  </a:cubicBezTo>
                  <a:cubicBezTo>
                    <a:pt x="30879" y="29982"/>
                    <a:pt x="25048" y="33550"/>
                    <a:pt x="16687" y="33550"/>
                  </a:cubicBezTo>
                  <a:cubicBezTo>
                    <a:pt x="8326" y="33550"/>
                    <a:pt x="2389" y="29928"/>
                    <a:pt x="1057" y="23511"/>
                  </a:cubicBezTo>
                  <a:cubicBezTo>
                    <a:pt x="738" y="22127"/>
                    <a:pt x="1563" y="21381"/>
                    <a:pt x="2895" y="21381"/>
                  </a:cubicBezTo>
                  <a:lnTo>
                    <a:pt x="7155" y="21381"/>
                  </a:lnTo>
                  <a:cubicBezTo>
                    <a:pt x="8172" y="21347"/>
                    <a:pt x="9077" y="22020"/>
                    <a:pt x="9338" y="23006"/>
                  </a:cubicBezTo>
                  <a:cubicBezTo>
                    <a:pt x="10858" y="25668"/>
                    <a:pt x="13830" y="27159"/>
                    <a:pt x="16873" y="26786"/>
                  </a:cubicBezTo>
                  <a:cubicBezTo>
                    <a:pt x="20281" y="26786"/>
                    <a:pt x="22411" y="25721"/>
                    <a:pt x="22411" y="23645"/>
                  </a:cubicBezTo>
                  <a:cubicBezTo>
                    <a:pt x="22411" y="17494"/>
                    <a:pt x="2256" y="22127"/>
                    <a:pt x="2256" y="9453"/>
                  </a:cubicBezTo>
                  <a:cubicBezTo>
                    <a:pt x="2256" y="3808"/>
                    <a:pt x="7101" y="-346"/>
                    <a:pt x="16128" y="-346"/>
                  </a:cubicBezTo>
                </a:path>
              </a:pathLst>
            </a:custGeom>
            <a:solidFill>
              <a:srgbClr val="FFFFFF"/>
            </a:solidFill>
            <a:ln w="2661" cap="flat">
              <a:noFill/>
              <a:prstDash val="solid"/>
              <a:miter/>
            </a:ln>
          </p:spPr>
          <p:txBody>
            <a:bodyPr rtlCol="0" anchor="ctr"/>
            <a:lstStyle/>
            <a:p>
              <a:endParaRPr lang="pl-PL"/>
            </a:p>
          </p:txBody>
        </p:sp>
        <p:sp>
          <p:nvSpPr>
            <p:cNvPr id="60" name="Freeform: Shape 59">
              <a:extLst>
                <a:ext uri="{FF2B5EF4-FFF2-40B4-BE49-F238E27FC236}">
                  <a16:creationId xmlns:a16="http://schemas.microsoft.com/office/drawing/2014/main" id="{98D5D22E-FB08-44EA-B3B7-E066263D9FC0}"/>
                </a:ext>
              </a:extLst>
            </p:cNvPr>
            <p:cNvSpPr/>
            <p:nvPr/>
          </p:nvSpPr>
          <p:spPr>
            <a:xfrm>
              <a:off x="11661657" y="6742209"/>
              <a:ext cx="6551" cy="27381"/>
            </a:xfrm>
            <a:custGeom>
              <a:avLst/>
              <a:gdLst>
                <a:gd name="connsiteX0" fmla="*/ 989 w 11609"/>
                <a:gd name="connsiteY0" fmla="*/ 5352 h 48520"/>
                <a:gd name="connsiteX1" fmla="*/ 6687 w 11609"/>
                <a:gd name="connsiteY1" fmla="*/ -346 h 48520"/>
                <a:gd name="connsiteX2" fmla="*/ 6767 w 11609"/>
                <a:gd name="connsiteY2" fmla="*/ -346 h 48520"/>
                <a:gd name="connsiteX3" fmla="*/ 12598 w 11609"/>
                <a:gd name="connsiteY3" fmla="*/ 5352 h 48520"/>
                <a:gd name="connsiteX4" fmla="*/ 6767 w 11609"/>
                <a:gd name="connsiteY4" fmla="*/ 11263 h 48520"/>
                <a:gd name="connsiteX5" fmla="*/ 989 w 11609"/>
                <a:gd name="connsiteY5" fmla="*/ 5432 h 48520"/>
                <a:gd name="connsiteX6" fmla="*/ 989 w 11609"/>
                <a:gd name="connsiteY6" fmla="*/ 5352 h 48520"/>
                <a:gd name="connsiteX7" fmla="*/ 10734 w 11609"/>
                <a:gd name="connsiteY7" fmla="*/ 17521 h 48520"/>
                <a:gd name="connsiteX8" fmla="*/ 10734 w 11609"/>
                <a:gd name="connsiteY8" fmla="*/ 46144 h 48520"/>
                <a:gd name="connsiteX9" fmla="*/ 9046 w 11609"/>
                <a:gd name="connsiteY9" fmla="*/ 48167 h 48520"/>
                <a:gd name="connsiteX10" fmla="*/ 8710 w 11609"/>
                <a:gd name="connsiteY10" fmla="*/ 48167 h 48520"/>
                <a:gd name="connsiteX11" fmla="*/ 3998 w 11609"/>
                <a:gd name="connsiteY11" fmla="*/ 48167 h 48520"/>
                <a:gd name="connsiteX12" fmla="*/ 1998 w 11609"/>
                <a:gd name="connsiteY12" fmla="*/ 46450 h 48520"/>
                <a:gd name="connsiteX13" fmla="*/ 2001 w 11609"/>
                <a:gd name="connsiteY13" fmla="*/ 46144 h 48520"/>
                <a:gd name="connsiteX14" fmla="*/ 2001 w 11609"/>
                <a:gd name="connsiteY14" fmla="*/ 17600 h 48520"/>
                <a:gd name="connsiteX15" fmla="*/ 3662 w 11609"/>
                <a:gd name="connsiteY15" fmla="*/ 15603 h 48520"/>
                <a:gd name="connsiteX16" fmla="*/ 3998 w 11609"/>
                <a:gd name="connsiteY16" fmla="*/ 15603 h 48520"/>
                <a:gd name="connsiteX17" fmla="*/ 8710 w 11609"/>
                <a:gd name="connsiteY17" fmla="*/ 15603 h 48520"/>
                <a:gd name="connsiteX18" fmla="*/ 10731 w 11609"/>
                <a:gd name="connsiteY18" fmla="*/ 17294 h 48520"/>
                <a:gd name="connsiteX19" fmla="*/ 10734 w 11609"/>
                <a:gd name="connsiteY19" fmla="*/ 17600 h 48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09" h="48520">
                  <a:moveTo>
                    <a:pt x="989" y="5352"/>
                  </a:moveTo>
                  <a:cubicBezTo>
                    <a:pt x="989" y="2205"/>
                    <a:pt x="3540" y="-346"/>
                    <a:pt x="6687" y="-346"/>
                  </a:cubicBezTo>
                  <a:cubicBezTo>
                    <a:pt x="6713" y="-346"/>
                    <a:pt x="6740" y="-346"/>
                    <a:pt x="6767" y="-346"/>
                  </a:cubicBezTo>
                  <a:cubicBezTo>
                    <a:pt x="9935" y="-346"/>
                    <a:pt x="12526" y="2184"/>
                    <a:pt x="12598" y="5352"/>
                  </a:cubicBezTo>
                  <a:cubicBezTo>
                    <a:pt x="12598" y="8585"/>
                    <a:pt x="9999" y="11221"/>
                    <a:pt x="6767" y="11263"/>
                  </a:cubicBezTo>
                  <a:cubicBezTo>
                    <a:pt x="3561" y="11250"/>
                    <a:pt x="973" y="8638"/>
                    <a:pt x="989" y="5432"/>
                  </a:cubicBezTo>
                  <a:cubicBezTo>
                    <a:pt x="989" y="5406"/>
                    <a:pt x="989" y="5379"/>
                    <a:pt x="989" y="5352"/>
                  </a:cubicBezTo>
                  <a:moveTo>
                    <a:pt x="10734" y="17521"/>
                  </a:moveTo>
                  <a:lnTo>
                    <a:pt x="10734" y="46144"/>
                  </a:lnTo>
                  <a:cubicBezTo>
                    <a:pt x="10827" y="47169"/>
                    <a:pt x="10071" y="48074"/>
                    <a:pt x="9046" y="48167"/>
                  </a:cubicBezTo>
                  <a:cubicBezTo>
                    <a:pt x="8934" y="48178"/>
                    <a:pt x="8822" y="48178"/>
                    <a:pt x="8710" y="48167"/>
                  </a:cubicBezTo>
                  <a:lnTo>
                    <a:pt x="3998" y="48167"/>
                  </a:lnTo>
                  <a:cubicBezTo>
                    <a:pt x="2972" y="48244"/>
                    <a:pt x="2075" y="47475"/>
                    <a:pt x="1998" y="46450"/>
                  </a:cubicBezTo>
                  <a:cubicBezTo>
                    <a:pt x="1990" y="46349"/>
                    <a:pt x="1993" y="46245"/>
                    <a:pt x="2001" y="46144"/>
                  </a:cubicBezTo>
                  <a:lnTo>
                    <a:pt x="2001" y="17600"/>
                  </a:lnTo>
                  <a:cubicBezTo>
                    <a:pt x="1907" y="16591"/>
                    <a:pt x="2653" y="15697"/>
                    <a:pt x="3662" y="15603"/>
                  </a:cubicBezTo>
                  <a:cubicBezTo>
                    <a:pt x="3774" y="15593"/>
                    <a:pt x="3886" y="15593"/>
                    <a:pt x="3998" y="15603"/>
                  </a:cubicBezTo>
                  <a:lnTo>
                    <a:pt x="8710" y="15603"/>
                  </a:lnTo>
                  <a:cubicBezTo>
                    <a:pt x="9735" y="15513"/>
                    <a:pt x="10641" y="16269"/>
                    <a:pt x="10731" y="17294"/>
                  </a:cubicBezTo>
                  <a:cubicBezTo>
                    <a:pt x="10742" y="17395"/>
                    <a:pt x="10742" y="17499"/>
                    <a:pt x="10734" y="17600"/>
                  </a:cubicBezTo>
                </a:path>
              </a:pathLst>
            </a:custGeom>
            <a:solidFill>
              <a:srgbClr val="FFFFFF"/>
            </a:solidFill>
            <a:ln w="2661" cap="flat">
              <a:noFill/>
              <a:prstDash val="solid"/>
              <a:miter/>
            </a:ln>
          </p:spPr>
          <p:txBody>
            <a:bodyPr rtlCol="0" anchor="ctr"/>
            <a:lstStyle/>
            <a:p>
              <a:endParaRPr lang="pl-PL"/>
            </a:p>
          </p:txBody>
        </p:sp>
        <p:sp>
          <p:nvSpPr>
            <p:cNvPr id="61" name="Freeform: Shape 60">
              <a:extLst>
                <a:ext uri="{FF2B5EF4-FFF2-40B4-BE49-F238E27FC236}">
                  <a16:creationId xmlns:a16="http://schemas.microsoft.com/office/drawing/2014/main" id="{8BBEA2C4-CD94-438E-8B8E-EF74F30D584E}"/>
                </a:ext>
              </a:extLst>
            </p:cNvPr>
            <p:cNvSpPr/>
            <p:nvPr/>
          </p:nvSpPr>
          <p:spPr>
            <a:xfrm>
              <a:off x="11670912" y="6750850"/>
              <a:ext cx="18928" cy="19154"/>
            </a:xfrm>
            <a:custGeom>
              <a:avLst/>
              <a:gdLst>
                <a:gd name="connsiteX0" fmla="*/ 25781 w 33540"/>
                <a:gd name="connsiteY0" fmla="*/ 11128 h 33942"/>
                <a:gd name="connsiteX1" fmla="*/ 18672 w 33540"/>
                <a:gd name="connsiteY1" fmla="*/ 7001 h 33942"/>
                <a:gd name="connsiteX2" fmla="*/ 9850 w 33540"/>
                <a:gd name="connsiteY2" fmla="*/ 15699 h 33942"/>
                <a:gd name="connsiteX3" fmla="*/ 9885 w 33540"/>
                <a:gd name="connsiteY3" fmla="*/ 16533 h 33942"/>
                <a:gd name="connsiteX4" fmla="*/ 17838 w 33540"/>
                <a:gd name="connsiteY4" fmla="*/ 26030 h 33942"/>
                <a:gd name="connsiteX5" fmla="*/ 18618 w 33540"/>
                <a:gd name="connsiteY5" fmla="*/ 26065 h 33942"/>
                <a:gd name="connsiteX6" fmla="*/ 25514 w 33540"/>
                <a:gd name="connsiteY6" fmla="*/ 22364 h 33942"/>
                <a:gd name="connsiteX7" fmla="*/ 27778 w 33540"/>
                <a:gd name="connsiteY7" fmla="*/ 20793 h 33942"/>
                <a:gd name="connsiteX8" fmla="*/ 32411 w 33540"/>
                <a:gd name="connsiteY8" fmla="*/ 20793 h 33942"/>
                <a:gd name="connsiteX9" fmla="*/ 34301 w 33540"/>
                <a:gd name="connsiteY9" fmla="*/ 22923 h 33942"/>
                <a:gd name="connsiteX10" fmla="*/ 18805 w 33540"/>
                <a:gd name="connsiteY10" fmla="*/ 33573 h 33942"/>
                <a:gd name="connsiteX11" fmla="*/ 1013 w 33540"/>
                <a:gd name="connsiteY11" fmla="*/ 17545 h 33942"/>
                <a:gd name="connsiteX12" fmla="*/ 992 w 33540"/>
                <a:gd name="connsiteY12" fmla="*/ 16373 h 33942"/>
                <a:gd name="connsiteX13" fmla="*/ 17503 w 33540"/>
                <a:gd name="connsiteY13" fmla="*/ -346 h 33942"/>
                <a:gd name="connsiteX14" fmla="*/ 18485 w 33540"/>
                <a:gd name="connsiteY14" fmla="*/ -322 h 33942"/>
                <a:gd name="connsiteX15" fmla="*/ 34461 w 33540"/>
                <a:gd name="connsiteY15" fmla="*/ 10728 h 33942"/>
                <a:gd name="connsiteX16" fmla="*/ 33324 w 33540"/>
                <a:gd name="connsiteY16" fmla="*/ 12810 h 33942"/>
                <a:gd name="connsiteX17" fmla="*/ 32597 w 33540"/>
                <a:gd name="connsiteY17" fmla="*/ 12858 h 33942"/>
                <a:gd name="connsiteX18" fmla="*/ 28124 w 33540"/>
                <a:gd name="connsiteY18" fmla="*/ 12858 h 33942"/>
                <a:gd name="connsiteX19" fmla="*/ 25887 w 33540"/>
                <a:gd name="connsiteY19" fmla="*/ 11234 h 33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3540" h="33942">
                  <a:moveTo>
                    <a:pt x="25781" y="11128"/>
                  </a:moveTo>
                  <a:cubicBezTo>
                    <a:pt x="24463" y="8441"/>
                    <a:pt x="21656" y="6814"/>
                    <a:pt x="18672" y="7001"/>
                  </a:cubicBezTo>
                  <a:cubicBezTo>
                    <a:pt x="13834" y="6966"/>
                    <a:pt x="9885" y="10861"/>
                    <a:pt x="9850" y="15699"/>
                  </a:cubicBezTo>
                  <a:cubicBezTo>
                    <a:pt x="9850" y="15979"/>
                    <a:pt x="9861" y="16256"/>
                    <a:pt x="9885" y="16533"/>
                  </a:cubicBezTo>
                  <a:cubicBezTo>
                    <a:pt x="9459" y="21352"/>
                    <a:pt x="13019" y="25604"/>
                    <a:pt x="17838" y="26030"/>
                  </a:cubicBezTo>
                  <a:cubicBezTo>
                    <a:pt x="18099" y="26054"/>
                    <a:pt x="18357" y="26065"/>
                    <a:pt x="18618" y="26065"/>
                  </a:cubicBezTo>
                  <a:cubicBezTo>
                    <a:pt x="21441" y="26281"/>
                    <a:pt x="24133" y="24835"/>
                    <a:pt x="25514" y="22364"/>
                  </a:cubicBezTo>
                  <a:cubicBezTo>
                    <a:pt x="25869" y="21421"/>
                    <a:pt x="26771" y="20796"/>
                    <a:pt x="27778" y="20793"/>
                  </a:cubicBezTo>
                  <a:lnTo>
                    <a:pt x="32411" y="20793"/>
                  </a:lnTo>
                  <a:cubicBezTo>
                    <a:pt x="33742" y="20793"/>
                    <a:pt x="34621" y="21618"/>
                    <a:pt x="34301" y="22923"/>
                  </a:cubicBezTo>
                  <a:cubicBezTo>
                    <a:pt x="32810" y="29340"/>
                    <a:pt x="26313" y="33573"/>
                    <a:pt x="18805" y="33573"/>
                  </a:cubicBezTo>
                  <a:cubicBezTo>
                    <a:pt x="9464" y="34061"/>
                    <a:pt x="1498" y="26882"/>
                    <a:pt x="1013" y="17545"/>
                  </a:cubicBezTo>
                  <a:cubicBezTo>
                    <a:pt x="992" y="17153"/>
                    <a:pt x="984" y="16764"/>
                    <a:pt x="992" y="16373"/>
                  </a:cubicBezTo>
                  <a:cubicBezTo>
                    <a:pt x="936" y="7198"/>
                    <a:pt x="8327" y="-287"/>
                    <a:pt x="17503" y="-346"/>
                  </a:cubicBezTo>
                  <a:cubicBezTo>
                    <a:pt x="17830" y="-346"/>
                    <a:pt x="18158" y="-340"/>
                    <a:pt x="18485" y="-322"/>
                  </a:cubicBezTo>
                  <a:cubicBezTo>
                    <a:pt x="27724" y="-322"/>
                    <a:pt x="32996" y="4578"/>
                    <a:pt x="34461" y="10728"/>
                  </a:cubicBezTo>
                  <a:cubicBezTo>
                    <a:pt x="34722" y="11618"/>
                    <a:pt x="34213" y="12549"/>
                    <a:pt x="33324" y="12810"/>
                  </a:cubicBezTo>
                  <a:cubicBezTo>
                    <a:pt x="33087" y="12880"/>
                    <a:pt x="32839" y="12896"/>
                    <a:pt x="32597" y="12858"/>
                  </a:cubicBezTo>
                  <a:lnTo>
                    <a:pt x="28124" y="12858"/>
                  </a:lnTo>
                  <a:cubicBezTo>
                    <a:pt x="27006" y="12858"/>
                    <a:pt x="26446" y="12299"/>
                    <a:pt x="25887" y="11234"/>
                  </a:cubicBezTo>
                </a:path>
              </a:pathLst>
            </a:custGeom>
            <a:solidFill>
              <a:srgbClr val="FFFFFF"/>
            </a:solidFill>
            <a:ln w="2661" cap="flat">
              <a:noFill/>
              <a:prstDash val="solid"/>
              <a:miter/>
            </a:ln>
          </p:spPr>
          <p:txBody>
            <a:bodyPr rtlCol="0" anchor="ctr"/>
            <a:lstStyle/>
            <a:p>
              <a:endParaRPr lang="pl-PL"/>
            </a:p>
          </p:txBody>
        </p:sp>
        <p:sp>
          <p:nvSpPr>
            <p:cNvPr id="62" name="Freeform: Shape 61">
              <a:extLst>
                <a:ext uri="{FF2B5EF4-FFF2-40B4-BE49-F238E27FC236}">
                  <a16:creationId xmlns:a16="http://schemas.microsoft.com/office/drawing/2014/main" id="{1D44E4D9-67B4-4C6F-A549-2DE06DD2FEA5}"/>
                </a:ext>
              </a:extLst>
            </p:cNvPr>
            <p:cNvSpPr/>
            <p:nvPr/>
          </p:nvSpPr>
          <p:spPr>
            <a:xfrm>
              <a:off x="11692340" y="6750833"/>
              <a:ext cx="20150" cy="19139"/>
            </a:xfrm>
            <a:custGeom>
              <a:avLst/>
              <a:gdLst>
                <a:gd name="connsiteX0" fmla="*/ 18856 w 35707"/>
                <a:gd name="connsiteY0" fmla="*/ -346 h 33914"/>
                <a:gd name="connsiteX1" fmla="*/ 36695 w 35707"/>
                <a:gd name="connsiteY1" fmla="*/ 16349 h 33914"/>
                <a:gd name="connsiteX2" fmla="*/ 19833 w 35707"/>
                <a:gd name="connsiteY2" fmla="*/ 33568 h 33914"/>
                <a:gd name="connsiteX3" fmla="*/ 18856 w 35707"/>
                <a:gd name="connsiteY3" fmla="*/ 33550 h 33914"/>
                <a:gd name="connsiteX4" fmla="*/ 1008 w 35707"/>
                <a:gd name="connsiteY4" fmla="*/ 17300 h 33914"/>
                <a:gd name="connsiteX5" fmla="*/ 989 w 35707"/>
                <a:gd name="connsiteY5" fmla="*/ 16349 h 33914"/>
                <a:gd name="connsiteX6" fmla="*/ 18856 w 35707"/>
                <a:gd name="connsiteY6" fmla="*/ -346 h 33914"/>
                <a:gd name="connsiteX7" fmla="*/ 18856 w 35707"/>
                <a:gd name="connsiteY7" fmla="*/ 26147 h 33914"/>
                <a:gd name="connsiteX8" fmla="*/ 28028 w 35707"/>
                <a:gd name="connsiteY8" fmla="*/ 17214 h 33914"/>
                <a:gd name="connsiteX9" fmla="*/ 28015 w 35707"/>
                <a:gd name="connsiteY9" fmla="*/ 16615 h 33914"/>
                <a:gd name="connsiteX10" fmla="*/ 19455 w 35707"/>
                <a:gd name="connsiteY10" fmla="*/ 7096 h 33914"/>
                <a:gd name="connsiteX11" fmla="*/ 18856 w 35707"/>
                <a:gd name="connsiteY11" fmla="*/ 7083 h 33914"/>
                <a:gd name="connsiteX12" fmla="*/ 9683 w 35707"/>
                <a:gd name="connsiteY12" fmla="*/ 15960 h 33914"/>
                <a:gd name="connsiteX13" fmla="*/ 9696 w 35707"/>
                <a:gd name="connsiteY13" fmla="*/ 16615 h 33914"/>
                <a:gd name="connsiteX14" fmla="*/ 18200 w 35707"/>
                <a:gd name="connsiteY14" fmla="*/ 26134 h 33914"/>
                <a:gd name="connsiteX15" fmla="*/ 18856 w 35707"/>
                <a:gd name="connsiteY15" fmla="*/ 26147 h 33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07" h="33914">
                  <a:moveTo>
                    <a:pt x="18856" y="-346"/>
                  </a:moveTo>
                  <a:cubicBezTo>
                    <a:pt x="29346" y="-346"/>
                    <a:pt x="36695" y="7003"/>
                    <a:pt x="36695" y="16349"/>
                  </a:cubicBezTo>
                  <a:cubicBezTo>
                    <a:pt x="36794" y="25759"/>
                    <a:pt x="29245" y="33470"/>
                    <a:pt x="19833" y="33568"/>
                  </a:cubicBezTo>
                  <a:cubicBezTo>
                    <a:pt x="19508" y="33571"/>
                    <a:pt x="19180" y="33565"/>
                    <a:pt x="18856" y="33550"/>
                  </a:cubicBezTo>
                  <a:cubicBezTo>
                    <a:pt x="9440" y="33991"/>
                    <a:pt x="1450" y="26717"/>
                    <a:pt x="1008" y="17300"/>
                  </a:cubicBezTo>
                  <a:cubicBezTo>
                    <a:pt x="992" y="16983"/>
                    <a:pt x="987" y="16666"/>
                    <a:pt x="989" y="16349"/>
                  </a:cubicBezTo>
                  <a:cubicBezTo>
                    <a:pt x="989" y="7003"/>
                    <a:pt x="8391" y="-346"/>
                    <a:pt x="18856" y="-346"/>
                  </a:cubicBezTo>
                  <a:moveTo>
                    <a:pt x="18856" y="26147"/>
                  </a:moveTo>
                  <a:cubicBezTo>
                    <a:pt x="23856" y="26214"/>
                    <a:pt x="27962" y="22215"/>
                    <a:pt x="28028" y="17214"/>
                  </a:cubicBezTo>
                  <a:cubicBezTo>
                    <a:pt x="28031" y="17015"/>
                    <a:pt x="28026" y="16815"/>
                    <a:pt x="28015" y="16615"/>
                  </a:cubicBezTo>
                  <a:cubicBezTo>
                    <a:pt x="28281" y="11623"/>
                    <a:pt x="24447" y="7360"/>
                    <a:pt x="19455" y="7096"/>
                  </a:cubicBezTo>
                  <a:cubicBezTo>
                    <a:pt x="19255" y="7086"/>
                    <a:pt x="19055" y="7080"/>
                    <a:pt x="18856" y="7083"/>
                  </a:cubicBezTo>
                  <a:cubicBezTo>
                    <a:pt x="13871" y="7001"/>
                    <a:pt x="9765" y="10976"/>
                    <a:pt x="9683" y="15960"/>
                  </a:cubicBezTo>
                  <a:cubicBezTo>
                    <a:pt x="9680" y="16179"/>
                    <a:pt x="9683" y="16397"/>
                    <a:pt x="9696" y="16615"/>
                  </a:cubicBezTo>
                  <a:cubicBezTo>
                    <a:pt x="9417" y="21592"/>
                    <a:pt x="13224" y="25855"/>
                    <a:pt x="18200" y="26134"/>
                  </a:cubicBezTo>
                  <a:cubicBezTo>
                    <a:pt x="18419" y="26147"/>
                    <a:pt x="18637" y="26150"/>
                    <a:pt x="18856" y="26147"/>
                  </a:cubicBezTo>
                </a:path>
              </a:pathLst>
            </a:custGeom>
            <a:solidFill>
              <a:srgbClr val="FFFFFF"/>
            </a:solidFill>
            <a:ln w="2661" cap="flat">
              <a:noFill/>
              <a:prstDash val="solid"/>
              <a:miter/>
            </a:ln>
          </p:spPr>
          <p:txBody>
            <a:bodyPr rtlCol="0" anchor="ctr"/>
            <a:lstStyle/>
            <a:p>
              <a:endParaRPr lang="pl-PL"/>
            </a:p>
          </p:txBody>
        </p:sp>
        <p:sp>
          <p:nvSpPr>
            <p:cNvPr id="63" name="Freeform: Shape 62">
              <a:extLst>
                <a:ext uri="{FF2B5EF4-FFF2-40B4-BE49-F238E27FC236}">
                  <a16:creationId xmlns:a16="http://schemas.microsoft.com/office/drawing/2014/main" id="{787F559A-4661-4579-841C-23B8ADC1D172}"/>
                </a:ext>
              </a:extLst>
            </p:cNvPr>
            <p:cNvSpPr/>
            <p:nvPr/>
          </p:nvSpPr>
          <p:spPr>
            <a:xfrm>
              <a:off x="11719549" y="6750860"/>
              <a:ext cx="19630" cy="26558"/>
            </a:xfrm>
            <a:custGeom>
              <a:avLst/>
              <a:gdLst>
                <a:gd name="connsiteX0" fmla="*/ 994 w 34784"/>
                <a:gd name="connsiteY0" fmla="*/ 44632 h 47062"/>
                <a:gd name="connsiteX1" fmla="*/ 994 w 34784"/>
                <a:gd name="connsiteY1" fmla="*/ 2270 h 47062"/>
                <a:gd name="connsiteX2" fmla="*/ 2711 w 34784"/>
                <a:gd name="connsiteY2" fmla="*/ 270 h 47062"/>
                <a:gd name="connsiteX3" fmla="*/ 3018 w 34784"/>
                <a:gd name="connsiteY3" fmla="*/ 273 h 47062"/>
                <a:gd name="connsiteX4" fmla="*/ 5015 w 34784"/>
                <a:gd name="connsiteY4" fmla="*/ 273 h 47062"/>
                <a:gd name="connsiteX5" fmla="*/ 7278 w 34784"/>
                <a:gd name="connsiteY5" fmla="*/ 1897 h 47062"/>
                <a:gd name="connsiteX6" fmla="*/ 9594 w 34784"/>
                <a:gd name="connsiteY6" fmla="*/ 2589 h 47062"/>
                <a:gd name="connsiteX7" fmla="*/ 19206 w 34784"/>
                <a:gd name="connsiteY7" fmla="*/ -339 h 47062"/>
                <a:gd name="connsiteX8" fmla="*/ 35771 w 34784"/>
                <a:gd name="connsiteY8" fmla="*/ 16060 h 47062"/>
                <a:gd name="connsiteX9" fmla="*/ 35768 w 34784"/>
                <a:gd name="connsiteY9" fmla="*/ 16462 h 47062"/>
                <a:gd name="connsiteX10" fmla="*/ 19558 w 34784"/>
                <a:gd name="connsiteY10" fmla="*/ 33524 h 47062"/>
                <a:gd name="connsiteX11" fmla="*/ 19073 w 34784"/>
                <a:gd name="connsiteY11" fmla="*/ 33529 h 47062"/>
                <a:gd name="connsiteX12" fmla="*/ 11085 w 34784"/>
                <a:gd name="connsiteY12" fmla="*/ 31585 h 47062"/>
                <a:gd name="connsiteX13" fmla="*/ 9009 w 34784"/>
                <a:gd name="connsiteY13" fmla="*/ 32597 h 47062"/>
                <a:gd name="connsiteX14" fmla="*/ 9009 w 34784"/>
                <a:gd name="connsiteY14" fmla="*/ 44712 h 47062"/>
                <a:gd name="connsiteX15" fmla="*/ 7347 w 34784"/>
                <a:gd name="connsiteY15" fmla="*/ 46709 h 47062"/>
                <a:gd name="connsiteX16" fmla="*/ 7012 w 34784"/>
                <a:gd name="connsiteY16" fmla="*/ 46709 h 47062"/>
                <a:gd name="connsiteX17" fmla="*/ 3124 w 34784"/>
                <a:gd name="connsiteY17" fmla="*/ 46709 h 47062"/>
                <a:gd name="connsiteX18" fmla="*/ 1103 w 34784"/>
                <a:gd name="connsiteY18" fmla="*/ 45018 h 47062"/>
                <a:gd name="connsiteX19" fmla="*/ 1101 w 34784"/>
                <a:gd name="connsiteY19" fmla="*/ 44712 h 47062"/>
                <a:gd name="connsiteX20" fmla="*/ 10340 w 34784"/>
                <a:gd name="connsiteY20" fmla="*/ 22106 h 47062"/>
                <a:gd name="connsiteX21" fmla="*/ 18328 w 34784"/>
                <a:gd name="connsiteY21" fmla="*/ 26127 h 47062"/>
                <a:gd name="connsiteX22" fmla="*/ 27064 w 34784"/>
                <a:gd name="connsiteY22" fmla="*/ 16512 h 47062"/>
                <a:gd name="connsiteX23" fmla="*/ 27061 w 34784"/>
                <a:gd name="connsiteY23" fmla="*/ 16462 h 47062"/>
                <a:gd name="connsiteX24" fmla="*/ 18328 w 34784"/>
                <a:gd name="connsiteY24" fmla="*/ 7063 h 47062"/>
                <a:gd name="connsiteX25" fmla="*/ 10340 w 34784"/>
                <a:gd name="connsiteY25" fmla="*/ 11057 h 47062"/>
                <a:gd name="connsiteX26" fmla="*/ 9781 w 34784"/>
                <a:gd name="connsiteY26" fmla="*/ 13213 h 47062"/>
                <a:gd name="connsiteX27" fmla="*/ 9781 w 34784"/>
                <a:gd name="connsiteY27" fmla="*/ 19976 h 47062"/>
                <a:gd name="connsiteX28" fmla="*/ 10340 w 34784"/>
                <a:gd name="connsiteY28" fmla="*/ 22106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784" h="47062">
                  <a:moveTo>
                    <a:pt x="994" y="44632"/>
                  </a:moveTo>
                  <a:lnTo>
                    <a:pt x="994" y="2270"/>
                  </a:lnTo>
                  <a:cubicBezTo>
                    <a:pt x="917" y="1245"/>
                    <a:pt x="1686" y="348"/>
                    <a:pt x="2711" y="270"/>
                  </a:cubicBezTo>
                  <a:cubicBezTo>
                    <a:pt x="2813" y="262"/>
                    <a:pt x="2917" y="265"/>
                    <a:pt x="3018" y="273"/>
                  </a:cubicBezTo>
                  <a:lnTo>
                    <a:pt x="5015" y="273"/>
                  </a:lnTo>
                  <a:cubicBezTo>
                    <a:pt x="6064" y="190"/>
                    <a:pt x="7022" y="875"/>
                    <a:pt x="7278" y="1897"/>
                  </a:cubicBezTo>
                  <a:cubicBezTo>
                    <a:pt x="7597" y="3228"/>
                    <a:pt x="8529" y="3415"/>
                    <a:pt x="9594" y="2589"/>
                  </a:cubicBezTo>
                  <a:cubicBezTo>
                    <a:pt x="12393" y="592"/>
                    <a:pt x="15769" y="-435"/>
                    <a:pt x="19206" y="-339"/>
                  </a:cubicBezTo>
                  <a:cubicBezTo>
                    <a:pt x="28310" y="-385"/>
                    <a:pt x="35725" y="6956"/>
                    <a:pt x="35771" y="16060"/>
                  </a:cubicBezTo>
                  <a:cubicBezTo>
                    <a:pt x="35771" y="16193"/>
                    <a:pt x="35771" y="16329"/>
                    <a:pt x="35768" y="16462"/>
                  </a:cubicBezTo>
                  <a:cubicBezTo>
                    <a:pt x="36002" y="25650"/>
                    <a:pt x="28747" y="33289"/>
                    <a:pt x="19558" y="33524"/>
                  </a:cubicBezTo>
                  <a:cubicBezTo>
                    <a:pt x="19395" y="33529"/>
                    <a:pt x="19236" y="33529"/>
                    <a:pt x="19073" y="33529"/>
                  </a:cubicBezTo>
                  <a:cubicBezTo>
                    <a:pt x="16288" y="33580"/>
                    <a:pt x="13538" y="32909"/>
                    <a:pt x="11085" y="31585"/>
                  </a:cubicBezTo>
                  <a:cubicBezTo>
                    <a:pt x="9834" y="30840"/>
                    <a:pt x="9009" y="31213"/>
                    <a:pt x="9009" y="32597"/>
                  </a:cubicBezTo>
                  <a:lnTo>
                    <a:pt x="9009" y="44712"/>
                  </a:lnTo>
                  <a:cubicBezTo>
                    <a:pt x="9102" y="45721"/>
                    <a:pt x="8356" y="46616"/>
                    <a:pt x="7347" y="46709"/>
                  </a:cubicBezTo>
                  <a:cubicBezTo>
                    <a:pt x="7235" y="46720"/>
                    <a:pt x="7123" y="46720"/>
                    <a:pt x="7012" y="46709"/>
                  </a:cubicBezTo>
                  <a:lnTo>
                    <a:pt x="3124" y="46709"/>
                  </a:lnTo>
                  <a:cubicBezTo>
                    <a:pt x="2099" y="46799"/>
                    <a:pt x="1194" y="46043"/>
                    <a:pt x="1103" y="45018"/>
                  </a:cubicBezTo>
                  <a:cubicBezTo>
                    <a:pt x="1093" y="44917"/>
                    <a:pt x="1093" y="44813"/>
                    <a:pt x="1101" y="44712"/>
                  </a:cubicBezTo>
                  <a:moveTo>
                    <a:pt x="10340" y="22106"/>
                  </a:moveTo>
                  <a:cubicBezTo>
                    <a:pt x="12148" y="24716"/>
                    <a:pt x="15154" y="26231"/>
                    <a:pt x="18328" y="26127"/>
                  </a:cubicBezTo>
                  <a:cubicBezTo>
                    <a:pt x="23395" y="25885"/>
                    <a:pt x="27306" y="21579"/>
                    <a:pt x="27064" y="16512"/>
                  </a:cubicBezTo>
                  <a:cubicBezTo>
                    <a:pt x="27064" y="16496"/>
                    <a:pt x="27061" y="16478"/>
                    <a:pt x="27061" y="16462"/>
                  </a:cubicBezTo>
                  <a:cubicBezTo>
                    <a:pt x="27210" y="11467"/>
                    <a:pt x="23320" y="7278"/>
                    <a:pt x="18328" y="7063"/>
                  </a:cubicBezTo>
                  <a:cubicBezTo>
                    <a:pt x="15165" y="6972"/>
                    <a:pt x="12166" y="8471"/>
                    <a:pt x="10340" y="11057"/>
                  </a:cubicBezTo>
                  <a:cubicBezTo>
                    <a:pt x="9924" y="11696"/>
                    <a:pt x="9727" y="12452"/>
                    <a:pt x="9781" y="13213"/>
                  </a:cubicBezTo>
                  <a:lnTo>
                    <a:pt x="9781" y="19976"/>
                  </a:lnTo>
                  <a:cubicBezTo>
                    <a:pt x="9746" y="20727"/>
                    <a:pt x="9941" y="21470"/>
                    <a:pt x="10340" y="22106"/>
                  </a:cubicBezTo>
                </a:path>
              </a:pathLst>
            </a:custGeom>
            <a:solidFill>
              <a:srgbClr val="8FDB42"/>
            </a:solidFill>
            <a:ln w="2661" cap="flat">
              <a:noFill/>
              <a:prstDash val="solid"/>
              <a:miter/>
            </a:ln>
          </p:spPr>
          <p:txBody>
            <a:bodyPr rtlCol="0" anchor="ctr"/>
            <a:lstStyle/>
            <a:p>
              <a:endParaRPr lang="pl-PL"/>
            </a:p>
          </p:txBody>
        </p:sp>
        <p:sp>
          <p:nvSpPr>
            <p:cNvPr id="64" name="Freeform: Shape 63">
              <a:extLst>
                <a:ext uri="{FF2B5EF4-FFF2-40B4-BE49-F238E27FC236}">
                  <a16:creationId xmlns:a16="http://schemas.microsoft.com/office/drawing/2014/main" id="{A9E2E84E-A931-425F-B511-1AA528FC2D7E}"/>
                </a:ext>
              </a:extLst>
            </p:cNvPr>
            <p:cNvSpPr/>
            <p:nvPr/>
          </p:nvSpPr>
          <p:spPr>
            <a:xfrm>
              <a:off x="11741806" y="6750833"/>
              <a:ext cx="20150" cy="19139"/>
            </a:xfrm>
            <a:custGeom>
              <a:avLst/>
              <a:gdLst>
                <a:gd name="connsiteX0" fmla="*/ 18882 w 35707"/>
                <a:gd name="connsiteY0" fmla="*/ -346 h 33914"/>
                <a:gd name="connsiteX1" fmla="*/ 36695 w 35707"/>
                <a:gd name="connsiteY1" fmla="*/ 16349 h 33914"/>
                <a:gd name="connsiteX2" fmla="*/ 19833 w 35707"/>
                <a:gd name="connsiteY2" fmla="*/ 33565 h 33914"/>
                <a:gd name="connsiteX3" fmla="*/ 18882 w 35707"/>
                <a:gd name="connsiteY3" fmla="*/ 33550 h 33914"/>
                <a:gd name="connsiteX4" fmla="*/ 1008 w 35707"/>
                <a:gd name="connsiteY4" fmla="*/ 17273 h 33914"/>
                <a:gd name="connsiteX5" fmla="*/ 989 w 35707"/>
                <a:gd name="connsiteY5" fmla="*/ 16349 h 33914"/>
                <a:gd name="connsiteX6" fmla="*/ 18882 w 35707"/>
                <a:gd name="connsiteY6" fmla="*/ -346 h 33914"/>
                <a:gd name="connsiteX7" fmla="*/ 18882 w 35707"/>
                <a:gd name="connsiteY7" fmla="*/ 26147 h 33914"/>
                <a:gd name="connsiteX8" fmla="*/ 28052 w 35707"/>
                <a:gd name="connsiteY8" fmla="*/ 17158 h 33914"/>
                <a:gd name="connsiteX9" fmla="*/ 28041 w 35707"/>
                <a:gd name="connsiteY9" fmla="*/ 16615 h 33914"/>
                <a:gd name="connsiteX10" fmla="*/ 19425 w 35707"/>
                <a:gd name="connsiteY10" fmla="*/ 7094 h 33914"/>
                <a:gd name="connsiteX11" fmla="*/ 18882 w 35707"/>
                <a:gd name="connsiteY11" fmla="*/ 7083 h 33914"/>
                <a:gd name="connsiteX12" fmla="*/ 9709 w 35707"/>
                <a:gd name="connsiteY12" fmla="*/ 15960 h 33914"/>
                <a:gd name="connsiteX13" fmla="*/ 9723 w 35707"/>
                <a:gd name="connsiteY13" fmla="*/ 16615 h 33914"/>
                <a:gd name="connsiteX14" fmla="*/ 18227 w 35707"/>
                <a:gd name="connsiteY14" fmla="*/ 26134 h 33914"/>
                <a:gd name="connsiteX15" fmla="*/ 18882 w 35707"/>
                <a:gd name="connsiteY15" fmla="*/ 26147 h 33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07" h="33914">
                  <a:moveTo>
                    <a:pt x="18882" y="-346"/>
                  </a:moveTo>
                  <a:cubicBezTo>
                    <a:pt x="29346" y="-346"/>
                    <a:pt x="36695" y="7003"/>
                    <a:pt x="36695" y="16349"/>
                  </a:cubicBezTo>
                  <a:cubicBezTo>
                    <a:pt x="36793" y="25759"/>
                    <a:pt x="29242" y="33467"/>
                    <a:pt x="19833" y="33565"/>
                  </a:cubicBezTo>
                  <a:cubicBezTo>
                    <a:pt x="19516" y="33568"/>
                    <a:pt x="19199" y="33563"/>
                    <a:pt x="18882" y="33550"/>
                  </a:cubicBezTo>
                  <a:cubicBezTo>
                    <a:pt x="9451" y="33991"/>
                    <a:pt x="1450" y="26704"/>
                    <a:pt x="1008" y="17273"/>
                  </a:cubicBezTo>
                  <a:cubicBezTo>
                    <a:pt x="992" y="16967"/>
                    <a:pt x="987" y="16658"/>
                    <a:pt x="989" y="16349"/>
                  </a:cubicBezTo>
                  <a:cubicBezTo>
                    <a:pt x="989" y="7003"/>
                    <a:pt x="8391" y="-346"/>
                    <a:pt x="18882" y="-346"/>
                  </a:cubicBezTo>
                  <a:moveTo>
                    <a:pt x="18882" y="26147"/>
                  </a:moveTo>
                  <a:cubicBezTo>
                    <a:pt x="23896" y="26198"/>
                    <a:pt x="28002" y="22175"/>
                    <a:pt x="28052" y="17158"/>
                  </a:cubicBezTo>
                  <a:cubicBezTo>
                    <a:pt x="28055" y="16977"/>
                    <a:pt x="28049" y="16796"/>
                    <a:pt x="28041" y="16615"/>
                  </a:cubicBezTo>
                  <a:cubicBezTo>
                    <a:pt x="28292" y="11607"/>
                    <a:pt x="24434" y="7344"/>
                    <a:pt x="19425" y="7094"/>
                  </a:cubicBezTo>
                  <a:cubicBezTo>
                    <a:pt x="19244" y="7086"/>
                    <a:pt x="19063" y="7080"/>
                    <a:pt x="18882" y="7083"/>
                  </a:cubicBezTo>
                  <a:cubicBezTo>
                    <a:pt x="13898" y="7001"/>
                    <a:pt x="9792" y="10976"/>
                    <a:pt x="9709" y="15960"/>
                  </a:cubicBezTo>
                  <a:cubicBezTo>
                    <a:pt x="9707" y="16179"/>
                    <a:pt x="9709" y="16397"/>
                    <a:pt x="9723" y="16615"/>
                  </a:cubicBezTo>
                  <a:cubicBezTo>
                    <a:pt x="9443" y="21592"/>
                    <a:pt x="13251" y="25855"/>
                    <a:pt x="18227" y="26134"/>
                  </a:cubicBezTo>
                  <a:cubicBezTo>
                    <a:pt x="18445" y="26147"/>
                    <a:pt x="18664" y="26150"/>
                    <a:pt x="18882" y="26147"/>
                  </a:cubicBezTo>
                </a:path>
              </a:pathLst>
            </a:custGeom>
            <a:solidFill>
              <a:srgbClr val="8FDB42"/>
            </a:solidFill>
            <a:ln w="2661" cap="flat">
              <a:noFill/>
              <a:prstDash val="solid"/>
              <a:miter/>
            </a:ln>
          </p:spPr>
          <p:txBody>
            <a:bodyPr rtlCol="0" anchor="ctr"/>
            <a:lstStyle/>
            <a:p>
              <a:endParaRPr lang="pl-PL"/>
            </a:p>
          </p:txBody>
        </p:sp>
        <p:sp>
          <p:nvSpPr>
            <p:cNvPr id="65" name="Freeform: Shape 64">
              <a:extLst>
                <a:ext uri="{FF2B5EF4-FFF2-40B4-BE49-F238E27FC236}">
                  <a16:creationId xmlns:a16="http://schemas.microsoft.com/office/drawing/2014/main" id="{821D0099-30B1-477B-80A5-BCAD4F46A93B}"/>
                </a:ext>
              </a:extLst>
            </p:cNvPr>
            <p:cNvSpPr/>
            <p:nvPr/>
          </p:nvSpPr>
          <p:spPr>
            <a:xfrm>
              <a:off x="11764305" y="6750833"/>
              <a:ext cx="16853" cy="19128"/>
            </a:xfrm>
            <a:custGeom>
              <a:avLst/>
              <a:gdLst>
                <a:gd name="connsiteX0" fmla="*/ 16288 w 29863"/>
                <a:gd name="connsiteY0" fmla="*/ -346 h 33895"/>
                <a:gd name="connsiteX1" fmla="*/ 30266 w 29863"/>
                <a:gd name="connsiteY1" fmla="*/ 9400 h 33895"/>
                <a:gd name="connsiteX2" fmla="*/ 28376 w 29863"/>
                <a:gd name="connsiteY2" fmla="*/ 11476 h 33895"/>
                <a:gd name="connsiteX3" fmla="*/ 24275 w 29863"/>
                <a:gd name="connsiteY3" fmla="*/ 11476 h 33895"/>
                <a:gd name="connsiteX4" fmla="*/ 22065 w 29863"/>
                <a:gd name="connsiteY4" fmla="*/ 9719 h 33895"/>
                <a:gd name="connsiteX5" fmla="*/ 16048 w 29863"/>
                <a:gd name="connsiteY5" fmla="*/ 6444 h 33895"/>
                <a:gd name="connsiteX6" fmla="*/ 10723 w 29863"/>
                <a:gd name="connsiteY6" fmla="*/ 9266 h 33895"/>
                <a:gd name="connsiteX7" fmla="*/ 30852 w 29863"/>
                <a:gd name="connsiteY7" fmla="*/ 23591 h 33895"/>
                <a:gd name="connsiteX8" fmla="*/ 16687 w 29863"/>
                <a:gd name="connsiteY8" fmla="*/ 33550 h 33895"/>
                <a:gd name="connsiteX9" fmla="*/ 1058 w 29863"/>
                <a:gd name="connsiteY9" fmla="*/ 23511 h 33895"/>
                <a:gd name="connsiteX10" fmla="*/ 2868 w 29863"/>
                <a:gd name="connsiteY10" fmla="*/ 21381 h 33895"/>
                <a:gd name="connsiteX11" fmla="*/ 7128 w 29863"/>
                <a:gd name="connsiteY11" fmla="*/ 21381 h 33895"/>
                <a:gd name="connsiteX12" fmla="*/ 9338 w 29863"/>
                <a:gd name="connsiteY12" fmla="*/ 23006 h 33895"/>
                <a:gd name="connsiteX13" fmla="*/ 16873 w 29863"/>
                <a:gd name="connsiteY13" fmla="*/ 26786 h 33895"/>
                <a:gd name="connsiteX14" fmla="*/ 22385 w 29863"/>
                <a:gd name="connsiteY14" fmla="*/ 23645 h 33895"/>
                <a:gd name="connsiteX15" fmla="*/ 2256 w 29863"/>
                <a:gd name="connsiteY15" fmla="*/ 9453 h 33895"/>
                <a:gd name="connsiteX16" fmla="*/ 16128 w 29863"/>
                <a:gd name="connsiteY16" fmla="*/ -346 h 3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863" h="33895">
                  <a:moveTo>
                    <a:pt x="16288" y="-346"/>
                  </a:moveTo>
                  <a:cubicBezTo>
                    <a:pt x="24275" y="-346"/>
                    <a:pt x="28962" y="3622"/>
                    <a:pt x="30266" y="9400"/>
                  </a:cubicBezTo>
                  <a:cubicBezTo>
                    <a:pt x="30586" y="10704"/>
                    <a:pt x="29760" y="11476"/>
                    <a:pt x="28376" y="11476"/>
                  </a:cubicBezTo>
                  <a:lnTo>
                    <a:pt x="24275" y="11476"/>
                  </a:lnTo>
                  <a:cubicBezTo>
                    <a:pt x="23077" y="11476"/>
                    <a:pt x="22518" y="10837"/>
                    <a:pt x="22065" y="9719"/>
                  </a:cubicBezTo>
                  <a:cubicBezTo>
                    <a:pt x="21320" y="7642"/>
                    <a:pt x="19403" y="6444"/>
                    <a:pt x="16048" y="6444"/>
                  </a:cubicBezTo>
                  <a:cubicBezTo>
                    <a:pt x="12693" y="6444"/>
                    <a:pt x="10723" y="7562"/>
                    <a:pt x="10723" y="9266"/>
                  </a:cubicBezTo>
                  <a:cubicBezTo>
                    <a:pt x="10723" y="15364"/>
                    <a:pt x="30852" y="10971"/>
                    <a:pt x="30852" y="23591"/>
                  </a:cubicBezTo>
                  <a:cubicBezTo>
                    <a:pt x="30852" y="29982"/>
                    <a:pt x="25021" y="33550"/>
                    <a:pt x="16687" y="33550"/>
                  </a:cubicBezTo>
                  <a:cubicBezTo>
                    <a:pt x="8353" y="33550"/>
                    <a:pt x="2362" y="29928"/>
                    <a:pt x="1058" y="23511"/>
                  </a:cubicBezTo>
                  <a:cubicBezTo>
                    <a:pt x="738" y="22127"/>
                    <a:pt x="1563" y="21381"/>
                    <a:pt x="2868" y="21381"/>
                  </a:cubicBezTo>
                  <a:lnTo>
                    <a:pt x="7128" y="21381"/>
                  </a:lnTo>
                  <a:cubicBezTo>
                    <a:pt x="8153" y="21344"/>
                    <a:pt x="9067" y="22018"/>
                    <a:pt x="9338" y="23006"/>
                  </a:cubicBezTo>
                  <a:cubicBezTo>
                    <a:pt x="10853" y="25673"/>
                    <a:pt x="13827" y="27165"/>
                    <a:pt x="16873" y="26786"/>
                  </a:cubicBezTo>
                  <a:cubicBezTo>
                    <a:pt x="20255" y="26786"/>
                    <a:pt x="22385" y="25721"/>
                    <a:pt x="22385" y="23645"/>
                  </a:cubicBezTo>
                  <a:cubicBezTo>
                    <a:pt x="22385" y="17494"/>
                    <a:pt x="2256" y="22127"/>
                    <a:pt x="2256" y="9453"/>
                  </a:cubicBezTo>
                  <a:cubicBezTo>
                    <a:pt x="2256" y="3808"/>
                    <a:pt x="7075" y="-346"/>
                    <a:pt x="16128" y="-346"/>
                  </a:cubicBezTo>
                </a:path>
              </a:pathLst>
            </a:custGeom>
            <a:solidFill>
              <a:srgbClr val="8FDB42"/>
            </a:solidFill>
            <a:ln w="2661" cap="flat">
              <a:noFill/>
              <a:prstDash val="solid"/>
              <a:miter/>
            </a:ln>
          </p:spPr>
          <p:txBody>
            <a:bodyPr rtlCol="0" anchor="ctr"/>
            <a:lstStyle/>
            <a:p>
              <a:endParaRPr lang="pl-PL"/>
            </a:p>
          </p:txBody>
        </p:sp>
        <p:sp>
          <p:nvSpPr>
            <p:cNvPr id="66" name="Freeform: Shape 65">
              <a:extLst>
                <a:ext uri="{FF2B5EF4-FFF2-40B4-BE49-F238E27FC236}">
                  <a16:creationId xmlns:a16="http://schemas.microsoft.com/office/drawing/2014/main" id="{DE030D90-00B8-48E8-BD2E-BE70280A6586}"/>
                </a:ext>
              </a:extLst>
            </p:cNvPr>
            <p:cNvSpPr/>
            <p:nvPr/>
          </p:nvSpPr>
          <p:spPr>
            <a:xfrm>
              <a:off x="11784416" y="6742209"/>
              <a:ext cx="6552" cy="27380"/>
            </a:xfrm>
            <a:custGeom>
              <a:avLst/>
              <a:gdLst>
                <a:gd name="connsiteX0" fmla="*/ 1098 w 11611"/>
                <a:gd name="connsiteY0" fmla="*/ 5352 h 48518"/>
                <a:gd name="connsiteX1" fmla="*/ 6796 w 11611"/>
                <a:gd name="connsiteY1" fmla="*/ -346 h 48518"/>
                <a:gd name="connsiteX2" fmla="*/ 6876 w 11611"/>
                <a:gd name="connsiteY2" fmla="*/ -346 h 48518"/>
                <a:gd name="connsiteX3" fmla="*/ 12600 w 11611"/>
                <a:gd name="connsiteY3" fmla="*/ 5352 h 48518"/>
                <a:gd name="connsiteX4" fmla="*/ 6769 w 11611"/>
                <a:gd name="connsiteY4" fmla="*/ 11263 h 48518"/>
                <a:gd name="connsiteX5" fmla="*/ 989 w 11611"/>
                <a:gd name="connsiteY5" fmla="*/ 5488 h 48518"/>
                <a:gd name="connsiteX6" fmla="*/ 991 w 11611"/>
                <a:gd name="connsiteY6" fmla="*/ 5352 h 48518"/>
                <a:gd name="connsiteX7" fmla="*/ 10710 w 11611"/>
                <a:gd name="connsiteY7" fmla="*/ 17521 h 48518"/>
                <a:gd name="connsiteX8" fmla="*/ 10710 w 11611"/>
                <a:gd name="connsiteY8" fmla="*/ 46144 h 48518"/>
                <a:gd name="connsiteX9" fmla="*/ 9019 w 11611"/>
                <a:gd name="connsiteY9" fmla="*/ 48165 h 48518"/>
                <a:gd name="connsiteX10" fmla="*/ 8713 w 11611"/>
                <a:gd name="connsiteY10" fmla="*/ 48167 h 48518"/>
                <a:gd name="connsiteX11" fmla="*/ 4000 w 11611"/>
                <a:gd name="connsiteY11" fmla="*/ 48167 h 48518"/>
                <a:gd name="connsiteX12" fmla="*/ 2001 w 11611"/>
                <a:gd name="connsiteY12" fmla="*/ 46450 h 48518"/>
                <a:gd name="connsiteX13" fmla="*/ 2003 w 11611"/>
                <a:gd name="connsiteY13" fmla="*/ 46144 h 48518"/>
                <a:gd name="connsiteX14" fmla="*/ 2003 w 11611"/>
                <a:gd name="connsiteY14" fmla="*/ 17600 h 48518"/>
                <a:gd name="connsiteX15" fmla="*/ 3665 w 11611"/>
                <a:gd name="connsiteY15" fmla="*/ 15603 h 48518"/>
                <a:gd name="connsiteX16" fmla="*/ 4000 w 11611"/>
                <a:gd name="connsiteY16" fmla="*/ 15603 h 48518"/>
                <a:gd name="connsiteX17" fmla="*/ 8713 w 11611"/>
                <a:gd name="connsiteY17" fmla="*/ 15603 h 48518"/>
                <a:gd name="connsiteX18" fmla="*/ 10710 w 11611"/>
                <a:gd name="connsiteY18" fmla="*/ 17265 h 48518"/>
                <a:gd name="connsiteX19" fmla="*/ 10710 w 11611"/>
                <a:gd name="connsiteY19" fmla="*/ 17600 h 48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11" h="48518">
                  <a:moveTo>
                    <a:pt x="1098" y="5352"/>
                  </a:moveTo>
                  <a:cubicBezTo>
                    <a:pt x="1098" y="2205"/>
                    <a:pt x="3649" y="-346"/>
                    <a:pt x="6796" y="-346"/>
                  </a:cubicBezTo>
                  <a:cubicBezTo>
                    <a:pt x="6823" y="-346"/>
                    <a:pt x="6849" y="-346"/>
                    <a:pt x="6876" y="-346"/>
                  </a:cubicBezTo>
                  <a:cubicBezTo>
                    <a:pt x="10004" y="-290"/>
                    <a:pt x="12529" y="2224"/>
                    <a:pt x="12600" y="5352"/>
                  </a:cubicBezTo>
                  <a:cubicBezTo>
                    <a:pt x="12600" y="8585"/>
                    <a:pt x="10002" y="11221"/>
                    <a:pt x="6769" y="11263"/>
                  </a:cubicBezTo>
                  <a:cubicBezTo>
                    <a:pt x="3579" y="11263"/>
                    <a:pt x="991" y="8678"/>
                    <a:pt x="989" y="5488"/>
                  </a:cubicBezTo>
                  <a:cubicBezTo>
                    <a:pt x="989" y="5443"/>
                    <a:pt x="991" y="5398"/>
                    <a:pt x="991" y="5352"/>
                  </a:cubicBezTo>
                  <a:moveTo>
                    <a:pt x="10710" y="17521"/>
                  </a:moveTo>
                  <a:lnTo>
                    <a:pt x="10710" y="46144"/>
                  </a:lnTo>
                  <a:cubicBezTo>
                    <a:pt x="10800" y="47169"/>
                    <a:pt x="10044" y="48074"/>
                    <a:pt x="9019" y="48165"/>
                  </a:cubicBezTo>
                  <a:cubicBezTo>
                    <a:pt x="8918" y="48175"/>
                    <a:pt x="8814" y="48175"/>
                    <a:pt x="8713" y="48167"/>
                  </a:cubicBezTo>
                  <a:lnTo>
                    <a:pt x="4000" y="48167"/>
                  </a:lnTo>
                  <a:cubicBezTo>
                    <a:pt x="2975" y="48244"/>
                    <a:pt x="2078" y="47475"/>
                    <a:pt x="2001" y="46450"/>
                  </a:cubicBezTo>
                  <a:cubicBezTo>
                    <a:pt x="1993" y="46349"/>
                    <a:pt x="1995" y="46245"/>
                    <a:pt x="2003" y="46144"/>
                  </a:cubicBezTo>
                  <a:lnTo>
                    <a:pt x="2003" y="17600"/>
                  </a:lnTo>
                  <a:cubicBezTo>
                    <a:pt x="1910" y="16591"/>
                    <a:pt x="2656" y="15697"/>
                    <a:pt x="3665" y="15603"/>
                  </a:cubicBezTo>
                  <a:cubicBezTo>
                    <a:pt x="3776" y="15593"/>
                    <a:pt x="3888" y="15593"/>
                    <a:pt x="4000" y="15603"/>
                  </a:cubicBezTo>
                  <a:lnTo>
                    <a:pt x="8713" y="15603"/>
                  </a:lnTo>
                  <a:cubicBezTo>
                    <a:pt x="9722" y="15510"/>
                    <a:pt x="10617" y="16256"/>
                    <a:pt x="10710" y="17265"/>
                  </a:cubicBezTo>
                  <a:cubicBezTo>
                    <a:pt x="10721" y="17377"/>
                    <a:pt x="10721" y="17489"/>
                    <a:pt x="10710" y="17600"/>
                  </a:cubicBezTo>
                </a:path>
              </a:pathLst>
            </a:custGeom>
            <a:solidFill>
              <a:srgbClr val="8FDB42"/>
            </a:solidFill>
            <a:ln w="2661" cap="flat">
              <a:noFill/>
              <a:prstDash val="solid"/>
              <a:miter/>
            </a:ln>
          </p:spPr>
          <p:txBody>
            <a:bodyPr rtlCol="0" anchor="ctr"/>
            <a:lstStyle/>
            <a:p>
              <a:endParaRPr lang="pl-PL"/>
            </a:p>
          </p:txBody>
        </p:sp>
        <p:sp>
          <p:nvSpPr>
            <p:cNvPr id="67" name="Freeform: Shape 66">
              <a:extLst>
                <a:ext uri="{FF2B5EF4-FFF2-40B4-BE49-F238E27FC236}">
                  <a16:creationId xmlns:a16="http://schemas.microsoft.com/office/drawing/2014/main" id="{A895BA4C-C91B-4CD6-901F-9D3248C8DA58}"/>
                </a:ext>
              </a:extLst>
            </p:cNvPr>
            <p:cNvSpPr/>
            <p:nvPr/>
          </p:nvSpPr>
          <p:spPr>
            <a:xfrm>
              <a:off x="11793381" y="6746197"/>
              <a:ext cx="13675" cy="23794"/>
            </a:xfrm>
            <a:custGeom>
              <a:avLst/>
              <a:gdLst>
                <a:gd name="connsiteX0" fmla="*/ 1029 w 24233"/>
                <a:gd name="connsiteY0" fmla="*/ 13782 h 42164"/>
                <a:gd name="connsiteX1" fmla="*/ 1029 w 24233"/>
                <a:gd name="connsiteY1" fmla="*/ 10533 h 42164"/>
                <a:gd name="connsiteX2" fmla="*/ 2608 w 24233"/>
                <a:gd name="connsiteY2" fmla="*/ 8518 h 42164"/>
                <a:gd name="connsiteX3" fmla="*/ 2972 w 24233"/>
                <a:gd name="connsiteY3" fmla="*/ 8510 h 42164"/>
                <a:gd name="connsiteX4" fmla="*/ 5049 w 24233"/>
                <a:gd name="connsiteY4" fmla="*/ 8510 h 42164"/>
                <a:gd name="connsiteX5" fmla="*/ 5741 w 24233"/>
                <a:gd name="connsiteY5" fmla="*/ 7817 h 42164"/>
                <a:gd name="connsiteX6" fmla="*/ 5741 w 24233"/>
                <a:gd name="connsiteY6" fmla="*/ 3105 h 42164"/>
                <a:gd name="connsiteX7" fmla="*/ 7419 w 24233"/>
                <a:gd name="connsiteY7" fmla="*/ 921 h 42164"/>
                <a:gd name="connsiteX8" fmla="*/ 11892 w 24233"/>
                <a:gd name="connsiteY8" fmla="*/ -224 h 42164"/>
                <a:gd name="connsiteX9" fmla="*/ 14043 w 24233"/>
                <a:gd name="connsiteY9" fmla="*/ 684 h 42164"/>
                <a:gd name="connsiteX10" fmla="*/ 14155 w 24233"/>
                <a:gd name="connsiteY10" fmla="*/ 1480 h 42164"/>
                <a:gd name="connsiteX11" fmla="*/ 14155 w 24233"/>
                <a:gd name="connsiteY11" fmla="*/ 7871 h 42164"/>
                <a:gd name="connsiteX12" fmla="*/ 14794 w 24233"/>
                <a:gd name="connsiteY12" fmla="*/ 8563 h 42164"/>
                <a:gd name="connsiteX13" fmla="*/ 14848 w 24233"/>
                <a:gd name="connsiteY13" fmla="*/ 8563 h 42164"/>
                <a:gd name="connsiteX14" fmla="*/ 22835 w 24233"/>
                <a:gd name="connsiteY14" fmla="*/ 8563 h 42164"/>
                <a:gd name="connsiteX15" fmla="*/ 24859 w 24233"/>
                <a:gd name="connsiteY15" fmla="*/ 10251 h 42164"/>
                <a:gd name="connsiteX16" fmla="*/ 24859 w 24233"/>
                <a:gd name="connsiteY16" fmla="*/ 10587 h 42164"/>
                <a:gd name="connsiteX17" fmla="*/ 24859 w 24233"/>
                <a:gd name="connsiteY17" fmla="*/ 13888 h 42164"/>
                <a:gd name="connsiteX18" fmla="*/ 23171 w 24233"/>
                <a:gd name="connsiteY18" fmla="*/ 15912 h 42164"/>
                <a:gd name="connsiteX19" fmla="*/ 22835 w 24233"/>
                <a:gd name="connsiteY19" fmla="*/ 15912 h 42164"/>
                <a:gd name="connsiteX20" fmla="*/ 14848 w 24233"/>
                <a:gd name="connsiteY20" fmla="*/ 15912 h 42164"/>
                <a:gd name="connsiteX21" fmla="*/ 14150 w 24233"/>
                <a:gd name="connsiteY21" fmla="*/ 16545 h 42164"/>
                <a:gd name="connsiteX22" fmla="*/ 14155 w 24233"/>
                <a:gd name="connsiteY22" fmla="*/ 16657 h 42164"/>
                <a:gd name="connsiteX23" fmla="*/ 14155 w 24233"/>
                <a:gd name="connsiteY23" fmla="*/ 30157 h 42164"/>
                <a:gd name="connsiteX24" fmla="*/ 17590 w 24233"/>
                <a:gd name="connsiteY24" fmla="*/ 34177 h 42164"/>
                <a:gd name="connsiteX25" fmla="*/ 22436 w 24233"/>
                <a:gd name="connsiteY25" fmla="*/ 33485 h 42164"/>
                <a:gd name="connsiteX26" fmla="*/ 24683 w 24233"/>
                <a:gd name="connsiteY26" fmla="*/ 34454 h 42164"/>
                <a:gd name="connsiteX27" fmla="*/ 24806 w 24233"/>
                <a:gd name="connsiteY27" fmla="*/ 35109 h 42164"/>
                <a:gd name="connsiteX28" fmla="*/ 25178 w 24233"/>
                <a:gd name="connsiteY28" fmla="*/ 38384 h 42164"/>
                <a:gd name="connsiteX29" fmla="*/ 23639 w 24233"/>
                <a:gd name="connsiteY29" fmla="*/ 40754 h 42164"/>
                <a:gd name="connsiteX30" fmla="*/ 23634 w 24233"/>
                <a:gd name="connsiteY30" fmla="*/ 40754 h 42164"/>
                <a:gd name="connsiteX31" fmla="*/ 15966 w 24233"/>
                <a:gd name="connsiteY31" fmla="*/ 41819 h 42164"/>
                <a:gd name="connsiteX32" fmla="*/ 5315 w 24233"/>
                <a:gd name="connsiteY32" fmla="*/ 30343 h 42164"/>
                <a:gd name="connsiteX33" fmla="*/ 5315 w 24233"/>
                <a:gd name="connsiteY33" fmla="*/ 16657 h 42164"/>
                <a:gd name="connsiteX34" fmla="*/ 4703 w 24233"/>
                <a:gd name="connsiteY34" fmla="*/ 15859 h 42164"/>
                <a:gd name="connsiteX35" fmla="*/ 2946 w 24233"/>
                <a:gd name="connsiteY35" fmla="*/ 15859 h 42164"/>
                <a:gd name="connsiteX36" fmla="*/ 994 w 24233"/>
                <a:gd name="connsiteY36" fmla="*/ 14200 h 42164"/>
                <a:gd name="connsiteX37" fmla="*/ 1002 w 24233"/>
                <a:gd name="connsiteY37" fmla="*/ 13835 h 42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233" h="42164">
                  <a:moveTo>
                    <a:pt x="1029" y="13782"/>
                  </a:moveTo>
                  <a:lnTo>
                    <a:pt x="1029" y="10533"/>
                  </a:lnTo>
                  <a:cubicBezTo>
                    <a:pt x="909" y="9540"/>
                    <a:pt x="1614" y="8637"/>
                    <a:pt x="2608" y="8518"/>
                  </a:cubicBezTo>
                  <a:cubicBezTo>
                    <a:pt x="2727" y="8502"/>
                    <a:pt x="2850" y="8499"/>
                    <a:pt x="2972" y="8510"/>
                  </a:cubicBezTo>
                  <a:lnTo>
                    <a:pt x="5049" y="8510"/>
                  </a:lnTo>
                  <a:cubicBezTo>
                    <a:pt x="5432" y="8510"/>
                    <a:pt x="5741" y="8201"/>
                    <a:pt x="5741" y="7817"/>
                  </a:cubicBezTo>
                  <a:lnTo>
                    <a:pt x="5741" y="3105"/>
                  </a:lnTo>
                  <a:cubicBezTo>
                    <a:pt x="5630" y="2045"/>
                    <a:pt x="6367" y="1086"/>
                    <a:pt x="7419" y="921"/>
                  </a:cubicBezTo>
                  <a:lnTo>
                    <a:pt x="11892" y="-224"/>
                  </a:lnTo>
                  <a:cubicBezTo>
                    <a:pt x="12736" y="-567"/>
                    <a:pt x="13700" y="-160"/>
                    <a:pt x="14043" y="684"/>
                  </a:cubicBezTo>
                  <a:cubicBezTo>
                    <a:pt x="14145" y="937"/>
                    <a:pt x="14184" y="1209"/>
                    <a:pt x="14155" y="1480"/>
                  </a:cubicBezTo>
                  <a:lnTo>
                    <a:pt x="14155" y="7871"/>
                  </a:lnTo>
                  <a:cubicBezTo>
                    <a:pt x="14139" y="8238"/>
                    <a:pt x="14427" y="8547"/>
                    <a:pt x="14794" y="8563"/>
                  </a:cubicBezTo>
                  <a:cubicBezTo>
                    <a:pt x="14810" y="8563"/>
                    <a:pt x="14829" y="8563"/>
                    <a:pt x="14848" y="8563"/>
                  </a:cubicBezTo>
                  <a:lnTo>
                    <a:pt x="22835" y="8563"/>
                  </a:lnTo>
                  <a:cubicBezTo>
                    <a:pt x="23861" y="8470"/>
                    <a:pt x="24766" y="9226"/>
                    <a:pt x="24859" y="10251"/>
                  </a:cubicBezTo>
                  <a:cubicBezTo>
                    <a:pt x="24870" y="10363"/>
                    <a:pt x="24870" y="10475"/>
                    <a:pt x="24859" y="10587"/>
                  </a:cubicBezTo>
                  <a:lnTo>
                    <a:pt x="24859" y="13888"/>
                  </a:lnTo>
                  <a:cubicBezTo>
                    <a:pt x="24952" y="14913"/>
                    <a:pt x="24196" y="15819"/>
                    <a:pt x="23171" y="15912"/>
                  </a:cubicBezTo>
                  <a:cubicBezTo>
                    <a:pt x="23059" y="15922"/>
                    <a:pt x="22947" y="15922"/>
                    <a:pt x="22835" y="15912"/>
                  </a:cubicBezTo>
                  <a:lnTo>
                    <a:pt x="14848" y="15912"/>
                  </a:lnTo>
                  <a:cubicBezTo>
                    <a:pt x="14480" y="15893"/>
                    <a:pt x="14169" y="16178"/>
                    <a:pt x="14150" y="16545"/>
                  </a:cubicBezTo>
                  <a:cubicBezTo>
                    <a:pt x="14150" y="16583"/>
                    <a:pt x="14150" y="16620"/>
                    <a:pt x="14155" y="16657"/>
                  </a:cubicBezTo>
                  <a:lnTo>
                    <a:pt x="14155" y="30157"/>
                  </a:lnTo>
                  <a:cubicBezTo>
                    <a:pt x="14155" y="32819"/>
                    <a:pt x="15034" y="34177"/>
                    <a:pt x="17590" y="34177"/>
                  </a:cubicBezTo>
                  <a:cubicBezTo>
                    <a:pt x="19230" y="34175"/>
                    <a:pt x="20860" y="33940"/>
                    <a:pt x="22436" y="33485"/>
                  </a:cubicBezTo>
                  <a:cubicBezTo>
                    <a:pt x="23325" y="33131"/>
                    <a:pt x="24332" y="33565"/>
                    <a:pt x="24683" y="34454"/>
                  </a:cubicBezTo>
                  <a:cubicBezTo>
                    <a:pt x="24766" y="34662"/>
                    <a:pt x="24808" y="34886"/>
                    <a:pt x="24806" y="35109"/>
                  </a:cubicBezTo>
                  <a:lnTo>
                    <a:pt x="25178" y="38384"/>
                  </a:lnTo>
                  <a:cubicBezTo>
                    <a:pt x="25407" y="39463"/>
                    <a:pt x="24718" y="40522"/>
                    <a:pt x="23639" y="40754"/>
                  </a:cubicBezTo>
                  <a:cubicBezTo>
                    <a:pt x="23639" y="40754"/>
                    <a:pt x="23637" y="40754"/>
                    <a:pt x="23634" y="40754"/>
                  </a:cubicBezTo>
                  <a:cubicBezTo>
                    <a:pt x="21139" y="41462"/>
                    <a:pt x="18559" y="41822"/>
                    <a:pt x="15966" y="41819"/>
                  </a:cubicBezTo>
                  <a:cubicBezTo>
                    <a:pt x="10241" y="41819"/>
                    <a:pt x="5315" y="38943"/>
                    <a:pt x="5315" y="30343"/>
                  </a:cubicBezTo>
                  <a:lnTo>
                    <a:pt x="5315" y="16657"/>
                  </a:lnTo>
                  <a:cubicBezTo>
                    <a:pt x="5363" y="16269"/>
                    <a:pt x="5092" y="15914"/>
                    <a:pt x="4703" y="15859"/>
                  </a:cubicBezTo>
                  <a:lnTo>
                    <a:pt x="2946" y="15859"/>
                  </a:lnTo>
                  <a:cubicBezTo>
                    <a:pt x="1950" y="15938"/>
                    <a:pt x="1076" y="15198"/>
                    <a:pt x="994" y="14200"/>
                  </a:cubicBezTo>
                  <a:cubicBezTo>
                    <a:pt x="986" y="14080"/>
                    <a:pt x="986" y="13957"/>
                    <a:pt x="1002" y="13835"/>
                  </a:cubicBezTo>
                </a:path>
              </a:pathLst>
            </a:custGeom>
            <a:solidFill>
              <a:srgbClr val="8FDB42"/>
            </a:solidFill>
            <a:ln w="2661" cap="flat">
              <a:noFill/>
              <a:prstDash val="solid"/>
              <a:miter/>
            </a:ln>
          </p:spPr>
          <p:txBody>
            <a:bodyPr rtlCol="0" anchor="ctr"/>
            <a:lstStyle/>
            <a:p>
              <a:endParaRPr lang="pl-PL"/>
            </a:p>
          </p:txBody>
        </p:sp>
        <p:sp>
          <p:nvSpPr>
            <p:cNvPr id="68" name="Freeform: Shape 67">
              <a:extLst>
                <a:ext uri="{FF2B5EF4-FFF2-40B4-BE49-F238E27FC236}">
                  <a16:creationId xmlns:a16="http://schemas.microsoft.com/office/drawing/2014/main" id="{75981119-7473-4150-B287-7445ADB6402C}"/>
                </a:ext>
              </a:extLst>
            </p:cNvPr>
            <p:cNvSpPr/>
            <p:nvPr/>
          </p:nvSpPr>
          <p:spPr>
            <a:xfrm>
              <a:off x="11809766" y="6742209"/>
              <a:ext cx="6552" cy="27380"/>
            </a:xfrm>
            <a:custGeom>
              <a:avLst/>
              <a:gdLst>
                <a:gd name="connsiteX0" fmla="*/ 991 w 11611"/>
                <a:gd name="connsiteY0" fmla="*/ 5352 h 48518"/>
                <a:gd name="connsiteX1" fmla="*/ 6689 w 11611"/>
                <a:gd name="connsiteY1" fmla="*/ -346 h 48518"/>
                <a:gd name="connsiteX2" fmla="*/ 6769 w 11611"/>
                <a:gd name="connsiteY2" fmla="*/ -346 h 48518"/>
                <a:gd name="connsiteX3" fmla="*/ 12600 w 11611"/>
                <a:gd name="connsiteY3" fmla="*/ 5352 h 48518"/>
                <a:gd name="connsiteX4" fmla="*/ 6769 w 11611"/>
                <a:gd name="connsiteY4" fmla="*/ 11263 h 48518"/>
                <a:gd name="connsiteX5" fmla="*/ 989 w 11611"/>
                <a:gd name="connsiteY5" fmla="*/ 5488 h 48518"/>
                <a:gd name="connsiteX6" fmla="*/ 991 w 11611"/>
                <a:gd name="connsiteY6" fmla="*/ 5352 h 48518"/>
                <a:gd name="connsiteX7" fmla="*/ 10710 w 11611"/>
                <a:gd name="connsiteY7" fmla="*/ 17521 h 48518"/>
                <a:gd name="connsiteX8" fmla="*/ 10710 w 11611"/>
                <a:gd name="connsiteY8" fmla="*/ 46144 h 48518"/>
                <a:gd name="connsiteX9" fmla="*/ 9019 w 11611"/>
                <a:gd name="connsiteY9" fmla="*/ 48165 h 48518"/>
                <a:gd name="connsiteX10" fmla="*/ 8713 w 11611"/>
                <a:gd name="connsiteY10" fmla="*/ 48167 h 48518"/>
                <a:gd name="connsiteX11" fmla="*/ 4000 w 11611"/>
                <a:gd name="connsiteY11" fmla="*/ 48167 h 48518"/>
                <a:gd name="connsiteX12" fmla="*/ 2001 w 11611"/>
                <a:gd name="connsiteY12" fmla="*/ 46450 h 48518"/>
                <a:gd name="connsiteX13" fmla="*/ 2003 w 11611"/>
                <a:gd name="connsiteY13" fmla="*/ 46144 h 48518"/>
                <a:gd name="connsiteX14" fmla="*/ 2003 w 11611"/>
                <a:gd name="connsiteY14" fmla="*/ 17600 h 48518"/>
                <a:gd name="connsiteX15" fmla="*/ 3665 w 11611"/>
                <a:gd name="connsiteY15" fmla="*/ 15603 h 48518"/>
                <a:gd name="connsiteX16" fmla="*/ 4000 w 11611"/>
                <a:gd name="connsiteY16" fmla="*/ 15603 h 48518"/>
                <a:gd name="connsiteX17" fmla="*/ 8713 w 11611"/>
                <a:gd name="connsiteY17" fmla="*/ 15603 h 48518"/>
                <a:gd name="connsiteX18" fmla="*/ 10710 w 11611"/>
                <a:gd name="connsiteY18" fmla="*/ 17265 h 48518"/>
                <a:gd name="connsiteX19" fmla="*/ 10710 w 11611"/>
                <a:gd name="connsiteY19" fmla="*/ 17600 h 48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11" h="48518">
                  <a:moveTo>
                    <a:pt x="991" y="5352"/>
                  </a:moveTo>
                  <a:cubicBezTo>
                    <a:pt x="991" y="2205"/>
                    <a:pt x="3542" y="-346"/>
                    <a:pt x="6689" y="-346"/>
                  </a:cubicBezTo>
                  <a:cubicBezTo>
                    <a:pt x="6716" y="-346"/>
                    <a:pt x="6743" y="-346"/>
                    <a:pt x="6769" y="-346"/>
                  </a:cubicBezTo>
                  <a:cubicBezTo>
                    <a:pt x="9938" y="-346"/>
                    <a:pt x="12529" y="2184"/>
                    <a:pt x="12600" y="5352"/>
                  </a:cubicBezTo>
                  <a:cubicBezTo>
                    <a:pt x="12600" y="8585"/>
                    <a:pt x="10002" y="11221"/>
                    <a:pt x="6769" y="11263"/>
                  </a:cubicBezTo>
                  <a:cubicBezTo>
                    <a:pt x="3579" y="11263"/>
                    <a:pt x="991" y="8678"/>
                    <a:pt x="989" y="5488"/>
                  </a:cubicBezTo>
                  <a:cubicBezTo>
                    <a:pt x="989" y="5443"/>
                    <a:pt x="991" y="5398"/>
                    <a:pt x="991" y="5352"/>
                  </a:cubicBezTo>
                  <a:moveTo>
                    <a:pt x="10710" y="17521"/>
                  </a:moveTo>
                  <a:lnTo>
                    <a:pt x="10710" y="46144"/>
                  </a:lnTo>
                  <a:cubicBezTo>
                    <a:pt x="10800" y="47169"/>
                    <a:pt x="10044" y="48074"/>
                    <a:pt x="9019" y="48165"/>
                  </a:cubicBezTo>
                  <a:cubicBezTo>
                    <a:pt x="8918" y="48175"/>
                    <a:pt x="8814" y="48175"/>
                    <a:pt x="8713" y="48167"/>
                  </a:cubicBezTo>
                  <a:lnTo>
                    <a:pt x="4000" y="48167"/>
                  </a:lnTo>
                  <a:cubicBezTo>
                    <a:pt x="2975" y="48244"/>
                    <a:pt x="2078" y="47475"/>
                    <a:pt x="2001" y="46450"/>
                  </a:cubicBezTo>
                  <a:cubicBezTo>
                    <a:pt x="1993" y="46349"/>
                    <a:pt x="1995" y="46245"/>
                    <a:pt x="2003" y="46144"/>
                  </a:cubicBezTo>
                  <a:lnTo>
                    <a:pt x="2003" y="17600"/>
                  </a:lnTo>
                  <a:cubicBezTo>
                    <a:pt x="1910" y="16591"/>
                    <a:pt x="2656" y="15697"/>
                    <a:pt x="3665" y="15603"/>
                  </a:cubicBezTo>
                  <a:cubicBezTo>
                    <a:pt x="3777" y="15593"/>
                    <a:pt x="3888" y="15593"/>
                    <a:pt x="4000" y="15603"/>
                  </a:cubicBezTo>
                  <a:lnTo>
                    <a:pt x="8713" y="15603"/>
                  </a:lnTo>
                  <a:cubicBezTo>
                    <a:pt x="9722" y="15510"/>
                    <a:pt x="10617" y="16256"/>
                    <a:pt x="10710" y="17265"/>
                  </a:cubicBezTo>
                  <a:cubicBezTo>
                    <a:pt x="10721" y="17377"/>
                    <a:pt x="10721" y="17489"/>
                    <a:pt x="10710" y="17600"/>
                  </a:cubicBezTo>
                </a:path>
              </a:pathLst>
            </a:custGeom>
            <a:solidFill>
              <a:srgbClr val="8FDB42"/>
            </a:solidFill>
            <a:ln w="2661" cap="flat">
              <a:noFill/>
              <a:prstDash val="solid"/>
              <a:miter/>
            </a:ln>
          </p:spPr>
          <p:txBody>
            <a:bodyPr rtlCol="0" anchor="ctr"/>
            <a:lstStyle/>
            <a:p>
              <a:endParaRPr lang="pl-PL"/>
            </a:p>
          </p:txBody>
        </p:sp>
        <p:sp>
          <p:nvSpPr>
            <p:cNvPr id="69" name="Freeform: Shape 68">
              <a:extLst>
                <a:ext uri="{FF2B5EF4-FFF2-40B4-BE49-F238E27FC236}">
                  <a16:creationId xmlns:a16="http://schemas.microsoft.com/office/drawing/2014/main" id="{EA73052C-510A-44F7-8D87-ED77CF1606E1}"/>
                </a:ext>
              </a:extLst>
            </p:cNvPr>
            <p:cNvSpPr/>
            <p:nvPr/>
          </p:nvSpPr>
          <p:spPr>
            <a:xfrm>
              <a:off x="11818135" y="6751161"/>
              <a:ext cx="19391" cy="18427"/>
            </a:xfrm>
            <a:custGeom>
              <a:avLst/>
              <a:gdLst>
                <a:gd name="connsiteX0" fmla="*/ 3041 w 34361"/>
                <a:gd name="connsiteY0" fmla="*/ -340 h 32653"/>
                <a:gd name="connsiteX1" fmla="*/ 8766 w 34361"/>
                <a:gd name="connsiteY1" fmla="*/ -340 h 32653"/>
                <a:gd name="connsiteX2" fmla="*/ 11029 w 34361"/>
                <a:gd name="connsiteY2" fmla="*/ 1364 h 32653"/>
                <a:gd name="connsiteX3" fmla="*/ 17606 w 34361"/>
                <a:gd name="connsiteY3" fmla="*/ 22665 h 32653"/>
                <a:gd name="connsiteX4" fmla="*/ 19257 w 34361"/>
                <a:gd name="connsiteY4" fmla="*/ 22665 h 32653"/>
                <a:gd name="connsiteX5" fmla="*/ 26020 w 34361"/>
                <a:gd name="connsiteY5" fmla="*/ 1364 h 32653"/>
                <a:gd name="connsiteX6" fmla="*/ 28230 w 34361"/>
                <a:gd name="connsiteY6" fmla="*/ -340 h 32653"/>
                <a:gd name="connsiteX7" fmla="*/ 33555 w 34361"/>
                <a:gd name="connsiteY7" fmla="*/ -340 h 32653"/>
                <a:gd name="connsiteX8" fmla="*/ 35179 w 34361"/>
                <a:gd name="connsiteY8" fmla="*/ 1976 h 32653"/>
                <a:gd name="connsiteX9" fmla="*/ 23623 w 34361"/>
                <a:gd name="connsiteY9" fmla="*/ 30546 h 32653"/>
                <a:gd name="connsiteX10" fmla="*/ 20961 w 34361"/>
                <a:gd name="connsiteY10" fmla="*/ 32304 h 32653"/>
                <a:gd name="connsiteX11" fmla="*/ 15130 w 34361"/>
                <a:gd name="connsiteY11" fmla="*/ 32304 h 32653"/>
                <a:gd name="connsiteX12" fmla="*/ 12467 w 34361"/>
                <a:gd name="connsiteY12" fmla="*/ 30546 h 32653"/>
                <a:gd name="connsiteX13" fmla="*/ 1178 w 34361"/>
                <a:gd name="connsiteY13" fmla="*/ 1923 h 32653"/>
                <a:gd name="connsiteX14" fmla="*/ 2748 w 34361"/>
                <a:gd name="connsiteY14" fmla="*/ -340 h 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361" h="32653">
                  <a:moveTo>
                    <a:pt x="3041" y="-340"/>
                  </a:moveTo>
                  <a:lnTo>
                    <a:pt x="8766" y="-340"/>
                  </a:lnTo>
                  <a:cubicBezTo>
                    <a:pt x="9839" y="-417"/>
                    <a:pt x="10806" y="310"/>
                    <a:pt x="11029" y="1364"/>
                  </a:cubicBezTo>
                  <a:lnTo>
                    <a:pt x="17606" y="22665"/>
                  </a:lnTo>
                  <a:cubicBezTo>
                    <a:pt x="18005" y="23757"/>
                    <a:pt x="18884" y="23757"/>
                    <a:pt x="19257" y="22665"/>
                  </a:cubicBezTo>
                  <a:lnTo>
                    <a:pt x="26020" y="1364"/>
                  </a:lnTo>
                  <a:cubicBezTo>
                    <a:pt x="26230" y="326"/>
                    <a:pt x="27173" y="-401"/>
                    <a:pt x="28230" y="-340"/>
                  </a:cubicBezTo>
                  <a:lnTo>
                    <a:pt x="33555" y="-340"/>
                  </a:lnTo>
                  <a:cubicBezTo>
                    <a:pt x="35046" y="-340"/>
                    <a:pt x="35685" y="592"/>
                    <a:pt x="35179" y="1976"/>
                  </a:cubicBezTo>
                  <a:lnTo>
                    <a:pt x="23623" y="30546"/>
                  </a:lnTo>
                  <a:cubicBezTo>
                    <a:pt x="23224" y="31657"/>
                    <a:pt x="22140" y="32373"/>
                    <a:pt x="20961" y="32304"/>
                  </a:cubicBezTo>
                  <a:lnTo>
                    <a:pt x="15130" y="32304"/>
                  </a:lnTo>
                  <a:cubicBezTo>
                    <a:pt x="13950" y="32373"/>
                    <a:pt x="12866" y="31657"/>
                    <a:pt x="12467" y="30546"/>
                  </a:cubicBezTo>
                  <a:lnTo>
                    <a:pt x="1178" y="1923"/>
                  </a:lnTo>
                  <a:cubicBezTo>
                    <a:pt x="672" y="592"/>
                    <a:pt x="1178" y="-340"/>
                    <a:pt x="2748" y="-340"/>
                  </a:cubicBezTo>
                </a:path>
              </a:pathLst>
            </a:custGeom>
            <a:solidFill>
              <a:srgbClr val="8FDB42"/>
            </a:solidFill>
            <a:ln w="2661" cap="flat">
              <a:noFill/>
              <a:prstDash val="solid"/>
              <a:miter/>
            </a:ln>
          </p:spPr>
          <p:txBody>
            <a:bodyPr rtlCol="0" anchor="ctr"/>
            <a:lstStyle/>
            <a:p>
              <a:endParaRPr lang="pl-PL"/>
            </a:p>
          </p:txBody>
        </p:sp>
        <p:sp>
          <p:nvSpPr>
            <p:cNvPr id="70" name="Freeform: Shape 69">
              <a:extLst>
                <a:ext uri="{FF2B5EF4-FFF2-40B4-BE49-F238E27FC236}">
                  <a16:creationId xmlns:a16="http://schemas.microsoft.com/office/drawing/2014/main" id="{DC387827-AB6D-4594-985A-28B84AD09F4F}"/>
                </a:ext>
              </a:extLst>
            </p:cNvPr>
            <p:cNvSpPr/>
            <p:nvPr/>
          </p:nvSpPr>
          <p:spPr>
            <a:xfrm>
              <a:off x="11839093" y="6750822"/>
              <a:ext cx="18454" cy="19157"/>
            </a:xfrm>
            <a:custGeom>
              <a:avLst/>
              <a:gdLst>
                <a:gd name="connsiteX0" fmla="*/ 17931 w 32701"/>
                <a:gd name="connsiteY0" fmla="*/ -324 h 33946"/>
                <a:gd name="connsiteX1" fmla="*/ 33689 w 32701"/>
                <a:gd name="connsiteY1" fmla="*/ 15867 h 33946"/>
                <a:gd name="connsiteX2" fmla="*/ 33614 w 32701"/>
                <a:gd name="connsiteY2" fmla="*/ 17196 h 33946"/>
                <a:gd name="connsiteX3" fmla="*/ 31809 w 32701"/>
                <a:gd name="connsiteY3" fmla="*/ 19012 h 33946"/>
                <a:gd name="connsiteX4" fmla="*/ 31670 w 32701"/>
                <a:gd name="connsiteY4" fmla="*/ 19006 h 33946"/>
                <a:gd name="connsiteX5" fmla="*/ 11568 w 32701"/>
                <a:gd name="connsiteY5" fmla="*/ 19006 h 33946"/>
                <a:gd name="connsiteX6" fmla="*/ 10130 w 32701"/>
                <a:gd name="connsiteY6" fmla="*/ 20950 h 33946"/>
                <a:gd name="connsiteX7" fmla="*/ 18118 w 32701"/>
                <a:gd name="connsiteY7" fmla="*/ 26488 h 33946"/>
                <a:gd name="connsiteX8" fmla="*/ 24455 w 32701"/>
                <a:gd name="connsiteY8" fmla="*/ 23613 h 33946"/>
                <a:gd name="connsiteX9" fmla="*/ 26771 w 32701"/>
                <a:gd name="connsiteY9" fmla="*/ 22148 h 33946"/>
                <a:gd name="connsiteX10" fmla="*/ 31058 w 32701"/>
                <a:gd name="connsiteY10" fmla="*/ 22148 h 33946"/>
                <a:gd name="connsiteX11" fmla="*/ 32789 w 32701"/>
                <a:gd name="connsiteY11" fmla="*/ 24358 h 33946"/>
                <a:gd name="connsiteX12" fmla="*/ 18118 w 32701"/>
                <a:gd name="connsiteY12" fmla="*/ 33571 h 33946"/>
                <a:gd name="connsiteX13" fmla="*/ 994 w 32701"/>
                <a:gd name="connsiteY13" fmla="*/ 17371 h 33946"/>
                <a:gd name="connsiteX14" fmla="*/ 997 w 32701"/>
                <a:gd name="connsiteY14" fmla="*/ 16370 h 33946"/>
                <a:gd name="connsiteX15" fmla="*/ 16866 w 32701"/>
                <a:gd name="connsiteY15" fmla="*/ -340 h 33946"/>
                <a:gd name="connsiteX16" fmla="*/ 18118 w 32701"/>
                <a:gd name="connsiteY16" fmla="*/ -324 h 33946"/>
                <a:gd name="connsiteX17" fmla="*/ 12020 w 32701"/>
                <a:gd name="connsiteY17" fmla="*/ 13362 h 33946"/>
                <a:gd name="connsiteX18" fmla="*/ 23257 w 32701"/>
                <a:gd name="connsiteY18" fmla="*/ 13362 h 33946"/>
                <a:gd name="connsiteX19" fmla="*/ 24774 w 32701"/>
                <a:gd name="connsiteY19" fmla="*/ 11365 h 33946"/>
                <a:gd name="connsiteX20" fmla="*/ 17984 w 32701"/>
                <a:gd name="connsiteY20" fmla="*/ 6705 h 33946"/>
                <a:gd name="connsiteX21" fmla="*/ 10582 w 32701"/>
                <a:gd name="connsiteY21" fmla="*/ 11285 h 33946"/>
                <a:gd name="connsiteX22" fmla="*/ 12020 w 32701"/>
                <a:gd name="connsiteY22" fmla="*/ 13362 h 3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701" h="33946">
                  <a:moveTo>
                    <a:pt x="17931" y="-324"/>
                  </a:moveTo>
                  <a:cubicBezTo>
                    <a:pt x="26753" y="-204"/>
                    <a:pt x="33809" y="7046"/>
                    <a:pt x="33689" y="15867"/>
                  </a:cubicBezTo>
                  <a:cubicBezTo>
                    <a:pt x="33681" y="16312"/>
                    <a:pt x="33657" y="16754"/>
                    <a:pt x="33614" y="17196"/>
                  </a:cubicBezTo>
                  <a:cubicBezTo>
                    <a:pt x="33617" y="18197"/>
                    <a:pt x="32807" y="19009"/>
                    <a:pt x="31809" y="19012"/>
                  </a:cubicBezTo>
                  <a:cubicBezTo>
                    <a:pt x="31764" y="19012"/>
                    <a:pt x="31716" y="19009"/>
                    <a:pt x="31670" y="19006"/>
                  </a:cubicBezTo>
                  <a:lnTo>
                    <a:pt x="11568" y="19006"/>
                  </a:lnTo>
                  <a:cubicBezTo>
                    <a:pt x="10369" y="19006"/>
                    <a:pt x="9624" y="19778"/>
                    <a:pt x="10130" y="20950"/>
                  </a:cubicBezTo>
                  <a:cubicBezTo>
                    <a:pt x="11272" y="24361"/>
                    <a:pt x="14523" y="26616"/>
                    <a:pt x="18118" y="26488"/>
                  </a:cubicBezTo>
                  <a:cubicBezTo>
                    <a:pt x="20589" y="26709"/>
                    <a:pt x="22996" y="25618"/>
                    <a:pt x="24455" y="23613"/>
                  </a:cubicBezTo>
                  <a:cubicBezTo>
                    <a:pt x="24897" y="22734"/>
                    <a:pt x="25789" y="22172"/>
                    <a:pt x="26771" y="22148"/>
                  </a:cubicBezTo>
                  <a:lnTo>
                    <a:pt x="31058" y="22148"/>
                  </a:lnTo>
                  <a:cubicBezTo>
                    <a:pt x="32416" y="22148"/>
                    <a:pt x="33295" y="23027"/>
                    <a:pt x="32789" y="24358"/>
                  </a:cubicBezTo>
                  <a:cubicBezTo>
                    <a:pt x="30387" y="30264"/>
                    <a:pt x="24479" y="33973"/>
                    <a:pt x="18118" y="33571"/>
                  </a:cubicBezTo>
                  <a:cubicBezTo>
                    <a:pt x="8916" y="33826"/>
                    <a:pt x="1250" y="26573"/>
                    <a:pt x="994" y="17371"/>
                  </a:cubicBezTo>
                  <a:cubicBezTo>
                    <a:pt x="986" y="17036"/>
                    <a:pt x="986" y="16703"/>
                    <a:pt x="997" y="16370"/>
                  </a:cubicBezTo>
                  <a:cubicBezTo>
                    <a:pt x="765" y="7373"/>
                    <a:pt x="7869" y="-109"/>
                    <a:pt x="16866" y="-340"/>
                  </a:cubicBezTo>
                  <a:cubicBezTo>
                    <a:pt x="17284" y="-351"/>
                    <a:pt x="17700" y="-346"/>
                    <a:pt x="18118" y="-324"/>
                  </a:cubicBezTo>
                  <a:moveTo>
                    <a:pt x="12020" y="13362"/>
                  </a:moveTo>
                  <a:lnTo>
                    <a:pt x="23257" y="13362"/>
                  </a:lnTo>
                  <a:cubicBezTo>
                    <a:pt x="24508" y="13362"/>
                    <a:pt x="25280" y="12616"/>
                    <a:pt x="24774" y="11365"/>
                  </a:cubicBezTo>
                  <a:cubicBezTo>
                    <a:pt x="23707" y="8545"/>
                    <a:pt x="20999" y="6686"/>
                    <a:pt x="17984" y="6705"/>
                  </a:cubicBezTo>
                  <a:cubicBezTo>
                    <a:pt x="14859" y="6737"/>
                    <a:pt x="12007" y="8502"/>
                    <a:pt x="10582" y="11285"/>
                  </a:cubicBezTo>
                  <a:cubicBezTo>
                    <a:pt x="10023" y="12483"/>
                    <a:pt x="10716" y="13362"/>
                    <a:pt x="12020" y="13362"/>
                  </a:cubicBezTo>
                </a:path>
              </a:pathLst>
            </a:custGeom>
            <a:solidFill>
              <a:srgbClr val="8FDB42"/>
            </a:solidFill>
            <a:ln w="2661" cap="flat">
              <a:noFill/>
              <a:prstDash val="solid"/>
              <a:miter/>
            </a:ln>
          </p:spPr>
          <p:txBody>
            <a:bodyPr rtlCol="0" anchor="ctr"/>
            <a:lstStyle/>
            <a:p>
              <a:endParaRPr lang="pl-PL"/>
            </a:p>
          </p:txBody>
        </p:sp>
        <p:sp>
          <p:nvSpPr>
            <p:cNvPr id="71" name="Freeform: Shape 70">
              <a:extLst>
                <a:ext uri="{FF2B5EF4-FFF2-40B4-BE49-F238E27FC236}">
                  <a16:creationId xmlns:a16="http://schemas.microsoft.com/office/drawing/2014/main" id="{0DE93061-054C-4D35-98BC-D000FA5B621F}"/>
                </a:ext>
              </a:extLst>
            </p:cNvPr>
            <p:cNvSpPr/>
            <p:nvPr/>
          </p:nvSpPr>
          <p:spPr>
            <a:xfrm>
              <a:off x="11575064" y="6784526"/>
              <a:ext cx="208318" cy="27505"/>
            </a:xfrm>
            <a:custGeom>
              <a:avLst/>
              <a:gdLst>
                <a:gd name="connsiteX0" fmla="*/ 2220 w 369143"/>
                <a:gd name="connsiteY0" fmla="*/ 48333 h 48740"/>
                <a:gd name="connsiteX1" fmla="*/ 4004 w 369143"/>
                <a:gd name="connsiteY1" fmla="*/ 48333 h 48740"/>
                <a:gd name="connsiteX2" fmla="*/ 5226 w 369143"/>
                <a:gd name="connsiteY2" fmla="*/ 47390 h 48740"/>
                <a:gd name="connsiteX3" fmla="*/ 5229 w 369143"/>
                <a:gd name="connsiteY3" fmla="*/ 47135 h 48740"/>
                <a:gd name="connsiteX4" fmla="*/ 5229 w 369143"/>
                <a:gd name="connsiteY4" fmla="*/ 37043 h 48740"/>
                <a:gd name="connsiteX5" fmla="*/ 7172 w 369143"/>
                <a:gd name="connsiteY5" fmla="*/ 36165 h 48740"/>
                <a:gd name="connsiteX6" fmla="*/ 14202 w 369143"/>
                <a:gd name="connsiteY6" fmla="*/ 38109 h 48740"/>
                <a:gd name="connsiteX7" fmla="*/ 26961 w 369143"/>
                <a:gd name="connsiteY7" fmla="*/ 25096 h 48740"/>
                <a:gd name="connsiteX8" fmla="*/ 26955 w 369143"/>
                <a:gd name="connsiteY8" fmla="*/ 24795 h 48740"/>
                <a:gd name="connsiteX9" fmla="*/ 14444 w 369143"/>
                <a:gd name="connsiteY9" fmla="*/ 11751 h 48740"/>
                <a:gd name="connsiteX10" fmla="*/ 14281 w 369143"/>
                <a:gd name="connsiteY10" fmla="*/ 11749 h 48740"/>
                <a:gd name="connsiteX11" fmla="*/ 6533 w 369143"/>
                <a:gd name="connsiteY11" fmla="*/ 14198 h 48740"/>
                <a:gd name="connsiteX12" fmla="*/ 4403 w 369143"/>
                <a:gd name="connsiteY12" fmla="*/ 13453 h 48740"/>
                <a:gd name="connsiteX13" fmla="*/ 4403 w 369143"/>
                <a:gd name="connsiteY13" fmla="*/ 13453 h 48740"/>
                <a:gd name="connsiteX14" fmla="*/ 3098 w 369143"/>
                <a:gd name="connsiteY14" fmla="*/ 12334 h 48740"/>
                <a:gd name="connsiteX15" fmla="*/ 2220 w 369143"/>
                <a:gd name="connsiteY15" fmla="*/ 12334 h 48740"/>
                <a:gd name="connsiteX16" fmla="*/ 998 w 369143"/>
                <a:gd name="connsiteY16" fmla="*/ 13277 h 48740"/>
                <a:gd name="connsiteX17" fmla="*/ 995 w 369143"/>
                <a:gd name="connsiteY17" fmla="*/ 13533 h 48740"/>
                <a:gd name="connsiteX18" fmla="*/ 995 w 369143"/>
                <a:gd name="connsiteY18" fmla="*/ 47135 h 48740"/>
                <a:gd name="connsiteX19" fmla="*/ 1964 w 369143"/>
                <a:gd name="connsiteY19" fmla="*/ 48336 h 48740"/>
                <a:gd name="connsiteX20" fmla="*/ 2220 w 369143"/>
                <a:gd name="connsiteY20" fmla="*/ 48333 h 48740"/>
                <a:gd name="connsiteX21" fmla="*/ 5575 w 369143"/>
                <a:gd name="connsiteY21" fmla="*/ 27991 h 48740"/>
                <a:gd name="connsiteX22" fmla="*/ 5575 w 369143"/>
                <a:gd name="connsiteY22" fmla="*/ 21920 h 48740"/>
                <a:gd name="connsiteX23" fmla="*/ 6107 w 369143"/>
                <a:gd name="connsiteY23" fmla="*/ 19816 h 48740"/>
                <a:gd name="connsiteX24" fmla="*/ 13749 w 369143"/>
                <a:gd name="connsiteY24" fmla="*/ 15769 h 48740"/>
                <a:gd name="connsiteX25" fmla="*/ 22269 w 369143"/>
                <a:gd name="connsiteY25" fmla="*/ 24875 h 48740"/>
                <a:gd name="connsiteX26" fmla="*/ 13749 w 369143"/>
                <a:gd name="connsiteY26" fmla="*/ 34195 h 48740"/>
                <a:gd name="connsiteX27" fmla="*/ 6107 w 369143"/>
                <a:gd name="connsiteY27" fmla="*/ 30094 h 48740"/>
                <a:gd name="connsiteX28" fmla="*/ 5575 w 369143"/>
                <a:gd name="connsiteY28" fmla="*/ 27991 h 48740"/>
                <a:gd name="connsiteX29" fmla="*/ 36967 w 369143"/>
                <a:gd name="connsiteY29" fmla="*/ -340 h 48740"/>
                <a:gd name="connsiteX30" fmla="*/ 34837 w 369143"/>
                <a:gd name="connsiteY30" fmla="*/ -340 h 48740"/>
                <a:gd name="connsiteX31" fmla="*/ 33612 w 369143"/>
                <a:gd name="connsiteY31" fmla="*/ 662 h 48740"/>
                <a:gd name="connsiteX32" fmla="*/ 33612 w 369143"/>
                <a:gd name="connsiteY32" fmla="*/ 885 h 48740"/>
                <a:gd name="connsiteX33" fmla="*/ 33612 w 369143"/>
                <a:gd name="connsiteY33" fmla="*/ 36431 h 48740"/>
                <a:gd name="connsiteX34" fmla="*/ 34581 w 369143"/>
                <a:gd name="connsiteY34" fmla="*/ 37632 h 48740"/>
                <a:gd name="connsiteX35" fmla="*/ 34837 w 369143"/>
                <a:gd name="connsiteY35" fmla="*/ 37629 h 48740"/>
                <a:gd name="connsiteX36" fmla="*/ 36967 w 369143"/>
                <a:gd name="connsiteY36" fmla="*/ 37629 h 48740"/>
                <a:gd name="connsiteX37" fmla="*/ 38189 w 369143"/>
                <a:gd name="connsiteY37" fmla="*/ 36687 h 48740"/>
                <a:gd name="connsiteX38" fmla="*/ 38192 w 369143"/>
                <a:gd name="connsiteY38" fmla="*/ 36431 h 48740"/>
                <a:gd name="connsiteX39" fmla="*/ 38192 w 369143"/>
                <a:gd name="connsiteY39" fmla="*/ 885 h 48740"/>
                <a:gd name="connsiteX40" fmla="*/ 37191 w 369143"/>
                <a:gd name="connsiteY40" fmla="*/ -340 h 48740"/>
                <a:gd name="connsiteX41" fmla="*/ 36967 w 369143"/>
                <a:gd name="connsiteY41" fmla="*/ -340 h 48740"/>
                <a:gd name="connsiteX42" fmla="*/ 44768 w 369143"/>
                <a:gd name="connsiteY42" fmla="*/ 30680 h 48740"/>
                <a:gd name="connsiteX43" fmla="*/ 52485 w 369143"/>
                <a:gd name="connsiteY43" fmla="*/ 38141 h 48740"/>
                <a:gd name="connsiteX44" fmla="*/ 53049 w 369143"/>
                <a:gd name="connsiteY44" fmla="*/ 38109 h 48740"/>
                <a:gd name="connsiteX45" fmla="*/ 61756 w 369143"/>
                <a:gd name="connsiteY45" fmla="*/ 35446 h 48740"/>
                <a:gd name="connsiteX46" fmla="*/ 63992 w 369143"/>
                <a:gd name="connsiteY46" fmla="*/ 36218 h 48740"/>
                <a:gd name="connsiteX47" fmla="*/ 64152 w 369143"/>
                <a:gd name="connsiteY47" fmla="*/ 36724 h 48740"/>
                <a:gd name="connsiteX48" fmla="*/ 65510 w 369143"/>
                <a:gd name="connsiteY48" fmla="*/ 37736 h 48740"/>
                <a:gd name="connsiteX49" fmla="*/ 66096 w 369143"/>
                <a:gd name="connsiteY49" fmla="*/ 37736 h 48740"/>
                <a:gd name="connsiteX50" fmla="*/ 67294 w 369143"/>
                <a:gd name="connsiteY50" fmla="*/ 36761 h 48740"/>
                <a:gd name="connsiteX51" fmla="*/ 67294 w 369143"/>
                <a:gd name="connsiteY51" fmla="*/ 36538 h 48740"/>
                <a:gd name="connsiteX52" fmla="*/ 67294 w 369143"/>
                <a:gd name="connsiteY52" fmla="*/ 22905 h 48740"/>
                <a:gd name="connsiteX53" fmla="*/ 56644 w 369143"/>
                <a:gd name="connsiteY53" fmla="*/ 11935 h 48740"/>
                <a:gd name="connsiteX54" fmla="*/ 45993 w 369143"/>
                <a:gd name="connsiteY54" fmla="*/ 19497 h 48740"/>
                <a:gd name="connsiteX55" fmla="*/ 46712 w 369143"/>
                <a:gd name="connsiteY55" fmla="*/ 20778 h 48740"/>
                <a:gd name="connsiteX56" fmla="*/ 47165 w 369143"/>
                <a:gd name="connsiteY56" fmla="*/ 20802 h 48740"/>
                <a:gd name="connsiteX57" fmla="*/ 49055 w 369143"/>
                <a:gd name="connsiteY57" fmla="*/ 20802 h 48740"/>
                <a:gd name="connsiteX58" fmla="*/ 50386 w 369143"/>
                <a:gd name="connsiteY58" fmla="*/ 19736 h 48740"/>
                <a:gd name="connsiteX59" fmla="*/ 56510 w 369143"/>
                <a:gd name="connsiteY59" fmla="*/ 15929 h 48740"/>
                <a:gd name="connsiteX60" fmla="*/ 62938 w 369143"/>
                <a:gd name="connsiteY60" fmla="*/ 20791 h 48740"/>
                <a:gd name="connsiteX61" fmla="*/ 62981 w 369143"/>
                <a:gd name="connsiteY61" fmla="*/ 21920 h 48740"/>
                <a:gd name="connsiteX62" fmla="*/ 61277 w 369143"/>
                <a:gd name="connsiteY62" fmla="*/ 23491 h 48740"/>
                <a:gd name="connsiteX63" fmla="*/ 55632 w 369143"/>
                <a:gd name="connsiteY63" fmla="*/ 23491 h 48740"/>
                <a:gd name="connsiteX64" fmla="*/ 44981 w 369143"/>
                <a:gd name="connsiteY64" fmla="*/ 30840 h 48740"/>
                <a:gd name="connsiteX65" fmla="*/ 49561 w 369143"/>
                <a:gd name="connsiteY65" fmla="*/ 30840 h 48740"/>
                <a:gd name="connsiteX66" fmla="*/ 55792 w 369143"/>
                <a:gd name="connsiteY66" fmla="*/ 27325 h 48740"/>
                <a:gd name="connsiteX67" fmla="*/ 61330 w 369143"/>
                <a:gd name="connsiteY67" fmla="*/ 27325 h 48740"/>
                <a:gd name="connsiteX68" fmla="*/ 63034 w 369143"/>
                <a:gd name="connsiteY68" fmla="*/ 28691 h 48740"/>
                <a:gd name="connsiteX69" fmla="*/ 63034 w 369143"/>
                <a:gd name="connsiteY69" fmla="*/ 29029 h 48740"/>
                <a:gd name="connsiteX70" fmla="*/ 63034 w 369143"/>
                <a:gd name="connsiteY70" fmla="*/ 29535 h 48740"/>
                <a:gd name="connsiteX71" fmla="*/ 62022 w 369143"/>
                <a:gd name="connsiteY71" fmla="*/ 31585 h 48740"/>
                <a:gd name="connsiteX72" fmla="*/ 54274 w 369143"/>
                <a:gd name="connsiteY72" fmla="*/ 34248 h 48740"/>
                <a:gd name="connsiteX73" fmla="*/ 49561 w 369143"/>
                <a:gd name="connsiteY73" fmla="*/ 30733 h 48740"/>
                <a:gd name="connsiteX74" fmla="*/ 76826 w 369143"/>
                <a:gd name="connsiteY74" fmla="*/ 37789 h 48740"/>
                <a:gd name="connsiteX75" fmla="*/ 78956 w 369143"/>
                <a:gd name="connsiteY75" fmla="*/ 37789 h 48740"/>
                <a:gd name="connsiteX76" fmla="*/ 80179 w 369143"/>
                <a:gd name="connsiteY76" fmla="*/ 36846 h 48740"/>
                <a:gd name="connsiteX77" fmla="*/ 80181 w 369143"/>
                <a:gd name="connsiteY77" fmla="*/ 36591 h 48740"/>
                <a:gd name="connsiteX78" fmla="*/ 80181 w 369143"/>
                <a:gd name="connsiteY78" fmla="*/ 20988 h 48740"/>
                <a:gd name="connsiteX79" fmla="*/ 81299 w 369143"/>
                <a:gd name="connsiteY79" fmla="*/ 18964 h 48740"/>
                <a:gd name="connsiteX80" fmla="*/ 89580 w 369143"/>
                <a:gd name="connsiteY80" fmla="*/ 16035 h 48740"/>
                <a:gd name="connsiteX81" fmla="*/ 95140 w 369143"/>
                <a:gd name="connsiteY81" fmla="*/ 20658 h 48740"/>
                <a:gd name="connsiteX82" fmla="*/ 95118 w 369143"/>
                <a:gd name="connsiteY82" fmla="*/ 21787 h 48740"/>
                <a:gd name="connsiteX83" fmla="*/ 95118 w 369143"/>
                <a:gd name="connsiteY83" fmla="*/ 36591 h 48740"/>
                <a:gd name="connsiteX84" fmla="*/ 96088 w 369143"/>
                <a:gd name="connsiteY84" fmla="*/ 37792 h 48740"/>
                <a:gd name="connsiteX85" fmla="*/ 96343 w 369143"/>
                <a:gd name="connsiteY85" fmla="*/ 37789 h 48740"/>
                <a:gd name="connsiteX86" fmla="*/ 98473 w 369143"/>
                <a:gd name="connsiteY86" fmla="*/ 37789 h 48740"/>
                <a:gd name="connsiteX87" fmla="*/ 99696 w 369143"/>
                <a:gd name="connsiteY87" fmla="*/ 36846 h 48740"/>
                <a:gd name="connsiteX88" fmla="*/ 99698 w 369143"/>
                <a:gd name="connsiteY88" fmla="*/ 36591 h 48740"/>
                <a:gd name="connsiteX89" fmla="*/ 99698 w 369143"/>
                <a:gd name="connsiteY89" fmla="*/ 21574 h 48740"/>
                <a:gd name="connsiteX90" fmla="*/ 90885 w 369143"/>
                <a:gd name="connsiteY90" fmla="*/ 11988 h 48740"/>
                <a:gd name="connsiteX91" fmla="*/ 81326 w 369143"/>
                <a:gd name="connsiteY91" fmla="*/ 14811 h 48740"/>
                <a:gd name="connsiteX92" fmla="*/ 79143 w 369143"/>
                <a:gd name="connsiteY92" fmla="*/ 13932 h 48740"/>
                <a:gd name="connsiteX93" fmla="*/ 79143 w 369143"/>
                <a:gd name="connsiteY93" fmla="*/ 13559 h 48740"/>
                <a:gd name="connsiteX94" fmla="*/ 77758 w 369143"/>
                <a:gd name="connsiteY94" fmla="*/ 12494 h 48740"/>
                <a:gd name="connsiteX95" fmla="*/ 76906 w 369143"/>
                <a:gd name="connsiteY95" fmla="*/ 12494 h 48740"/>
                <a:gd name="connsiteX96" fmla="*/ 75684 w 369143"/>
                <a:gd name="connsiteY96" fmla="*/ 13437 h 48740"/>
                <a:gd name="connsiteX97" fmla="*/ 75681 w 369143"/>
                <a:gd name="connsiteY97" fmla="*/ 13692 h 48740"/>
                <a:gd name="connsiteX98" fmla="*/ 75681 w 369143"/>
                <a:gd name="connsiteY98" fmla="*/ 36591 h 48740"/>
                <a:gd name="connsiteX99" fmla="*/ 76651 w 369143"/>
                <a:gd name="connsiteY99" fmla="*/ 37792 h 48740"/>
                <a:gd name="connsiteX100" fmla="*/ 76906 w 369143"/>
                <a:gd name="connsiteY100" fmla="*/ 37789 h 48740"/>
                <a:gd name="connsiteX101" fmla="*/ 106195 w 369143"/>
                <a:gd name="connsiteY101" fmla="*/ 24982 h 48740"/>
                <a:gd name="connsiteX102" fmla="*/ 118323 w 369143"/>
                <a:gd name="connsiteY102" fmla="*/ 38282 h 48740"/>
                <a:gd name="connsiteX103" fmla="*/ 119055 w 369143"/>
                <a:gd name="connsiteY103" fmla="*/ 38295 h 48740"/>
                <a:gd name="connsiteX104" fmla="*/ 129945 w 369143"/>
                <a:gd name="connsiteY104" fmla="*/ 31212 h 48740"/>
                <a:gd name="connsiteX105" fmla="*/ 128880 w 369143"/>
                <a:gd name="connsiteY105" fmla="*/ 29828 h 48740"/>
                <a:gd name="connsiteX106" fmla="*/ 127043 w 369143"/>
                <a:gd name="connsiteY106" fmla="*/ 29828 h 48740"/>
                <a:gd name="connsiteX107" fmla="*/ 125632 w 369143"/>
                <a:gd name="connsiteY107" fmla="*/ 30813 h 48740"/>
                <a:gd name="connsiteX108" fmla="*/ 119055 w 369143"/>
                <a:gd name="connsiteY108" fmla="*/ 34381 h 48740"/>
                <a:gd name="connsiteX109" fmla="*/ 111068 w 369143"/>
                <a:gd name="connsiteY109" fmla="*/ 28177 h 48740"/>
                <a:gd name="connsiteX110" fmla="*/ 112638 w 369143"/>
                <a:gd name="connsiteY110" fmla="*/ 26340 h 48740"/>
                <a:gd name="connsiteX111" fmla="*/ 129173 w 369143"/>
                <a:gd name="connsiteY111" fmla="*/ 26340 h 48740"/>
                <a:gd name="connsiteX112" fmla="*/ 130821 w 369143"/>
                <a:gd name="connsiteY112" fmla="*/ 24905 h 48740"/>
                <a:gd name="connsiteX113" fmla="*/ 130824 w 369143"/>
                <a:gd name="connsiteY113" fmla="*/ 24769 h 48740"/>
                <a:gd name="connsiteX114" fmla="*/ 119372 w 369143"/>
                <a:gd name="connsiteY114" fmla="*/ 11975 h 48740"/>
                <a:gd name="connsiteX115" fmla="*/ 119055 w 369143"/>
                <a:gd name="connsiteY115" fmla="*/ 11962 h 48740"/>
                <a:gd name="connsiteX116" fmla="*/ 106245 w 369143"/>
                <a:gd name="connsiteY116" fmla="*/ 24444 h 48740"/>
                <a:gd name="connsiteX117" fmla="*/ 106248 w 369143"/>
                <a:gd name="connsiteY117" fmla="*/ 24955 h 48740"/>
                <a:gd name="connsiteX118" fmla="*/ 111707 w 369143"/>
                <a:gd name="connsiteY118" fmla="*/ 20535 h 48740"/>
                <a:gd name="connsiteX119" fmla="*/ 119002 w 369143"/>
                <a:gd name="connsiteY119" fmla="*/ 15849 h 48740"/>
                <a:gd name="connsiteX120" fmla="*/ 125792 w 369143"/>
                <a:gd name="connsiteY120" fmla="*/ 20589 h 48740"/>
                <a:gd name="connsiteX121" fmla="*/ 124327 w 369143"/>
                <a:gd name="connsiteY121" fmla="*/ 22532 h 48740"/>
                <a:gd name="connsiteX122" fmla="*/ 113065 w 369143"/>
                <a:gd name="connsiteY122" fmla="*/ 22532 h 48740"/>
                <a:gd name="connsiteX123" fmla="*/ 111707 w 369143"/>
                <a:gd name="connsiteY123" fmla="*/ 20589 h 48740"/>
                <a:gd name="connsiteX124" fmla="*/ 135670 w 369143"/>
                <a:gd name="connsiteY124" fmla="*/ 16408 h 48740"/>
                <a:gd name="connsiteX125" fmla="*/ 137720 w 369143"/>
                <a:gd name="connsiteY125" fmla="*/ 16408 h 48740"/>
                <a:gd name="connsiteX126" fmla="*/ 138200 w 369143"/>
                <a:gd name="connsiteY126" fmla="*/ 16832 h 48740"/>
                <a:gd name="connsiteX127" fmla="*/ 138200 w 369143"/>
                <a:gd name="connsiteY127" fmla="*/ 16888 h 48740"/>
                <a:gd name="connsiteX128" fmla="*/ 138200 w 369143"/>
                <a:gd name="connsiteY128" fmla="*/ 30414 h 48740"/>
                <a:gd name="connsiteX129" fmla="*/ 145495 w 369143"/>
                <a:gd name="connsiteY129" fmla="*/ 38401 h 48740"/>
                <a:gd name="connsiteX130" fmla="*/ 151592 w 369143"/>
                <a:gd name="connsiteY130" fmla="*/ 37443 h 48740"/>
                <a:gd name="connsiteX131" fmla="*/ 151939 w 369143"/>
                <a:gd name="connsiteY131" fmla="*/ 35819 h 48740"/>
                <a:gd name="connsiteX132" fmla="*/ 151779 w 369143"/>
                <a:gd name="connsiteY132" fmla="*/ 34354 h 48740"/>
                <a:gd name="connsiteX133" fmla="*/ 150314 w 369143"/>
                <a:gd name="connsiteY133" fmla="*/ 33476 h 48740"/>
                <a:gd name="connsiteX134" fmla="*/ 145735 w 369143"/>
                <a:gd name="connsiteY134" fmla="*/ 34221 h 48740"/>
                <a:gd name="connsiteX135" fmla="*/ 142247 w 369143"/>
                <a:gd name="connsiteY135" fmla="*/ 30281 h 48740"/>
                <a:gd name="connsiteX136" fmla="*/ 142247 w 369143"/>
                <a:gd name="connsiteY136" fmla="*/ 16834 h 48740"/>
                <a:gd name="connsiteX137" fmla="*/ 142670 w 369143"/>
                <a:gd name="connsiteY137" fmla="*/ 16355 h 48740"/>
                <a:gd name="connsiteX138" fmla="*/ 142726 w 369143"/>
                <a:gd name="connsiteY138" fmla="*/ 16355 h 48740"/>
                <a:gd name="connsiteX139" fmla="*/ 150714 w 369143"/>
                <a:gd name="connsiteY139" fmla="*/ 16355 h 48740"/>
                <a:gd name="connsiteX140" fmla="*/ 151939 w 369143"/>
                <a:gd name="connsiteY140" fmla="*/ 15354 h 48740"/>
                <a:gd name="connsiteX141" fmla="*/ 151939 w 369143"/>
                <a:gd name="connsiteY141" fmla="*/ 15130 h 48740"/>
                <a:gd name="connsiteX142" fmla="*/ 151939 w 369143"/>
                <a:gd name="connsiteY142" fmla="*/ 13666 h 48740"/>
                <a:gd name="connsiteX143" fmla="*/ 150969 w 369143"/>
                <a:gd name="connsiteY143" fmla="*/ 12465 h 48740"/>
                <a:gd name="connsiteX144" fmla="*/ 150714 w 369143"/>
                <a:gd name="connsiteY144" fmla="*/ 12468 h 48740"/>
                <a:gd name="connsiteX145" fmla="*/ 142726 w 369143"/>
                <a:gd name="connsiteY145" fmla="*/ 12468 h 48740"/>
                <a:gd name="connsiteX146" fmla="*/ 142247 w 369143"/>
                <a:gd name="connsiteY146" fmla="*/ 11988 h 48740"/>
                <a:gd name="connsiteX147" fmla="*/ 142247 w 369143"/>
                <a:gd name="connsiteY147" fmla="*/ 11962 h 48740"/>
                <a:gd name="connsiteX148" fmla="*/ 142247 w 369143"/>
                <a:gd name="connsiteY148" fmla="*/ 6636 h 48740"/>
                <a:gd name="connsiteX149" fmla="*/ 140889 w 369143"/>
                <a:gd name="connsiteY149" fmla="*/ 5571 h 48740"/>
                <a:gd name="connsiteX150" fmla="*/ 138839 w 369143"/>
                <a:gd name="connsiteY150" fmla="*/ 6104 h 48740"/>
                <a:gd name="connsiteX151" fmla="*/ 137827 w 369143"/>
                <a:gd name="connsiteY151" fmla="*/ 7462 h 48740"/>
                <a:gd name="connsiteX152" fmla="*/ 137827 w 369143"/>
                <a:gd name="connsiteY152" fmla="*/ 11855 h 48740"/>
                <a:gd name="connsiteX153" fmla="*/ 137377 w 369143"/>
                <a:gd name="connsiteY153" fmla="*/ 12361 h 48740"/>
                <a:gd name="connsiteX154" fmla="*/ 137321 w 369143"/>
                <a:gd name="connsiteY154" fmla="*/ 12361 h 48740"/>
                <a:gd name="connsiteX155" fmla="*/ 135138 w 369143"/>
                <a:gd name="connsiteY155" fmla="*/ 12361 h 48740"/>
                <a:gd name="connsiteX156" fmla="*/ 133915 w 369143"/>
                <a:gd name="connsiteY156" fmla="*/ 13304 h 48740"/>
                <a:gd name="connsiteX157" fmla="*/ 133913 w 369143"/>
                <a:gd name="connsiteY157" fmla="*/ 13559 h 48740"/>
                <a:gd name="connsiteX158" fmla="*/ 133913 w 369143"/>
                <a:gd name="connsiteY158" fmla="*/ 15024 h 48740"/>
                <a:gd name="connsiteX159" fmla="*/ 134914 w 369143"/>
                <a:gd name="connsiteY159" fmla="*/ 16248 h 48740"/>
                <a:gd name="connsiteX160" fmla="*/ 135138 w 369143"/>
                <a:gd name="connsiteY160" fmla="*/ 16248 h 48740"/>
                <a:gd name="connsiteX161" fmla="*/ 168820 w 369143"/>
                <a:gd name="connsiteY161" fmla="*/ 24023 h 48740"/>
                <a:gd name="connsiteX162" fmla="*/ 169821 w 369143"/>
                <a:gd name="connsiteY162" fmla="*/ 25248 h 48740"/>
                <a:gd name="connsiteX163" fmla="*/ 170044 w 369143"/>
                <a:gd name="connsiteY163" fmla="*/ 25248 h 48740"/>
                <a:gd name="connsiteX164" fmla="*/ 175609 w 369143"/>
                <a:gd name="connsiteY164" fmla="*/ 25248 h 48740"/>
                <a:gd name="connsiteX165" fmla="*/ 176674 w 369143"/>
                <a:gd name="connsiteY165" fmla="*/ 26087 h 48740"/>
                <a:gd name="connsiteX166" fmla="*/ 176674 w 369143"/>
                <a:gd name="connsiteY166" fmla="*/ 26313 h 48740"/>
                <a:gd name="connsiteX167" fmla="*/ 176674 w 369143"/>
                <a:gd name="connsiteY167" fmla="*/ 31772 h 48740"/>
                <a:gd name="connsiteX168" fmla="*/ 177556 w 369143"/>
                <a:gd name="connsiteY168" fmla="*/ 32994 h 48740"/>
                <a:gd name="connsiteX169" fmla="*/ 177872 w 369143"/>
                <a:gd name="connsiteY169" fmla="*/ 32996 h 48740"/>
                <a:gd name="connsiteX170" fmla="*/ 179230 w 369143"/>
                <a:gd name="connsiteY170" fmla="*/ 32996 h 48740"/>
                <a:gd name="connsiteX171" fmla="*/ 180455 w 369143"/>
                <a:gd name="connsiteY171" fmla="*/ 31995 h 48740"/>
                <a:gd name="connsiteX172" fmla="*/ 180455 w 369143"/>
                <a:gd name="connsiteY172" fmla="*/ 31772 h 48740"/>
                <a:gd name="connsiteX173" fmla="*/ 180455 w 369143"/>
                <a:gd name="connsiteY173" fmla="*/ 26313 h 48740"/>
                <a:gd name="connsiteX174" fmla="*/ 181353 w 369143"/>
                <a:gd name="connsiteY174" fmla="*/ 25248 h 48740"/>
                <a:gd name="connsiteX175" fmla="*/ 181520 w 369143"/>
                <a:gd name="connsiteY175" fmla="*/ 25248 h 48740"/>
                <a:gd name="connsiteX176" fmla="*/ 186979 w 369143"/>
                <a:gd name="connsiteY176" fmla="*/ 25248 h 48740"/>
                <a:gd name="connsiteX177" fmla="*/ 188203 w 369143"/>
                <a:gd name="connsiteY177" fmla="*/ 24247 h 48740"/>
                <a:gd name="connsiteX178" fmla="*/ 188203 w 369143"/>
                <a:gd name="connsiteY178" fmla="*/ 24023 h 48740"/>
                <a:gd name="connsiteX179" fmla="*/ 188203 w 369143"/>
                <a:gd name="connsiteY179" fmla="*/ 22665 h 48740"/>
                <a:gd name="connsiteX180" fmla="*/ 187234 w 369143"/>
                <a:gd name="connsiteY180" fmla="*/ 21465 h 48740"/>
                <a:gd name="connsiteX181" fmla="*/ 186979 w 369143"/>
                <a:gd name="connsiteY181" fmla="*/ 21467 h 48740"/>
                <a:gd name="connsiteX182" fmla="*/ 181520 w 369143"/>
                <a:gd name="connsiteY182" fmla="*/ 21467 h 48740"/>
                <a:gd name="connsiteX183" fmla="*/ 180453 w 369143"/>
                <a:gd name="connsiteY183" fmla="*/ 20573 h 48740"/>
                <a:gd name="connsiteX184" fmla="*/ 180455 w 369143"/>
                <a:gd name="connsiteY184" fmla="*/ 20376 h 48740"/>
                <a:gd name="connsiteX185" fmla="*/ 180455 w 369143"/>
                <a:gd name="connsiteY185" fmla="*/ 15050 h 48740"/>
                <a:gd name="connsiteX186" fmla="*/ 179515 w 369143"/>
                <a:gd name="connsiteY186" fmla="*/ 13825 h 48740"/>
                <a:gd name="connsiteX187" fmla="*/ 179230 w 369143"/>
                <a:gd name="connsiteY187" fmla="*/ 13825 h 48740"/>
                <a:gd name="connsiteX188" fmla="*/ 177846 w 369143"/>
                <a:gd name="connsiteY188" fmla="*/ 13825 h 48740"/>
                <a:gd name="connsiteX189" fmla="*/ 176621 w 369143"/>
                <a:gd name="connsiteY189" fmla="*/ 14702 h 48740"/>
                <a:gd name="connsiteX190" fmla="*/ 176621 w 369143"/>
                <a:gd name="connsiteY190" fmla="*/ 15050 h 48740"/>
                <a:gd name="connsiteX191" fmla="*/ 176621 w 369143"/>
                <a:gd name="connsiteY191" fmla="*/ 20376 h 48740"/>
                <a:gd name="connsiteX192" fmla="*/ 175814 w 369143"/>
                <a:gd name="connsiteY192" fmla="*/ 21465 h 48740"/>
                <a:gd name="connsiteX193" fmla="*/ 175556 w 369143"/>
                <a:gd name="connsiteY193" fmla="*/ 21467 h 48740"/>
                <a:gd name="connsiteX194" fmla="*/ 170044 w 369143"/>
                <a:gd name="connsiteY194" fmla="*/ 21467 h 48740"/>
                <a:gd name="connsiteX195" fmla="*/ 168822 w 369143"/>
                <a:gd name="connsiteY195" fmla="*/ 22410 h 48740"/>
                <a:gd name="connsiteX196" fmla="*/ 168820 w 369143"/>
                <a:gd name="connsiteY196" fmla="*/ 22665 h 48740"/>
                <a:gd name="connsiteX197" fmla="*/ 209185 w 369143"/>
                <a:gd name="connsiteY197" fmla="*/ 48360 h 48740"/>
                <a:gd name="connsiteX198" fmla="*/ 210995 w 369143"/>
                <a:gd name="connsiteY198" fmla="*/ 48360 h 48740"/>
                <a:gd name="connsiteX199" fmla="*/ 212194 w 369143"/>
                <a:gd name="connsiteY199" fmla="*/ 47385 h 48740"/>
                <a:gd name="connsiteX200" fmla="*/ 212194 w 369143"/>
                <a:gd name="connsiteY200" fmla="*/ 47161 h 48740"/>
                <a:gd name="connsiteX201" fmla="*/ 212194 w 369143"/>
                <a:gd name="connsiteY201" fmla="*/ 37070 h 48740"/>
                <a:gd name="connsiteX202" fmla="*/ 214137 w 369143"/>
                <a:gd name="connsiteY202" fmla="*/ 36192 h 48740"/>
                <a:gd name="connsiteX203" fmla="*/ 221167 w 369143"/>
                <a:gd name="connsiteY203" fmla="*/ 38135 h 48740"/>
                <a:gd name="connsiteX204" fmla="*/ 233926 w 369143"/>
                <a:gd name="connsiteY204" fmla="*/ 25123 h 48740"/>
                <a:gd name="connsiteX205" fmla="*/ 233921 w 369143"/>
                <a:gd name="connsiteY205" fmla="*/ 24822 h 48740"/>
                <a:gd name="connsiteX206" fmla="*/ 221409 w 369143"/>
                <a:gd name="connsiteY206" fmla="*/ 11778 h 48740"/>
                <a:gd name="connsiteX207" fmla="*/ 221247 w 369143"/>
                <a:gd name="connsiteY207" fmla="*/ 11775 h 48740"/>
                <a:gd name="connsiteX208" fmla="*/ 213525 w 369143"/>
                <a:gd name="connsiteY208" fmla="*/ 14225 h 48740"/>
                <a:gd name="connsiteX209" fmla="*/ 211368 w 369143"/>
                <a:gd name="connsiteY209" fmla="*/ 13479 h 48740"/>
                <a:gd name="connsiteX210" fmla="*/ 211368 w 369143"/>
                <a:gd name="connsiteY210" fmla="*/ 13479 h 48740"/>
                <a:gd name="connsiteX211" fmla="*/ 210064 w 369143"/>
                <a:gd name="connsiteY211" fmla="*/ 12361 h 48740"/>
                <a:gd name="connsiteX212" fmla="*/ 209185 w 369143"/>
                <a:gd name="connsiteY212" fmla="*/ 12361 h 48740"/>
                <a:gd name="connsiteX213" fmla="*/ 207963 w 369143"/>
                <a:gd name="connsiteY213" fmla="*/ 13304 h 48740"/>
                <a:gd name="connsiteX214" fmla="*/ 207960 w 369143"/>
                <a:gd name="connsiteY214" fmla="*/ 13559 h 48740"/>
                <a:gd name="connsiteX215" fmla="*/ 207960 w 369143"/>
                <a:gd name="connsiteY215" fmla="*/ 47161 h 48740"/>
                <a:gd name="connsiteX216" fmla="*/ 208929 w 369143"/>
                <a:gd name="connsiteY216" fmla="*/ 48362 h 48740"/>
                <a:gd name="connsiteX217" fmla="*/ 209185 w 369143"/>
                <a:gd name="connsiteY217" fmla="*/ 48360 h 48740"/>
                <a:gd name="connsiteX218" fmla="*/ 212540 w 369143"/>
                <a:gd name="connsiteY218" fmla="*/ 28017 h 48740"/>
                <a:gd name="connsiteX219" fmla="*/ 212540 w 369143"/>
                <a:gd name="connsiteY219" fmla="*/ 21947 h 48740"/>
                <a:gd name="connsiteX220" fmla="*/ 213072 w 369143"/>
                <a:gd name="connsiteY220" fmla="*/ 19843 h 48740"/>
                <a:gd name="connsiteX221" fmla="*/ 220714 w 369143"/>
                <a:gd name="connsiteY221" fmla="*/ 15796 h 48740"/>
                <a:gd name="connsiteX222" fmla="*/ 229234 w 369143"/>
                <a:gd name="connsiteY222" fmla="*/ 24902 h 48740"/>
                <a:gd name="connsiteX223" fmla="*/ 220714 w 369143"/>
                <a:gd name="connsiteY223" fmla="*/ 34221 h 48740"/>
                <a:gd name="connsiteX224" fmla="*/ 213072 w 369143"/>
                <a:gd name="connsiteY224" fmla="*/ 30121 h 48740"/>
                <a:gd name="connsiteX225" fmla="*/ 212540 w 369143"/>
                <a:gd name="connsiteY225" fmla="*/ 28017 h 48740"/>
                <a:gd name="connsiteX226" fmla="*/ 238740 w 369143"/>
                <a:gd name="connsiteY226" fmla="*/ 24849 h 48740"/>
                <a:gd name="connsiteX227" fmla="*/ 250868 w 369143"/>
                <a:gd name="connsiteY227" fmla="*/ 38148 h 48740"/>
                <a:gd name="connsiteX228" fmla="*/ 251600 w 369143"/>
                <a:gd name="connsiteY228" fmla="*/ 38162 h 48740"/>
                <a:gd name="connsiteX229" fmla="*/ 262491 w 369143"/>
                <a:gd name="connsiteY229" fmla="*/ 31079 h 48740"/>
                <a:gd name="connsiteX230" fmla="*/ 261425 w 369143"/>
                <a:gd name="connsiteY230" fmla="*/ 29695 h 48740"/>
                <a:gd name="connsiteX231" fmla="*/ 259588 w 369143"/>
                <a:gd name="connsiteY231" fmla="*/ 29695 h 48740"/>
                <a:gd name="connsiteX232" fmla="*/ 258177 w 369143"/>
                <a:gd name="connsiteY232" fmla="*/ 30680 h 48740"/>
                <a:gd name="connsiteX233" fmla="*/ 251600 w 369143"/>
                <a:gd name="connsiteY233" fmla="*/ 34248 h 48740"/>
                <a:gd name="connsiteX234" fmla="*/ 243612 w 369143"/>
                <a:gd name="connsiteY234" fmla="*/ 28044 h 48740"/>
                <a:gd name="connsiteX235" fmla="*/ 245184 w 369143"/>
                <a:gd name="connsiteY235" fmla="*/ 26207 h 48740"/>
                <a:gd name="connsiteX236" fmla="*/ 261718 w 369143"/>
                <a:gd name="connsiteY236" fmla="*/ 26207 h 48740"/>
                <a:gd name="connsiteX237" fmla="*/ 263366 w 369143"/>
                <a:gd name="connsiteY237" fmla="*/ 24774 h 48740"/>
                <a:gd name="connsiteX238" fmla="*/ 263369 w 369143"/>
                <a:gd name="connsiteY238" fmla="*/ 24636 h 48740"/>
                <a:gd name="connsiteX239" fmla="*/ 251917 w 369143"/>
                <a:gd name="connsiteY239" fmla="*/ 11842 h 48740"/>
                <a:gd name="connsiteX240" fmla="*/ 251600 w 369143"/>
                <a:gd name="connsiteY240" fmla="*/ 11829 h 48740"/>
                <a:gd name="connsiteX241" fmla="*/ 238791 w 369143"/>
                <a:gd name="connsiteY241" fmla="*/ 24311 h 48740"/>
                <a:gd name="connsiteX242" fmla="*/ 238793 w 369143"/>
                <a:gd name="connsiteY242" fmla="*/ 24822 h 48740"/>
                <a:gd name="connsiteX243" fmla="*/ 244118 w 369143"/>
                <a:gd name="connsiteY243" fmla="*/ 20402 h 48740"/>
                <a:gd name="connsiteX244" fmla="*/ 251414 w 369143"/>
                <a:gd name="connsiteY244" fmla="*/ 15716 h 48740"/>
                <a:gd name="connsiteX245" fmla="*/ 258204 w 369143"/>
                <a:gd name="connsiteY245" fmla="*/ 20455 h 48740"/>
                <a:gd name="connsiteX246" fmla="*/ 256739 w 369143"/>
                <a:gd name="connsiteY246" fmla="*/ 22399 h 48740"/>
                <a:gd name="connsiteX247" fmla="*/ 245476 w 369143"/>
                <a:gd name="connsiteY247" fmla="*/ 22399 h 48740"/>
                <a:gd name="connsiteX248" fmla="*/ 244118 w 369143"/>
                <a:gd name="connsiteY248" fmla="*/ 20455 h 48740"/>
                <a:gd name="connsiteX249" fmla="*/ 268082 w 369143"/>
                <a:gd name="connsiteY249" fmla="*/ 24875 h 48740"/>
                <a:gd name="connsiteX250" fmla="*/ 280801 w 369143"/>
                <a:gd name="connsiteY250" fmla="*/ 38188 h 48740"/>
                <a:gd name="connsiteX251" fmla="*/ 281395 w 369143"/>
                <a:gd name="connsiteY251" fmla="*/ 38188 h 48740"/>
                <a:gd name="connsiteX252" fmla="*/ 294708 w 369143"/>
                <a:gd name="connsiteY252" fmla="*/ 25469 h 48740"/>
                <a:gd name="connsiteX253" fmla="*/ 294708 w 369143"/>
                <a:gd name="connsiteY253" fmla="*/ 24875 h 48740"/>
                <a:gd name="connsiteX254" fmla="*/ 281989 w 369143"/>
                <a:gd name="connsiteY254" fmla="*/ 11874 h 48740"/>
                <a:gd name="connsiteX255" fmla="*/ 281395 w 369143"/>
                <a:gd name="connsiteY255" fmla="*/ 11882 h 48740"/>
                <a:gd name="connsiteX256" fmla="*/ 268087 w 369143"/>
                <a:gd name="connsiteY256" fmla="*/ 24335 h 48740"/>
                <a:gd name="connsiteX257" fmla="*/ 268082 w 369143"/>
                <a:gd name="connsiteY257" fmla="*/ 24875 h 48740"/>
                <a:gd name="connsiteX258" fmla="*/ 272662 w 369143"/>
                <a:gd name="connsiteY258" fmla="*/ 25035 h 48740"/>
                <a:gd name="connsiteX259" fmla="*/ 281012 w 369143"/>
                <a:gd name="connsiteY259" fmla="*/ 15833 h 48740"/>
                <a:gd name="connsiteX260" fmla="*/ 281528 w 369143"/>
                <a:gd name="connsiteY260" fmla="*/ 15822 h 48740"/>
                <a:gd name="connsiteX261" fmla="*/ 290349 w 369143"/>
                <a:gd name="connsiteY261" fmla="*/ 24628 h 48740"/>
                <a:gd name="connsiteX262" fmla="*/ 290341 w 369143"/>
                <a:gd name="connsiteY262" fmla="*/ 25035 h 48740"/>
                <a:gd name="connsiteX263" fmla="*/ 281882 w 369143"/>
                <a:gd name="connsiteY263" fmla="*/ 34240 h 48740"/>
                <a:gd name="connsiteX264" fmla="*/ 281528 w 369143"/>
                <a:gd name="connsiteY264" fmla="*/ 34248 h 48740"/>
                <a:gd name="connsiteX265" fmla="*/ 272654 w 369143"/>
                <a:gd name="connsiteY265" fmla="*/ 25442 h 48740"/>
                <a:gd name="connsiteX266" fmla="*/ 272662 w 369143"/>
                <a:gd name="connsiteY266" fmla="*/ 25035 h 48740"/>
                <a:gd name="connsiteX267" fmla="*/ 302749 w 369143"/>
                <a:gd name="connsiteY267" fmla="*/ 48386 h 48740"/>
                <a:gd name="connsiteX268" fmla="*/ 304533 w 369143"/>
                <a:gd name="connsiteY268" fmla="*/ 48386 h 48740"/>
                <a:gd name="connsiteX269" fmla="*/ 305755 w 369143"/>
                <a:gd name="connsiteY269" fmla="*/ 47444 h 48740"/>
                <a:gd name="connsiteX270" fmla="*/ 305758 w 369143"/>
                <a:gd name="connsiteY270" fmla="*/ 47188 h 48740"/>
                <a:gd name="connsiteX271" fmla="*/ 305758 w 369143"/>
                <a:gd name="connsiteY271" fmla="*/ 37097 h 48740"/>
                <a:gd name="connsiteX272" fmla="*/ 307702 w 369143"/>
                <a:gd name="connsiteY272" fmla="*/ 36218 h 48740"/>
                <a:gd name="connsiteX273" fmla="*/ 314731 w 369143"/>
                <a:gd name="connsiteY273" fmla="*/ 38162 h 48740"/>
                <a:gd name="connsiteX274" fmla="*/ 327490 w 369143"/>
                <a:gd name="connsiteY274" fmla="*/ 25096 h 48740"/>
                <a:gd name="connsiteX275" fmla="*/ 327485 w 369143"/>
                <a:gd name="connsiteY275" fmla="*/ 24849 h 48740"/>
                <a:gd name="connsiteX276" fmla="*/ 314973 w 369143"/>
                <a:gd name="connsiteY276" fmla="*/ 11805 h 48740"/>
                <a:gd name="connsiteX277" fmla="*/ 314811 w 369143"/>
                <a:gd name="connsiteY277" fmla="*/ 11802 h 48740"/>
                <a:gd name="connsiteX278" fmla="*/ 307063 w 369143"/>
                <a:gd name="connsiteY278" fmla="*/ 14252 h 48740"/>
                <a:gd name="connsiteX279" fmla="*/ 304933 w 369143"/>
                <a:gd name="connsiteY279" fmla="*/ 13506 h 48740"/>
                <a:gd name="connsiteX280" fmla="*/ 304933 w 369143"/>
                <a:gd name="connsiteY280" fmla="*/ 13506 h 48740"/>
                <a:gd name="connsiteX281" fmla="*/ 303628 w 369143"/>
                <a:gd name="connsiteY281" fmla="*/ 12388 h 48740"/>
                <a:gd name="connsiteX282" fmla="*/ 302749 w 369143"/>
                <a:gd name="connsiteY282" fmla="*/ 12388 h 48740"/>
                <a:gd name="connsiteX283" fmla="*/ 301527 w 369143"/>
                <a:gd name="connsiteY283" fmla="*/ 13330 h 48740"/>
                <a:gd name="connsiteX284" fmla="*/ 301524 w 369143"/>
                <a:gd name="connsiteY284" fmla="*/ 13586 h 48740"/>
                <a:gd name="connsiteX285" fmla="*/ 301524 w 369143"/>
                <a:gd name="connsiteY285" fmla="*/ 47188 h 48740"/>
                <a:gd name="connsiteX286" fmla="*/ 302494 w 369143"/>
                <a:gd name="connsiteY286" fmla="*/ 48389 h 48740"/>
                <a:gd name="connsiteX287" fmla="*/ 302749 w 369143"/>
                <a:gd name="connsiteY287" fmla="*/ 48386 h 48740"/>
                <a:gd name="connsiteX288" fmla="*/ 306104 w 369143"/>
                <a:gd name="connsiteY288" fmla="*/ 28044 h 48740"/>
                <a:gd name="connsiteX289" fmla="*/ 306104 w 369143"/>
                <a:gd name="connsiteY289" fmla="*/ 21973 h 48740"/>
                <a:gd name="connsiteX290" fmla="*/ 306637 w 369143"/>
                <a:gd name="connsiteY290" fmla="*/ 19870 h 48740"/>
                <a:gd name="connsiteX291" fmla="*/ 314278 w 369143"/>
                <a:gd name="connsiteY291" fmla="*/ 15822 h 48740"/>
                <a:gd name="connsiteX292" fmla="*/ 322799 w 369143"/>
                <a:gd name="connsiteY292" fmla="*/ 24929 h 48740"/>
                <a:gd name="connsiteX293" fmla="*/ 314278 w 369143"/>
                <a:gd name="connsiteY293" fmla="*/ 34248 h 48740"/>
                <a:gd name="connsiteX294" fmla="*/ 306637 w 369143"/>
                <a:gd name="connsiteY294" fmla="*/ 30147 h 48740"/>
                <a:gd name="connsiteX295" fmla="*/ 306104 w 369143"/>
                <a:gd name="connsiteY295" fmla="*/ 28044 h 48740"/>
                <a:gd name="connsiteX296" fmla="*/ 337496 w 369143"/>
                <a:gd name="connsiteY296" fmla="*/ -286 h 48740"/>
                <a:gd name="connsiteX297" fmla="*/ 335366 w 369143"/>
                <a:gd name="connsiteY297" fmla="*/ -286 h 48740"/>
                <a:gd name="connsiteX298" fmla="*/ 334141 w 369143"/>
                <a:gd name="connsiteY298" fmla="*/ 715 h 48740"/>
                <a:gd name="connsiteX299" fmla="*/ 334141 w 369143"/>
                <a:gd name="connsiteY299" fmla="*/ 938 h 48740"/>
                <a:gd name="connsiteX300" fmla="*/ 334141 w 369143"/>
                <a:gd name="connsiteY300" fmla="*/ 36484 h 48740"/>
                <a:gd name="connsiteX301" fmla="*/ 335111 w 369143"/>
                <a:gd name="connsiteY301" fmla="*/ 37685 h 48740"/>
                <a:gd name="connsiteX302" fmla="*/ 335366 w 369143"/>
                <a:gd name="connsiteY302" fmla="*/ 37683 h 48740"/>
                <a:gd name="connsiteX303" fmla="*/ 337496 w 369143"/>
                <a:gd name="connsiteY303" fmla="*/ 37683 h 48740"/>
                <a:gd name="connsiteX304" fmla="*/ 338718 w 369143"/>
                <a:gd name="connsiteY304" fmla="*/ 36740 h 48740"/>
                <a:gd name="connsiteX305" fmla="*/ 338721 w 369143"/>
                <a:gd name="connsiteY305" fmla="*/ 36484 h 48740"/>
                <a:gd name="connsiteX306" fmla="*/ 338721 w 369143"/>
                <a:gd name="connsiteY306" fmla="*/ 885 h 48740"/>
                <a:gd name="connsiteX307" fmla="*/ 337720 w 369143"/>
                <a:gd name="connsiteY307" fmla="*/ -340 h 48740"/>
                <a:gd name="connsiteX308" fmla="*/ 337496 w 369143"/>
                <a:gd name="connsiteY308" fmla="*/ -340 h 48740"/>
                <a:gd name="connsiteX309" fmla="*/ 345484 w 369143"/>
                <a:gd name="connsiteY309" fmla="*/ 24822 h 48740"/>
                <a:gd name="connsiteX310" fmla="*/ 357612 w 369143"/>
                <a:gd name="connsiteY310" fmla="*/ 38122 h 48740"/>
                <a:gd name="connsiteX311" fmla="*/ 358345 w 369143"/>
                <a:gd name="connsiteY311" fmla="*/ 38135 h 48740"/>
                <a:gd name="connsiteX312" fmla="*/ 369235 w 369143"/>
                <a:gd name="connsiteY312" fmla="*/ 31053 h 48740"/>
                <a:gd name="connsiteX313" fmla="*/ 368170 w 369143"/>
                <a:gd name="connsiteY313" fmla="*/ 29668 h 48740"/>
                <a:gd name="connsiteX314" fmla="*/ 366333 w 369143"/>
                <a:gd name="connsiteY314" fmla="*/ 29668 h 48740"/>
                <a:gd name="connsiteX315" fmla="*/ 364921 w 369143"/>
                <a:gd name="connsiteY315" fmla="*/ 30653 h 48740"/>
                <a:gd name="connsiteX316" fmla="*/ 358345 w 369143"/>
                <a:gd name="connsiteY316" fmla="*/ 34221 h 48740"/>
                <a:gd name="connsiteX317" fmla="*/ 350357 w 369143"/>
                <a:gd name="connsiteY317" fmla="*/ 28017 h 48740"/>
                <a:gd name="connsiteX318" fmla="*/ 351928 w 369143"/>
                <a:gd name="connsiteY318" fmla="*/ 26180 h 48740"/>
                <a:gd name="connsiteX319" fmla="*/ 368463 w 369143"/>
                <a:gd name="connsiteY319" fmla="*/ 26180 h 48740"/>
                <a:gd name="connsiteX320" fmla="*/ 370111 w 369143"/>
                <a:gd name="connsiteY320" fmla="*/ 24745 h 48740"/>
                <a:gd name="connsiteX321" fmla="*/ 370113 w 369143"/>
                <a:gd name="connsiteY321" fmla="*/ 24609 h 48740"/>
                <a:gd name="connsiteX322" fmla="*/ 358661 w 369143"/>
                <a:gd name="connsiteY322" fmla="*/ 11815 h 48740"/>
                <a:gd name="connsiteX323" fmla="*/ 358371 w 369143"/>
                <a:gd name="connsiteY323" fmla="*/ 11802 h 48740"/>
                <a:gd name="connsiteX324" fmla="*/ 345535 w 369143"/>
                <a:gd name="connsiteY324" fmla="*/ 24311 h 48740"/>
                <a:gd name="connsiteX325" fmla="*/ 345538 w 369143"/>
                <a:gd name="connsiteY325" fmla="*/ 24795 h 48740"/>
                <a:gd name="connsiteX326" fmla="*/ 350863 w 369143"/>
                <a:gd name="connsiteY326" fmla="*/ 20376 h 48740"/>
                <a:gd name="connsiteX327" fmla="*/ 358185 w 369143"/>
                <a:gd name="connsiteY327" fmla="*/ 15689 h 48740"/>
                <a:gd name="connsiteX328" fmla="*/ 364948 w 369143"/>
                <a:gd name="connsiteY328" fmla="*/ 20429 h 48740"/>
                <a:gd name="connsiteX329" fmla="*/ 363484 w 369143"/>
                <a:gd name="connsiteY329" fmla="*/ 22373 h 48740"/>
                <a:gd name="connsiteX330" fmla="*/ 352221 w 369143"/>
                <a:gd name="connsiteY330" fmla="*/ 22373 h 48740"/>
                <a:gd name="connsiteX331" fmla="*/ 350863 w 369143"/>
                <a:gd name="connsiteY331" fmla="*/ 20429 h 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Lst>
              <a:rect l="l" t="t" r="r" b="b"/>
              <a:pathLst>
                <a:path w="369143" h="48740">
                  <a:moveTo>
                    <a:pt x="2220" y="48333"/>
                  </a:moveTo>
                  <a:lnTo>
                    <a:pt x="4004" y="48333"/>
                  </a:lnTo>
                  <a:cubicBezTo>
                    <a:pt x="4603" y="48410"/>
                    <a:pt x="5149" y="47987"/>
                    <a:pt x="5226" y="47390"/>
                  </a:cubicBezTo>
                  <a:cubicBezTo>
                    <a:pt x="5237" y="47305"/>
                    <a:pt x="5237" y="47220"/>
                    <a:pt x="5229" y="47135"/>
                  </a:cubicBezTo>
                  <a:lnTo>
                    <a:pt x="5229" y="37043"/>
                  </a:lnTo>
                  <a:cubicBezTo>
                    <a:pt x="5229" y="35632"/>
                    <a:pt x="6001" y="35339"/>
                    <a:pt x="7172" y="36165"/>
                  </a:cubicBezTo>
                  <a:cubicBezTo>
                    <a:pt x="9265" y="37507"/>
                    <a:pt x="11717" y="38183"/>
                    <a:pt x="14202" y="38109"/>
                  </a:cubicBezTo>
                  <a:cubicBezTo>
                    <a:pt x="21319" y="38039"/>
                    <a:pt x="27033" y="32214"/>
                    <a:pt x="26961" y="25096"/>
                  </a:cubicBezTo>
                  <a:cubicBezTo>
                    <a:pt x="26961" y="24995"/>
                    <a:pt x="26958" y="24897"/>
                    <a:pt x="26955" y="24795"/>
                  </a:cubicBezTo>
                  <a:cubicBezTo>
                    <a:pt x="27102" y="17740"/>
                    <a:pt x="21502" y="11898"/>
                    <a:pt x="14444" y="11751"/>
                  </a:cubicBezTo>
                  <a:cubicBezTo>
                    <a:pt x="14391" y="11749"/>
                    <a:pt x="14335" y="11749"/>
                    <a:pt x="14281" y="11749"/>
                  </a:cubicBezTo>
                  <a:cubicBezTo>
                    <a:pt x="11496" y="11671"/>
                    <a:pt x="8767" y="12534"/>
                    <a:pt x="6533" y="14198"/>
                  </a:cubicBezTo>
                  <a:cubicBezTo>
                    <a:pt x="5468" y="15024"/>
                    <a:pt x="4643" y="14837"/>
                    <a:pt x="4403" y="13453"/>
                  </a:cubicBezTo>
                  <a:lnTo>
                    <a:pt x="4403" y="13453"/>
                  </a:lnTo>
                  <a:cubicBezTo>
                    <a:pt x="4347" y="12787"/>
                    <a:pt x="3767" y="12289"/>
                    <a:pt x="3098" y="12334"/>
                  </a:cubicBezTo>
                  <a:lnTo>
                    <a:pt x="2220" y="12334"/>
                  </a:lnTo>
                  <a:cubicBezTo>
                    <a:pt x="1621" y="12257"/>
                    <a:pt x="1075" y="12681"/>
                    <a:pt x="998" y="13277"/>
                  </a:cubicBezTo>
                  <a:cubicBezTo>
                    <a:pt x="987" y="13362"/>
                    <a:pt x="987" y="13447"/>
                    <a:pt x="995" y="13533"/>
                  </a:cubicBezTo>
                  <a:lnTo>
                    <a:pt x="995" y="47135"/>
                  </a:lnTo>
                  <a:cubicBezTo>
                    <a:pt x="931" y="47734"/>
                    <a:pt x="1365" y="48272"/>
                    <a:pt x="1964" y="48336"/>
                  </a:cubicBezTo>
                  <a:cubicBezTo>
                    <a:pt x="2049" y="48344"/>
                    <a:pt x="2134" y="48344"/>
                    <a:pt x="2220" y="48333"/>
                  </a:cubicBezTo>
                  <a:moveTo>
                    <a:pt x="5575" y="27991"/>
                  </a:moveTo>
                  <a:lnTo>
                    <a:pt x="5575" y="21920"/>
                  </a:lnTo>
                  <a:cubicBezTo>
                    <a:pt x="5535" y="21180"/>
                    <a:pt x="5721" y="20447"/>
                    <a:pt x="6107" y="19816"/>
                  </a:cubicBezTo>
                  <a:cubicBezTo>
                    <a:pt x="7777" y="17228"/>
                    <a:pt x="10671" y="15695"/>
                    <a:pt x="13749" y="15769"/>
                  </a:cubicBezTo>
                  <a:cubicBezTo>
                    <a:pt x="18606" y="15958"/>
                    <a:pt x="22405" y="20019"/>
                    <a:pt x="22269" y="24875"/>
                  </a:cubicBezTo>
                  <a:cubicBezTo>
                    <a:pt x="22480" y="29799"/>
                    <a:pt x="18672" y="33965"/>
                    <a:pt x="13749" y="34195"/>
                  </a:cubicBezTo>
                  <a:cubicBezTo>
                    <a:pt x="10655" y="34285"/>
                    <a:pt x="7745" y="32722"/>
                    <a:pt x="6107" y="30094"/>
                  </a:cubicBezTo>
                  <a:cubicBezTo>
                    <a:pt x="5721" y="29463"/>
                    <a:pt x="5535" y="28731"/>
                    <a:pt x="5575" y="27991"/>
                  </a:cubicBezTo>
                  <a:moveTo>
                    <a:pt x="36967" y="-340"/>
                  </a:moveTo>
                  <a:lnTo>
                    <a:pt x="34837" y="-340"/>
                  </a:lnTo>
                  <a:cubicBezTo>
                    <a:pt x="34222" y="-401"/>
                    <a:pt x="33673" y="46"/>
                    <a:pt x="33612" y="662"/>
                  </a:cubicBezTo>
                  <a:cubicBezTo>
                    <a:pt x="33604" y="736"/>
                    <a:pt x="33604" y="811"/>
                    <a:pt x="33612" y="885"/>
                  </a:cubicBezTo>
                  <a:lnTo>
                    <a:pt x="33612" y="36431"/>
                  </a:lnTo>
                  <a:cubicBezTo>
                    <a:pt x="33548" y="37030"/>
                    <a:pt x="33982" y="37568"/>
                    <a:pt x="34581" y="37632"/>
                  </a:cubicBezTo>
                  <a:cubicBezTo>
                    <a:pt x="34666" y="37640"/>
                    <a:pt x="34752" y="37640"/>
                    <a:pt x="34837" y="37629"/>
                  </a:cubicBezTo>
                  <a:lnTo>
                    <a:pt x="36967" y="37629"/>
                  </a:lnTo>
                  <a:cubicBezTo>
                    <a:pt x="37566" y="37707"/>
                    <a:pt x="38112" y="37283"/>
                    <a:pt x="38189" y="36687"/>
                  </a:cubicBezTo>
                  <a:cubicBezTo>
                    <a:pt x="38200" y="36602"/>
                    <a:pt x="38200" y="36516"/>
                    <a:pt x="38192" y="36431"/>
                  </a:cubicBezTo>
                  <a:lnTo>
                    <a:pt x="38192" y="885"/>
                  </a:lnTo>
                  <a:cubicBezTo>
                    <a:pt x="38253" y="270"/>
                    <a:pt x="37806" y="-278"/>
                    <a:pt x="37191" y="-340"/>
                  </a:cubicBezTo>
                  <a:cubicBezTo>
                    <a:pt x="37116" y="-348"/>
                    <a:pt x="37041" y="-348"/>
                    <a:pt x="36967" y="-340"/>
                  </a:cubicBezTo>
                  <a:moveTo>
                    <a:pt x="44768" y="30680"/>
                  </a:moveTo>
                  <a:cubicBezTo>
                    <a:pt x="44840" y="34871"/>
                    <a:pt x="48294" y="38210"/>
                    <a:pt x="52485" y="38141"/>
                  </a:cubicBezTo>
                  <a:cubicBezTo>
                    <a:pt x="52674" y="38135"/>
                    <a:pt x="52860" y="38125"/>
                    <a:pt x="53049" y="38109"/>
                  </a:cubicBezTo>
                  <a:cubicBezTo>
                    <a:pt x="56154" y="38127"/>
                    <a:pt x="59192" y="37198"/>
                    <a:pt x="61756" y="35446"/>
                  </a:cubicBezTo>
                  <a:cubicBezTo>
                    <a:pt x="62821" y="34780"/>
                    <a:pt x="63646" y="35020"/>
                    <a:pt x="63992" y="36218"/>
                  </a:cubicBezTo>
                  <a:lnTo>
                    <a:pt x="64152" y="36724"/>
                  </a:lnTo>
                  <a:cubicBezTo>
                    <a:pt x="64275" y="37363"/>
                    <a:pt x="64863" y="37802"/>
                    <a:pt x="65510" y="37736"/>
                  </a:cubicBezTo>
                  <a:lnTo>
                    <a:pt x="66096" y="37736"/>
                  </a:lnTo>
                  <a:cubicBezTo>
                    <a:pt x="66695" y="37797"/>
                    <a:pt x="67233" y="37363"/>
                    <a:pt x="67294" y="36761"/>
                  </a:cubicBezTo>
                  <a:cubicBezTo>
                    <a:pt x="67302" y="36687"/>
                    <a:pt x="67302" y="36612"/>
                    <a:pt x="67294" y="36538"/>
                  </a:cubicBezTo>
                  <a:lnTo>
                    <a:pt x="67294" y="22905"/>
                  </a:lnTo>
                  <a:cubicBezTo>
                    <a:pt x="67294" y="15982"/>
                    <a:pt x="63353" y="11935"/>
                    <a:pt x="56644" y="11935"/>
                  </a:cubicBezTo>
                  <a:cubicBezTo>
                    <a:pt x="50892" y="11935"/>
                    <a:pt x="46872" y="14864"/>
                    <a:pt x="45993" y="19497"/>
                  </a:cubicBezTo>
                  <a:cubicBezTo>
                    <a:pt x="45839" y="20048"/>
                    <a:pt x="46161" y="20623"/>
                    <a:pt x="46712" y="20778"/>
                  </a:cubicBezTo>
                  <a:cubicBezTo>
                    <a:pt x="46858" y="20818"/>
                    <a:pt x="47013" y="20825"/>
                    <a:pt x="47165" y="20802"/>
                  </a:cubicBezTo>
                  <a:lnTo>
                    <a:pt x="49055" y="20802"/>
                  </a:lnTo>
                  <a:cubicBezTo>
                    <a:pt x="49702" y="20825"/>
                    <a:pt x="50269" y="20373"/>
                    <a:pt x="50386" y="19736"/>
                  </a:cubicBezTo>
                  <a:cubicBezTo>
                    <a:pt x="51305" y="17207"/>
                    <a:pt x="53835" y="15633"/>
                    <a:pt x="56510" y="15929"/>
                  </a:cubicBezTo>
                  <a:cubicBezTo>
                    <a:pt x="59628" y="15498"/>
                    <a:pt x="62504" y="17673"/>
                    <a:pt x="62938" y="20791"/>
                  </a:cubicBezTo>
                  <a:cubicBezTo>
                    <a:pt x="62989" y="21164"/>
                    <a:pt x="63005" y="21542"/>
                    <a:pt x="62981" y="21920"/>
                  </a:cubicBezTo>
                  <a:cubicBezTo>
                    <a:pt x="62981" y="22958"/>
                    <a:pt x="62368" y="23491"/>
                    <a:pt x="61277" y="23491"/>
                  </a:cubicBezTo>
                  <a:lnTo>
                    <a:pt x="55632" y="23491"/>
                  </a:lnTo>
                  <a:cubicBezTo>
                    <a:pt x="48975" y="23491"/>
                    <a:pt x="44981" y="26606"/>
                    <a:pt x="44981" y="30840"/>
                  </a:cubicBezTo>
                  <a:moveTo>
                    <a:pt x="49561" y="30840"/>
                  </a:moveTo>
                  <a:cubicBezTo>
                    <a:pt x="49561" y="28417"/>
                    <a:pt x="51638" y="27325"/>
                    <a:pt x="55792" y="27325"/>
                  </a:cubicBezTo>
                  <a:lnTo>
                    <a:pt x="61330" y="27325"/>
                  </a:lnTo>
                  <a:cubicBezTo>
                    <a:pt x="62177" y="27232"/>
                    <a:pt x="62941" y="27844"/>
                    <a:pt x="63034" y="28691"/>
                  </a:cubicBezTo>
                  <a:cubicBezTo>
                    <a:pt x="63047" y="28803"/>
                    <a:pt x="63047" y="28917"/>
                    <a:pt x="63034" y="29029"/>
                  </a:cubicBezTo>
                  <a:lnTo>
                    <a:pt x="63034" y="29535"/>
                  </a:lnTo>
                  <a:cubicBezTo>
                    <a:pt x="63071" y="30347"/>
                    <a:pt x="62688" y="31119"/>
                    <a:pt x="62022" y="31585"/>
                  </a:cubicBezTo>
                  <a:cubicBezTo>
                    <a:pt x="59767" y="33233"/>
                    <a:pt x="57067" y="34160"/>
                    <a:pt x="54274" y="34248"/>
                  </a:cubicBezTo>
                  <a:cubicBezTo>
                    <a:pt x="51611" y="34248"/>
                    <a:pt x="49561" y="33129"/>
                    <a:pt x="49561" y="30733"/>
                  </a:cubicBezTo>
                  <a:moveTo>
                    <a:pt x="76826" y="37789"/>
                  </a:moveTo>
                  <a:lnTo>
                    <a:pt x="78956" y="37789"/>
                  </a:lnTo>
                  <a:cubicBezTo>
                    <a:pt x="79555" y="37866"/>
                    <a:pt x="80101" y="37443"/>
                    <a:pt x="80179" y="36846"/>
                  </a:cubicBezTo>
                  <a:cubicBezTo>
                    <a:pt x="80189" y="36761"/>
                    <a:pt x="80189" y="36676"/>
                    <a:pt x="80181" y="36591"/>
                  </a:cubicBezTo>
                  <a:lnTo>
                    <a:pt x="80181" y="20988"/>
                  </a:lnTo>
                  <a:cubicBezTo>
                    <a:pt x="80123" y="20152"/>
                    <a:pt x="80562" y="19361"/>
                    <a:pt x="81299" y="18964"/>
                  </a:cubicBezTo>
                  <a:cubicBezTo>
                    <a:pt x="83752" y="17274"/>
                    <a:pt x="86609" y="16264"/>
                    <a:pt x="89580" y="16035"/>
                  </a:cubicBezTo>
                  <a:cubicBezTo>
                    <a:pt x="92392" y="15777"/>
                    <a:pt x="94881" y="17846"/>
                    <a:pt x="95140" y="20658"/>
                  </a:cubicBezTo>
                  <a:cubicBezTo>
                    <a:pt x="95174" y="21033"/>
                    <a:pt x="95166" y="21411"/>
                    <a:pt x="95118" y="21787"/>
                  </a:cubicBezTo>
                  <a:lnTo>
                    <a:pt x="95118" y="36591"/>
                  </a:lnTo>
                  <a:cubicBezTo>
                    <a:pt x="95054" y="37190"/>
                    <a:pt x="95489" y="37728"/>
                    <a:pt x="96088" y="37792"/>
                  </a:cubicBezTo>
                  <a:cubicBezTo>
                    <a:pt x="96173" y="37800"/>
                    <a:pt x="96258" y="37800"/>
                    <a:pt x="96343" y="37789"/>
                  </a:cubicBezTo>
                  <a:lnTo>
                    <a:pt x="98473" y="37789"/>
                  </a:lnTo>
                  <a:cubicBezTo>
                    <a:pt x="99072" y="37866"/>
                    <a:pt x="99618" y="37443"/>
                    <a:pt x="99696" y="36846"/>
                  </a:cubicBezTo>
                  <a:cubicBezTo>
                    <a:pt x="99706" y="36761"/>
                    <a:pt x="99706" y="36676"/>
                    <a:pt x="99698" y="36591"/>
                  </a:cubicBezTo>
                  <a:lnTo>
                    <a:pt x="99698" y="21574"/>
                  </a:lnTo>
                  <a:cubicBezTo>
                    <a:pt x="99698" y="15343"/>
                    <a:pt x="96397" y="11988"/>
                    <a:pt x="90885" y="11988"/>
                  </a:cubicBezTo>
                  <a:cubicBezTo>
                    <a:pt x="87495" y="11996"/>
                    <a:pt x="84178" y="12976"/>
                    <a:pt x="81326" y="14811"/>
                  </a:cubicBezTo>
                  <a:cubicBezTo>
                    <a:pt x="80261" y="15503"/>
                    <a:pt x="79436" y="15210"/>
                    <a:pt x="79143" y="13932"/>
                  </a:cubicBezTo>
                  <a:lnTo>
                    <a:pt x="79143" y="13559"/>
                  </a:lnTo>
                  <a:cubicBezTo>
                    <a:pt x="79023" y="12902"/>
                    <a:pt x="78424" y="12444"/>
                    <a:pt x="77758" y="12494"/>
                  </a:cubicBezTo>
                  <a:lnTo>
                    <a:pt x="76906" y="12494"/>
                  </a:lnTo>
                  <a:cubicBezTo>
                    <a:pt x="76307" y="12417"/>
                    <a:pt x="75761" y="12840"/>
                    <a:pt x="75684" y="13437"/>
                  </a:cubicBezTo>
                  <a:cubicBezTo>
                    <a:pt x="75673" y="13522"/>
                    <a:pt x="75673" y="13607"/>
                    <a:pt x="75681" y="13692"/>
                  </a:cubicBezTo>
                  <a:lnTo>
                    <a:pt x="75681" y="36591"/>
                  </a:lnTo>
                  <a:cubicBezTo>
                    <a:pt x="75617" y="37190"/>
                    <a:pt x="76051" y="37728"/>
                    <a:pt x="76651" y="37792"/>
                  </a:cubicBezTo>
                  <a:cubicBezTo>
                    <a:pt x="76736" y="37800"/>
                    <a:pt x="76821" y="37800"/>
                    <a:pt x="76906" y="37789"/>
                  </a:cubicBezTo>
                  <a:moveTo>
                    <a:pt x="106195" y="24982"/>
                  </a:moveTo>
                  <a:cubicBezTo>
                    <a:pt x="105870" y="32003"/>
                    <a:pt x="111299" y="37959"/>
                    <a:pt x="118323" y="38282"/>
                  </a:cubicBezTo>
                  <a:cubicBezTo>
                    <a:pt x="118565" y="38292"/>
                    <a:pt x="118810" y="38298"/>
                    <a:pt x="119055" y="38295"/>
                  </a:cubicBezTo>
                  <a:cubicBezTo>
                    <a:pt x="123824" y="38492"/>
                    <a:pt x="128193" y="35651"/>
                    <a:pt x="129945" y="31212"/>
                  </a:cubicBezTo>
                  <a:cubicBezTo>
                    <a:pt x="130238" y="30387"/>
                    <a:pt x="129706" y="29828"/>
                    <a:pt x="128880" y="29828"/>
                  </a:cubicBezTo>
                  <a:lnTo>
                    <a:pt x="127043" y="29828"/>
                  </a:lnTo>
                  <a:cubicBezTo>
                    <a:pt x="126409" y="29817"/>
                    <a:pt x="125840" y="30214"/>
                    <a:pt x="125632" y="30813"/>
                  </a:cubicBezTo>
                  <a:cubicBezTo>
                    <a:pt x="124357" y="33217"/>
                    <a:pt x="121766" y="34623"/>
                    <a:pt x="119055" y="34381"/>
                  </a:cubicBezTo>
                  <a:cubicBezTo>
                    <a:pt x="115256" y="34477"/>
                    <a:pt x="111914" y="31881"/>
                    <a:pt x="111068" y="28177"/>
                  </a:cubicBezTo>
                  <a:cubicBezTo>
                    <a:pt x="110775" y="27059"/>
                    <a:pt x="111467" y="26340"/>
                    <a:pt x="112638" y="26340"/>
                  </a:cubicBezTo>
                  <a:lnTo>
                    <a:pt x="129173" y="26340"/>
                  </a:lnTo>
                  <a:cubicBezTo>
                    <a:pt x="130025" y="26398"/>
                    <a:pt x="130763" y="25757"/>
                    <a:pt x="130821" y="24905"/>
                  </a:cubicBezTo>
                  <a:cubicBezTo>
                    <a:pt x="130824" y="24859"/>
                    <a:pt x="130824" y="24814"/>
                    <a:pt x="130824" y="24769"/>
                  </a:cubicBezTo>
                  <a:cubicBezTo>
                    <a:pt x="131194" y="18072"/>
                    <a:pt x="126069" y="12345"/>
                    <a:pt x="119372" y="11975"/>
                  </a:cubicBezTo>
                  <a:cubicBezTo>
                    <a:pt x="119266" y="11970"/>
                    <a:pt x="119162" y="11964"/>
                    <a:pt x="119055" y="11962"/>
                  </a:cubicBezTo>
                  <a:cubicBezTo>
                    <a:pt x="112071" y="11871"/>
                    <a:pt x="106336" y="17460"/>
                    <a:pt x="106245" y="24444"/>
                  </a:cubicBezTo>
                  <a:cubicBezTo>
                    <a:pt x="106243" y="24614"/>
                    <a:pt x="106243" y="24785"/>
                    <a:pt x="106248" y="24955"/>
                  </a:cubicBezTo>
                  <a:moveTo>
                    <a:pt x="111707" y="20535"/>
                  </a:moveTo>
                  <a:cubicBezTo>
                    <a:pt x="113006" y="17676"/>
                    <a:pt x="115860" y="15841"/>
                    <a:pt x="119002" y="15849"/>
                  </a:cubicBezTo>
                  <a:cubicBezTo>
                    <a:pt x="122038" y="15844"/>
                    <a:pt x="124751" y="17737"/>
                    <a:pt x="125792" y="20589"/>
                  </a:cubicBezTo>
                  <a:cubicBezTo>
                    <a:pt x="126218" y="21760"/>
                    <a:pt x="125526" y="22532"/>
                    <a:pt x="124327" y="22532"/>
                  </a:cubicBezTo>
                  <a:lnTo>
                    <a:pt x="113065" y="22532"/>
                  </a:lnTo>
                  <a:cubicBezTo>
                    <a:pt x="111786" y="22532"/>
                    <a:pt x="111121" y="21707"/>
                    <a:pt x="111707" y="20589"/>
                  </a:cubicBezTo>
                  <a:moveTo>
                    <a:pt x="135670" y="16408"/>
                  </a:moveTo>
                  <a:lnTo>
                    <a:pt x="137720" y="16408"/>
                  </a:lnTo>
                  <a:cubicBezTo>
                    <a:pt x="137971" y="16392"/>
                    <a:pt x="138184" y="16584"/>
                    <a:pt x="138200" y="16832"/>
                  </a:cubicBezTo>
                  <a:cubicBezTo>
                    <a:pt x="138200" y="16850"/>
                    <a:pt x="138200" y="16869"/>
                    <a:pt x="138200" y="16888"/>
                  </a:cubicBezTo>
                  <a:lnTo>
                    <a:pt x="138200" y="30414"/>
                  </a:lnTo>
                  <a:cubicBezTo>
                    <a:pt x="138200" y="36218"/>
                    <a:pt x="141475" y="38401"/>
                    <a:pt x="145495" y="38401"/>
                  </a:cubicBezTo>
                  <a:cubicBezTo>
                    <a:pt x="147564" y="38404"/>
                    <a:pt x="149622" y="38079"/>
                    <a:pt x="151592" y="37443"/>
                  </a:cubicBezTo>
                  <a:cubicBezTo>
                    <a:pt x="152090" y="37059"/>
                    <a:pt x="152239" y="36373"/>
                    <a:pt x="151939" y="35819"/>
                  </a:cubicBezTo>
                  <a:lnTo>
                    <a:pt x="151779" y="34354"/>
                  </a:lnTo>
                  <a:cubicBezTo>
                    <a:pt x="151779" y="33529"/>
                    <a:pt x="151140" y="33183"/>
                    <a:pt x="150314" y="33476"/>
                  </a:cubicBezTo>
                  <a:cubicBezTo>
                    <a:pt x="148837" y="33963"/>
                    <a:pt x="147292" y="34216"/>
                    <a:pt x="145735" y="34221"/>
                  </a:cubicBezTo>
                  <a:cubicBezTo>
                    <a:pt x="143472" y="34221"/>
                    <a:pt x="142247" y="32996"/>
                    <a:pt x="142247" y="30281"/>
                  </a:cubicBezTo>
                  <a:lnTo>
                    <a:pt x="142247" y="16834"/>
                  </a:lnTo>
                  <a:cubicBezTo>
                    <a:pt x="142231" y="16584"/>
                    <a:pt x="142423" y="16371"/>
                    <a:pt x="142670" y="16355"/>
                  </a:cubicBezTo>
                  <a:cubicBezTo>
                    <a:pt x="142689" y="16355"/>
                    <a:pt x="142707" y="16355"/>
                    <a:pt x="142726" y="16355"/>
                  </a:cubicBezTo>
                  <a:lnTo>
                    <a:pt x="150714" y="16355"/>
                  </a:lnTo>
                  <a:cubicBezTo>
                    <a:pt x="151329" y="16416"/>
                    <a:pt x="151877" y="15969"/>
                    <a:pt x="151939" y="15354"/>
                  </a:cubicBezTo>
                  <a:cubicBezTo>
                    <a:pt x="151947" y="15279"/>
                    <a:pt x="151947" y="15205"/>
                    <a:pt x="151939" y="15130"/>
                  </a:cubicBezTo>
                  <a:lnTo>
                    <a:pt x="151939" y="13666"/>
                  </a:lnTo>
                  <a:cubicBezTo>
                    <a:pt x="152003" y="13067"/>
                    <a:pt x="151569" y="12529"/>
                    <a:pt x="150969" y="12465"/>
                  </a:cubicBezTo>
                  <a:cubicBezTo>
                    <a:pt x="150884" y="12457"/>
                    <a:pt x="150799" y="12457"/>
                    <a:pt x="150714" y="12468"/>
                  </a:cubicBezTo>
                  <a:lnTo>
                    <a:pt x="142726" y="12468"/>
                  </a:lnTo>
                  <a:cubicBezTo>
                    <a:pt x="142462" y="12468"/>
                    <a:pt x="142247" y="12255"/>
                    <a:pt x="142247" y="11988"/>
                  </a:cubicBezTo>
                  <a:cubicBezTo>
                    <a:pt x="142247" y="11980"/>
                    <a:pt x="142247" y="11970"/>
                    <a:pt x="142247" y="11962"/>
                  </a:cubicBezTo>
                  <a:lnTo>
                    <a:pt x="142247" y="6636"/>
                  </a:lnTo>
                  <a:cubicBezTo>
                    <a:pt x="142247" y="5811"/>
                    <a:pt x="141767" y="5332"/>
                    <a:pt x="140889" y="5571"/>
                  </a:cubicBezTo>
                  <a:lnTo>
                    <a:pt x="138839" y="6104"/>
                  </a:lnTo>
                  <a:cubicBezTo>
                    <a:pt x="138200" y="6224"/>
                    <a:pt x="137760" y="6815"/>
                    <a:pt x="137827" y="7462"/>
                  </a:cubicBezTo>
                  <a:lnTo>
                    <a:pt x="137827" y="11855"/>
                  </a:lnTo>
                  <a:cubicBezTo>
                    <a:pt x="137843" y="12119"/>
                    <a:pt x="137640" y="12345"/>
                    <a:pt x="137377" y="12361"/>
                  </a:cubicBezTo>
                  <a:cubicBezTo>
                    <a:pt x="137358" y="12361"/>
                    <a:pt x="137340" y="12361"/>
                    <a:pt x="137321" y="12361"/>
                  </a:cubicBezTo>
                  <a:lnTo>
                    <a:pt x="135138" y="12361"/>
                  </a:lnTo>
                  <a:cubicBezTo>
                    <a:pt x="134539" y="12284"/>
                    <a:pt x="133993" y="12707"/>
                    <a:pt x="133915" y="13304"/>
                  </a:cubicBezTo>
                  <a:cubicBezTo>
                    <a:pt x="133905" y="13389"/>
                    <a:pt x="133905" y="13474"/>
                    <a:pt x="133913" y="13559"/>
                  </a:cubicBezTo>
                  <a:lnTo>
                    <a:pt x="133913" y="15024"/>
                  </a:lnTo>
                  <a:cubicBezTo>
                    <a:pt x="133851" y="15639"/>
                    <a:pt x="134299" y="16187"/>
                    <a:pt x="134914" y="16248"/>
                  </a:cubicBezTo>
                  <a:cubicBezTo>
                    <a:pt x="134988" y="16257"/>
                    <a:pt x="135063" y="16257"/>
                    <a:pt x="135138" y="16248"/>
                  </a:cubicBezTo>
                  <a:moveTo>
                    <a:pt x="168820" y="24023"/>
                  </a:moveTo>
                  <a:cubicBezTo>
                    <a:pt x="168758" y="24638"/>
                    <a:pt x="169206" y="25187"/>
                    <a:pt x="169821" y="25248"/>
                  </a:cubicBezTo>
                  <a:cubicBezTo>
                    <a:pt x="169895" y="25256"/>
                    <a:pt x="169970" y="25256"/>
                    <a:pt x="170044" y="25248"/>
                  </a:cubicBezTo>
                  <a:lnTo>
                    <a:pt x="175609" y="25248"/>
                  </a:lnTo>
                  <a:cubicBezTo>
                    <a:pt x="176134" y="25187"/>
                    <a:pt x="176613" y="25562"/>
                    <a:pt x="176674" y="26087"/>
                  </a:cubicBezTo>
                  <a:cubicBezTo>
                    <a:pt x="176682" y="26161"/>
                    <a:pt x="176682" y="26239"/>
                    <a:pt x="176674" y="26313"/>
                  </a:cubicBezTo>
                  <a:lnTo>
                    <a:pt x="176674" y="31772"/>
                  </a:lnTo>
                  <a:cubicBezTo>
                    <a:pt x="176581" y="32352"/>
                    <a:pt x="176975" y="32898"/>
                    <a:pt x="177556" y="32994"/>
                  </a:cubicBezTo>
                  <a:cubicBezTo>
                    <a:pt x="177659" y="33010"/>
                    <a:pt x="177769" y="33010"/>
                    <a:pt x="177872" y="32996"/>
                  </a:cubicBezTo>
                  <a:lnTo>
                    <a:pt x="179230" y="32996"/>
                  </a:lnTo>
                  <a:cubicBezTo>
                    <a:pt x="179846" y="33058"/>
                    <a:pt x="180394" y="32610"/>
                    <a:pt x="180455" y="31995"/>
                  </a:cubicBezTo>
                  <a:cubicBezTo>
                    <a:pt x="180463" y="31921"/>
                    <a:pt x="180463" y="31846"/>
                    <a:pt x="180455" y="31772"/>
                  </a:cubicBezTo>
                  <a:lnTo>
                    <a:pt x="180455" y="26313"/>
                  </a:lnTo>
                  <a:cubicBezTo>
                    <a:pt x="180410" y="25770"/>
                    <a:pt x="180812" y="25293"/>
                    <a:pt x="181353" y="25248"/>
                  </a:cubicBezTo>
                  <a:cubicBezTo>
                    <a:pt x="181408" y="25243"/>
                    <a:pt x="181464" y="25243"/>
                    <a:pt x="181520" y="25248"/>
                  </a:cubicBezTo>
                  <a:lnTo>
                    <a:pt x="186979" y="25248"/>
                  </a:lnTo>
                  <a:cubicBezTo>
                    <a:pt x="187594" y="25309"/>
                    <a:pt x="188142" y="24862"/>
                    <a:pt x="188203" y="24247"/>
                  </a:cubicBezTo>
                  <a:cubicBezTo>
                    <a:pt x="188211" y="24172"/>
                    <a:pt x="188211" y="24098"/>
                    <a:pt x="188203" y="24023"/>
                  </a:cubicBezTo>
                  <a:lnTo>
                    <a:pt x="188203" y="22665"/>
                  </a:lnTo>
                  <a:cubicBezTo>
                    <a:pt x="188267" y="22066"/>
                    <a:pt x="187833" y="21528"/>
                    <a:pt x="187234" y="21465"/>
                  </a:cubicBezTo>
                  <a:cubicBezTo>
                    <a:pt x="187149" y="21457"/>
                    <a:pt x="187064" y="21457"/>
                    <a:pt x="186979" y="21467"/>
                  </a:cubicBezTo>
                  <a:lnTo>
                    <a:pt x="181520" y="21467"/>
                  </a:lnTo>
                  <a:cubicBezTo>
                    <a:pt x="180977" y="21515"/>
                    <a:pt x="180500" y="21113"/>
                    <a:pt x="180453" y="20573"/>
                  </a:cubicBezTo>
                  <a:cubicBezTo>
                    <a:pt x="180447" y="20506"/>
                    <a:pt x="180447" y="20439"/>
                    <a:pt x="180455" y="20376"/>
                  </a:cubicBezTo>
                  <a:lnTo>
                    <a:pt x="180455" y="15050"/>
                  </a:lnTo>
                  <a:cubicBezTo>
                    <a:pt x="180535" y="14454"/>
                    <a:pt x="180114" y="13905"/>
                    <a:pt x="179515" y="13825"/>
                  </a:cubicBezTo>
                  <a:cubicBezTo>
                    <a:pt x="179422" y="13812"/>
                    <a:pt x="179326" y="13812"/>
                    <a:pt x="179230" y="13825"/>
                  </a:cubicBezTo>
                  <a:lnTo>
                    <a:pt x="177846" y="13825"/>
                  </a:lnTo>
                  <a:cubicBezTo>
                    <a:pt x="177266" y="13730"/>
                    <a:pt x="176717" y="14121"/>
                    <a:pt x="176621" y="14702"/>
                  </a:cubicBezTo>
                  <a:cubicBezTo>
                    <a:pt x="176602" y="14819"/>
                    <a:pt x="176602" y="14936"/>
                    <a:pt x="176621" y="15050"/>
                  </a:cubicBezTo>
                  <a:lnTo>
                    <a:pt x="176621" y="20376"/>
                  </a:lnTo>
                  <a:cubicBezTo>
                    <a:pt x="176698" y="20900"/>
                    <a:pt x="176336" y="21387"/>
                    <a:pt x="175814" y="21465"/>
                  </a:cubicBezTo>
                  <a:cubicBezTo>
                    <a:pt x="175729" y="21478"/>
                    <a:pt x="175641" y="21478"/>
                    <a:pt x="175556" y="21467"/>
                  </a:cubicBezTo>
                  <a:lnTo>
                    <a:pt x="170044" y="21467"/>
                  </a:lnTo>
                  <a:cubicBezTo>
                    <a:pt x="169445" y="21390"/>
                    <a:pt x="168899" y="21813"/>
                    <a:pt x="168822" y="22410"/>
                  </a:cubicBezTo>
                  <a:cubicBezTo>
                    <a:pt x="168812" y="22495"/>
                    <a:pt x="168812" y="22580"/>
                    <a:pt x="168820" y="22665"/>
                  </a:cubicBezTo>
                  <a:close/>
                  <a:moveTo>
                    <a:pt x="209185" y="48360"/>
                  </a:moveTo>
                  <a:lnTo>
                    <a:pt x="210995" y="48360"/>
                  </a:lnTo>
                  <a:cubicBezTo>
                    <a:pt x="211595" y="48421"/>
                    <a:pt x="212132" y="47987"/>
                    <a:pt x="212194" y="47385"/>
                  </a:cubicBezTo>
                  <a:cubicBezTo>
                    <a:pt x="212202" y="47311"/>
                    <a:pt x="212202" y="47236"/>
                    <a:pt x="212194" y="47161"/>
                  </a:cubicBezTo>
                  <a:lnTo>
                    <a:pt x="212194" y="37070"/>
                  </a:lnTo>
                  <a:cubicBezTo>
                    <a:pt x="212194" y="35659"/>
                    <a:pt x="212966" y="35366"/>
                    <a:pt x="214137" y="36192"/>
                  </a:cubicBezTo>
                  <a:cubicBezTo>
                    <a:pt x="216233" y="37528"/>
                    <a:pt x="218682" y="38207"/>
                    <a:pt x="221167" y="38135"/>
                  </a:cubicBezTo>
                  <a:cubicBezTo>
                    <a:pt x="228284" y="38066"/>
                    <a:pt x="233998" y="32240"/>
                    <a:pt x="233926" y="25123"/>
                  </a:cubicBezTo>
                  <a:cubicBezTo>
                    <a:pt x="233926" y="25022"/>
                    <a:pt x="233923" y="24923"/>
                    <a:pt x="233921" y="24822"/>
                  </a:cubicBezTo>
                  <a:cubicBezTo>
                    <a:pt x="234067" y="17766"/>
                    <a:pt x="228468" y="11924"/>
                    <a:pt x="221409" y="11778"/>
                  </a:cubicBezTo>
                  <a:cubicBezTo>
                    <a:pt x="221356" y="11775"/>
                    <a:pt x="221300" y="11775"/>
                    <a:pt x="221247" y="11775"/>
                  </a:cubicBezTo>
                  <a:cubicBezTo>
                    <a:pt x="218469" y="11695"/>
                    <a:pt x="215748" y="12558"/>
                    <a:pt x="213525" y="14225"/>
                  </a:cubicBezTo>
                  <a:cubicBezTo>
                    <a:pt x="212433" y="15050"/>
                    <a:pt x="211608" y="14864"/>
                    <a:pt x="211368" y="13479"/>
                  </a:cubicBezTo>
                  <a:lnTo>
                    <a:pt x="211368" y="13479"/>
                  </a:lnTo>
                  <a:cubicBezTo>
                    <a:pt x="211312" y="12814"/>
                    <a:pt x="210732" y="12316"/>
                    <a:pt x="210064" y="12361"/>
                  </a:cubicBezTo>
                  <a:lnTo>
                    <a:pt x="209185" y="12361"/>
                  </a:lnTo>
                  <a:cubicBezTo>
                    <a:pt x="208586" y="12284"/>
                    <a:pt x="208040" y="12707"/>
                    <a:pt x="207963" y="13304"/>
                  </a:cubicBezTo>
                  <a:cubicBezTo>
                    <a:pt x="207952" y="13389"/>
                    <a:pt x="207952" y="13474"/>
                    <a:pt x="207960" y="13559"/>
                  </a:cubicBezTo>
                  <a:lnTo>
                    <a:pt x="207960" y="47161"/>
                  </a:lnTo>
                  <a:cubicBezTo>
                    <a:pt x="207896" y="47760"/>
                    <a:pt x="208330" y="48298"/>
                    <a:pt x="208929" y="48362"/>
                  </a:cubicBezTo>
                  <a:cubicBezTo>
                    <a:pt x="209014" y="48370"/>
                    <a:pt x="209100" y="48370"/>
                    <a:pt x="209185" y="48360"/>
                  </a:cubicBezTo>
                  <a:moveTo>
                    <a:pt x="212540" y="28017"/>
                  </a:moveTo>
                  <a:lnTo>
                    <a:pt x="212540" y="21947"/>
                  </a:lnTo>
                  <a:cubicBezTo>
                    <a:pt x="212500" y="21206"/>
                    <a:pt x="212686" y="20474"/>
                    <a:pt x="213072" y="19843"/>
                  </a:cubicBezTo>
                  <a:cubicBezTo>
                    <a:pt x="214744" y="17260"/>
                    <a:pt x="217636" y="15727"/>
                    <a:pt x="220714" y="15796"/>
                  </a:cubicBezTo>
                  <a:cubicBezTo>
                    <a:pt x="225571" y="15985"/>
                    <a:pt x="229370" y="20045"/>
                    <a:pt x="229234" y="24902"/>
                  </a:cubicBezTo>
                  <a:cubicBezTo>
                    <a:pt x="229445" y="29825"/>
                    <a:pt x="225637" y="33992"/>
                    <a:pt x="220714" y="34221"/>
                  </a:cubicBezTo>
                  <a:cubicBezTo>
                    <a:pt x="217620" y="34304"/>
                    <a:pt x="214712" y="32746"/>
                    <a:pt x="213072" y="30121"/>
                  </a:cubicBezTo>
                  <a:cubicBezTo>
                    <a:pt x="212686" y="29490"/>
                    <a:pt x="212500" y="28757"/>
                    <a:pt x="212540" y="28017"/>
                  </a:cubicBezTo>
                  <a:moveTo>
                    <a:pt x="238740" y="24849"/>
                  </a:moveTo>
                  <a:cubicBezTo>
                    <a:pt x="238415" y="31870"/>
                    <a:pt x="243844" y="37826"/>
                    <a:pt x="250868" y="38148"/>
                  </a:cubicBezTo>
                  <a:cubicBezTo>
                    <a:pt x="251110" y="38159"/>
                    <a:pt x="251355" y="38165"/>
                    <a:pt x="251600" y="38162"/>
                  </a:cubicBezTo>
                  <a:cubicBezTo>
                    <a:pt x="256369" y="38359"/>
                    <a:pt x="260738" y="35518"/>
                    <a:pt x="262491" y="31079"/>
                  </a:cubicBezTo>
                  <a:cubicBezTo>
                    <a:pt x="262783" y="30254"/>
                    <a:pt x="262251" y="29695"/>
                    <a:pt x="261425" y="29695"/>
                  </a:cubicBezTo>
                  <a:lnTo>
                    <a:pt x="259588" y="29695"/>
                  </a:lnTo>
                  <a:cubicBezTo>
                    <a:pt x="258955" y="29684"/>
                    <a:pt x="258385" y="30081"/>
                    <a:pt x="258177" y="30680"/>
                  </a:cubicBezTo>
                  <a:cubicBezTo>
                    <a:pt x="256907" y="33090"/>
                    <a:pt x="254311" y="34498"/>
                    <a:pt x="251600" y="34248"/>
                  </a:cubicBezTo>
                  <a:cubicBezTo>
                    <a:pt x="247801" y="34344"/>
                    <a:pt x="244459" y="31748"/>
                    <a:pt x="243612" y="28044"/>
                  </a:cubicBezTo>
                  <a:cubicBezTo>
                    <a:pt x="243320" y="26926"/>
                    <a:pt x="244012" y="26207"/>
                    <a:pt x="245184" y="26207"/>
                  </a:cubicBezTo>
                  <a:lnTo>
                    <a:pt x="261718" y="26207"/>
                  </a:lnTo>
                  <a:cubicBezTo>
                    <a:pt x="262570" y="26265"/>
                    <a:pt x="263308" y="25624"/>
                    <a:pt x="263366" y="24774"/>
                  </a:cubicBezTo>
                  <a:cubicBezTo>
                    <a:pt x="263369" y="24726"/>
                    <a:pt x="263369" y="24681"/>
                    <a:pt x="263369" y="24636"/>
                  </a:cubicBezTo>
                  <a:cubicBezTo>
                    <a:pt x="263739" y="17939"/>
                    <a:pt x="258611" y="12212"/>
                    <a:pt x="251917" y="11842"/>
                  </a:cubicBezTo>
                  <a:cubicBezTo>
                    <a:pt x="251811" y="11837"/>
                    <a:pt x="251707" y="11831"/>
                    <a:pt x="251600" y="11829"/>
                  </a:cubicBezTo>
                  <a:cubicBezTo>
                    <a:pt x="244616" y="11738"/>
                    <a:pt x="238881" y="17327"/>
                    <a:pt x="238791" y="24311"/>
                  </a:cubicBezTo>
                  <a:cubicBezTo>
                    <a:pt x="238788" y="24481"/>
                    <a:pt x="238788" y="24652"/>
                    <a:pt x="238793" y="24822"/>
                  </a:cubicBezTo>
                  <a:moveTo>
                    <a:pt x="244118" y="20402"/>
                  </a:moveTo>
                  <a:cubicBezTo>
                    <a:pt x="245418" y="17542"/>
                    <a:pt x="248272" y="15708"/>
                    <a:pt x="251414" y="15716"/>
                  </a:cubicBezTo>
                  <a:cubicBezTo>
                    <a:pt x="254449" y="15711"/>
                    <a:pt x="257163" y="17604"/>
                    <a:pt x="258204" y="20455"/>
                  </a:cubicBezTo>
                  <a:cubicBezTo>
                    <a:pt x="258630" y="21627"/>
                    <a:pt x="257964" y="22399"/>
                    <a:pt x="256739" y="22399"/>
                  </a:cubicBezTo>
                  <a:lnTo>
                    <a:pt x="245476" y="22399"/>
                  </a:lnTo>
                  <a:cubicBezTo>
                    <a:pt x="244225" y="22399"/>
                    <a:pt x="243533" y="21574"/>
                    <a:pt x="244118" y="20455"/>
                  </a:cubicBezTo>
                  <a:moveTo>
                    <a:pt x="268082" y="24875"/>
                  </a:moveTo>
                  <a:cubicBezTo>
                    <a:pt x="267920" y="32064"/>
                    <a:pt x="273615" y="38026"/>
                    <a:pt x="280801" y="38188"/>
                  </a:cubicBezTo>
                  <a:cubicBezTo>
                    <a:pt x="281001" y="38194"/>
                    <a:pt x="281198" y="38194"/>
                    <a:pt x="281395" y="38188"/>
                  </a:cubicBezTo>
                  <a:cubicBezTo>
                    <a:pt x="288584" y="38351"/>
                    <a:pt x="294546" y="32658"/>
                    <a:pt x="294708" y="25469"/>
                  </a:cubicBezTo>
                  <a:cubicBezTo>
                    <a:pt x="294713" y="25269"/>
                    <a:pt x="294713" y="25072"/>
                    <a:pt x="294708" y="24875"/>
                  </a:cubicBezTo>
                  <a:cubicBezTo>
                    <a:pt x="294785" y="17774"/>
                    <a:pt x="289093" y="11954"/>
                    <a:pt x="281989" y="11874"/>
                  </a:cubicBezTo>
                  <a:cubicBezTo>
                    <a:pt x="281792" y="11871"/>
                    <a:pt x="281592" y="11874"/>
                    <a:pt x="281395" y="11882"/>
                  </a:cubicBezTo>
                  <a:cubicBezTo>
                    <a:pt x="274281" y="11647"/>
                    <a:pt x="268324" y="17223"/>
                    <a:pt x="268087" y="24335"/>
                  </a:cubicBezTo>
                  <a:cubicBezTo>
                    <a:pt x="268082" y="24516"/>
                    <a:pt x="268079" y="24694"/>
                    <a:pt x="268082" y="24875"/>
                  </a:cubicBezTo>
                  <a:moveTo>
                    <a:pt x="272662" y="25035"/>
                  </a:moveTo>
                  <a:cubicBezTo>
                    <a:pt x="272427" y="20189"/>
                    <a:pt x="276166" y="16067"/>
                    <a:pt x="281012" y="15833"/>
                  </a:cubicBezTo>
                  <a:cubicBezTo>
                    <a:pt x="281185" y="15825"/>
                    <a:pt x="281355" y="15820"/>
                    <a:pt x="281528" y="15822"/>
                  </a:cubicBezTo>
                  <a:cubicBezTo>
                    <a:pt x="286395" y="15817"/>
                    <a:pt x="290347" y="19760"/>
                    <a:pt x="290349" y="24628"/>
                  </a:cubicBezTo>
                  <a:cubicBezTo>
                    <a:pt x="290352" y="24764"/>
                    <a:pt x="290347" y="24899"/>
                    <a:pt x="290341" y="25035"/>
                  </a:cubicBezTo>
                  <a:cubicBezTo>
                    <a:pt x="290546" y="29913"/>
                    <a:pt x="286760" y="34035"/>
                    <a:pt x="281882" y="34240"/>
                  </a:cubicBezTo>
                  <a:cubicBezTo>
                    <a:pt x="281765" y="34245"/>
                    <a:pt x="281645" y="34248"/>
                    <a:pt x="281528" y="34248"/>
                  </a:cubicBezTo>
                  <a:cubicBezTo>
                    <a:pt x="276645" y="34266"/>
                    <a:pt x="272672" y="30326"/>
                    <a:pt x="272654" y="25442"/>
                  </a:cubicBezTo>
                  <a:cubicBezTo>
                    <a:pt x="272654" y="25307"/>
                    <a:pt x="272656" y="25171"/>
                    <a:pt x="272662" y="25035"/>
                  </a:cubicBezTo>
                  <a:moveTo>
                    <a:pt x="302749" y="48386"/>
                  </a:moveTo>
                  <a:lnTo>
                    <a:pt x="304533" y="48386"/>
                  </a:lnTo>
                  <a:cubicBezTo>
                    <a:pt x="305132" y="48463"/>
                    <a:pt x="305678" y="48040"/>
                    <a:pt x="305755" y="47444"/>
                  </a:cubicBezTo>
                  <a:cubicBezTo>
                    <a:pt x="305766" y="47359"/>
                    <a:pt x="305766" y="47273"/>
                    <a:pt x="305758" y="47188"/>
                  </a:cubicBezTo>
                  <a:lnTo>
                    <a:pt x="305758" y="37097"/>
                  </a:lnTo>
                  <a:cubicBezTo>
                    <a:pt x="305758" y="35686"/>
                    <a:pt x="306530" y="35393"/>
                    <a:pt x="307702" y="36218"/>
                  </a:cubicBezTo>
                  <a:cubicBezTo>
                    <a:pt x="309795" y="37560"/>
                    <a:pt x="312247" y="38236"/>
                    <a:pt x="314731" y="38162"/>
                  </a:cubicBezTo>
                  <a:cubicBezTo>
                    <a:pt x="321861" y="38077"/>
                    <a:pt x="327575" y="32227"/>
                    <a:pt x="327490" y="25096"/>
                  </a:cubicBezTo>
                  <a:cubicBezTo>
                    <a:pt x="327490" y="25014"/>
                    <a:pt x="327488" y="24931"/>
                    <a:pt x="327485" y="24849"/>
                  </a:cubicBezTo>
                  <a:cubicBezTo>
                    <a:pt x="327631" y="17793"/>
                    <a:pt x="322032" y="11951"/>
                    <a:pt x="314973" y="11805"/>
                  </a:cubicBezTo>
                  <a:cubicBezTo>
                    <a:pt x="314920" y="11802"/>
                    <a:pt x="314864" y="11802"/>
                    <a:pt x="314811" y="11802"/>
                  </a:cubicBezTo>
                  <a:cubicBezTo>
                    <a:pt x="312026" y="11725"/>
                    <a:pt x="309297" y="12587"/>
                    <a:pt x="307063" y="14252"/>
                  </a:cubicBezTo>
                  <a:cubicBezTo>
                    <a:pt x="305998" y="15077"/>
                    <a:pt x="305172" y="14891"/>
                    <a:pt x="304933" y="13506"/>
                  </a:cubicBezTo>
                  <a:lnTo>
                    <a:pt x="304933" y="13506"/>
                  </a:lnTo>
                  <a:cubicBezTo>
                    <a:pt x="304877" y="12840"/>
                    <a:pt x="304296" y="12342"/>
                    <a:pt x="303628" y="12388"/>
                  </a:cubicBezTo>
                  <a:lnTo>
                    <a:pt x="302749" y="12388"/>
                  </a:lnTo>
                  <a:cubicBezTo>
                    <a:pt x="302150" y="12310"/>
                    <a:pt x="301604" y="12734"/>
                    <a:pt x="301527" y="13330"/>
                  </a:cubicBezTo>
                  <a:cubicBezTo>
                    <a:pt x="301516" y="13415"/>
                    <a:pt x="301516" y="13501"/>
                    <a:pt x="301524" y="13586"/>
                  </a:cubicBezTo>
                  <a:lnTo>
                    <a:pt x="301524" y="47188"/>
                  </a:lnTo>
                  <a:cubicBezTo>
                    <a:pt x="301461" y="47787"/>
                    <a:pt x="301894" y="48325"/>
                    <a:pt x="302494" y="48389"/>
                  </a:cubicBezTo>
                  <a:cubicBezTo>
                    <a:pt x="302579" y="48397"/>
                    <a:pt x="302664" y="48397"/>
                    <a:pt x="302749" y="48386"/>
                  </a:cubicBezTo>
                  <a:moveTo>
                    <a:pt x="306104" y="28044"/>
                  </a:moveTo>
                  <a:lnTo>
                    <a:pt x="306104" y="21973"/>
                  </a:lnTo>
                  <a:cubicBezTo>
                    <a:pt x="306051" y="21233"/>
                    <a:pt x="306237" y="20495"/>
                    <a:pt x="306637" y="19870"/>
                  </a:cubicBezTo>
                  <a:cubicBezTo>
                    <a:pt x="308306" y="17282"/>
                    <a:pt x="311200" y="15748"/>
                    <a:pt x="314278" y="15822"/>
                  </a:cubicBezTo>
                  <a:cubicBezTo>
                    <a:pt x="319135" y="16012"/>
                    <a:pt x="322935" y="20072"/>
                    <a:pt x="322799" y="24929"/>
                  </a:cubicBezTo>
                  <a:cubicBezTo>
                    <a:pt x="323009" y="29852"/>
                    <a:pt x="319201" y="34019"/>
                    <a:pt x="314278" y="34248"/>
                  </a:cubicBezTo>
                  <a:cubicBezTo>
                    <a:pt x="311184" y="34338"/>
                    <a:pt x="308274" y="32775"/>
                    <a:pt x="306637" y="30147"/>
                  </a:cubicBezTo>
                  <a:cubicBezTo>
                    <a:pt x="306237" y="29522"/>
                    <a:pt x="306051" y="28784"/>
                    <a:pt x="306104" y="28044"/>
                  </a:cubicBezTo>
                  <a:moveTo>
                    <a:pt x="337496" y="-286"/>
                  </a:moveTo>
                  <a:lnTo>
                    <a:pt x="335366" y="-286"/>
                  </a:lnTo>
                  <a:cubicBezTo>
                    <a:pt x="334751" y="-348"/>
                    <a:pt x="334203" y="100"/>
                    <a:pt x="334141" y="715"/>
                  </a:cubicBezTo>
                  <a:cubicBezTo>
                    <a:pt x="334133" y="789"/>
                    <a:pt x="334133" y="864"/>
                    <a:pt x="334141" y="938"/>
                  </a:cubicBezTo>
                  <a:lnTo>
                    <a:pt x="334141" y="36484"/>
                  </a:lnTo>
                  <a:cubicBezTo>
                    <a:pt x="334078" y="37083"/>
                    <a:pt x="334511" y="37621"/>
                    <a:pt x="335111" y="37685"/>
                  </a:cubicBezTo>
                  <a:cubicBezTo>
                    <a:pt x="335196" y="37693"/>
                    <a:pt x="335281" y="37693"/>
                    <a:pt x="335366" y="37683"/>
                  </a:cubicBezTo>
                  <a:lnTo>
                    <a:pt x="337496" y="37683"/>
                  </a:lnTo>
                  <a:cubicBezTo>
                    <a:pt x="338095" y="37760"/>
                    <a:pt x="338641" y="37336"/>
                    <a:pt x="338718" y="36740"/>
                  </a:cubicBezTo>
                  <a:cubicBezTo>
                    <a:pt x="338729" y="36655"/>
                    <a:pt x="338729" y="36570"/>
                    <a:pt x="338721" y="36484"/>
                  </a:cubicBezTo>
                  <a:lnTo>
                    <a:pt x="338721" y="885"/>
                  </a:lnTo>
                  <a:cubicBezTo>
                    <a:pt x="338782" y="270"/>
                    <a:pt x="338335" y="-278"/>
                    <a:pt x="337720" y="-340"/>
                  </a:cubicBezTo>
                  <a:cubicBezTo>
                    <a:pt x="337645" y="-348"/>
                    <a:pt x="337571" y="-348"/>
                    <a:pt x="337496" y="-340"/>
                  </a:cubicBezTo>
                  <a:moveTo>
                    <a:pt x="345484" y="24822"/>
                  </a:moveTo>
                  <a:cubicBezTo>
                    <a:pt x="345159" y="31843"/>
                    <a:pt x="350588" y="37800"/>
                    <a:pt x="357612" y="38122"/>
                  </a:cubicBezTo>
                  <a:cubicBezTo>
                    <a:pt x="357855" y="38132"/>
                    <a:pt x="358100" y="38138"/>
                    <a:pt x="358345" y="38135"/>
                  </a:cubicBezTo>
                  <a:cubicBezTo>
                    <a:pt x="363113" y="38332"/>
                    <a:pt x="367483" y="35491"/>
                    <a:pt x="369235" y="31053"/>
                  </a:cubicBezTo>
                  <a:cubicBezTo>
                    <a:pt x="369528" y="30227"/>
                    <a:pt x="368995" y="29668"/>
                    <a:pt x="368170" y="29668"/>
                  </a:cubicBezTo>
                  <a:lnTo>
                    <a:pt x="366333" y="29668"/>
                  </a:lnTo>
                  <a:cubicBezTo>
                    <a:pt x="365699" y="29657"/>
                    <a:pt x="365129" y="30054"/>
                    <a:pt x="364921" y="30653"/>
                  </a:cubicBezTo>
                  <a:cubicBezTo>
                    <a:pt x="363651" y="33063"/>
                    <a:pt x="361058" y="34471"/>
                    <a:pt x="358345" y="34221"/>
                  </a:cubicBezTo>
                  <a:cubicBezTo>
                    <a:pt x="354561" y="34266"/>
                    <a:pt x="351249" y="31694"/>
                    <a:pt x="350357" y="28017"/>
                  </a:cubicBezTo>
                  <a:cubicBezTo>
                    <a:pt x="350064" y="26899"/>
                    <a:pt x="350756" y="26180"/>
                    <a:pt x="351928" y="26180"/>
                  </a:cubicBezTo>
                  <a:lnTo>
                    <a:pt x="368463" y="26180"/>
                  </a:lnTo>
                  <a:cubicBezTo>
                    <a:pt x="369315" y="26239"/>
                    <a:pt x="370052" y="25597"/>
                    <a:pt x="370111" y="24745"/>
                  </a:cubicBezTo>
                  <a:cubicBezTo>
                    <a:pt x="370113" y="24700"/>
                    <a:pt x="370113" y="24654"/>
                    <a:pt x="370113" y="24609"/>
                  </a:cubicBezTo>
                  <a:cubicBezTo>
                    <a:pt x="370483" y="17913"/>
                    <a:pt x="365358" y="12185"/>
                    <a:pt x="358661" y="11815"/>
                  </a:cubicBezTo>
                  <a:cubicBezTo>
                    <a:pt x="358566" y="11810"/>
                    <a:pt x="358467" y="11805"/>
                    <a:pt x="358371" y="11802"/>
                  </a:cubicBezTo>
                  <a:cubicBezTo>
                    <a:pt x="351371" y="11711"/>
                    <a:pt x="345625" y="17311"/>
                    <a:pt x="345535" y="24311"/>
                  </a:cubicBezTo>
                  <a:cubicBezTo>
                    <a:pt x="345532" y="24473"/>
                    <a:pt x="345532" y="24633"/>
                    <a:pt x="345538" y="24795"/>
                  </a:cubicBezTo>
                  <a:moveTo>
                    <a:pt x="350863" y="20376"/>
                  </a:moveTo>
                  <a:cubicBezTo>
                    <a:pt x="352165" y="17505"/>
                    <a:pt x="355032" y="15671"/>
                    <a:pt x="358185" y="15689"/>
                  </a:cubicBezTo>
                  <a:cubicBezTo>
                    <a:pt x="361215" y="15679"/>
                    <a:pt x="363923" y="17577"/>
                    <a:pt x="364948" y="20429"/>
                  </a:cubicBezTo>
                  <a:cubicBezTo>
                    <a:pt x="365401" y="21600"/>
                    <a:pt x="364708" y="22373"/>
                    <a:pt x="363484" y="22373"/>
                  </a:cubicBezTo>
                  <a:lnTo>
                    <a:pt x="352221" y="22373"/>
                  </a:lnTo>
                  <a:cubicBezTo>
                    <a:pt x="350969" y="22373"/>
                    <a:pt x="350277" y="21547"/>
                    <a:pt x="350863" y="20429"/>
                  </a:cubicBezTo>
                </a:path>
              </a:pathLst>
            </a:custGeom>
            <a:solidFill>
              <a:srgbClr val="FFFFFF"/>
            </a:solidFill>
            <a:ln w="2661" cap="flat">
              <a:noFill/>
              <a:prstDash val="solid"/>
              <a:miter/>
            </a:ln>
          </p:spPr>
          <p:txBody>
            <a:bodyPr rtlCol="0" anchor="ctr"/>
            <a:lstStyle/>
            <a:p>
              <a:endParaRPr lang="pl-PL"/>
            </a:p>
          </p:txBody>
        </p:sp>
        <p:sp>
          <p:nvSpPr>
            <p:cNvPr id="72" name="Freeform: Shape 71">
              <a:extLst>
                <a:ext uri="{FF2B5EF4-FFF2-40B4-BE49-F238E27FC236}">
                  <a16:creationId xmlns:a16="http://schemas.microsoft.com/office/drawing/2014/main" id="{5D7C9B6E-A248-4BB6-8271-45B100FF7134}"/>
                </a:ext>
              </a:extLst>
            </p:cNvPr>
            <p:cNvSpPr/>
            <p:nvPr/>
          </p:nvSpPr>
          <p:spPr>
            <a:xfrm>
              <a:off x="11848503" y="6635533"/>
              <a:ext cx="6855" cy="8973"/>
            </a:xfrm>
            <a:custGeom>
              <a:avLst/>
              <a:gdLst>
                <a:gd name="connsiteX0" fmla="*/ 992 w 12147"/>
                <a:gd name="connsiteY0" fmla="*/ 1467 h 15900"/>
                <a:gd name="connsiteX1" fmla="*/ 992 w 12147"/>
                <a:gd name="connsiteY1" fmla="*/ 295 h 15900"/>
                <a:gd name="connsiteX2" fmla="*/ 1519 w 12147"/>
                <a:gd name="connsiteY2" fmla="*/ -344 h 15900"/>
                <a:gd name="connsiteX3" fmla="*/ 1631 w 12147"/>
                <a:gd name="connsiteY3" fmla="*/ -344 h 15900"/>
                <a:gd name="connsiteX4" fmla="*/ 12521 w 12147"/>
                <a:gd name="connsiteY4" fmla="*/ -344 h 15900"/>
                <a:gd name="connsiteX5" fmla="*/ 13136 w 12147"/>
                <a:gd name="connsiteY5" fmla="*/ 213 h 15900"/>
                <a:gd name="connsiteX6" fmla="*/ 13133 w 12147"/>
                <a:gd name="connsiteY6" fmla="*/ 295 h 15900"/>
                <a:gd name="connsiteX7" fmla="*/ 13133 w 12147"/>
                <a:gd name="connsiteY7" fmla="*/ 1467 h 15900"/>
                <a:gd name="connsiteX8" fmla="*/ 12603 w 12147"/>
                <a:gd name="connsiteY8" fmla="*/ 2103 h 15900"/>
                <a:gd name="connsiteX9" fmla="*/ 12521 w 12147"/>
                <a:gd name="connsiteY9" fmla="*/ 2106 h 15900"/>
                <a:gd name="connsiteX10" fmla="*/ 8926 w 12147"/>
                <a:gd name="connsiteY10" fmla="*/ 2106 h 15900"/>
                <a:gd name="connsiteX11" fmla="*/ 8447 w 12147"/>
                <a:gd name="connsiteY11" fmla="*/ 2471 h 15900"/>
                <a:gd name="connsiteX12" fmla="*/ 8447 w 12147"/>
                <a:gd name="connsiteY12" fmla="*/ 2585 h 15900"/>
                <a:gd name="connsiteX13" fmla="*/ 8447 w 12147"/>
                <a:gd name="connsiteY13" fmla="*/ 14940 h 15900"/>
                <a:gd name="connsiteX14" fmla="*/ 7890 w 12147"/>
                <a:gd name="connsiteY14" fmla="*/ 15555 h 15900"/>
                <a:gd name="connsiteX15" fmla="*/ 7808 w 12147"/>
                <a:gd name="connsiteY15" fmla="*/ 15552 h 15900"/>
                <a:gd name="connsiteX16" fmla="*/ 6184 w 12147"/>
                <a:gd name="connsiteY16" fmla="*/ 15552 h 15900"/>
                <a:gd name="connsiteX17" fmla="*/ 5547 w 12147"/>
                <a:gd name="connsiteY17" fmla="*/ 15022 h 15900"/>
                <a:gd name="connsiteX18" fmla="*/ 5545 w 12147"/>
                <a:gd name="connsiteY18" fmla="*/ 14940 h 15900"/>
                <a:gd name="connsiteX19" fmla="*/ 5545 w 12147"/>
                <a:gd name="connsiteY19" fmla="*/ 2585 h 15900"/>
                <a:gd name="connsiteX20" fmla="*/ 5180 w 12147"/>
                <a:gd name="connsiteY20" fmla="*/ 2106 h 15900"/>
                <a:gd name="connsiteX21" fmla="*/ 5065 w 12147"/>
                <a:gd name="connsiteY21" fmla="*/ 2106 h 15900"/>
                <a:gd name="connsiteX22" fmla="*/ 1631 w 12147"/>
                <a:gd name="connsiteY22" fmla="*/ 2106 h 15900"/>
                <a:gd name="connsiteX23" fmla="*/ 992 w 12147"/>
                <a:gd name="connsiteY23" fmla="*/ 1579 h 15900"/>
                <a:gd name="connsiteX24" fmla="*/ 992 w 12147"/>
                <a:gd name="connsiteY24" fmla="*/ 1467 h 1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147" h="15900">
                  <a:moveTo>
                    <a:pt x="992" y="1467"/>
                  </a:moveTo>
                  <a:lnTo>
                    <a:pt x="992" y="295"/>
                  </a:lnTo>
                  <a:cubicBezTo>
                    <a:pt x="960" y="-27"/>
                    <a:pt x="1197" y="-312"/>
                    <a:pt x="1519" y="-344"/>
                  </a:cubicBezTo>
                  <a:cubicBezTo>
                    <a:pt x="1556" y="-346"/>
                    <a:pt x="1593" y="-346"/>
                    <a:pt x="1631" y="-344"/>
                  </a:cubicBezTo>
                  <a:lnTo>
                    <a:pt x="12521" y="-344"/>
                  </a:lnTo>
                  <a:cubicBezTo>
                    <a:pt x="12843" y="-360"/>
                    <a:pt x="13120" y="-112"/>
                    <a:pt x="13136" y="213"/>
                  </a:cubicBezTo>
                  <a:cubicBezTo>
                    <a:pt x="13136" y="240"/>
                    <a:pt x="13136" y="269"/>
                    <a:pt x="13133" y="295"/>
                  </a:cubicBezTo>
                  <a:lnTo>
                    <a:pt x="13133" y="1467"/>
                  </a:lnTo>
                  <a:cubicBezTo>
                    <a:pt x="13163" y="1789"/>
                    <a:pt x="12925" y="2074"/>
                    <a:pt x="12603" y="2103"/>
                  </a:cubicBezTo>
                  <a:cubicBezTo>
                    <a:pt x="12577" y="2106"/>
                    <a:pt x="12547" y="2109"/>
                    <a:pt x="12521" y="2106"/>
                  </a:cubicBezTo>
                  <a:lnTo>
                    <a:pt x="8926" y="2106"/>
                  </a:lnTo>
                  <a:cubicBezTo>
                    <a:pt x="8692" y="2074"/>
                    <a:pt x="8479" y="2239"/>
                    <a:pt x="8447" y="2471"/>
                  </a:cubicBezTo>
                  <a:cubicBezTo>
                    <a:pt x="8442" y="2508"/>
                    <a:pt x="8442" y="2548"/>
                    <a:pt x="8447" y="2585"/>
                  </a:cubicBezTo>
                  <a:lnTo>
                    <a:pt x="8447" y="14940"/>
                  </a:lnTo>
                  <a:cubicBezTo>
                    <a:pt x="8463" y="15262"/>
                    <a:pt x="8215" y="15539"/>
                    <a:pt x="7890" y="15555"/>
                  </a:cubicBezTo>
                  <a:cubicBezTo>
                    <a:pt x="7864" y="15555"/>
                    <a:pt x="7835" y="15555"/>
                    <a:pt x="7808" y="15552"/>
                  </a:cubicBezTo>
                  <a:lnTo>
                    <a:pt x="6184" y="15552"/>
                  </a:lnTo>
                  <a:cubicBezTo>
                    <a:pt x="5862" y="15581"/>
                    <a:pt x="5577" y="15345"/>
                    <a:pt x="5547" y="15022"/>
                  </a:cubicBezTo>
                  <a:cubicBezTo>
                    <a:pt x="5545" y="14996"/>
                    <a:pt x="5545" y="14966"/>
                    <a:pt x="5545" y="14940"/>
                  </a:cubicBezTo>
                  <a:lnTo>
                    <a:pt x="5545" y="2585"/>
                  </a:lnTo>
                  <a:cubicBezTo>
                    <a:pt x="5577" y="2351"/>
                    <a:pt x="5412" y="2138"/>
                    <a:pt x="5180" y="2106"/>
                  </a:cubicBezTo>
                  <a:cubicBezTo>
                    <a:pt x="5143" y="2101"/>
                    <a:pt x="5103" y="2101"/>
                    <a:pt x="5065" y="2106"/>
                  </a:cubicBezTo>
                  <a:lnTo>
                    <a:pt x="1631" y="2106"/>
                  </a:lnTo>
                  <a:cubicBezTo>
                    <a:pt x="1308" y="2138"/>
                    <a:pt x="1024" y="1901"/>
                    <a:pt x="992" y="1579"/>
                  </a:cubicBezTo>
                  <a:cubicBezTo>
                    <a:pt x="989" y="1542"/>
                    <a:pt x="989" y="1504"/>
                    <a:pt x="992" y="1467"/>
                  </a:cubicBezTo>
                </a:path>
              </a:pathLst>
            </a:custGeom>
            <a:solidFill>
              <a:srgbClr val="FFFFFF"/>
            </a:solidFill>
            <a:ln w="2661" cap="flat">
              <a:noFill/>
              <a:prstDash val="solid"/>
              <a:miter/>
            </a:ln>
          </p:spPr>
          <p:txBody>
            <a:bodyPr rtlCol="0" anchor="ctr"/>
            <a:lstStyle/>
            <a:p>
              <a:endParaRPr lang="pl-PL"/>
            </a:p>
          </p:txBody>
        </p:sp>
        <p:sp>
          <p:nvSpPr>
            <p:cNvPr id="73" name="Freeform: Shape 72">
              <a:extLst>
                <a:ext uri="{FF2B5EF4-FFF2-40B4-BE49-F238E27FC236}">
                  <a16:creationId xmlns:a16="http://schemas.microsoft.com/office/drawing/2014/main" id="{A6137979-B9FB-4AF8-8D89-6145CEEBBFB9}"/>
                </a:ext>
              </a:extLst>
            </p:cNvPr>
            <p:cNvSpPr/>
            <p:nvPr/>
          </p:nvSpPr>
          <p:spPr>
            <a:xfrm>
              <a:off x="11857776" y="6635662"/>
              <a:ext cx="8810" cy="8977"/>
            </a:xfrm>
            <a:custGeom>
              <a:avLst/>
              <a:gdLst>
                <a:gd name="connsiteX0" fmla="*/ 991 w 15611"/>
                <a:gd name="connsiteY0" fmla="*/ 14943 h 15907"/>
                <a:gd name="connsiteX1" fmla="*/ 991 w 15611"/>
                <a:gd name="connsiteY1" fmla="*/ 458 h 15907"/>
                <a:gd name="connsiteX2" fmla="*/ 1675 w 15611"/>
                <a:gd name="connsiteY2" fmla="*/ -343 h 15907"/>
                <a:gd name="connsiteX3" fmla="*/ 1816 w 15611"/>
                <a:gd name="connsiteY3" fmla="*/ -340 h 15907"/>
                <a:gd name="connsiteX4" fmla="*/ 2668 w 15611"/>
                <a:gd name="connsiteY4" fmla="*/ -340 h 15907"/>
                <a:gd name="connsiteX5" fmla="*/ 3627 w 15611"/>
                <a:gd name="connsiteY5" fmla="*/ 192 h 15907"/>
                <a:gd name="connsiteX6" fmla="*/ 8526 w 15611"/>
                <a:gd name="connsiteY6" fmla="*/ 7381 h 15907"/>
                <a:gd name="connsiteX7" fmla="*/ 8915 w 15611"/>
                <a:gd name="connsiteY7" fmla="*/ 7525 h 15907"/>
                <a:gd name="connsiteX8" fmla="*/ 9059 w 15611"/>
                <a:gd name="connsiteY8" fmla="*/ 7381 h 15907"/>
                <a:gd name="connsiteX9" fmla="*/ 14064 w 15611"/>
                <a:gd name="connsiteY9" fmla="*/ 166 h 15907"/>
                <a:gd name="connsiteX10" fmla="*/ 15050 w 15611"/>
                <a:gd name="connsiteY10" fmla="*/ -340 h 15907"/>
                <a:gd name="connsiteX11" fmla="*/ 15795 w 15611"/>
                <a:gd name="connsiteY11" fmla="*/ -340 h 15907"/>
                <a:gd name="connsiteX12" fmla="*/ 16594 w 15611"/>
                <a:gd name="connsiteY12" fmla="*/ 288 h 15907"/>
                <a:gd name="connsiteX13" fmla="*/ 16594 w 15611"/>
                <a:gd name="connsiteY13" fmla="*/ 458 h 15907"/>
                <a:gd name="connsiteX14" fmla="*/ 16594 w 15611"/>
                <a:gd name="connsiteY14" fmla="*/ 14943 h 15907"/>
                <a:gd name="connsiteX15" fmla="*/ 16035 w 15611"/>
                <a:gd name="connsiteY15" fmla="*/ 15556 h 15907"/>
                <a:gd name="connsiteX16" fmla="*/ 15982 w 15611"/>
                <a:gd name="connsiteY16" fmla="*/ 15556 h 15907"/>
                <a:gd name="connsiteX17" fmla="*/ 14677 w 15611"/>
                <a:gd name="connsiteY17" fmla="*/ 15556 h 15907"/>
                <a:gd name="connsiteX18" fmla="*/ 14064 w 15611"/>
                <a:gd name="connsiteY18" fmla="*/ 15055 h 15907"/>
                <a:gd name="connsiteX19" fmla="*/ 14064 w 15611"/>
                <a:gd name="connsiteY19" fmla="*/ 14943 h 15907"/>
                <a:gd name="connsiteX20" fmla="*/ 14064 w 15611"/>
                <a:gd name="connsiteY20" fmla="*/ 4878 h 15907"/>
                <a:gd name="connsiteX21" fmla="*/ 13585 w 15611"/>
                <a:gd name="connsiteY21" fmla="*/ 4745 h 15907"/>
                <a:gd name="connsiteX22" fmla="*/ 9804 w 15611"/>
                <a:gd name="connsiteY22" fmla="*/ 10284 h 15907"/>
                <a:gd name="connsiteX23" fmla="*/ 8846 w 15611"/>
                <a:gd name="connsiteY23" fmla="*/ 10789 h 15907"/>
                <a:gd name="connsiteX24" fmla="*/ 8846 w 15611"/>
                <a:gd name="connsiteY24" fmla="*/ 10789 h 15907"/>
                <a:gd name="connsiteX25" fmla="*/ 7914 w 15611"/>
                <a:gd name="connsiteY25" fmla="*/ 10284 h 15907"/>
                <a:gd name="connsiteX26" fmla="*/ 4133 w 15611"/>
                <a:gd name="connsiteY26" fmla="*/ 4745 h 15907"/>
                <a:gd name="connsiteX27" fmla="*/ 3654 w 15611"/>
                <a:gd name="connsiteY27" fmla="*/ 4905 h 15907"/>
                <a:gd name="connsiteX28" fmla="*/ 3654 w 15611"/>
                <a:gd name="connsiteY28" fmla="*/ 14943 h 15907"/>
                <a:gd name="connsiteX29" fmla="*/ 3097 w 15611"/>
                <a:gd name="connsiteY29" fmla="*/ 15558 h 15907"/>
                <a:gd name="connsiteX30" fmla="*/ 3015 w 15611"/>
                <a:gd name="connsiteY30" fmla="*/ 15556 h 15907"/>
                <a:gd name="connsiteX31" fmla="*/ 1736 w 15611"/>
                <a:gd name="connsiteY31" fmla="*/ 15556 h 15907"/>
                <a:gd name="connsiteX32" fmla="*/ 1100 w 15611"/>
                <a:gd name="connsiteY32" fmla="*/ 15087 h 15907"/>
                <a:gd name="connsiteX33" fmla="*/ 1097 w 15611"/>
                <a:gd name="connsiteY33" fmla="*/ 14943 h 15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611" h="15907">
                  <a:moveTo>
                    <a:pt x="991" y="14943"/>
                  </a:moveTo>
                  <a:lnTo>
                    <a:pt x="991" y="458"/>
                  </a:lnTo>
                  <a:cubicBezTo>
                    <a:pt x="959" y="48"/>
                    <a:pt x="1265" y="-311"/>
                    <a:pt x="1675" y="-343"/>
                  </a:cubicBezTo>
                  <a:cubicBezTo>
                    <a:pt x="1723" y="-346"/>
                    <a:pt x="1771" y="-346"/>
                    <a:pt x="1816" y="-340"/>
                  </a:cubicBezTo>
                  <a:lnTo>
                    <a:pt x="2668" y="-340"/>
                  </a:lnTo>
                  <a:cubicBezTo>
                    <a:pt x="3062" y="-359"/>
                    <a:pt x="3435" y="-154"/>
                    <a:pt x="3627" y="192"/>
                  </a:cubicBezTo>
                  <a:lnTo>
                    <a:pt x="8526" y="7381"/>
                  </a:lnTo>
                  <a:cubicBezTo>
                    <a:pt x="8593" y="7528"/>
                    <a:pt x="8768" y="7592"/>
                    <a:pt x="8915" y="7525"/>
                  </a:cubicBezTo>
                  <a:cubicBezTo>
                    <a:pt x="8979" y="7496"/>
                    <a:pt x="9029" y="7445"/>
                    <a:pt x="9059" y="7381"/>
                  </a:cubicBezTo>
                  <a:lnTo>
                    <a:pt x="14064" y="166"/>
                  </a:lnTo>
                  <a:cubicBezTo>
                    <a:pt x="14280" y="-165"/>
                    <a:pt x="14655" y="-356"/>
                    <a:pt x="15050" y="-340"/>
                  </a:cubicBezTo>
                  <a:lnTo>
                    <a:pt x="15795" y="-340"/>
                  </a:lnTo>
                  <a:cubicBezTo>
                    <a:pt x="16189" y="-388"/>
                    <a:pt x="16546" y="-106"/>
                    <a:pt x="16594" y="288"/>
                  </a:cubicBezTo>
                  <a:cubicBezTo>
                    <a:pt x="16602" y="344"/>
                    <a:pt x="16602" y="403"/>
                    <a:pt x="16594" y="458"/>
                  </a:cubicBezTo>
                  <a:lnTo>
                    <a:pt x="16594" y="14943"/>
                  </a:lnTo>
                  <a:cubicBezTo>
                    <a:pt x="16610" y="15265"/>
                    <a:pt x="16360" y="15540"/>
                    <a:pt x="16035" y="15556"/>
                  </a:cubicBezTo>
                  <a:cubicBezTo>
                    <a:pt x="16019" y="15556"/>
                    <a:pt x="16000" y="15556"/>
                    <a:pt x="15982" y="15556"/>
                  </a:cubicBezTo>
                  <a:lnTo>
                    <a:pt x="14677" y="15556"/>
                  </a:lnTo>
                  <a:cubicBezTo>
                    <a:pt x="14371" y="15587"/>
                    <a:pt x="14096" y="15364"/>
                    <a:pt x="14064" y="15055"/>
                  </a:cubicBezTo>
                  <a:cubicBezTo>
                    <a:pt x="14062" y="15018"/>
                    <a:pt x="14062" y="14980"/>
                    <a:pt x="14064" y="14943"/>
                  </a:cubicBezTo>
                  <a:lnTo>
                    <a:pt x="14064" y="4878"/>
                  </a:lnTo>
                  <a:cubicBezTo>
                    <a:pt x="14064" y="4506"/>
                    <a:pt x="13798" y="4399"/>
                    <a:pt x="13585" y="4745"/>
                  </a:cubicBezTo>
                  <a:lnTo>
                    <a:pt x="9804" y="10284"/>
                  </a:lnTo>
                  <a:cubicBezTo>
                    <a:pt x="9602" y="10614"/>
                    <a:pt x="9234" y="10808"/>
                    <a:pt x="8846" y="10789"/>
                  </a:cubicBezTo>
                  <a:lnTo>
                    <a:pt x="8846" y="10789"/>
                  </a:lnTo>
                  <a:cubicBezTo>
                    <a:pt x="8465" y="10803"/>
                    <a:pt x="8108" y="10611"/>
                    <a:pt x="7914" y="10284"/>
                  </a:cubicBezTo>
                  <a:lnTo>
                    <a:pt x="4133" y="4745"/>
                  </a:lnTo>
                  <a:cubicBezTo>
                    <a:pt x="3920" y="4452"/>
                    <a:pt x="3654" y="4532"/>
                    <a:pt x="3654" y="4905"/>
                  </a:cubicBezTo>
                  <a:lnTo>
                    <a:pt x="3654" y="14943"/>
                  </a:lnTo>
                  <a:cubicBezTo>
                    <a:pt x="3670" y="15265"/>
                    <a:pt x="3422" y="15542"/>
                    <a:pt x="3097" y="15558"/>
                  </a:cubicBezTo>
                  <a:cubicBezTo>
                    <a:pt x="3071" y="15558"/>
                    <a:pt x="3041" y="15558"/>
                    <a:pt x="3015" y="15556"/>
                  </a:cubicBezTo>
                  <a:lnTo>
                    <a:pt x="1736" y="15556"/>
                  </a:lnTo>
                  <a:cubicBezTo>
                    <a:pt x="1430" y="15601"/>
                    <a:pt x="1145" y="15390"/>
                    <a:pt x="1100" y="15087"/>
                  </a:cubicBezTo>
                  <a:cubicBezTo>
                    <a:pt x="1092" y="15039"/>
                    <a:pt x="1092" y="14991"/>
                    <a:pt x="1097" y="14943"/>
                  </a:cubicBezTo>
                </a:path>
              </a:pathLst>
            </a:custGeom>
            <a:solidFill>
              <a:srgbClr val="FFFFFF"/>
            </a:solidFill>
            <a:ln w="2661" cap="flat">
              <a:noFill/>
              <a:prstDash val="solid"/>
              <a:miter/>
            </a:ln>
          </p:spPr>
          <p:txBody>
            <a:bodyPr rtlCol="0" anchor="ctr"/>
            <a:lstStyle/>
            <a:p>
              <a:endParaRPr lang="pl-PL"/>
            </a:p>
          </p:txBody>
        </p:sp>
      </p:grpSp>
      <p:grpSp>
        <p:nvGrpSpPr>
          <p:cNvPr id="74" name="Group 73">
            <a:extLst>
              <a:ext uri="{FF2B5EF4-FFF2-40B4-BE49-F238E27FC236}">
                <a16:creationId xmlns:a16="http://schemas.microsoft.com/office/drawing/2014/main" id="{79209B9A-1560-4A1B-A6F9-986E50029011}"/>
              </a:ext>
            </a:extLst>
          </p:cNvPr>
          <p:cNvGrpSpPr/>
          <p:nvPr userDrawn="1"/>
        </p:nvGrpSpPr>
        <p:grpSpPr>
          <a:xfrm>
            <a:off x="10855488" y="6628477"/>
            <a:ext cx="218951" cy="162658"/>
            <a:chOff x="10506075" y="6628477"/>
            <a:chExt cx="218951" cy="162658"/>
          </a:xfrm>
        </p:grpSpPr>
        <p:sp>
          <p:nvSpPr>
            <p:cNvPr id="75" name="Rectangle: Rounded Corners 74">
              <a:hlinkClick r:id="" action="ppaction://noaction"/>
              <a:extLst>
                <a:ext uri="{FF2B5EF4-FFF2-40B4-BE49-F238E27FC236}">
                  <a16:creationId xmlns:a16="http://schemas.microsoft.com/office/drawing/2014/main" id="{6CD670C2-3C6C-4D33-B53E-5AB0E6B1CF1D}"/>
                </a:ext>
              </a:extLst>
            </p:cNvPr>
            <p:cNvSpPr/>
            <p:nvPr userDrawn="1"/>
          </p:nvSpPr>
          <p:spPr>
            <a:xfrm>
              <a:off x="10506075" y="6628477"/>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76" name="Rectangle: Rounded Corners 75">
              <a:hlinkClick r:id="" action="ppaction://noaction"/>
              <a:extLst>
                <a:ext uri="{FF2B5EF4-FFF2-40B4-BE49-F238E27FC236}">
                  <a16:creationId xmlns:a16="http://schemas.microsoft.com/office/drawing/2014/main" id="{55902591-01EF-4BE1-8660-0BBD7E43C7A0}"/>
                </a:ext>
              </a:extLst>
            </p:cNvPr>
            <p:cNvSpPr/>
            <p:nvPr userDrawn="1"/>
          </p:nvSpPr>
          <p:spPr>
            <a:xfrm>
              <a:off x="10506075" y="6691806"/>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77" name="Rectangle: Rounded Corners 76">
              <a:hlinkClick r:id="" action="ppaction://noaction"/>
              <a:extLst>
                <a:ext uri="{FF2B5EF4-FFF2-40B4-BE49-F238E27FC236}">
                  <a16:creationId xmlns:a16="http://schemas.microsoft.com/office/drawing/2014/main" id="{09BB121C-8F2B-4B8C-88B2-03DAAC0A137F}"/>
                </a:ext>
              </a:extLst>
            </p:cNvPr>
            <p:cNvSpPr/>
            <p:nvPr userDrawn="1"/>
          </p:nvSpPr>
          <p:spPr>
            <a:xfrm>
              <a:off x="10506075" y="6755135"/>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grpSp>
      <p:sp>
        <p:nvSpPr>
          <p:cNvPr id="78" name="Rectangle 77">
            <a:hlinkClick r:id="" action="ppaction://noaction"/>
            <a:extLst>
              <a:ext uri="{FF2B5EF4-FFF2-40B4-BE49-F238E27FC236}">
                <a16:creationId xmlns:a16="http://schemas.microsoft.com/office/drawing/2014/main" id="{E3AF8EAE-ADB4-404A-876D-86881ACC3A28}"/>
              </a:ext>
            </a:extLst>
          </p:cNvPr>
          <p:cNvSpPr/>
          <p:nvPr userDrawn="1"/>
        </p:nvSpPr>
        <p:spPr>
          <a:xfrm>
            <a:off x="10760869" y="6579908"/>
            <a:ext cx="406177" cy="273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cxnSp>
        <p:nvCxnSpPr>
          <p:cNvPr id="79" name="Straight Connector 78">
            <a:extLst>
              <a:ext uri="{FF2B5EF4-FFF2-40B4-BE49-F238E27FC236}">
                <a16:creationId xmlns:a16="http://schemas.microsoft.com/office/drawing/2014/main" id="{7146B05F-55B6-482D-ACCC-F66425B6254E}"/>
              </a:ext>
            </a:extLst>
          </p:cNvPr>
          <p:cNvCxnSpPr/>
          <p:nvPr userDrawn="1"/>
        </p:nvCxnSpPr>
        <p:spPr>
          <a:xfrm>
            <a:off x="521472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80" name="Rectangle 79">
            <a:hlinkClick r:id="" action="ppaction://noaction"/>
            <a:hlinkHover r:id="" action="ppaction://noaction" highlightClick="1"/>
            <a:extLst>
              <a:ext uri="{FF2B5EF4-FFF2-40B4-BE49-F238E27FC236}">
                <a16:creationId xmlns:a16="http://schemas.microsoft.com/office/drawing/2014/main" id="{8FDB9D01-D92F-4A29-8967-485608054049}"/>
              </a:ext>
            </a:extLst>
          </p:cNvPr>
          <p:cNvSpPr/>
          <p:nvPr userDrawn="1"/>
        </p:nvSpPr>
        <p:spPr>
          <a:xfrm>
            <a:off x="9539162" y="6570000"/>
            <a:ext cx="1200924"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GB" sz="800" b="0" noProof="0">
                <a:solidFill>
                  <a:schemeClr val="bg1">
                    <a:alpha val="50000"/>
                  </a:schemeClr>
                </a:solidFill>
                <a:latin typeface="Leelawadee" panose="020B0502040204020203" pitchFamily="34" charset="-34"/>
                <a:cs typeface="Leelawadee" panose="020B0502040204020203" pitchFamily="34" charset="-34"/>
              </a:rPr>
              <a:t>Additional </a:t>
            </a:r>
            <a:br>
              <a:rPr lang="en-GB" sz="800" b="0" noProof="0">
                <a:solidFill>
                  <a:schemeClr val="bg1">
                    <a:alpha val="50000"/>
                  </a:schemeClr>
                </a:solidFill>
                <a:latin typeface="Leelawadee" panose="020B0502040204020203" pitchFamily="34" charset="-34"/>
                <a:cs typeface="Leelawadee" panose="020B0502040204020203" pitchFamily="34" charset="-34"/>
              </a:rPr>
            </a:br>
            <a:r>
              <a:rPr lang="en-GB" sz="800" b="0" noProof="0">
                <a:solidFill>
                  <a:schemeClr val="bg1">
                    <a:alpha val="50000"/>
                  </a:schemeClr>
                </a:solidFill>
                <a:latin typeface="Leelawadee" panose="020B0502040204020203" pitchFamily="34" charset="-34"/>
                <a:cs typeface="Leelawadee" panose="020B0502040204020203" pitchFamily="34" charset="-34"/>
              </a:rPr>
              <a:t>Supporting content</a:t>
            </a:r>
          </a:p>
        </p:txBody>
      </p:sp>
      <p:cxnSp>
        <p:nvCxnSpPr>
          <p:cNvPr id="81" name="Straight Connector 80">
            <a:extLst>
              <a:ext uri="{FF2B5EF4-FFF2-40B4-BE49-F238E27FC236}">
                <a16:creationId xmlns:a16="http://schemas.microsoft.com/office/drawing/2014/main" id="{22C33DD2-91A0-4B84-9947-9AA41BA5763B}"/>
              </a:ext>
            </a:extLst>
          </p:cNvPr>
          <p:cNvCxnSpPr/>
          <p:nvPr userDrawn="1"/>
        </p:nvCxnSpPr>
        <p:spPr>
          <a:xfrm>
            <a:off x="10737865"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11A7BFDB-5B18-4865-9C62-47E2C26D8723}"/>
              </a:ext>
            </a:extLst>
          </p:cNvPr>
          <p:cNvSpPr txBox="1"/>
          <p:nvPr userDrawn="1"/>
        </p:nvSpPr>
        <p:spPr>
          <a:xfrm>
            <a:off x="208348" y="6587078"/>
            <a:ext cx="428589" cy="261610"/>
          </a:xfrm>
          <a:prstGeom prst="rect">
            <a:avLst/>
          </a:prstGeom>
          <a:noFill/>
        </p:spPr>
        <p:txBody>
          <a:bodyPr wrap="square" rtlCol="0">
            <a:spAutoFit/>
          </a:bodyPr>
          <a:lstStyle/>
          <a:p>
            <a:fld id="{2AD15D81-AC1A-4BFA-95F9-38C1BF89B685}" type="slidenum">
              <a:rPr lang="pl-PL" sz="1050" smtClean="0">
                <a:solidFill>
                  <a:schemeClr val="bg1"/>
                </a:solidFill>
                <a:latin typeface="Leelawadee" panose="020B0502040204020203" pitchFamily="34" charset="-34"/>
                <a:cs typeface="Leelawadee" panose="020B0502040204020203" pitchFamily="34" charset="-34"/>
              </a:rPr>
              <a:t>‹#›</a:t>
            </a:fld>
            <a:endParaRPr lang="pl-PL" sz="1200">
              <a:solidFill>
                <a:schemeClr val="bg1"/>
              </a:solidFill>
              <a:latin typeface="Leelawadee" panose="020B0502040204020203" pitchFamily="34" charset="-34"/>
              <a:cs typeface="Leelawadee" panose="020B0502040204020203" pitchFamily="34" charset="-34"/>
            </a:endParaRPr>
          </a:p>
        </p:txBody>
      </p:sp>
    </p:spTree>
    <p:extLst>
      <p:ext uri="{BB962C8B-B14F-4D97-AF65-F5344CB8AC3E}">
        <p14:creationId xmlns:p14="http://schemas.microsoft.com/office/powerpoint/2010/main" val="2372139973"/>
      </p:ext>
    </p:extLst>
  </p:cSld>
  <p:clrMapOvr>
    <a:masterClrMapping/>
  </p:clrMapOvr>
  <p:extLst>
    <p:ext uri="{DCECCB84-F9BA-43D5-87BE-67443E8EF086}">
      <p15:sldGuideLst xmlns:p15="http://schemas.microsoft.com/office/powerpoint/2012/main">
        <p15:guide id="1" pos="189">
          <p15:clr>
            <a:srgbClr val="FBAE40"/>
          </p15:clr>
        </p15:guide>
        <p15:guide id="4" pos="7491">
          <p15:clr>
            <a:srgbClr val="FBAE40"/>
          </p15:clr>
        </p15:guide>
        <p15:guide id="5" orient="horz" pos="187">
          <p15:clr>
            <a:srgbClr val="FBAE40"/>
          </p15:clr>
        </p15:guide>
        <p15:guide id="6" orient="horz" pos="3974">
          <p15:clr>
            <a:srgbClr val="FBAE40"/>
          </p15:clr>
        </p15:guide>
        <p15:guide id="7" orient="horz" pos="822">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B381DE6-1B80-414D-AEE2-D1ACB69B5BB1}"/>
              </a:ext>
            </a:extLst>
          </p:cNvPr>
          <p:cNvGraphicFramePr>
            <a:graphicFrameLocks noChangeAspect="1"/>
          </p:cNvGraphicFramePr>
          <p:nvPr userDrawn="1">
            <p:custDataLst>
              <p:tags r:id="rId1"/>
            </p:custDataLst>
            <p:extLst>
              <p:ext uri="{D42A27DB-BD31-4B8C-83A1-F6EECF244321}">
                <p14:modId xmlns:p14="http://schemas.microsoft.com/office/powerpoint/2010/main" val="20469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8B381DE6-1B80-414D-AEE2-D1ACB69B5B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object 2"/>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rgbClr val="0065E5"/>
          </a:solidFill>
        </p:spPr>
        <p:txBody>
          <a:bodyPr wrap="square" lIns="0" tIns="0" rIns="0" bIns="0" rtlCol="0"/>
          <a:lstStyle/>
          <a:p>
            <a:pPr rtl="0"/>
            <a:endParaRPr lang="en-US" noProof="0">
              <a:solidFill>
                <a:srgbClr val="0065E5"/>
              </a:solidFill>
            </a:endParaRPr>
          </a:p>
        </p:txBody>
      </p:sp>
      <p:sp>
        <p:nvSpPr>
          <p:cNvPr id="24" name="Title 23"/>
          <p:cNvSpPr>
            <a:spLocks noGrp="1"/>
          </p:cNvSpPr>
          <p:nvPr>
            <p:ph type="title"/>
          </p:nvPr>
        </p:nvSpPr>
        <p:spPr>
          <a:xfrm>
            <a:off x="609231" y="168381"/>
            <a:ext cx="10952147" cy="623222"/>
          </a:xfrm>
        </p:spPr>
        <p:txBody>
          <a:bodyPr vert="horz" anchor="ctr">
            <a:noAutofit/>
          </a:bodyPr>
          <a:lstStyle>
            <a:lvl1pPr rtl="0">
              <a:lnSpc>
                <a:spcPct val="100000"/>
              </a:lnSpc>
              <a:defRPr lang="en-US" sz="3200" b="1" i="0" kern="1200" spc="-20" dirty="0">
                <a:solidFill>
                  <a:srgbClr val="FFFFFF"/>
                </a:solidFill>
                <a:latin typeface="Calibri" panose="020F0502020204030204" pitchFamily="34" charset="0"/>
                <a:ea typeface="+mn-ea"/>
                <a:cs typeface="Calibri" panose="020F0502020204030204" pitchFamily="34" charset="0"/>
              </a:defRPr>
            </a:lvl1pPr>
          </a:lstStyle>
          <a:p>
            <a:r>
              <a:rPr lang="en-US" noProof="0"/>
              <a:t>Click to edit Master title style</a:t>
            </a:r>
          </a:p>
        </p:txBody>
      </p:sp>
      <p:sp>
        <p:nvSpPr>
          <p:cNvPr id="14" name="Text Placeholder 2">
            <a:extLst>
              <a:ext uri="{FF2B5EF4-FFF2-40B4-BE49-F238E27FC236}">
                <a16:creationId xmlns:a16="http://schemas.microsoft.com/office/drawing/2014/main" id="{76D40EB1-E54E-3D43-82D2-2C0B316D02E5}"/>
              </a:ext>
            </a:extLst>
          </p:cNvPr>
          <p:cNvSpPr>
            <a:spLocks noGrp="1"/>
          </p:cNvSpPr>
          <p:nvPr>
            <p:ph type="body" sz="quarter" idx="14"/>
          </p:nvPr>
        </p:nvSpPr>
        <p:spPr>
          <a:xfrm>
            <a:off x="609231" y="1274778"/>
            <a:ext cx="10952148" cy="4810836"/>
          </a:xfrm>
        </p:spPr>
        <p:txBody>
          <a:bodyPr>
            <a:noAutofit/>
          </a:bodyPr>
          <a:lstStyle>
            <a:lvl1pPr marL="350838" indent="-350838" rtl="0">
              <a:lnSpc>
                <a:spcPct val="100000"/>
              </a:lnSpc>
              <a:spcBef>
                <a:spcPts val="0"/>
              </a:spcBef>
              <a:buFont typeface="Arial" panose="020B0604020202020204" pitchFamily="34" charset="0"/>
              <a:buChar char="•"/>
              <a:tabLst/>
              <a:defRPr sz="2800" b="0" i="0">
                <a:solidFill>
                  <a:srgbClr val="0065E5"/>
                </a:solidFill>
                <a:latin typeface="Calibri" panose="020F0502020204030204" pitchFamily="34" charset="0"/>
                <a:cs typeface="Calibri" panose="020F0502020204030204" pitchFamily="34" charset="0"/>
              </a:defRPr>
            </a:lvl1pPr>
            <a:lvl2pPr marL="692150" marR="0" indent="-406400" algn="l" defTabSz="914400" rtl="0" eaLnBrk="1" fontAlgn="auto" latinLnBrk="0" hangingPunct="1">
              <a:lnSpc>
                <a:spcPct val="100000"/>
              </a:lnSpc>
              <a:spcBef>
                <a:spcPts val="0"/>
              </a:spcBef>
              <a:spcAft>
                <a:spcPts val="0"/>
              </a:spcAft>
              <a:buClrTx/>
              <a:buSzPct val="70000"/>
              <a:buFont typeface="Courier New" panose="02070309020205020404" pitchFamily="49" charset="0"/>
              <a:buChar char="o"/>
              <a:tabLst/>
              <a:defRPr sz="2800" b="0" i="0">
                <a:solidFill>
                  <a:srgbClr val="0065E5"/>
                </a:solidFill>
                <a:latin typeface="Calibri" panose="020F0502020204030204" pitchFamily="34" charset="0"/>
                <a:cs typeface="Calibri" panose="020F0502020204030204" pitchFamily="34" charset="0"/>
              </a:defRPr>
            </a:lvl2pPr>
            <a:lvl3pPr marL="1035050" indent="-395288" rtl="0">
              <a:lnSpc>
                <a:spcPct val="100000"/>
              </a:lnSpc>
              <a:buSzPct val="70000"/>
              <a:buFont typeface="Courier New" panose="02070309020205020404" pitchFamily="49" charset="0"/>
              <a:buChar char="o"/>
              <a:tabLst>
                <a:tab pos="1023938" algn="l"/>
              </a:tabLst>
              <a:defRPr sz="2800">
                <a:solidFill>
                  <a:srgbClr val="0065E5"/>
                </a:solidFill>
              </a:defRPr>
            </a:lvl3pPr>
            <a:lvl4pPr marL="1428750" indent="-406400" rtl="0">
              <a:lnSpc>
                <a:spcPct val="100000"/>
              </a:lnSpc>
              <a:buClr>
                <a:srgbClr val="0065E5"/>
              </a:buClr>
              <a:buSzPct val="80000"/>
              <a:buFont typeface="Wingdings" pitchFamily="2" charset="2"/>
              <a:buChar char="§"/>
              <a:tabLst/>
              <a:defRPr sz="2800">
                <a:solidFill>
                  <a:srgbClr val="0065E5"/>
                </a:solidFill>
              </a:defRPr>
            </a:lvl4pPr>
            <a:lvl5pPr marL="1835150" indent="-415925" rtl="0">
              <a:lnSpc>
                <a:spcPct val="100000"/>
              </a:lnSpc>
              <a:buClr>
                <a:srgbClr val="0065E5"/>
              </a:buClr>
              <a:buSzPct val="80000"/>
              <a:buFont typeface="Wingdings" pitchFamily="2" charset="2"/>
              <a:buChar char="§"/>
              <a:tabLst/>
              <a:defRPr sz="2800">
                <a:solidFill>
                  <a:srgbClr val="0065E5"/>
                </a:solidFill>
              </a:defRPr>
            </a:lvl5pPr>
          </a:lstStyle>
          <a:p>
            <a:pPr lvl="0"/>
            <a:r>
              <a:rPr lang="en-US" noProof="0"/>
              <a:t>Click to edit Master text styles</a:t>
            </a:r>
          </a:p>
          <a:p>
            <a:pPr lvl="1"/>
            <a:r>
              <a:rPr lang="en-US" noProof="0"/>
              <a:t>Click to edit Master text styles</a:t>
            </a:r>
          </a:p>
          <a:p>
            <a:pPr lvl="2"/>
            <a:r>
              <a:rPr lang="en-US" noProof="0"/>
              <a:t>Click to edit Master text styles</a:t>
            </a:r>
          </a:p>
          <a:p>
            <a:pPr lvl="3"/>
            <a:r>
              <a:rPr lang="en-US" noProof="0"/>
              <a:t>Click to edit Master text styles</a:t>
            </a:r>
          </a:p>
          <a:p>
            <a:pPr lvl="4"/>
            <a:r>
              <a:rPr lang="en-US" noProof="0"/>
              <a:t>Click to edit Master text styles</a:t>
            </a:r>
          </a:p>
        </p:txBody>
      </p:sp>
      <p:sp>
        <p:nvSpPr>
          <p:cNvPr id="8" name="object 3">
            <a:extLst>
              <a:ext uri="{FF2B5EF4-FFF2-40B4-BE49-F238E27FC236}">
                <a16:creationId xmlns:a16="http://schemas.microsoft.com/office/drawing/2014/main" id="{084A86BC-9CF0-402C-84A3-5B1C293C6D19}"/>
              </a:ext>
            </a:extLst>
          </p:cNvPr>
          <p:cNvSpPr/>
          <p:nvPr userDrawn="1"/>
        </p:nvSpPr>
        <p:spPr>
          <a:xfrm>
            <a:off x="0" y="949394"/>
            <a:ext cx="12192000" cy="90512"/>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rgbClr val="4FE2F3"/>
          </a:solidFill>
        </p:spPr>
        <p:txBody>
          <a:bodyPr wrap="square" lIns="0" tIns="0" rIns="0" bIns="0" rtlCol="0"/>
          <a:lstStyle/>
          <a:p>
            <a:pPr rtl="0"/>
            <a:endParaRPr lang="en-US" noProof="0"/>
          </a:p>
        </p:txBody>
      </p:sp>
      <p:sp>
        <p:nvSpPr>
          <p:cNvPr id="80" name="Rectangle 79">
            <a:extLst>
              <a:ext uri="{FF2B5EF4-FFF2-40B4-BE49-F238E27FC236}">
                <a16:creationId xmlns:a16="http://schemas.microsoft.com/office/drawing/2014/main" id="{3759C04E-2047-49F8-B6B8-6EE9EB39A6F0}"/>
              </a:ext>
            </a:extLst>
          </p:cNvPr>
          <p:cNvSpPr/>
          <p:nvPr userDrawn="1"/>
        </p:nvSpPr>
        <p:spPr>
          <a:xfrm>
            <a:off x="0" y="6570000"/>
            <a:ext cx="12192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100" noProof="0"/>
          </a:p>
        </p:txBody>
      </p:sp>
      <p:cxnSp>
        <p:nvCxnSpPr>
          <p:cNvPr id="81" name="Straight Connector 80">
            <a:extLst>
              <a:ext uri="{FF2B5EF4-FFF2-40B4-BE49-F238E27FC236}">
                <a16:creationId xmlns:a16="http://schemas.microsoft.com/office/drawing/2014/main" id="{024B2C5D-2374-4C6C-8D1A-AC2DD89E74A8}"/>
              </a:ext>
            </a:extLst>
          </p:cNvPr>
          <p:cNvCxnSpPr/>
          <p:nvPr userDrawn="1"/>
        </p:nvCxnSpPr>
        <p:spPr>
          <a:xfrm>
            <a:off x="634587" y="6570000"/>
            <a:ext cx="0" cy="288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B6A20841-E79D-4973-B3B4-944D15C789EF}"/>
              </a:ext>
            </a:extLst>
          </p:cNvPr>
          <p:cNvSpPr txBox="1"/>
          <p:nvPr userDrawn="1"/>
        </p:nvSpPr>
        <p:spPr>
          <a:xfrm>
            <a:off x="806034" y="6650942"/>
            <a:ext cx="3896596" cy="123111"/>
          </a:xfrm>
          <a:prstGeom prst="rect">
            <a:avLst/>
          </a:prstGeom>
          <a:noFill/>
        </p:spPr>
        <p:txBody>
          <a:bodyPr wrap="square" lIns="0" tIns="0" rIns="0" bIns="0" rtlCol="0">
            <a:spAutoFit/>
          </a:bodyPr>
          <a:lstStyle/>
          <a:p>
            <a:pPr rtl="0"/>
            <a:r>
              <a:rPr lang="en-US" sz="800" spc="300" baseline="0" noProof="0">
                <a:solidFill>
                  <a:schemeClr val="bg1"/>
                </a:solidFill>
                <a:latin typeface="Leelawadee" panose="020B0502040204020203" pitchFamily="34" charset="-34"/>
                <a:cs typeface="Leelawadee" panose="020B0502040204020203" pitchFamily="34" charset="-34"/>
              </a:rPr>
              <a:t>CONFIDENTIAL &amp; PROPRIETARY</a:t>
            </a:r>
          </a:p>
        </p:txBody>
      </p:sp>
      <p:sp>
        <p:nvSpPr>
          <p:cNvPr id="83" name="Rectangle 82">
            <a:hlinkClick r:id="" action="ppaction://noaction"/>
            <a:extLst>
              <a:ext uri="{FF2B5EF4-FFF2-40B4-BE49-F238E27FC236}">
                <a16:creationId xmlns:a16="http://schemas.microsoft.com/office/drawing/2014/main" id="{92562484-F1D1-43D0-9DEF-FCB8A907608C}"/>
              </a:ext>
            </a:extLst>
          </p:cNvPr>
          <p:cNvSpPr/>
          <p:nvPr userDrawn="1"/>
        </p:nvSpPr>
        <p:spPr>
          <a:xfrm>
            <a:off x="5214721" y="6579908"/>
            <a:ext cx="1147937"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lnSpc>
                <a:spcPct val="90000"/>
              </a:lnSpc>
            </a:pPr>
            <a:r>
              <a:rPr lang="en-GB" sz="800" b="0">
                <a:solidFill>
                  <a:schemeClr val="bg1">
                    <a:alpha val="50000"/>
                  </a:schemeClr>
                </a:solidFill>
                <a:latin typeface="Leelawadee" panose="020B0502040204020203" pitchFamily="34" charset="-34"/>
                <a:cs typeface="Leelawadee" panose="020B0502040204020203" pitchFamily="34" charset="-34"/>
              </a:rPr>
              <a:t>Intro &amp; objectives</a:t>
            </a:r>
          </a:p>
        </p:txBody>
      </p:sp>
      <p:sp>
        <p:nvSpPr>
          <p:cNvPr id="84" name="Rectangle 83">
            <a:hlinkClick r:id="rId5" action="ppaction://hlinksldjump"/>
            <a:extLst>
              <a:ext uri="{FF2B5EF4-FFF2-40B4-BE49-F238E27FC236}">
                <a16:creationId xmlns:a16="http://schemas.microsoft.com/office/drawing/2014/main" id="{E1B9BA34-8987-4BA8-8630-B28A49C3D080}"/>
              </a:ext>
            </a:extLst>
          </p:cNvPr>
          <p:cNvSpPr/>
          <p:nvPr userDrawn="1"/>
        </p:nvSpPr>
        <p:spPr>
          <a:xfrm>
            <a:off x="6367021" y="6579908"/>
            <a:ext cx="1126055"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US" sz="800" b="0" noProof="0">
                <a:solidFill>
                  <a:schemeClr val="bg1">
                    <a:alpha val="50000"/>
                  </a:schemeClr>
                </a:solidFill>
                <a:latin typeface="Leelawadee" panose="020B0502040204020203" pitchFamily="34" charset="-34"/>
                <a:cs typeface="Leelawadee" panose="020B0502040204020203" pitchFamily="34" charset="-34"/>
              </a:rPr>
              <a:t>Introducing pep+ </a:t>
            </a:r>
            <a:br>
              <a:rPr lang="en-US" sz="800" b="0" noProof="0">
                <a:solidFill>
                  <a:schemeClr val="bg1">
                    <a:alpha val="50000"/>
                  </a:schemeClr>
                </a:solidFill>
                <a:latin typeface="Leelawadee" panose="020B0502040204020203" pitchFamily="34" charset="-34"/>
                <a:cs typeface="Leelawadee" panose="020B0502040204020203" pitchFamily="34" charset="-34"/>
              </a:rPr>
            </a:br>
            <a:r>
              <a:rPr lang="en-US" sz="800" b="0" noProof="0">
                <a:solidFill>
                  <a:schemeClr val="bg1">
                    <a:alpha val="50000"/>
                  </a:schemeClr>
                </a:solidFill>
                <a:latin typeface="Leelawadee" panose="020B0502040204020203" pitchFamily="34" charset="-34"/>
                <a:cs typeface="Leelawadee" panose="020B0502040204020203" pitchFamily="34" charset="-34"/>
              </a:rPr>
              <a:t>to Customers</a:t>
            </a:r>
          </a:p>
        </p:txBody>
      </p:sp>
      <p:sp>
        <p:nvSpPr>
          <p:cNvPr id="85" name="Rectangle 84">
            <a:hlinkClick r:id="" action="ppaction://noaction"/>
            <a:extLst>
              <a:ext uri="{FF2B5EF4-FFF2-40B4-BE49-F238E27FC236}">
                <a16:creationId xmlns:a16="http://schemas.microsoft.com/office/drawing/2014/main" id="{4E598FEB-07B1-4727-B40A-BE9A8B62F862}"/>
              </a:ext>
            </a:extLst>
          </p:cNvPr>
          <p:cNvSpPr/>
          <p:nvPr userDrawn="1"/>
        </p:nvSpPr>
        <p:spPr>
          <a:xfrm>
            <a:off x="7510981" y="6579908"/>
            <a:ext cx="967705"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US" sz="800" b="0" noProof="0">
                <a:solidFill>
                  <a:schemeClr val="bg1">
                    <a:alpha val="50000"/>
                  </a:schemeClr>
                </a:solidFill>
                <a:latin typeface="Leelawadee" panose="020B0502040204020203" pitchFamily="34" charset="-34"/>
                <a:cs typeface="Leelawadee" panose="020B0502040204020203" pitchFamily="34" charset="-34"/>
              </a:rPr>
              <a:t>Exploring </a:t>
            </a:r>
            <a:br>
              <a:rPr lang="en-US" sz="800" b="0" noProof="0">
                <a:solidFill>
                  <a:schemeClr val="bg1">
                    <a:alpha val="50000"/>
                  </a:schemeClr>
                </a:solidFill>
                <a:latin typeface="Leelawadee" panose="020B0502040204020203" pitchFamily="34" charset="-34"/>
                <a:cs typeface="Leelawadee" panose="020B0502040204020203" pitchFamily="34" charset="-34"/>
              </a:rPr>
            </a:br>
            <a:r>
              <a:rPr lang="en-US" sz="800" b="0" noProof="0">
                <a:solidFill>
                  <a:schemeClr val="bg1">
                    <a:alpha val="50000"/>
                  </a:schemeClr>
                </a:solidFill>
                <a:latin typeface="Leelawadee" panose="020B0502040204020203" pitchFamily="34" charset="-34"/>
                <a:cs typeface="Leelawadee" panose="020B0502040204020203" pitchFamily="34" charset="-34"/>
              </a:rPr>
              <a:t>pep+ areas</a:t>
            </a:r>
          </a:p>
        </p:txBody>
      </p:sp>
      <p:sp>
        <p:nvSpPr>
          <p:cNvPr id="86" name="Rectangle 85">
            <a:hlinkClick r:id="" action="ppaction://noaction"/>
            <a:hlinkHover r:id="" action="ppaction://noaction" highlightClick="1"/>
            <a:extLst>
              <a:ext uri="{FF2B5EF4-FFF2-40B4-BE49-F238E27FC236}">
                <a16:creationId xmlns:a16="http://schemas.microsoft.com/office/drawing/2014/main" id="{F3ED1DAF-2330-4FE2-8C6A-73C96E569D53}"/>
              </a:ext>
            </a:extLst>
          </p:cNvPr>
          <p:cNvSpPr/>
          <p:nvPr userDrawn="1"/>
        </p:nvSpPr>
        <p:spPr>
          <a:xfrm>
            <a:off x="8544692" y="6579908"/>
            <a:ext cx="994577"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GB" sz="800" b="0" noProof="0">
                <a:solidFill>
                  <a:schemeClr val="bg1">
                    <a:alpha val="50000"/>
                  </a:schemeClr>
                </a:solidFill>
                <a:latin typeface="Leelawadee" panose="020B0502040204020203" pitchFamily="34" charset="-34"/>
                <a:cs typeface="Leelawadee" panose="020B0502040204020203" pitchFamily="34" charset="-34"/>
              </a:rPr>
              <a:t>pep+ Customer Engagement</a:t>
            </a:r>
          </a:p>
        </p:txBody>
      </p:sp>
      <p:cxnSp>
        <p:nvCxnSpPr>
          <p:cNvPr id="87" name="Straight Connector 86">
            <a:extLst>
              <a:ext uri="{FF2B5EF4-FFF2-40B4-BE49-F238E27FC236}">
                <a16:creationId xmlns:a16="http://schemas.microsoft.com/office/drawing/2014/main" id="{C9D57413-37AC-4F87-AFFF-41BD53DA7793}"/>
              </a:ext>
            </a:extLst>
          </p:cNvPr>
          <p:cNvCxnSpPr/>
          <p:nvPr userDrawn="1"/>
        </p:nvCxnSpPr>
        <p:spPr>
          <a:xfrm>
            <a:off x="9539270"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ED228D56-7461-42E9-943E-7E886C14CB77}"/>
              </a:ext>
            </a:extLst>
          </p:cNvPr>
          <p:cNvCxnSpPr/>
          <p:nvPr userDrawn="1"/>
        </p:nvCxnSpPr>
        <p:spPr>
          <a:xfrm>
            <a:off x="848143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A6BD70F7-DEB5-4ACB-9D33-0EC0C4603087}"/>
              </a:ext>
            </a:extLst>
          </p:cNvPr>
          <p:cNvCxnSpPr/>
          <p:nvPr userDrawn="1"/>
        </p:nvCxnSpPr>
        <p:spPr>
          <a:xfrm>
            <a:off x="7493596"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EC055DE5-FB77-44FC-A08B-3C6B66B64BD6}"/>
              </a:ext>
            </a:extLst>
          </p:cNvPr>
          <p:cNvCxnSpPr/>
          <p:nvPr userDrawn="1"/>
        </p:nvCxnSpPr>
        <p:spPr>
          <a:xfrm>
            <a:off x="636702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C6D499F2-BBF6-43C6-B157-4BDFF7FBC58D}"/>
              </a:ext>
            </a:extLst>
          </p:cNvPr>
          <p:cNvCxnSpPr/>
          <p:nvPr userDrawn="1"/>
        </p:nvCxnSpPr>
        <p:spPr>
          <a:xfrm>
            <a:off x="11186336"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nvGrpSpPr>
          <p:cNvPr id="92" name="Group 91">
            <a:extLst>
              <a:ext uri="{FF2B5EF4-FFF2-40B4-BE49-F238E27FC236}">
                <a16:creationId xmlns:a16="http://schemas.microsoft.com/office/drawing/2014/main" id="{E92424F2-52FC-451B-B7DE-44BC56742B86}"/>
              </a:ext>
            </a:extLst>
          </p:cNvPr>
          <p:cNvGrpSpPr/>
          <p:nvPr userDrawn="1"/>
        </p:nvGrpSpPr>
        <p:grpSpPr>
          <a:xfrm>
            <a:off x="11393217" y="6628477"/>
            <a:ext cx="473369" cy="183554"/>
            <a:chOff x="11393217" y="6628477"/>
            <a:chExt cx="473369" cy="183554"/>
          </a:xfrm>
        </p:grpSpPr>
        <p:sp>
          <p:nvSpPr>
            <p:cNvPr id="93" name="Freeform: Shape 92">
              <a:extLst>
                <a:ext uri="{FF2B5EF4-FFF2-40B4-BE49-F238E27FC236}">
                  <a16:creationId xmlns:a16="http://schemas.microsoft.com/office/drawing/2014/main" id="{AAEDDAAA-F759-4672-8EC4-E9A26CC8D0F5}"/>
                </a:ext>
              </a:extLst>
            </p:cNvPr>
            <p:cNvSpPr/>
            <p:nvPr/>
          </p:nvSpPr>
          <p:spPr>
            <a:xfrm>
              <a:off x="11432435" y="6628477"/>
              <a:ext cx="90651" cy="18332"/>
            </a:xfrm>
            <a:custGeom>
              <a:avLst/>
              <a:gdLst>
                <a:gd name="connsiteX0" fmla="*/ 11746 w 160635"/>
                <a:gd name="connsiteY0" fmla="*/ 19438 h 32484"/>
                <a:gd name="connsiteX1" fmla="*/ 53842 w 160635"/>
                <a:gd name="connsiteY1" fmla="*/ 32138 h 32484"/>
                <a:gd name="connsiteX2" fmla="*/ 96443 w 160635"/>
                <a:gd name="connsiteY2" fmla="*/ 19438 h 32484"/>
                <a:gd name="connsiteX3" fmla="*/ 138646 w 160635"/>
                <a:gd name="connsiteY3" fmla="*/ 32138 h 32484"/>
                <a:gd name="connsiteX4" fmla="*/ 161624 w 160635"/>
                <a:gd name="connsiteY4" fmla="*/ 25721 h 32484"/>
                <a:gd name="connsiteX5" fmla="*/ 78205 w 160635"/>
                <a:gd name="connsiteY5" fmla="*/ -345 h 32484"/>
                <a:gd name="connsiteX6" fmla="*/ 989 w 160635"/>
                <a:gd name="connsiteY6" fmla="*/ 21648 h 32484"/>
                <a:gd name="connsiteX7" fmla="*/ 11879 w 160635"/>
                <a:gd name="connsiteY7" fmla="*/ 19438 h 3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635" h="32484">
                  <a:moveTo>
                    <a:pt x="11746" y="19438"/>
                  </a:moveTo>
                  <a:cubicBezTo>
                    <a:pt x="29798" y="19438"/>
                    <a:pt x="34671" y="32138"/>
                    <a:pt x="53842" y="32138"/>
                  </a:cubicBezTo>
                  <a:cubicBezTo>
                    <a:pt x="73012" y="32138"/>
                    <a:pt x="77645" y="19438"/>
                    <a:pt x="96443" y="19438"/>
                  </a:cubicBezTo>
                  <a:cubicBezTo>
                    <a:pt x="113644" y="19438"/>
                    <a:pt x="120700" y="32138"/>
                    <a:pt x="138646" y="32138"/>
                  </a:cubicBezTo>
                  <a:cubicBezTo>
                    <a:pt x="146732" y="32029"/>
                    <a:pt x="154651" y="29819"/>
                    <a:pt x="161624" y="25721"/>
                  </a:cubicBezTo>
                  <a:cubicBezTo>
                    <a:pt x="137136" y="8707"/>
                    <a:pt x="108023" y="-388"/>
                    <a:pt x="78205" y="-345"/>
                  </a:cubicBezTo>
                  <a:cubicBezTo>
                    <a:pt x="50915" y="-377"/>
                    <a:pt x="24164" y="7240"/>
                    <a:pt x="989" y="21648"/>
                  </a:cubicBezTo>
                  <a:cubicBezTo>
                    <a:pt x="4440" y="20210"/>
                    <a:pt x="8140" y="19459"/>
                    <a:pt x="11879" y="19438"/>
                  </a:cubicBezTo>
                </a:path>
              </a:pathLst>
            </a:custGeom>
            <a:solidFill>
              <a:srgbClr val="4FE3F2"/>
            </a:solidFill>
            <a:ln w="2661" cap="flat">
              <a:noFill/>
              <a:prstDash val="solid"/>
              <a:miter/>
            </a:ln>
          </p:spPr>
          <p:txBody>
            <a:bodyPr rtlCol="0" anchor="ctr"/>
            <a:lstStyle/>
            <a:p>
              <a:endParaRPr lang="pl-PL"/>
            </a:p>
          </p:txBody>
        </p:sp>
        <p:sp>
          <p:nvSpPr>
            <p:cNvPr id="94" name="Freeform: Shape 93">
              <a:extLst>
                <a:ext uri="{FF2B5EF4-FFF2-40B4-BE49-F238E27FC236}">
                  <a16:creationId xmlns:a16="http://schemas.microsoft.com/office/drawing/2014/main" id="{30480F4E-D07A-4962-A262-E15F1FFE1635}"/>
                </a:ext>
              </a:extLst>
            </p:cNvPr>
            <p:cNvSpPr/>
            <p:nvPr/>
          </p:nvSpPr>
          <p:spPr>
            <a:xfrm>
              <a:off x="11432374" y="6628522"/>
              <a:ext cx="90726" cy="18332"/>
            </a:xfrm>
            <a:custGeom>
              <a:avLst/>
              <a:gdLst>
                <a:gd name="connsiteX0" fmla="*/ 78205 w 160768"/>
                <a:gd name="connsiteY0" fmla="*/ -345 h 32484"/>
                <a:gd name="connsiteX1" fmla="*/ 989 w 160768"/>
                <a:gd name="connsiteY1" fmla="*/ 21648 h 32484"/>
                <a:gd name="connsiteX2" fmla="*/ 11879 w 160768"/>
                <a:gd name="connsiteY2" fmla="*/ 19438 h 32484"/>
                <a:gd name="connsiteX3" fmla="*/ 53975 w 160768"/>
                <a:gd name="connsiteY3" fmla="*/ 32138 h 32484"/>
                <a:gd name="connsiteX4" fmla="*/ 96577 w 160768"/>
                <a:gd name="connsiteY4" fmla="*/ 19438 h 32484"/>
                <a:gd name="connsiteX5" fmla="*/ 138806 w 160768"/>
                <a:gd name="connsiteY5" fmla="*/ 32138 h 32484"/>
                <a:gd name="connsiteX6" fmla="*/ 161757 w 160768"/>
                <a:gd name="connsiteY6" fmla="*/ 25722 h 32484"/>
                <a:gd name="connsiteX7" fmla="*/ 78338 w 160768"/>
                <a:gd name="connsiteY7" fmla="*/ -345 h 3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8" h="32484">
                  <a:moveTo>
                    <a:pt x="78205" y="-345"/>
                  </a:moveTo>
                  <a:cubicBezTo>
                    <a:pt x="50915" y="-377"/>
                    <a:pt x="24164" y="7240"/>
                    <a:pt x="989" y="21648"/>
                  </a:cubicBezTo>
                  <a:cubicBezTo>
                    <a:pt x="4439" y="20210"/>
                    <a:pt x="8140" y="19459"/>
                    <a:pt x="11879" y="19438"/>
                  </a:cubicBezTo>
                  <a:cubicBezTo>
                    <a:pt x="29931" y="19438"/>
                    <a:pt x="34804" y="32138"/>
                    <a:pt x="53975" y="32138"/>
                  </a:cubicBezTo>
                  <a:cubicBezTo>
                    <a:pt x="73146" y="32138"/>
                    <a:pt x="77778" y="19438"/>
                    <a:pt x="96577" y="19438"/>
                  </a:cubicBezTo>
                  <a:cubicBezTo>
                    <a:pt x="113777" y="19438"/>
                    <a:pt x="120833" y="32138"/>
                    <a:pt x="138806" y="32138"/>
                  </a:cubicBezTo>
                  <a:cubicBezTo>
                    <a:pt x="146884" y="32027"/>
                    <a:pt x="154792" y="29814"/>
                    <a:pt x="161757" y="25722"/>
                  </a:cubicBezTo>
                  <a:cubicBezTo>
                    <a:pt x="137269" y="8707"/>
                    <a:pt x="108156" y="-388"/>
                    <a:pt x="78338" y="-345"/>
                  </a:cubicBezTo>
                </a:path>
              </a:pathLst>
            </a:custGeom>
            <a:solidFill>
              <a:srgbClr val="BAF2FA"/>
            </a:solidFill>
            <a:ln w="2661" cap="flat">
              <a:noFill/>
              <a:prstDash val="solid"/>
              <a:miter/>
            </a:ln>
          </p:spPr>
          <p:txBody>
            <a:bodyPr rtlCol="0" anchor="ctr"/>
            <a:lstStyle/>
            <a:p>
              <a:endParaRPr lang="pl-PL"/>
            </a:p>
          </p:txBody>
        </p:sp>
        <p:sp>
          <p:nvSpPr>
            <p:cNvPr id="95" name="Freeform: Shape 94">
              <a:extLst>
                <a:ext uri="{FF2B5EF4-FFF2-40B4-BE49-F238E27FC236}">
                  <a16:creationId xmlns:a16="http://schemas.microsoft.com/office/drawing/2014/main" id="{ACE59FA8-6299-4250-8FFD-9DB33BCAC08C}"/>
                </a:ext>
              </a:extLst>
            </p:cNvPr>
            <p:cNvSpPr/>
            <p:nvPr/>
          </p:nvSpPr>
          <p:spPr>
            <a:xfrm>
              <a:off x="11427415" y="6639597"/>
              <a:ext cx="108562" cy="21802"/>
            </a:xfrm>
            <a:custGeom>
              <a:avLst/>
              <a:gdLst>
                <a:gd name="connsiteX0" fmla="*/ 105230 w 192373"/>
                <a:gd name="connsiteY0" fmla="*/ -266 h 38634"/>
                <a:gd name="connsiteX1" fmla="*/ 62628 w 192373"/>
                <a:gd name="connsiteY1" fmla="*/ 12435 h 38634"/>
                <a:gd name="connsiteX2" fmla="*/ 20532 w 192373"/>
                <a:gd name="connsiteY2" fmla="*/ -266 h 38634"/>
                <a:gd name="connsiteX3" fmla="*/ 9642 w 192373"/>
                <a:gd name="connsiteY3" fmla="*/ 1944 h 38634"/>
                <a:gd name="connsiteX4" fmla="*/ 989 w 192373"/>
                <a:gd name="connsiteY4" fmla="*/ 7775 h 38634"/>
                <a:gd name="connsiteX5" fmla="*/ 21171 w 192373"/>
                <a:gd name="connsiteY5" fmla="*/ 25615 h 38634"/>
                <a:gd name="connsiteX6" fmla="*/ 62628 w 192373"/>
                <a:gd name="connsiteY6" fmla="*/ 38289 h 38634"/>
                <a:gd name="connsiteX7" fmla="*/ 105230 w 192373"/>
                <a:gd name="connsiteY7" fmla="*/ 25588 h 38634"/>
                <a:gd name="connsiteX8" fmla="*/ 147459 w 192373"/>
                <a:gd name="connsiteY8" fmla="*/ 38289 h 38634"/>
                <a:gd name="connsiteX9" fmla="*/ 190700 w 192373"/>
                <a:gd name="connsiteY9" fmla="*/ 25588 h 38634"/>
                <a:gd name="connsiteX10" fmla="*/ 193363 w 192373"/>
                <a:gd name="connsiteY10" fmla="*/ 25588 h 38634"/>
                <a:gd name="connsiteX11" fmla="*/ 170438 w 192373"/>
                <a:gd name="connsiteY11" fmla="*/ 5938 h 38634"/>
                <a:gd name="connsiteX12" fmla="*/ 147486 w 192373"/>
                <a:gd name="connsiteY12" fmla="*/ 12355 h 38634"/>
                <a:gd name="connsiteX13" fmla="*/ 105257 w 192373"/>
                <a:gd name="connsiteY13" fmla="*/ -346 h 38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2373" h="38634">
                  <a:moveTo>
                    <a:pt x="105230" y="-266"/>
                  </a:moveTo>
                  <a:cubicBezTo>
                    <a:pt x="86592" y="-266"/>
                    <a:pt x="81799" y="12435"/>
                    <a:pt x="62628" y="12435"/>
                  </a:cubicBezTo>
                  <a:cubicBezTo>
                    <a:pt x="43457" y="12435"/>
                    <a:pt x="38665" y="-266"/>
                    <a:pt x="20532" y="-266"/>
                  </a:cubicBezTo>
                  <a:cubicBezTo>
                    <a:pt x="16794" y="-244"/>
                    <a:pt x="13093" y="506"/>
                    <a:pt x="9642" y="1944"/>
                  </a:cubicBezTo>
                  <a:cubicBezTo>
                    <a:pt x="6687" y="3781"/>
                    <a:pt x="3785" y="5725"/>
                    <a:pt x="989" y="7775"/>
                  </a:cubicBezTo>
                  <a:cubicBezTo>
                    <a:pt x="8031" y="13356"/>
                    <a:pt x="14768" y="19312"/>
                    <a:pt x="21171" y="25615"/>
                  </a:cubicBezTo>
                  <a:cubicBezTo>
                    <a:pt x="38691" y="25908"/>
                    <a:pt x="43697" y="38289"/>
                    <a:pt x="62628" y="38289"/>
                  </a:cubicBezTo>
                  <a:cubicBezTo>
                    <a:pt x="81559" y="38289"/>
                    <a:pt x="86432" y="25588"/>
                    <a:pt x="105230" y="25588"/>
                  </a:cubicBezTo>
                  <a:cubicBezTo>
                    <a:pt x="122431" y="25588"/>
                    <a:pt x="129487" y="38289"/>
                    <a:pt x="147459" y="38289"/>
                  </a:cubicBezTo>
                  <a:cubicBezTo>
                    <a:pt x="167456" y="38289"/>
                    <a:pt x="173872" y="25588"/>
                    <a:pt x="190700" y="25588"/>
                  </a:cubicBezTo>
                  <a:cubicBezTo>
                    <a:pt x="191632" y="25588"/>
                    <a:pt x="192484" y="25588"/>
                    <a:pt x="193363" y="25588"/>
                  </a:cubicBezTo>
                  <a:cubicBezTo>
                    <a:pt x="186416" y="18269"/>
                    <a:pt x="178734" y="11684"/>
                    <a:pt x="170438" y="5938"/>
                  </a:cubicBezTo>
                  <a:cubicBezTo>
                    <a:pt x="163472" y="10031"/>
                    <a:pt x="155564" y="12243"/>
                    <a:pt x="147486" y="12355"/>
                  </a:cubicBezTo>
                  <a:cubicBezTo>
                    <a:pt x="129513" y="12355"/>
                    <a:pt x="122457" y="-346"/>
                    <a:pt x="105257" y="-346"/>
                  </a:cubicBezTo>
                </a:path>
              </a:pathLst>
            </a:custGeom>
            <a:solidFill>
              <a:srgbClr val="4FE3F2"/>
            </a:solidFill>
            <a:ln w="2661" cap="flat">
              <a:noFill/>
              <a:prstDash val="solid"/>
              <a:miter/>
            </a:ln>
          </p:spPr>
          <p:txBody>
            <a:bodyPr rtlCol="0" anchor="ctr"/>
            <a:lstStyle/>
            <a:p>
              <a:endParaRPr lang="pl-PL"/>
            </a:p>
          </p:txBody>
        </p:sp>
        <p:sp>
          <p:nvSpPr>
            <p:cNvPr id="96" name="Freeform: Shape 95">
              <a:extLst>
                <a:ext uri="{FF2B5EF4-FFF2-40B4-BE49-F238E27FC236}">
                  <a16:creationId xmlns:a16="http://schemas.microsoft.com/office/drawing/2014/main" id="{84EAAAE1-07AA-46E2-AEB9-18A8F0E9F625}"/>
                </a:ext>
              </a:extLst>
            </p:cNvPr>
            <p:cNvSpPr/>
            <p:nvPr/>
          </p:nvSpPr>
          <p:spPr>
            <a:xfrm>
              <a:off x="11438745" y="6654277"/>
              <a:ext cx="111537" cy="22389"/>
            </a:xfrm>
            <a:custGeom>
              <a:avLst/>
              <a:gdLst>
                <a:gd name="connsiteX0" fmla="*/ 127250 w 197645"/>
                <a:gd name="connsiteY0" fmla="*/ 12355 h 39673"/>
                <a:gd name="connsiteX1" fmla="*/ 85048 w 197645"/>
                <a:gd name="connsiteY1" fmla="*/ -346 h 39673"/>
                <a:gd name="connsiteX2" fmla="*/ 42446 w 197645"/>
                <a:gd name="connsiteY2" fmla="*/ 12355 h 39673"/>
                <a:gd name="connsiteX3" fmla="*/ 989 w 197645"/>
                <a:gd name="connsiteY3" fmla="*/ -319 h 39673"/>
                <a:gd name="connsiteX4" fmla="*/ 24233 w 197645"/>
                <a:gd name="connsiteY4" fmla="*/ 25881 h 39673"/>
                <a:gd name="connsiteX5" fmla="*/ 33100 w 197645"/>
                <a:gd name="connsiteY5" fmla="*/ 38209 h 39673"/>
                <a:gd name="connsiteX6" fmla="*/ 42446 w 197645"/>
                <a:gd name="connsiteY6" fmla="*/ 39327 h 39673"/>
                <a:gd name="connsiteX7" fmla="*/ 85048 w 197645"/>
                <a:gd name="connsiteY7" fmla="*/ 26627 h 39673"/>
                <a:gd name="connsiteX8" fmla="*/ 127250 w 197645"/>
                <a:gd name="connsiteY8" fmla="*/ 39327 h 39673"/>
                <a:gd name="connsiteX9" fmla="*/ 170517 w 197645"/>
                <a:gd name="connsiteY9" fmla="*/ 26627 h 39673"/>
                <a:gd name="connsiteX10" fmla="*/ 198635 w 197645"/>
                <a:gd name="connsiteY10" fmla="*/ 36478 h 39673"/>
                <a:gd name="connsiteX11" fmla="*/ 173153 w 197645"/>
                <a:gd name="connsiteY11" fmla="*/ -266 h 39673"/>
                <a:gd name="connsiteX12" fmla="*/ 170491 w 197645"/>
                <a:gd name="connsiteY12" fmla="*/ -266 h 39673"/>
                <a:gd name="connsiteX13" fmla="*/ 127223 w 197645"/>
                <a:gd name="connsiteY13" fmla="*/ 12435 h 39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7645" h="39673">
                  <a:moveTo>
                    <a:pt x="127250" y="12355"/>
                  </a:moveTo>
                  <a:cubicBezTo>
                    <a:pt x="109304" y="12355"/>
                    <a:pt x="102248" y="-346"/>
                    <a:pt x="85048" y="-346"/>
                  </a:cubicBezTo>
                  <a:cubicBezTo>
                    <a:pt x="66409" y="-346"/>
                    <a:pt x="61616" y="12355"/>
                    <a:pt x="42446" y="12355"/>
                  </a:cubicBezTo>
                  <a:cubicBezTo>
                    <a:pt x="23275" y="12355"/>
                    <a:pt x="18482" y="-26"/>
                    <a:pt x="989" y="-319"/>
                  </a:cubicBezTo>
                  <a:cubicBezTo>
                    <a:pt x="9333" y="7866"/>
                    <a:pt x="17100" y="16621"/>
                    <a:pt x="24233" y="25881"/>
                  </a:cubicBezTo>
                  <a:cubicBezTo>
                    <a:pt x="27295" y="29902"/>
                    <a:pt x="30277" y="34002"/>
                    <a:pt x="33100" y="38209"/>
                  </a:cubicBezTo>
                  <a:cubicBezTo>
                    <a:pt x="36157" y="38971"/>
                    <a:pt x="39296" y="39346"/>
                    <a:pt x="42446" y="39327"/>
                  </a:cubicBezTo>
                  <a:cubicBezTo>
                    <a:pt x="61510" y="39327"/>
                    <a:pt x="66249" y="26627"/>
                    <a:pt x="85048" y="26627"/>
                  </a:cubicBezTo>
                  <a:cubicBezTo>
                    <a:pt x="102248" y="26627"/>
                    <a:pt x="109304" y="39327"/>
                    <a:pt x="127250" y="39327"/>
                  </a:cubicBezTo>
                  <a:cubicBezTo>
                    <a:pt x="147273" y="39327"/>
                    <a:pt x="153690" y="26627"/>
                    <a:pt x="170517" y="26627"/>
                  </a:cubicBezTo>
                  <a:cubicBezTo>
                    <a:pt x="184283" y="26627"/>
                    <a:pt x="189635" y="32245"/>
                    <a:pt x="198635" y="36478"/>
                  </a:cubicBezTo>
                  <a:cubicBezTo>
                    <a:pt x="192063" y="23003"/>
                    <a:pt x="183471" y="10611"/>
                    <a:pt x="173153" y="-266"/>
                  </a:cubicBezTo>
                  <a:cubicBezTo>
                    <a:pt x="172301" y="-266"/>
                    <a:pt x="171449" y="-266"/>
                    <a:pt x="170491" y="-266"/>
                  </a:cubicBezTo>
                  <a:cubicBezTo>
                    <a:pt x="153663" y="-266"/>
                    <a:pt x="147246" y="12435"/>
                    <a:pt x="127223" y="12435"/>
                  </a:cubicBezTo>
                </a:path>
              </a:pathLst>
            </a:custGeom>
            <a:solidFill>
              <a:srgbClr val="0066E5"/>
            </a:solidFill>
            <a:ln w="2661" cap="flat">
              <a:noFill/>
              <a:prstDash val="solid"/>
              <a:miter/>
            </a:ln>
          </p:spPr>
          <p:txBody>
            <a:bodyPr rtlCol="0" anchor="ctr"/>
            <a:lstStyle/>
            <a:p>
              <a:endParaRPr lang="pl-PL"/>
            </a:p>
          </p:txBody>
        </p:sp>
        <p:sp>
          <p:nvSpPr>
            <p:cNvPr id="97" name="Freeform: Shape 96">
              <a:extLst>
                <a:ext uri="{FF2B5EF4-FFF2-40B4-BE49-F238E27FC236}">
                  <a16:creationId xmlns:a16="http://schemas.microsoft.com/office/drawing/2014/main" id="{2237F84F-D4C1-4D37-B4E5-8CDC9C64DB0D}"/>
                </a:ext>
              </a:extLst>
            </p:cNvPr>
            <p:cNvSpPr/>
            <p:nvPr/>
          </p:nvSpPr>
          <p:spPr>
            <a:xfrm>
              <a:off x="11456867" y="6669498"/>
              <a:ext cx="99186" cy="29390"/>
            </a:xfrm>
            <a:custGeom>
              <a:avLst/>
              <a:gdLst>
                <a:gd name="connsiteX0" fmla="*/ 95139 w 175759"/>
                <a:gd name="connsiteY0" fmla="*/ 12355 h 52080"/>
                <a:gd name="connsiteX1" fmla="*/ 52936 w 175759"/>
                <a:gd name="connsiteY1" fmla="*/ -346 h 52080"/>
                <a:gd name="connsiteX2" fmla="*/ 10335 w 175759"/>
                <a:gd name="connsiteY2" fmla="*/ 12355 h 52080"/>
                <a:gd name="connsiteX3" fmla="*/ 989 w 175759"/>
                <a:gd name="connsiteY3" fmla="*/ 11210 h 52080"/>
                <a:gd name="connsiteX4" fmla="*/ 23248 w 175759"/>
                <a:gd name="connsiteY4" fmla="*/ 51735 h 52080"/>
                <a:gd name="connsiteX5" fmla="*/ 22929 w 175759"/>
                <a:gd name="connsiteY5" fmla="*/ 50963 h 52080"/>
                <a:gd name="connsiteX6" fmla="*/ 110183 w 175759"/>
                <a:gd name="connsiteY6" fmla="*/ 22633 h 52080"/>
                <a:gd name="connsiteX7" fmla="*/ 176748 w 175759"/>
                <a:gd name="connsiteY7" fmla="*/ 38262 h 52080"/>
                <a:gd name="connsiteX8" fmla="*/ 166310 w 175759"/>
                <a:gd name="connsiteY8" fmla="*/ 9506 h 52080"/>
                <a:gd name="connsiteX9" fmla="*/ 138193 w 175759"/>
                <a:gd name="connsiteY9" fmla="*/ -346 h 52080"/>
                <a:gd name="connsiteX10" fmla="*/ 94926 w 175759"/>
                <a:gd name="connsiteY10" fmla="*/ 12355 h 52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5759" h="52080">
                  <a:moveTo>
                    <a:pt x="95139" y="12355"/>
                  </a:moveTo>
                  <a:cubicBezTo>
                    <a:pt x="77193" y="12355"/>
                    <a:pt x="70137" y="-346"/>
                    <a:pt x="52936" y="-346"/>
                  </a:cubicBezTo>
                  <a:cubicBezTo>
                    <a:pt x="34298" y="-346"/>
                    <a:pt x="29505" y="12355"/>
                    <a:pt x="10335" y="12355"/>
                  </a:cubicBezTo>
                  <a:cubicBezTo>
                    <a:pt x="7182" y="12379"/>
                    <a:pt x="4043" y="11993"/>
                    <a:pt x="989" y="11210"/>
                  </a:cubicBezTo>
                  <a:cubicBezTo>
                    <a:pt x="9634" y="24007"/>
                    <a:pt x="17087" y="37573"/>
                    <a:pt x="23248" y="51735"/>
                  </a:cubicBezTo>
                  <a:lnTo>
                    <a:pt x="22929" y="50963"/>
                  </a:lnTo>
                  <a:cubicBezTo>
                    <a:pt x="48205" y="32375"/>
                    <a:pt x="78806" y="22438"/>
                    <a:pt x="110183" y="22633"/>
                  </a:cubicBezTo>
                  <a:cubicBezTo>
                    <a:pt x="133286" y="22574"/>
                    <a:pt x="156083" y="27926"/>
                    <a:pt x="176748" y="38262"/>
                  </a:cubicBezTo>
                  <a:cubicBezTo>
                    <a:pt x="174298" y="28333"/>
                    <a:pt x="170800" y="18695"/>
                    <a:pt x="166310" y="9506"/>
                  </a:cubicBezTo>
                  <a:cubicBezTo>
                    <a:pt x="157311" y="5273"/>
                    <a:pt x="151959" y="-346"/>
                    <a:pt x="138193" y="-346"/>
                  </a:cubicBezTo>
                  <a:cubicBezTo>
                    <a:pt x="121365" y="-346"/>
                    <a:pt x="114949" y="12355"/>
                    <a:pt x="94926" y="12355"/>
                  </a:cubicBezTo>
                </a:path>
              </a:pathLst>
            </a:custGeom>
            <a:solidFill>
              <a:srgbClr val="143DCF"/>
            </a:solidFill>
            <a:ln w="2661" cap="flat">
              <a:noFill/>
              <a:prstDash val="solid"/>
              <a:miter/>
            </a:ln>
          </p:spPr>
          <p:txBody>
            <a:bodyPr rtlCol="0" anchor="ctr"/>
            <a:lstStyle/>
            <a:p>
              <a:endParaRPr lang="pl-PL"/>
            </a:p>
          </p:txBody>
        </p:sp>
        <p:sp>
          <p:nvSpPr>
            <p:cNvPr id="98" name="Freeform: Shape 97">
              <a:extLst>
                <a:ext uri="{FF2B5EF4-FFF2-40B4-BE49-F238E27FC236}">
                  <a16:creationId xmlns:a16="http://schemas.microsoft.com/office/drawing/2014/main" id="{9372F53D-D574-43B1-A617-F1BFBBC7A9F5}"/>
                </a:ext>
              </a:extLst>
            </p:cNvPr>
            <p:cNvSpPr/>
            <p:nvPr/>
          </p:nvSpPr>
          <p:spPr>
            <a:xfrm>
              <a:off x="11469428" y="6682464"/>
              <a:ext cx="88352" cy="28821"/>
            </a:xfrm>
            <a:custGeom>
              <a:avLst/>
              <a:gdLst>
                <a:gd name="connsiteX0" fmla="*/ 154808 w 156561"/>
                <a:gd name="connsiteY0" fmla="*/ 15287 h 51071"/>
                <a:gd name="connsiteX1" fmla="*/ 88243 w 156561"/>
                <a:gd name="connsiteY1" fmla="*/ -343 h 51071"/>
                <a:gd name="connsiteX2" fmla="*/ 989 w 156561"/>
                <a:gd name="connsiteY2" fmla="*/ 27987 h 51071"/>
                <a:gd name="connsiteX3" fmla="*/ 1308 w 156561"/>
                <a:gd name="connsiteY3" fmla="*/ 28760 h 51071"/>
                <a:gd name="connsiteX4" fmla="*/ 2533 w 156561"/>
                <a:gd name="connsiteY4" fmla="*/ 31635 h 51071"/>
                <a:gd name="connsiteX5" fmla="*/ 3172 w 156561"/>
                <a:gd name="connsiteY5" fmla="*/ 33153 h 51071"/>
                <a:gd name="connsiteX6" fmla="*/ 5568 w 156561"/>
                <a:gd name="connsiteY6" fmla="*/ 39170 h 51071"/>
                <a:gd name="connsiteX7" fmla="*/ 5888 w 156561"/>
                <a:gd name="connsiteY7" fmla="*/ 40049 h 51071"/>
                <a:gd name="connsiteX8" fmla="*/ 6740 w 156561"/>
                <a:gd name="connsiteY8" fmla="*/ 42339 h 51071"/>
                <a:gd name="connsiteX9" fmla="*/ 7619 w 156561"/>
                <a:gd name="connsiteY9" fmla="*/ 44709 h 51071"/>
                <a:gd name="connsiteX10" fmla="*/ 8364 w 156561"/>
                <a:gd name="connsiteY10" fmla="*/ 46892 h 51071"/>
                <a:gd name="connsiteX11" fmla="*/ 9269 w 156561"/>
                <a:gd name="connsiteY11" fmla="*/ 49555 h 51071"/>
                <a:gd name="connsiteX12" fmla="*/ 9669 w 156561"/>
                <a:gd name="connsiteY12" fmla="*/ 50726 h 51071"/>
                <a:gd name="connsiteX13" fmla="*/ 88243 w 156561"/>
                <a:gd name="connsiteY13" fmla="*/ 28360 h 51071"/>
                <a:gd name="connsiteX14" fmla="*/ 109544 w 156561"/>
                <a:gd name="connsiteY14" fmla="*/ 29825 h 51071"/>
                <a:gd name="connsiteX15" fmla="*/ 112606 w 156561"/>
                <a:gd name="connsiteY15" fmla="*/ 30038 h 51071"/>
                <a:gd name="connsiteX16" fmla="*/ 112925 w 156561"/>
                <a:gd name="connsiteY16" fmla="*/ 30038 h 51071"/>
                <a:gd name="connsiteX17" fmla="*/ 113378 w 156561"/>
                <a:gd name="connsiteY17" fmla="*/ 30038 h 51071"/>
                <a:gd name="connsiteX18" fmla="*/ 116040 w 156561"/>
                <a:gd name="connsiteY18" fmla="*/ 30677 h 51071"/>
                <a:gd name="connsiteX19" fmla="*/ 116040 w 156561"/>
                <a:gd name="connsiteY19" fmla="*/ 30677 h 51071"/>
                <a:gd name="connsiteX20" fmla="*/ 123256 w 156561"/>
                <a:gd name="connsiteY20" fmla="*/ 18722 h 51071"/>
                <a:gd name="connsiteX21" fmla="*/ 139232 w 156561"/>
                <a:gd name="connsiteY21" fmla="*/ 15873 h 51071"/>
                <a:gd name="connsiteX22" fmla="*/ 139232 w 156561"/>
                <a:gd name="connsiteY22" fmla="*/ 15873 h 51071"/>
                <a:gd name="connsiteX23" fmla="*/ 140536 w 156561"/>
                <a:gd name="connsiteY23" fmla="*/ 37520 h 51071"/>
                <a:gd name="connsiteX24" fmla="*/ 150015 w 156561"/>
                <a:gd name="connsiteY24" fmla="*/ 29691 h 51071"/>
                <a:gd name="connsiteX25" fmla="*/ 157550 w 156561"/>
                <a:gd name="connsiteY25" fmla="*/ 29212 h 51071"/>
                <a:gd name="connsiteX26" fmla="*/ 154888 w 156561"/>
                <a:gd name="connsiteY26" fmla="*/ 15180 h 5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6561" h="51071">
                  <a:moveTo>
                    <a:pt x="154808" y="15287"/>
                  </a:moveTo>
                  <a:cubicBezTo>
                    <a:pt x="134143" y="4950"/>
                    <a:pt x="111346" y="-401"/>
                    <a:pt x="88243" y="-343"/>
                  </a:cubicBezTo>
                  <a:cubicBezTo>
                    <a:pt x="56866" y="-537"/>
                    <a:pt x="26265" y="9400"/>
                    <a:pt x="989" y="27987"/>
                  </a:cubicBezTo>
                  <a:lnTo>
                    <a:pt x="1308" y="28760"/>
                  </a:lnTo>
                  <a:cubicBezTo>
                    <a:pt x="1734" y="29718"/>
                    <a:pt x="2134" y="30677"/>
                    <a:pt x="2533" y="31635"/>
                  </a:cubicBezTo>
                  <a:lnTo>
                    <a:pt x="3172" y="33153"/>
                  </a:lnTo>
                  <a:cubicBezTo>
                    <a:pt x="3997" y="35150"/>
                    <a:pt x="4796" y="37147"/>
                    <a:pt x="5568" y="39170"/>
                  </a:cubicBezTo>
                  <a:lnTo>
                    <a:pt x="5888" y="40049"/>
                  </a:lnTo>
                  <a:cubicBezTo>
                    <a:pt x="6181" y="40821"/>
                    <a:pt x="6474" y="41593"/>
                    <a:pt x="6740" y="42339"/>
                  </a:cubicBezTo>
                  <a:lnTo>
                    <a:pt x="7619" y="44709"/>
                  </a:lnTo>
                  <a:cubicBezTo>
                    <a:pt x="7858" y="45454"/>
                    <a:pt x="8124" y="46173"/>
                    <a:pt x="8364" y="46892"/>
                  </a:cubicBezTo>
                  <a:cubicBezTo>
                    <a:pt x="8604" y="47611"/>
                    <a:pt x="8977" y="48649"/>
                    <a:pt x="9269" y="49555"/>
                  </a:cubicBezTo>
                  <a:lnTo>
                    <a:pt x="9669" y="50726"/>
                  </a:lnTo>
                  <a:cubicBezTo>
                    <a:pt x="33212" y="35978"/>
                    <a:pt x="60461" y="28222"/>
                    <a:pt x="88243" y="28360"/>
                  </a:cubicBezTo>
                  <a:cubicBezTo>
                    <a:pt x="95368" y="28358"/>
                    <a:pt x="102485" y="28847"/>
                    <a:pt x="109544" y="29825"/>
                  </a:cubicBezTo>
                  <a:cubicBezTo>
                    <a:pt x="110569" y="29835"/>
                    <a:pt x="111591" y="29907"/>
                    <a:pt x="112606" y="30038"/>
                  </a:cubicBezTo>
                  <a:lnTo>
                    <a:pt x="112925" y="30038"/>
                  </a:lnTo>
                  <a:lnTo>
                    <a:pt x="113378" y="30038"/>
                  </a:lnTo>
                  <a:cubicBezTo>
                    <a:pt x="114278" y="30189"/>
                    <a:pt x="115170" y="30402"/>
                    <a:pt x="116040" y="30677"/>
                  </a:cubicBezTo>
                  <a:lnTo>
                    <a:pt x="116040" y="30677"/>
                  </a:lnTo>
                  <a:cubicBezTo>
                    <a:pt x="116123" y="25684"/>
                    <a:pt x="118879" y="21121"/>
                    <a:pt x="123256" y="18722"/>
                  </a:cubicBezTo>
                  <a:cubicBezTo>
                    <a:pt x="129460" y="14994"/>
                    <a:pt x="139232" y="15873"/>
                    <a:pt x="139232" y="15873"/>
                  </a:cubicBezTo>
                  <a:lnTo>
                    <a:pt x="139232" y="15873"/>
                  </a:lnTo>
                  <a:cubicBezTo>
                    <a:pt x="140068" y="23059"/>
                    <a:pt x="140504" y="30285"/>
                    <a:pt x="140536" y="37520"/>
                  </a:cubicBezTo>
                  <a:cubicBezTo>
                    <a:pt x="142291" y="33566"/>
                    <a:pt x="145800" y="30666"/>
                    <a:pt x="150015" y="29691"/>
                  </a:cubicBezTo>
                  <a:cubicBezTo>
                    <a:pt x="152483" y="29124"/>
                    <a:pt x="155029" y="28962"/>
                    <a:pt x="157550" y="29212"/>
                  </a:cubicBezTo>
                  <a:cubicBezTo>
                    <a:pt x="156858" y="24446"/>
                    <a:pt x="155953" y="19787"/>
                    <a:pt x="154888" y="15180"/>
                  </a:cubicBezTo>
                </a:path>
              </a:pathLst>
            </a:custGeom>
            <a:solidFill>
              <a:srgbClr val="00A652"/>
            </a:solidFill>
            <a:ln w="2661" cap="flat">
              <a:noFill/>
              <a:prstDash val="solid"/>
              <a:miter/>
            </a:ln>
          </p:spPr>
          <p:txBody>
            <a:bodyPr rtlCol="0" anchor="ctr"/>
            <a:lstStyle/>
            <a:p>
              <a:endParaRPr lang="pl-PL"/>
            </a:p>
          </p:txBody>
        </p:sp>
        <p:sp>
          <p:nvSpPr>
            <p:cNvPr id="99" name="Freeform: Shape 98">
              <a:extLst>
                <a:ext uri="{FF2B5EF4-FFF2-40B4-BE49-F238E27FC236}">
                  <a16:creationId xmlns:a16="http://schemas.microsoft.com/office/drawing/2014/main" id="{3A0357CC-2EF6-4CF2-8E21-0FBA8818ABF4}"/>
                </a:ext>
              </a:extLst>
            </p:cNvPr>
            <p:cNvSpPr/>
            <p:nvPr/>
          </p:nvSpPr>
          <p:spPr>
            <a:xfrm>
              <a:off x="11474267" y="6698648"/>
              <a:ext cx="56271" cy="28174"/>
            </a:xfrm>
            <a:custGeom>
              <a:avLst/>
              <a:gdLst>
                <a:gd name="connsiteX0" fmla="*/ 79563 w 99714"/>
                <a:gd name="connsiteY0" fmla="*/ -344 h 49925"/>
                <a:gd name="connsiteX1" fmla="*/ 989 w 99714"/>
                <a:gd name="connsiteY1" fmla="*/ 22022 h 49925"/>
                <a:gd name="connsiteX2" fmla="*/ 1228 w 99714"/>
                <a:gd name="connsiteY2" fmla="*/ 22821 h 49925"/>
                <a:gd name="connsiteX3" fmla="*/ 2373 w 99714"/>
                <a:gd name="connsiteY3" fmla="*/ 26442 h 49925"/>
                <a:gd name="connsiteX4" fmla="*/ 2773 w 99714"/>
                <a:gd name="connsiteY4" fmla="*/ 27694 h 49925"/>
                <a:gd name="connsiteX5" fmla="*/ 4184 w 99714"/>
                <a:gd name="connsiteY5" fmla="*/ 32540 h 49925"/>
                <a:gd name="connsiteX6" fmla="*/ 4610 w 99714"/>
                <a:gd name="connsiteY6" fmla="*/ 34137 h 49925"/>
                <a:gd name="connsiteX7" fmla="*/ 5515 w 99714"/>
                <a:gd name="connsiteY7" fmla="*/ 37545 h 49925"/>
                <a:gd name="connsiteX8" fmla="*/ 6021 w 99714"/>
                <a:gd name="connsiteY8" fmla="*/ 39542 h 49925"/>
                <a:gd name="connsiteX9" fmla="*/ 6767 w 99714"/>
                <a:gd name="connsiteY9" fmla="*/ 42658 h 49925"/>
                <a:gd name="connsiteX10" fmla="*/ 7246 w 99714"/>
                <a:gd name="connsiteY10" fmla="*/ 44708 h 49925"/>
                <a:gd name="connsiteX11" fmla="*/ 8231 w 99714"/>
                <a:gd name="connsiteY11" fmla="*/ 49128 h 49925"/>
                <a:gd name="connsiteX12" fmla="*/ 8231 w 99714"/>
                <a:gd name="connsiteY12" fmla="*/ 49580 h 49925"/>
                <a:gd name="connsiteX13" fmla="*/ 61936 w 99714"/>
                <a:gd name="connsiteY13" fmla="*/ 32566 h 49925"/>
                <a:gd name="connsiteX14" fmla="*/ 65877 w 99714"/>
                <a:gd name="connsiteY14" fmla="*/ 29904 h 49925"/>
                <a:gd name="connsiteX15" fmla="*/ 78125 w 99714"/>
                <a:gd name="connsiteY15" fmla="*/ 28732 h 49925"/>
                <a:gd name="connsiteX16" fmla="*/ 81373 w 99714"/>
                <a:gd name="connsiteY16" fmla="*/ 29478 h 49925"/>
                <a:gd name="connsiteX17" fmla="*/ 82278 w 99714"/>
                <a:gd name="connsiteY17" fmla="*/ 24339 h 49925"/>
                <a:gd name="connsiteX18" fmla="*/ 88509 w 99714"/>
                <a:gd name="connsiteY18" fmla="*/ 6579 h 49925"/>
                <a:gd name="connsiteX19" fmla="*/ 100704 w 99714"/>
                <a:gd name="connsiteY19" fmla="*/ 1254 h 49925"/>
                <a:gd name="connsiteX20" fmla="*/ 79403 w 99714"/>
                <a:gd name="connsiteY20" fmla="*/ -211 h 49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9714" h="49925">
                  <a:moveTo>
                    <a:pt x="79563" y="-344"/>
                  </a:moveTo>
                  <a:cubicBezTo>
                    <a:pt x="51781" y="-482"/>
                    <a:pt x="24532" y="7274"/>
                    <a:pt x="989" y="22022"/>
                  </a:cubicBezTo>
                  <a:lnTo>
                    <a:pt x="1228" y="22821"/>
                  </a:lnTo>
                  <a:cubicBezTo>
                    <a:pt x="1628" y="24019"/>
                    <a:pt x="2001" y="25244"/>
                    <a:pt x="2373" y="26442"/>
                  </a:cubicBezTo>
                  <a:lnTo>
                    <a:pt x="2773" y="27694"/>
                  </a:lnTo>
                  <a:cubicBezTo>
                    <a:pt x="3252" y="29318"/>
                    <a:pt x="3731" y="30915"/>
                    <a:pt x="4184" y="32540"/>
                  </a:cubicBezTo>
                  <a:cubicBezTo>
                    <a:pt x="4317" y="33072"/>
                    <a:pt x="4450" y="33605"/>
                    <a:pt x="4610" y="34137"/>
                  </a:cubicBezTo>
                  <a:cubicBezTo>
                    <a:pt x="4903" y="35282"/>
                    <a:pt x="5222" y="36400"/>
                    <a:pt x="5515" y="37545"/>
                  </a:cubicBezTo>
                  <a:cubicBezTo>
                    <a:pt x="5675" y="38211"/>
                    <a:pt x="5861" y="38877"/>
                    <a:pt x="6021" y="39542"/>
                  </a:cubicBezTo>
                  <a:cubicBezTo>
                    <a:pt x="6181" y="40208"/>
                    <a:pt x="6527" y="41619"/>
                    <a:pt x="6767" y="42658"/>
                  </a:cubicBezTo>
                  <a:lnTo>
                    <a:pt x="7246" y="44708"/>
                  </a:lnTo>
                  <a:cubicBezTo>
                    <a:pt x="7592" y="46172"/>
                    <a:pt x="7912" y="47663"/>
                    <a:pt x="8231" y="49128"/>
                  </a:cubicBezTo>
                  <a:lnTo>
                    <a:pt x="8231" y="49580"/>
                  </a:lnTo>
                  <a:cubicBezTo>
                    <a:pt x="24862" y="40482"/>
                    <a:pt x="43101" y="34704"/>
                    <a:pt x="61936" y="32566"/>
                  </a:cubicBezTo>
                  <a:cubicBezTo>
                    <a:pt x="63078" y="31451"/>
                    <a:pt x="64415" y="30548"/>
                    <a:pt x="65877" y="29904"/>
                  </a:cubicBezTo>
                  <a:cubicBezTo>
                    <a:pt x="69748" y="28287"/>
                    <a:pt x="74016" y="27880"/>
                    <a:pt x="78125" y="28732"/>
                  </a:cubicBezTo>
                  <a:cubicBezTo>
                    <a:pt x="79227" y="28892"/>
                    <a:pt x="80313" y="29139"/>
                    <a:pt x="81373" y="29478"/>
                  </a:cubicBezTo>
                  <a:cubicBezTo>
                    <a:pt x="81719" y="27773"/>
                    <a:pt x="82012" y="26069"/>
                    <a:pt x="82278" y="24339"/>
                  </a:cubicBezTo>
                  <a:cubicBezTo>
                    <a:pt x="82278" y="24339"/>
                    <a:pt x="84355" y="11558"/>
                    <a:pt x="88509" y="6579"/>
                  </a:cubicBezTo>
                  <a:cubicBezTo>
                    <a:pt x="91555" y="3043"/>
                    <a:pt x="96042" y="1086"/>
                    <a:pt x="100704" y="1254"/>
                  </a:cubicBezTo>
                  <a:cubicBezTo>
                    <a:pt x="93645" y="277"/>
                    <a:pt x="86528" y="-213"/>
                    <a:pt x="79403" y="-211"/>
                  </a:cubicBezTo>
                </a:path>
              </a:pathLst>
            </a:custGeom>
            <a:solidFill>
              <a:srgbClr val="8FD942"/>
            </a:solidFill>
            <a:ln w="2661" cap="flat">
              <a:noFill/>
              <a:prstDash val="solid"/>
              <a:miter/>
            </a:ln>
          </p:spPr>
          <p:txBody>
            <a:bodyPr rtlCol="0" anchor="ctr"/>
            <a:lstStyle/>
            <a:p>
              <a:endParaRPr lang="pl-PL"/>
            </a:p>
          </p:txBody>
        </p:sp>
        <p:sp>
          <p:nvSpPr>
            <p:cNvPr id="100" name="Freeform: Shape 99">
              <a:extLst>
                <a:ext uri="{FF2B5EF4-FFF2-40B4-BE49-F238E27FC236}">
                  <a16:creationId xmlns:a16="http://schemas.microsoft.com/office/drawing/2014/main" id="{4558A6D8-1AC0-4AAF-BE7A-5FDB738B5BD5}"/>
                </a:ext>
              </a:extLst>
            </p:cNvPr>
            <p:cNvSpPr/>
            <p:nvPr/>
          </p:nvSpPr>
          <p:spPr>
            <a:xfrm>
              <a:off x="11478444" y="6717190"/>
              <a:ext cx="30172" cy="26310"/>
            </a:xfrm>
            <a:custGeom>
              <a:avLst/>
              <a:gdLst>
                <a:gd name="connsiteX0" fmla="*/ 989 w 53465"/>
                <a:gd name="connsiteY0" fmla="*/ 16669 h 46622"/>
                <a:gd name="connsiteX1" fmla="*/ 1415 w 53465"/>
                <a:gd name="connsiteY1" fmla="*/ 18878 h 46622"/>
                <a:gd name="connsiteX2" fmla="*/ 1921 w 53465"/>
                <a:gd name="connsiteY2" fmla="*/ 21541 h 46622"/>
                <a:gd name="connsiteX3" fmla="*/ 2426 w 53465"/>
                <a:gd name="connsiteY3" fmla="*/ 24337 h 46622"/>
                <a:gd name="connsiteX4" fmla="*/ 2719 w 53465"/>
                <a:gd name="connsiteY4" fmla="*/ 26014 h 46622"/>
                <a:gd name="connsiteX5" fmla="*/ 2719 w 53465"/>
                <a:gd name="connsiteY5" fmla="*/ 26361 h 46622"/>
                <a:gd name="connsiteX6" fmla="*/ 2719 w 53465"/>
                <a:gd name="connsiteY6" fmla="*/ 26573 h 46622"/>
                <a:gd name="connsiteX7" fmla="*/ 3199 w 53465"/>
                <a:gd name="connsiteY7" fmla="*/ 29449 h 46622"/>
                <a:gd name="connsiteX8" fmla="*/ 3651 w 53465"/>
                <a:gd name="connsiteY8" fmla="*/ 32484 h 46622"/>
                <a:gd name="connsiteX9" fmla="*/ 3891 w 53465"/>
                <a:gd name="connsiteY9" fmla="*/ 34268 h 46622"/>
                <a:gd name="connsiteX10" fmla="*/ 4370 w 53465"/>
                <a:gd name="connsiteY10" fmla="*/ 38103 h 46622"/>
                <a:gd name="connsiteX11" fmla="*/ 4743 w 53465"/>
                <a:gd name="connsiteY11" fmla="*/ 41165 h 46622"/>
                <a:gd name="connsiteX12" fmla="*/ 4743 w 53465"/>
                <a:gd name="connsiteY12" fmla="*/ 41324 h 46622"/>
                <a:gd name="connsiteX13" fmla="*/ 4743 w 53465"/>
                <a:gd name="connsiteY13" fmla="*/ 41324 h 46622"/>
                <a:gd name="connsiteX14" fmla="*/ 4743 w 53465"/>
                <a:gd name="connsiteY14" fmla="*/ 41324 h 46622"/>
                <a:gd name="connsiteX15" fmla="*/ 4743 w 53465"/>
                <a:gd name="connsiteY15" fmla="*/ 41671 h 46622"/>
                <a:gd name="connsiteX16" fmla="*/ 4743 w 53465"/>
                <a:gd name="connsiteY16" fmla="*/ 42443 h 46622"/>
                <a:gd name="connsiteX17" fmla="*/ 4743 w 53465"/>
                <a:gd name="connsiteY17" fmla="*/ 42949 h 46622"/>
                <a:gd name="connsiteX18" fmla="*/ 5063 w 53465"/>
                <a:gd name="connsiteY18" fmla="*/ 46277 h 46622"/>
                <a:gd name="connsiteX19" fmla="*/ 5063 w 53465"/>
                <a:gd name="connsiteY19" fmla="*/ 46037 h 46622"/>
                <a:gd name="connsiteX20" fmla="*/ 24313 w 53465"/>
                <a:gd name="connsiteY20" fmla="*/ 38049 h 46622"/>
                <a:gd name="connsiteX21" fmla="*/ 36668 w 53465"/>
                <a:gd name="connsiteY21" fmla="*/ 34481 h 46622"/>
                <a:gd name="connsiteX22" fmla="*/ 44416 w 53465"/>
                <a:gd name="connsiteY22" fmla="*/ 21168 h 46622"/>
                <a:gd name="connsiteX23" fmla="*/ 50460 w 53465"/>
                <a:gd name="connsiteY23" fmla="*/ 6737 h 46622"/>
                <a:gd name="connsiteX24" fmla="*/ 50833 w 53465"/>
                <a:gd name="connsiteY24" fmla="*/ 5592 h 46622"/>
                <a:gd name="connsiteX25" fmla="*/ 54454 w 53465"/>
                <a:gd name="connsiteY25" fmla="*/ -346 h 46622"/>
                <a:gd name="connsiteX26" fmla="*/ 989 w 53465"/>
                <a:gd name="connsiteY26" fmla="*/ 16669 h 4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3465" h="46622">
                  <a:moveTo>
                    <a:pt x="989" y="16669"/>
                  </a:moveTo>
                  <a:cubicBezTo>
                    <a:pt x="1148" y="17414"/>
                    <a:pt x="1282" y="18160"/>
                    <a:pt x="1415" y="18878"/>
                  </a:cubicBezTo>
                  <a:cubicBezTo>
                    <a:pt x="1548" y="19597"/>
                    <a:pt x="1761" y="20609"/>
                    <a:pt x="1921" y="21541"/>
                  </a:cubicBezTo>
                  <a:cubicBezTo>
                    <a:pt x="2080" y="22473"/>
                    <a:pt x="2267" y="23405"/>
                    <a:pt x="2426" y="24337"/>
                  </a:cubicBezTo>
                  <a:cubicBezTo>
                    <a:pt x="2586" y="25269"/>
                    <a:pt x="2613" y="25455"/>
                    <a:pt x="2719" y="26014"/>
                  </a:cubicBezTo>
                  <a:cubicBezTo>
                    <a:pt x="2719" y="26147"/>
                    <a:pt x="2719" y="26254"/>
                    <a:pt x="2719" y="26361"/>
                  </a:cubicBezTo>
                  <a:lnTo>
                    <a:pt x="2719" y="26573"/>
                  </a:lnTo>
                  <a:lnTo>
                    <a:pt x="3199" y="29449"/>
                  </a:lnTo>
                  <a:cubicBezTo>
                    <a:pt x="3358" y="30461"/>
                    <a:pt x="3492" y="31473"/>
                    <a:pt x="3651" y="32484"/>
                  </a:cubicBezTo>
                  <a:lnTo>
                    <a:pt x="3891" y="34268"/>
                  </a:lnTo>
                  <a:cubicBezTo>
                    <a:pt x="4077" y="35546"/>
                    <a:pt x="4211" y="36931"/>
                    <a:pt x="4370" y="38103"/>
                  </a:cubicBezTo>
                  <a:cubicBezTo>
                    <a:pt x="4530" y="39274"/>
                    <a:pt x="4610" y="40153"/>
                    <a:pt x="4743" y="41165"/>
                  </a:cubicBezTo>
                  <a:lnTo>
                    <a:pt x="4743" y="41324"/>
                  </a:lnTo>
                  <a:lnTo>
                    <a:pt x="4743" y="41324"/>
                  </a:lnTo>
                  <a:lnTo>
                    <a:pt x="4743" y="41324"/>
                  </a:lnTo>
                  <a:cubicBezTo>
                    <a:pt x="4743" y="41324"/>
                    <a:pt x="4743" y="41564"/>
                    <a:pt x="4743" y="41671"/>
                  </a:cubicBezTo>
                  <a:lnTo>
                    <a:pt x="4743" y="42443"/>
                  </a:lnTo>
                  <a:cubicBezTo>
                    <a:pt x="4756" y="42610"/>
                    <a:pt x="4756" y="42781"/>
                    <a:pt x="4743" y="42949"/>
                  </a:cubicBezTo>
                  <a:cubicBezTo>
                    <a:pt x="4743" y="44067"/>
                    <a:pt x="4983" y="45185"/>
                    <a:pt x="5063" y="46277"/>
                  </a:cubicBezTo>
                  <a:lnTo>
                    <a:pt x="5063" y="46037"/>
                  </a:lnTo>
                  <a:cubicBezTo>
                    <a:pt x="11274" y="42906"/>
                    <a:pt x="17710" y="40235"/>
                    <a:pt x="24313" y="38049"/>
                  </a:cubicBezTo>
                  <a:cubicBezTo>
                    <a:pt x="28360" y="36691"/>
                    <a:pt x="32487" y="35387"/>
                    <a:pt x="36668" y="34481"/>
                  </a:cubicBezTo>
                  <a:cubicBezTo>
                    <a:pt x="39546" y="30224"/>
                    <a:pt x="42134" y="25775"/>
                    <a:pt x="44416" y="21168"/>
                  </a:cubicBezTo>
                  <a:cubicBezTo>
                    <a:pt x="46735" y="16493"/>
                    <a:pt x="48756" y="11671"/>
                    <a:pt x="50460" y="6737"/>
                  </a:cubicBezTo>
                  <a:cubicBezTo>
                    <a:pt x="50460" y="6338"/>
                    <a:pt x="50700" y="5965"/>
                    <a:pt x="50833" y="5592"/>
                  </a:cubicBezTo>
                  <a:cubicBezTo>
                    <a:pt x="51589" y="3371"/>
                    <a:pt x="52825" y="1343"/>
                    <a:pt x="54454" y="-346"/>
                  </a:cubicBezTo>
                  <a:cubicBezTo>
                    <a:pt x="35701" y="1822"/>
                    <a:pt x="17545" y="7600"/>
                    <a:pt x="989" y="16669"/>
                  </a:cubicBezTo>
                </a:path>
              </a:pathLst>
            </a:custGeom>
            <a:solidFill>
              <a:srgbClr val="00A652"/>
            </a:solidFill>
            <a:ln w="2661" cap="flat">
              <a:noFill/>
              <a:prstDash val="solid"/>
              <a:miter/>
            </a:ln>
          </p:spPr>
          <p:txBody>
            <a:bodyPr rtlCol="0" anchor="ctr"/>
            <a:lstStyle/>
            <a:p>
              <a:endParaRPr lang="pl-PL"/>
            </a:p>
          </p:txBody>
        </p:sp>
        <p:sp>
          <p:nvSpPr>
            <p:cNvPr id="101" name="Freeform: Shape 100">
              <a:extLst>
                <a:ext uri="{FF2B5EF4-FFF2-40B4-BE49-F238E27FC236}">
                  <a16:creationId xmlns:a16="http://schemas.microsoft.com/office/drawing/2014/main" id="{93821ADD-5EAF-490F-A60C-8A64043559F8}"/>
                </a:ext>
              </a:extLst>
            </p:cNvPr>
            <p:cNvSpPr/>
            <p:nvPr/>
          </p:nvSpPr>
          <p:spPr>
            <a:xfrm>
              <a:off x="11480833" y="6736694"/>
              <a:ext cx="17385" cy="17249"/>
            </a:xfrm>
            <a:custGeom>
              <a:avLst/>
              <a:gdLst>
                <a:gd name="connsiteX0" fmla="*/ 20239 w 30806"/>
                <a:gd name="connsiteY0" fmla="*/ 3409 h 30566"/>
                <a:gd name="connsiteX1" fmla="*/ 989 w 30806"/>
                <a:gd name="connsiteY1" fmla="*/ 11397 h 30566"/>
                <a:gd name="connsiteX2" fmla="*/ 989 w 30806"/>
                <a:gd name="connsiteY2" fmla="*/ 11636 h 30566"/>
                <a:gd name="connsiteX3" fmla="*/ 989 w 30806"/>
                <a:gd name="connsiteY3" fmla="*/ 13154 h 30566"/>
                <a:gd name="connsiteX4" fmla="*/ 989 w 30806"/>
                <a:gd name="connsiteY4" fmla="*/ 13314 h 30566"/>
                <a:gd name="connsiteX5" fmla="*/ 1122 w 30806"/>
                <a:gd name="connsiteY5" fmla="*/ 15550 h 30566"/>
                <a:gd name="connsiteX6" fmla="*/ 1122 w 30806"/>
                <a:gd name="connsiteY6" fmla="*/ 16029 h 30566"/>
                <a:gd name="connsiteX7" fmla="*/ 1122 w 30806"/>
                <a:gd name="connsiteY7" fmla="*/ 16029 h 30566"/>
                <a:gd name="connsiteX8" fmla="*/ 1122 w 30806"/>
                <a:gd name="connsiteY8" fmla="*/ 16269 h 30566"/>
                <a:gd name="connsiteX9" fmla="*/ 1122 w 30806"/>
                <a:gd name="connsiteY9" fmla="*/ 18186 h 30566"/>
                <a:gd name="connsiteX10" fmla="*/ 1122 w 30806"/>
                <a:gd name="connsiteY10" fmla="*/ 19731 h 30566"/>
                <a:gd name="connsiteX11" fmla="*/ 1122 w 30806"/>
                <a:gd name="connsiteY11" fmla="*/ 19917 h 30566"/>
                <a:gd name="connsiteX12" fmla="*/ 1122 w 30806"/>
                <a:gd name="connsiteY12" fmla="*/ 21674 h 30566"/>
                <a:gd name="connsiteX13" fmla="*/ 1122 w 30806"/>
                <a:gd name="connsiteY13" fmla="*/ 23219 h 30566"/>
                <a:gd name="connsiteX14" fmla="*/ 1122 w 30806"/>
                <a:gd name="connsiteY14" fmla="*/ 23538 h 30566"/>
                <a:gd name="connsiteX15" fmla="*/ 1122 w 30806"/>
                <a:gd name="connsiteY15" fmla="*/ 23538 h 30566"/>
                <a:gd name="connsiteX16" fmla="*/ 1122 w 30806"/>
                <a:gd name="connsiteY16" fmla="*/ 24710 h 30566"/>
                <a:gd name="connsiteX17" fmla="*/ 1122 w 30806"/>
                <a:gd name="connsiteY17" fmla="*/ 26174 h 30566"/>
                <a:gd name="connsiteX18" fmla="*/ 1122 w 30806"/>
                <a:gd name="connsiteY18" fmla="*/ 26174 h 30566"/>
                <a:gd name="connsiteX19" fmla="*/ 1122 w 30806"/>
                <a:gd name="connsiteY19" fmla="*/ 26307 h 30566"/>
                <a:gd name="connsiteX20" fmla="*/ 1122 w 30806"/>
                <a:gd name="connsiteY20" fmla="*/ 27266 h 30566"/>
                <a:gd name="connsiteX21" fmla="*/ 1122 w 30806"/>
                <a:gd name="connsiteY21" fmla="*/ 29023 h 30566"/>
                <a:gd name="connsiteX22" fmla="*/ 1122 w 30806"/>
                <a:gd name="connsiteY22" fmla="*/ 30221 h 30566"/>
                <a:gd name="connsiteX23" fmla="*/ 1122 w 30806"/>
                <a:gd name="connsiteY23" fmla="*/ 30221 h 30566"/>
                <a:gd name="connsiteX24" fmla="*/ 2852 w 30806"/>
                <a:gd name="connsiteY24" fmla="*/ 29050 h 30566"/>
                <a:gd name="connsiteX25" fmla="*/ 12172 w 30806"/>
                <a:gd name="connsiteY25" fmla="*/ 22020 h 30566"/>
                <a:gd name="connsiteX26" fmla="*/ 27988 w 30806"/>
                <a:gd name="connsiteY26" fmla="*/ 5060 h 30566"/>
                <a:gd name="connsiteX27" fmla="*/ 29345 w 30806"/>
                <a:gd name="connsiteY27" fmla="*/ 3222 h 30566"/>
                <a:gd name="connsiteX28" fmla="*/ 31795 w 30806"/>
                <a:gd name="connsiteY28" fmla="*/ -346 h 30566"/>
                <a:gd name="connsiteX29" fmla="*/ 19441 w 30806"/>
                <a:gd name="connsiteY29" fmla="*/ 3222 h 30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0806" h="30566">
                  <a:moveTo>
                    <a:pt x="20239" y="3409"/>
                  </a:moveTo>
                  <a:cubicBezTo>
                    <a:pt x="13636" y="5600"/>
                    <a:pt x="7203" y="8268"/>
                    <a:pt x="989" y="11397"/>
                  </a:cubicBezTo>
                  <a:lnTo>
                    <a:pt x="989" y="11636"/>
                  </a:lnTo>
                  <a:cubicBezTo>
                    <a:pt x="989" y="12142"/>
                    <a:pt x="989" y="12648"/>
                    <a:pt x="989" y="13154"/>
                  </a:cubicBezTo>
                  <a:lnTo>
                    <a:pt x="989" y="13314"/>
                  </a:lnTo>
                  <a:cubicBezTo>
                    <a:pt x="989" y="14059"/>
                    <a:pt x="989" y="14805"/>
                    <a:pt x="1122" y="15550"/>
                  </a:cubicBezTo>
                  <a:lnTo>
                    <a:pt x="1122" y="16029"/>
                  </a:lnTo>
                  <a:lnTo>
                    <a:pt x="1122" y="16029"/>
                  </a:lnTo>
                  <a:lnTo>
                    <a:pt x="1122" y="16269"/>
                  </a:lnTo>
                  <a:cubicBezTo>
                    <a:pt x="1122" y="16908"/>
                    <a:pt x="1122" y="17547"/>
                    <a:pt x="1122" y="18186"/>
                  </a:cubicBezTo>
                  <a:cubicBezTo>
                    <a:pt x="1122" y="18825"/>
                    <a:pt x="1122" y="19225"/>
                    <a:pt x="1122" y="19731"/>
                  </a:cubicBezTo>
                  <a:lnTo>
                    <a:pt x="1122" y="19917"/>
                  </a:lnTo>
                  <a:lnTo>
                    <a:pt x="1122" y="21674"/>
                  </a:lnTo>
                  <a:cubicBezTo>
                    <a:pt x="1122" y="22207"/>
                    <a:pt x="1122" y="22713"/>
                    <a:pt x="1122" y="23219"/>
                  </a:cubicBezTo>
                  <a:cubicBezTo>
                    <a:pt x="1135" y="23325"/>
                    <a:pt x="1135" y="23432"/>
                    <a:pt x="1122" y="23538"/>
                  </a:cubicBezTo>
                  <a:lnTo>
                    <a:pt x="1122" y="23538"/>
                  </a:lnTo>
                  <a:cubicBezTo>
                    <a:pt x="1122" y="23937"/>
                    <a:pt x="1122" y="24310"/>
                    <a:pt x="1122" y="24710"/>
                  </a:cubicBezTo>
                  <a:cubicBezTo>
                    <a:pt x="1122" y="25109"/>
                    <a:pt x="1122" y="25695"/>
                    <a:pt x="1122" y="26174"/>
                  </a:cubicBezTo>
                  <a:lnTo>
                    <a:pt x="1122" y="26174"/>
                  </a:lnTo>
                  <a:lnTo>
                    <a:pt x="1122" y="26307"/>
                  </a:lnTo>
                  <a:cubicBezTo>
                    <a:pt x="1122" y="26627"/>
                    <a:pt x="1122" y="26946"/>
                    <a:pt x="1122" y="27266"/>
                  </a:cubicBezTo>
                  <a:cubicBezTo>
                    <a:pt x="1122" y="27585"/>
                    <a:pt x="1122" y="28437"/>
                    <a:pt x="1122" y="29023"/>
                  </a:cubicBezTo>
                  <a:cubicBezTo>
                    <a:pt x="1122" y="29609"/>
                    <a:pt x="1122" y="29822"/>
                    <a:pt x="1122" y="30221"/>
                  </a:cubicBezTo>
                  <a:lnTo>
                    <a:pt x="1122" y="30221"/>
                  </a:lnTo>
                  <a:lnTo>
                    <a:pt x="2852" y="29050"/>
                  </a:lnTo>
                  <a:cubicBezTo>
                    <a:pt x="6090" y="26888"/>
                    <a:pt x="9203" y="24539"/>
                    <a:pt x="12172" y="22020"/>
                  </a:cubicBezTo>
                  <a:cubicBezTo>
                    <a:pt x="18035" y="16948"/>
                    <a:pt x="23336" y="11263"/>
                    <a:pt x="27988" y="5060"/>
                  </a:cubicBezTo>
                  <a:lnTo>
                    <a:pt x="29345" y="3222"/>
                  </a:lnTo>
                  <a:cubicBezTo>
                    <a:pt x="30198" y="2024"/>
                    <a:pt x="31023" y="853"/>
                    <a:pt x="31795" y="-346"/>
                  </a:cubicBezTo>
                  <a:cubicBezTo>
                    <a:pt x="27615" y="666"/>
                    <a:pt x="23488" y="1864"/>
                    <a:pt x="19441" y="3222"/>
                  </a:cubicBezTo>
                </a:path>
              </a:pathLst>
            </a:custGeom>
            <a:solidFill>
              <a:srgbClr val="8FD942"/>
            </a:solidFill>
            <a:ln w="2661" cap="flat">
              <a:noFill/>
              <a:prstDash val="solid"/>
              <a:miter/>
            </a:ln>
          </p:spPr>
          <p:txBody>
            <a:bodyPr rtlCol="0" anchor="ctr"/>
            <a:lstStyle/>
            <a:p>
              <a:endParaRPr lang="pl-PL"/>
            </a:p>
          </p:txBody>
        </p:sp>
        <p:sp>
          <p:nvSpPr>
            <p:cNvPr id="102" name="Freeform: Shape 101">
              <a:extLst>
                <a:ext uri="{FF2B5EF4-FFF2-40B4-BE49-F238E27FC236}">
                  <a16:creationId xmlns:a16="http://schemas.microsoft.com/office/drawing/2014/main" id="{8A5D2FB7-137C-4C75-8596-9CD24132A5AF}"/>
                </a:ext>
              </a:extLst>
            </p:cNvPr>
            <p:cNvSpPr/>
            <p:nvPr/>
          </p:nvSpPr>
          <p:spPr>
            <a:xfrm>
              <a:off x="11402788" y="6644225"/>
              <a:ext cx="49180" cy="59563"/>
            </a:xfrm>
            <a:custGeom>
              <a:avLst/>
              <a:gdLst>
                <a:gd name="connsiteX0" fmla="*/ 64918 w 87147"/>
                <a:gd name="connsiteY0" fmla="*/ 17494 h 105546"/>
                <a:gd name="connsiteX1" fmla="*/ 44735 w 87147"/>
                <a:gd name="connsiteY1" fmla="*/ -346 h 105546"/>
                <a:gd name="connsiteX2" fmla="*/ 14302 w 87147"/>
                <a:gd name="connsiteY2" fmla="*/ 29263 h 105546"/>
                <a:gd name="connsiteX3" fmla="*/ 989 w 87147"/>
                <a:gd name="connsiteY3" fmla="*/ 50111 h 105546"/>
                <a:gd name="connsiteX4" fmla="*/ 2160 w 87147"/>
                <a:gd name="connsiteY4" fmla="*/ 51602 h 105546"/>
                <a:gd name="connsiteX5" fmla="*/ 36774 w 87147"/>
                <a:gd name="connsiteY5" fmla="*/ 105200 h 105546"/>
                <a:gd name="connsiteX6" fmla="*/ 80015 w 87147"/>
                <a:gd name="connsiteY6" fmla="*/ 49286 h 105546"/>
                <a:gd name="connsiteX7" fmla="*/ 80894 w 87147"/>
                <a:gd name="connsiteY7" fmla="*/ 48647 h 105546"/>
                <a:gd name="connsiteX8" fmla="*/ 88136 w 87147"/>
                <a:gd name="connsiteY8" fmla="*/ 43641 h 105546"/>
                <a:gd name="connsiteX9" fmla="*/ 64891 w 87147"/>
                <a:gd name="connsiteY9" fmla="*/ 17441 h 105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147" h="105546">
                  <a:moveTo>
                    <a:pt x="64918" y="17494"/>
                  </a:moveTo>
                  <a:cubicBezTo>
                    <a:pt x="58514" y="11192"/>
                    <a:pt x="51778" y="5235"/>
                    <a:pt x="44735" y="-346"/>
                  </a:cubicBezTo>
                  <a:cubicBezTo>
                    <a:pt x="33206" y="7994"/>
                    <a:pt x="22955" y="17968"/>
                    <a:pt x="14302" y="29263"/>
                  </a:cubicBezTo>
                  <a:cubicBezTo>
                    <a:pt x="9269" y="35815"/>
                    <a:pt x="4815" y="42791"/>
                    <a:pt x="989" y="50111"/>
                  </a:cubicBezTo>
                  <a:cubicBezTo>
                    <a:pt x="1388" y="50590"/>
                    <a:pt x="1761" y="51096"/>
                    <a:pt x="2160" y="51602"/>
                  </a:cubicBezTo>
                  <a:cubicBezTo>
                    <a:pt x="15061" y="68552"/>
                    <a:pt x="26632" y="86472"/>
                    <a:pt x="36774" y="105200"/>
                  </a:cubicBezTo>
                  <a:cubicBezTo>
                    <a:pt x="45936" y="83034"/>
                    <a:pt x="60868" y="63728"/>
                    <a:pt x="80015" y="49286"/>
                  </a:cubicBezTo>
                  <a:lnTo>
                    <a:pt x="80894" y="48647"/>
                  </a:lnTo>
                  <a:cubicBezTo>
                    <a:pt x="83263" y="46916"/>
                    <a:pt x="85660" y="45238"/>
                    <a:pt x="88136" y="43641"/>
                  </a:cubicBezTo>
                  <a:cubicBezTo>
                    <a:pt x="81003" y="34380"/>
                    <a:pt x="73236" y="25626"/>
                    <a:pt x="64891" y="17441"/>
                  </a:cubicBezTo>
                </a:path>
              </a:pathLst>
            </a:custGeom>
            <a:solidFill>
              <a:srgbClr val="FAC200"/>
            </a:solidFill>
            <a:ln w="2661" cap="flat">
              <a:noFill/>
              <a:prstDash val="solid"/>
              <a:miter/>
            </a:ln>
          </p:spPr>
          <p:txBody>
            <a:bodyPr rtlCol="0" anchor="ctr"/>
            <a:lstStyle/>
            <a:p>
              <a:endParaRPr lang="pl-PL"/>
            </a:p>
          </p:txBody>
        </p:sp>
        <p:sp>
          <p:nvSpPr>
            <p:cNvPr id="103" name="Freeform: Shape 102">
              <a:extLst>
                <a:ext uri="{FF2B5EF4-FFF2-40B4-BE49-F238E27FC236}">
                  <a16:creationId xmlns:a16="http://schemas.microsoft.com/office/drawing/2014/main" id="{E6B44359-DE1E-4E3D-A51D-2F43C5C4424B}"/>
                </a:ext>
              </a:extLst>
            </p:cNvPr>
            <p:cNvSpPr/>
            <p:nvPr/>
          </p:nvSpPr>
          <p:spPr>
            <a:xfrm>
              <a:off x="11393217" y="6700272"/>
              <a:ext cx="51283" cy="56601"/>
            </a:xfrm>
            <a:custGeom>
              <a:avLst/>
              <a:gdLst>
                <a:gd name="connsiteX0" fmla="*/ 90133 w 90874"/>
                <a:gd name="connsiteY0" fmla="*/ 93882 h 100298"/>
                <a:gd name="connsiteX1" fmla="*/ 81613 w 90874"/>
                <a:gd name="connsiteY1" fmla="*/ 68055 h 100298"/>
                <a:gd name="connsiteX2" fmla="*/ 53762 w 90874"/>
                <a:gd name="connsiteY2" fmla="*/ 5909 h 100298"/>
                <a:gd name="connsiteX3" fmla="*/ 53762 w 90874"/>
                <a:gd name="connsiteY3" fmla="*/ 5909 h 100298"/>
                <a:gd name="connsiteX4" fmla="*/ 34165 w 90874"/>
                <a:gd name="connsiteY4" fmla="*/ 1276 h 100298"/>
                <a:gd name="connsiteX5" fmla="*/ 2213 w 90874"/>
                <a:gd name="connsiteY5" fmla="*/ 132 h 100298"/>
                <a:gd name="connsiteX6" fmla="*/ 989 w 90874"/>
                <a:gd name="connsiteY6" fmla="*/ 19089 h 100298"/>
                <a:gd name="connsiteX7" fmla="*/ 9376 w 90874"/>
                <a:gd name="connsiteY7" fmla="*/ 68081 h 100298"/>
                <a:gd name="connsiteX8" fmla="*/ 14888 w 90874"/>
                <a:gd name="connsiteY8" fmla="*/ 81395 h 100298"/>
                <a:gd name="connsiteX9" fmla="*/ 27854 w 90874"/>
                <a:gd name="connsiteY9" fmla="*/ 81182 h 100298"/>
                <a:gd name="connsiteX10" fmla="*/ 80388 w 90874"/>
                <a:gd name="connsiteY10" fmla="*/ 93829 h 100298"/>
                <a:gd name="connsiteX11" fmla="*/ 91864 w 90874"/>
                <a:gd name="connsiteY11" fmla="*/ 99953 h 100298"/>
                <a:gd name="connsiteX12" fmla="*/ 90080 w 90874"/>
                <a:gd name="connsiteY12" fmla="*/ 93829 h 10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874" h="100298">
                  <a:moveTo>
                    <a:pt x="90133" y="93882"/>
                  </a:moveTo>
                  <a:cubicBezTo>
                    <a:pt x="87470" y="85008"/>
                    <a:pt x="84629" y="76397"/>
                    <a:pt x="81613" y="68055"/>
                  </a:cubicBezTo>
                  <a:cubicBezTo>
                    <a:pt x="73918" y="46663"/>
                    <a:pt x="64607" y="25890"/>
                    <a:pt x="53762" y="5909"/>
                  </a:cubicBezTo>
                  <a:lnTo>
                    <a:pt x="53762" y="5909"/>
                  </a:lnTo>
                  <a:cubicBezTo>
                    <a:pt x="47353" y="3883"/>
                    <a:pt x="40803" y="2336"/>
                    <a:pt x="34165" y="1276"/>
                  </a:cubicBezTo>
                  <a:cubicBezTo>
                    <a:pt x="23600" y="-390"/>
                    <a:pt x="12872" y="-774"/>
                    <a:pt x="2213" y="132"/>
                  </a:cubicBezTo>
                  <a:cubicBezTo>
                    <a:pt x="1401" y="6418"/>
                    <a:pt x="991" y="12750"/>
                    <a:pt x="989" y="19089"/>
                  </a:cubicBezTo>
                  <a:cubicBezTo>
                    <a:pt x="973" y="35779"/>
                    <a:pt x="3808" y="52348"/>
                    <a:pt x="9376" y="68081"/>
                  </a:cubicBezTo>
                  <a:cubicBezTo>
                    <a:pt x="10992" y="72627"/>
                    <a:pt x="12829" y="77063"/>
                    <a:pt x="14888" y="81395"/>
                  </a:cubicBezTo>
                  <a:cubicBezTo>
                    <a:pt x="19174" y="81128"/>
                    <a:pt x="23488" y="81048"/>
                    <a:pt x="27854" y="81182"/>
                  </a:cubicBezTo>
                  <a:cubicBezTo>
                    <a:pt x="46046" y="81775"/>
                    <a:pt x="63920" y="86078"/>
                    <a:pt x="80388" y="93829"/>
                  </a:cubicBezTo>
                  <a:cubicBezTo>
                    <a:pt x="84329" y="95605"/>
                    <a:pt x="88155" y="97645"/>
                    <a:pt x="91864" y="99953"/>
                  </a:cubicBezTo>
                  <a:cubicBezTo>
                    <a:pt x="91278" y="97903"/>
                    <a:pt x="90692" y="95853"/>
                    <a:pt x="90080" y="93829"/>
                  </a:cubicBezTo>
                </a:path>
              </a:pathLst>
            </a:custGeom>
            <a:solidFill>
              <a:srgbClr val="FAC200"/>
            </a:solidFill>
            <a:ln w="2661" cap="flat">
              <a:noFill/>
              <a:prstDash val="solid"/>
              <a:miter/>
            </a:ln>
          </p:spPr>
          <p:txBody>
            <a:bodyPr rtlCol="0" anchor="ctr"/>
            <a:lstStyle/>
            <a:p>
              <a:endParaRPr lang="pl-PL"/>
            </a:p>
          </p:txBody>
        </p:sp>
        <p:sp>
          <p:nvSpPr>
            <p:cNvPr id="104" name="Freeform: Shape 103">
              <a:extLst>
                <a:ext uri="{FF2B5EF4-FFF2-40B4-BE49-F238E27FC236}">
                  <a16:creationId xmlns:a16="http://schemas.microsoft.com/office/drawing/2014/main" id="{04893DC3-E306-452D-8F2F-8DA1EE6FCF1A}"/>
                </a:ext>
              </a:extLst>
            </p:cNvPr>
            <p:cNvSpPr/>
            <p:nvPr/>
          </p:nvSpPr>
          <p:spPr>
            <a:xfrm>
              <a:off x="11444530" y="6711466"/>
              <a:ext cx="36834" cy="78871"/>
            </a:xfrm>
            <a:custGeom>
              <a:avLst/>
              <a:gdLst>
                <a:gd name="connsiteX0" fmla="*/ 64785 w 65270"/>
                <a:gd name="connsiteY0" fmla="*/ 76205 h 139760"/>
                <a:gd name="connsiteX1" fmla="*/ 66249 w 65270"/>
                <a:gd name="connsiteY1" fmla="*/ 75246 h 139760"/>
                <a:gd name="connsiteX2" fmla="*/ 66249 w 65270"/>
                <a:gd name="connsiteY2" fmla="*/ 74048 h 139760"/>
                <a:gd name="connsiteX3" fmla="*/ 66249 w 65270"/>
                <a:gd name="connsiteY3" fmla="*/ 72291 h 139760"/>
                <a:gd name="connsiteX4" fmla="*/ 66249 w 65270"/>
                <a:gd name="connsiteY4" fmla="*/ 71332 h 139760"/>
                <a:gd name="connsiteX5" fmla="*/ 66249 w 65270"/>
                <a:gd name="connsiteY5" fmla="*/ 71199 h 139760"/>
                <a:gd name="connsiteX6" fmla="*/ 66249 w 65270"/>
                <a:gd name="connsiteY6" fmla="*/ 71199 h 139760"/>
                <a:gd name="connsiteX7" fmla="*/ 66249 w 65270"/>
                <a:gd name="connsiteY7" fmla="*/ 69734 h 139760"/>
                <a:gd name="connsiteX8" fmla="*/ 66249 w 65270"/>
                <a:gd name="connsiteY8" fmla="*/ 68563 h 139760"/>
                <a:gd name="connsiteX9" fmla="*/ 66249 w 65270"/>
                <a:gd name="connsiteY9" fmla="*/ 68563 h 139760"/>
                <a:gd name="connsiteX10" fmla="*/ 66249 w 65270"/>
                <a:gd name="connsiteY10" fmla="*/ 68243 h 139760"/>
                <a:gd name="connsiteX11" fmla="*/ 66249 w 65270"/>
                <a:gd name="connsiteY11" fmla="*/ 66699 h 139760"/>
                <a:gd name="connsiteX12" fmla="*/ 66249 w 65270"/>
                <a:gd name="connsiteY12" fmla="*/ 64942 h 139760"/>
                <a:gd name="connsiteX13" fmla="*/ 66249 w 65270"/>
                <a:gd name="connsiteY13" fmla="*/ 64755 h 139760"/>
                <a:gd name="connsiteX14" fmla="*/ 66249 w 65270"/>
                <a:gd name="connsiteY14" fmla="*/ 63211 h 139760"/>
                <a:gd name="connsiteX15" fmla="*/ 66249 w 65270"/>
                <a:gd name="connsiteY15" fmla="*/ 61294 h 139760"/>
                <a:gd name="connsiteX16" fmla="*/ 66249 w 65270"/>
                <a:gd name="connsiteY16" fmla="*/ 61054 h 139760"/>
                <a:gd name="connsiteX17" fmla="*/ 66249 w 65270"/>
                <a:gd name="connsiteY17" fmla="*/ 61054 h 139760"/>
                <a:gd name="connsiteX18" fmla="*/ 66249 w 65270"/>
                <a:gd name="connsiteY18" fmla="*/ 60575 h 139760"/>
                <a:gd name="connsiteX19" fmla="*/ 66116 w 65270"/>
                <a:gd name="connsiteY19" fmla="*/ 58338 h 139760"/>
                <a:gd name="connsiteX20" fmla="*/ 66116 w 65270"/>
                <a:gd name="connsiteY20" fmla="*/ 58179 h 139760"/>
                <a:gd name="connsiteX21" fmla="*/ 66116 w 65270"/>
                <a:gd name="connsiteY21" fmla="*/ 56661 h 139760"/>
                <a:gd name="connsiteX22" fmla="*/ 65797 w 65270"/>
                <a:gd name="connsiteY22" fmla="*/ 53333 h 139760"/>
                <a:gd name="connsiteX23" fmla="*/ 65797 w 65270"/>
                <a:gd name="connsiteY23" fmla="*/ 52827 h 139760"/>
                <a:gd name="connsiteX24" fmla="*/ 65797 w 65270"/>
                <a:gd name="connsiteY24" fmla="*/ 51868 h 139760"/>
                <a:gd name="connsiteX25" fmla="*/ 65797 w 65270"/>
                <a:gd name="connsiteY25" fmla="*/ 51442 h 139760"/>
                <a:gd name="connsiteX26" fmla="*/ 65424 w 65270"/>
                <a:gd name="connsiteY26" fmla="*/ 48380 h 139760"/>
                <a:gd name="connsiteX27" fmla="*/ 64971 w 65270"/>
                <a:gd name="connsiteY27" fmla="*/ 44546 h 139760"/>
                <a:gd name="connsiteX28" fmla="*/ 64705 w 65270"/>
                <a:gd name="connsiteY28" fmla="*/ 42762 h 139760"/>
                <a:gd name="connsiteX29" fmla="*/ 64705 w 65270"/>
                <a:gd name="connsiteY29" fmla="*/ 41830 h 139760"/>
                <a:gd name="connsiteX30" fmla="*/ 64386 w 65270"/>
                <a:gd name="connsiteY30" fmla="*/ 39753 h 139760"/>
                <a:gd name="connsiteX31" fmla="*/ 64386 w 65270"/>
                <a:gd name="connsiteY31" fmla="*/ 39753 h 139760"/>
                <a:gd name="connsiteX32" fmla="*/ 63906 w 65270"/>
                <a:gd name="connsiteY32" fmla="*/ 36878 h 139760"/>
                <a:gd name="connsiteX33" fmla="*/ 63906 w 65270"/>
                <a:gd name="connsiteY33" fmla="*/ 36665 h 139760"/>
                <a:gd name="connsiteX34" fmla="*/ 63640 w 65270"/>
                <a:gd name="connsiteY34" fmla="*/ 35094 h 139760"/>
                <a:gd name="connsiteX35" fmla="*/ 63640 w 65270"/>
                <a:gd name="connsiteY35" fmla="*/ 34641 h 139760"/>
                <a:gd name="connsiteX36" fmla="*/ 63640 w 65270"/>
                <a:gd name="connsiteY36" fmla="*/ 33816 h 139760"/>
                <a:gd name="connsiteX37" fmla="*/ 63294 w 65270"/>
                <a:gd name="connsiteY37" fmla="*/ 31979 h 139760"/>
                <a:gd name="connsiteX38" fmla="*/ 63294 w 65270"/>
                <a:gd name="connsiteY38" fmla="*/ 31845 h 139760"/>
                <a:gd name="connsiteX39" fmla="*/ 62815 w 65270"/>
                <a:gd name="connsiteY39" fmla="*/ 29183 h 139760"/>
                <a:gd name="connsiteX40" fmla="*/ 62362 w 65270"/>
                <a:gd name="connsiteY40" fmla="*/ 26973 h 139760"/>
                <a:gd name="connsiteX41" fmla="*/ 62362 w 65270"/>
                <a:gd name="connsiteY41" fmla="*/ 26520 h 139760"/>
                <a:gd name="connsiteX42" fmla="*/ 61377 w 65270"/>
                <a:gd name="connsiteY42" fmla="*/ 22100 h 139760"/>
                <a:gd name="connsiteX43" fmla="*/ 61377 w 65270"/>
                <a:gd name="connsiteY43" fmla="*/ 22100 h 139760"/>
                <a:gd name="connsiteX44" fmla="*/ 60951 w 65270"/>
                <a:gd name="connsiteY44" fmla="*/ 20316 h 139760"/>
                <a:gd name="connsiteX45" fmla="*/ 60951 w 65270"/>
                <a:gd name="connsiteY45" fmla="*/ 20130 h 139760"/>
                <a:gd name="connsiteX46" fmla="*/ 60205 w 65270"/>
                <a:gd name="connsiteY46" fmla="*/ 17015 h 139760"/>
                <a:gd name="connsiteX47" fmla="*/ 60205 w 65270"/>
                <a:gd name="connsiteY47" fmla="*/ 17015 h 139760"/>
                <a:gd name="connsiteX48" fmla="*/ 59753 w 65270"/>
                <a:gd name="connsiteY48" fmla="*/ 15177 h 139760"/>
                <a:gd name="connsiteX49" fmla="*/ 59753 w 65270"/>
                <a:gd name="connsiteY49" fmla="*/ 15177 h 139760"/>
                <a:gd name="connsiteX50" fmla="*/ 58847 w 65270"/>
                <a:gd name="connsiteY50" fmla="*/ 11769 h 139760"/>
                <a:gd name="connsiteX51" fmla="*/ 58421 w 65270"/>
                <a:gd name="connsiteY51" fmla="*/ 10172 h 139760"/>
                <a:gd name="connsiteX52" fmla="*/ 57010 w 65270"/>
                <a:gd name="connsiteY52" fmla="*/ 5326 h 139760"/>
                <a:gd name="connsiteX53" fmla="*/ 57010 w 65270"/>
                <a:gd name="connsiteY53" fmla="*/ 5166 h 139760"/>
                <a:gd name="connsiteX54" fmla="*/ 56691 w 65270"/>
                <a:gd name="connsiteY54" fmla="*/ 4208 h 139760"/>
                <a:gd name="connsiteX55" fmla="*/ 56691 w 65270"/>
                <a:gd name="connsiteY55" fmla="*/ 4074 h 139760"/>
                <a:gd name="connsiteX56" fmla="*/ 55546 w 65270"/>
                <a:gd name="connsiteY56" fmla="*/ 453 h 139760"/>
                <a:gd name="connsiteX57" fmla="*/ 55306 w 65270"/>
                <a:gd name="connsiteY57" fmla="*/ -346 h 139760"/>
                <a:gd name="connsiteX58" fmla="*/ 55306 w 65270"/>
                <a:gd name="connsiteY58" fmla="*/ -346 h 139760"/>
                <a:gd name="connsiteX59" fmla="*/ 32141 w 65270"/>
                <a:gd name="connsiteY59" fmla="*/ 19597 h 139760"/>
                <a:gd name="connsiteX60" fmla="*/ 11293 w 65270"/>
                <a:gd name="connsiteY60" fmla="*/ 48114 h 139760"/>
                <a:gd name="connsiteX61" fmla="*/ 2320 w 65270"/>
                <a:gd name="connsiteY61" fmla="*/ 73941 h 139760"/>
                <a:gd name="connsiteX62" fmla="*/ 989 w 65270"/>
                <a:gd name="connsiteY62" fmla="*/ 80065 h 139760"/>
                <a:gd name="connsiteX63" fmla="*/ 5355 w 65270"/>
                <a:gd name="connsiteY63" fmla="*/ 96467 h 139760"/>
                <a:gd name="connsiteX64" fmla="*/ 6447 w 65270"/>
                <a:gd name="connsiteY64" fmla="*/ 100940 h 139760"/>
                <a:gd name="connsiteX65" fmla="*/ 14142 w 65270"/>
                <a:gd name="connsiteY65" fmla="*/ 139415 h 139760"/>
                <a:gd name="connsiteX66" fmla="*/ 35443 w 65270"/>
                <a:gd name="connsiteY66" fmla="*/ 100940 h 139760"/>
                <a:gd name="connsiteX67" fmla="*/ 64732 w 65270"/>
                <a:gd name="connsiteY67" fmla="*/ 76098 h 13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5270" h="139760">
                  <a:moveTo>
                    <a:pt x="64785" y="76205"/>
                  </a:moveTo>
                  <a:lnTo>
                    <a:pt x="66249" y="75246"/>
                  </a:lnTo>
                  <a:cubicBezTo>
                    <a:pt x="66249" y="74847"/>
                    <a:pt x="66249" y="74447"/>
                    <a:pt x="66249" y="74048"/>
                  </a:cubicBezTo>
                  <a:cubicBezTo>
                    <a:pt x="66249" y="73648"/>
                    <a:pt x="66249" y="72876"/>
                    <a:pt x="66249" y="72291"/>
                  </a:cubicBezTo>
                  <a:cubicBezTo>
                    <a:pt x="66249" y="71705"/>
                    <a:pt x="66249" y="71652"/>
                    <a:pt x="66249" y="71332"/>
                  </a:cubicBezTo>
                  <a:lnTo>
                    <a:pt x="66249" y="71199"/>
                  </a:lnTo>
                  <a:lnTo>
                    <a:pt x="66249" y="71199"/>
                  </a:lnTo>
                  <a:cubicBezTo>
                    <a:pt x="66249" y="70720"/>
                    <a:pt x="66249" y="70214"/>
                    <a:pt x="66249" y="69734"/>
                  </a:cubicBezTo>
                  <a:cubicBezTo>
                    <a:pt x="66249" y="69255"/>
                    <a:pt x="66249" y="68962"/>
                    <a:pt x="66249" y="68563"/>
                  </a:cubicBezTo>
                  <a:lnTo>
                    <a:pt x="66249" y="68563"/>
                  </a:lnTo>
                  <a:cubicBezTo>
                    <a:pt x="66263" y="68456"/>
                    <a:pt x="66263" y="68350"/>
                    <a:pt x="66249" y="68243"/>
                  </a:cubicBezTo>
                  <a:cubicBezTo>
                    <a:pt x="66249" y="67737"/>
                    <a:pt x="66249" y="67232"/>
                    <a:pt x="66249" y="66699"/>
                  </a:cubicBezTo>
                  <a:lnTo>
                    <a:pt x="66249" y="64942"/>
                  </a:lnTo>
                  <a:lnTo>
                    <a:pt x="66249" y="64755"/>
                  </a:lnTo>
                  <a:cubicBezTo>
                    <a:pt x="66249" y="64249"/>
                    <a:pt x="66249" y="63744"/>
                    <a:pt x="66249" y="63211"/>
                  </a:cubicBezTo>
                  <a:cubicBezTo>
                    <a:pt x="66249" y="62679"/>
                    <a:pt x="66249" y="61933"/>
                    <a:pt x="66249" y="61294"/>
                  </a:cubicBezTo>
                  <a:lnTo>
                    <a:pt x="66249" y="61054"/>
                  </a:lnTo>
                  <a:lnTo>
                    <a:pt x="66249" y="61054"/>
                  </a:lnTo>
                  <a:lnTo>
                    <a:pt x="66249" y="60575"/>
                  </a:lnTo>
                  <a:cubicBezTo>
                    <a:pt x="66249" y="59830"/>
                    <a:pt x="66249" y="59084"/>
                    <a:pt x="66116" y="58338"/>
                  </a:cubicBezTo>
                  <a:lnTo>
                    <a:pt x="66116" y="58179"/>
                  </a:lnTo>
                  <a:cubicBezTo>
                    <a:pt x="66116" y="57673"/>
                    <a:pt x="66116" y="57167"/>
                    <a:pt x="66116" y="56661"/>
                  </a:cubicBezTo>
                  <a:cubicBezTo>
                    <a:pt x="66116" y="55543"/>
                    <a:pt x="65930" y="54451"/>
                    <a:pt x="65797" y="53333"/>
                  </a:cubicBezTo>
                  <a:cubicBezTo>
                    <a:pt x="65797" y="53146"/>
                    <a:pt x="65797" y="52987"/>
                    <a:pt x="65797" y="52827"/>
                  </a:cubicBezTo>
                  <a:cubicBezTo>
                    <a:pt x="65797" y="52667"/>
                    <a:pt x="65797" y="52188"/>
                    <a:pt x="65797" y="51868"/>
                  </a:cubicBezTo>
                  <a:lnTo>
                    <a:pt x="65797" y="51442"/>
                  </a:lnTo>
                  <a:cubicBezTo>
                    <a:pt x="65797" y="50430"/>
                    <a:pt x="65557" y="49392"/>
                    <a:pt x="65424" y="48380"/>
                  </a:cubicBezTo>
                  <a:cubicBezTo>
                    <a:pt x="65291" y="47368"/>
                    <a:pt x="65131" y="45718"/>
                    <a:pt x="64971" y="44546"/>
                  </a:cubicBezTo>
                  <a:cubicBezTo>
                    <a:pt x="64971" y="43960"/>
                    <a:pt x="64785" y="43348"/>
                    <a:pt x="64705" y="42762"/>
                  </a:cubicBezTo>
                  <a:cubicBezTo>
                    <a:pt x="64625" y="42176"/>
                    <a:pt x="64705" y="42150"/>
                    <a:pt x="64705" y="41830"/>
                  </a:cubicBezTo>
                  <a:lnTo>
                    <a:pt x="64386" y="39753"/>
                  </a:lnTo>
                  <a:lnTo>
                    <a:pt x="64386" y="39753"/>
                  </a:lnTo>
                  <a:lnTo>
                    <a:pt x="63906" y="36878"/>
                  </a:lnTo>
                  <a:lnTo>
                    <a:pt x="63906" y="36665"/>
                  </a:lnTo>
                  <a:cubicBezTo>
                    <a:pt x="63906" y="36132"/>
                    <a:pt x="63720" y="35600"/>
                    <a:pt x="63640" y="35094"/>
                  </a:cubicBezTo>
                  <a:lnTo>
                    <a:pt x="63640" y="34641"/>
                  </a:lnTo>
                  <a:cubicBezTo>
                    <a:pt x="63640" y="34348"/>
                    <a:pt x="63640" y="34082"/>
                    <a:pt x="63640" y="33816"/>
                  </a:cubicBezTo>
                  <a:cubicBezTo>
                    <a:pt x="63640" y="33550"/>
                    <a:pt x="63400" y="32591"/>
                    <a:pt x="63294" y="31979"/>
                  </a:cubicBezTo>
                  <a:lnTo>
                    <a:pt x="63294" y="31845"/>
                  </a:lnTo>
                  <a:lnTo>
                    <a:pt x="62815" y="29183"/>
                  </a:lnTo>
                  <a:cubicBezTo>
                    <a:pt x="62655" y="28437"/>
                    <a:pt x="62522" y="27718"/>
                    <a:pt x="62362" y="26973"/>
                  </a:cubicBezTo>
                  <a:lnTo>
                    <a:pt x="62362" y="26520"/>
                  </a:lnTo>
                  <a:cubicBezTo>
                    <a:pt x="62042" y="25056"/>
                    <a:pt x="61723" y="23565"/>
                    <a:pt x="61377" y="22100"/>
                  </a:cubicBezTo>
                  <a:lnTo>
                    <a:pt x="61377" y="22100"/>
                  </a:lnTo>
                  <a:cubicBezTo>
                    <a:pt x="61244" y="21515"/>
                    <a:pt x="61084" y="20902"/>
                    <a:pt x="60951" y="20316"/>
                  </a:cubicBezTo>
                  <a:lnTo>
                    <a:pt x="60951" y="20130"/>
                  </a:lnTo>
                  <a:cubicBezTo>
                    <a:pt x="60711" y="19092"/>
                    <a:pt x="60472" y="18053"/>
                    <a:pt x="60205" y="17015"/>
                  </a:cubicBezTo>
                  <a:lnTo>
                    <a:pt x="60205" y="17015"/>
                  </a:lnTo>
                  <a:cubicBezTo>
                    <a:pt x="60046" y="16402"/>
                    <a:pt x="59912" y="15790"/>
                    <a:pt x="59753" y="15177"/>
                  </a:cubicBezTo>
                  <a:lnTo>
                    <a:pt x="59753" y="15177"/>
                  </a:lnTo>
                  <a:cubicBezTo>
                    <a:pt x="59460" y="14033"/>
                    <a:pt x="59140" y="12914"/>
                    <a:pt x="58847" y="11769"/>
                  </a:cubicBezTo>
                  <a:cubicBezTo>
                    <a:pt x="58688" y="11237"/>
                    <a:pt x="58554" y="10704"/>
                    <a:pt x="58421" y="10172"/>
                  </a:cubicBezTo>
                  <a:cubicBezTo>
                    <a:pt x="57969" y="8548"/>
                    <a:pt x="57489" y="6950"/>
                    <a:pt x="57010" y="5326"/>
                  </a:cubicBezTo>
                  <a:lnTo>
                    <a:pt x="57010" y="5166"/>
                  </a:lnTo>
                  <a:lnTo>
                    <a:pt x="56691" y="4208"/>
                  </a:lnTo>
                  <a:lnTo>
                    <a:pt x="56691" y="4074"/>
                  </a:lnTo>
                  <a:cubicBezTo>
                    <a:pt x="56318" y="2876"/>
                    <a:pt x="55945" y="1651"/>
                    <a:pt x="55546" y="453"/>
                  </a:cubicBezTo>
                  <a:lnTo>
                    <a:pt x="55306" y="-346"/>
                  </a:lnTo>
                  <a:lnTo>
                    <a:pt x="55306" y="-346"/>
                  </a:lnTo>
                  <a:cubicBezTo>
                    <a:pt x="46772" y="5297"/>
                    <a:pt x="38990" y="11998"/>
                    <a:pt x="32141" y="19597"/>
                  </a:cubicBezTo>
                  <a:cubicBezTo>
                    <a:pt x="23791" y="27995"/>
                    <a:pt x="16762" y="37610"/>
                    <a:pt x="11293" y="48114"/>
                  </a:cubicBezTo>
                  <a:cubicBezTo>
                    <a:pt x="7430" y="56395"/>
                    <a:pt x="4423" y="65048"/>
                    <a:pt x="2320" y="73941"/>
                  </a:cubicBezTo>
                  <a:cubicBezTo>
                    <a:pt x="1814" y="76071"/>
                    <a:pt x="1362" y="78122"/>
                    <a:pt x="989" y="80065"/>
                  </a:cubicBezTo>
                  <a:cubicBezTo>
                    <a:pt x="2533" y="85391"/>
                    <a:pt x="3971" y="90876"/>
                    <a:pt x="5355" y="96467"/>
                  </a:cubicBezTo>
                  <a:cubicBezTo>
                    <a:pt x="5728" y="97932"/>
                    <a:pt x="6101" y="99449"/>
                    <a:pt x="6447" y="100940"/>
                  </a:cubicBezTo>
                  <a:cubicBezTo>
                    <a:pt x="9376" y="113215"/>
                    <a:pt x="11985" y="126022"/>
                    <a:pt x="14142" y="139415"/>
                  </a:cubicBezTo>
                  <a:cubicBezTo>
                    <a:pt x="18559" y="125279"/>
                    <a:pt x="25807" y="112187"/>
                    <a:pt x="35443" y="100940"/>
                  </a:cubicBezTo>
                  <a:cubicBezTo>
                    <a:pt x="44062" y="91398"/>
                    <a:pt x="53911" y="83045"/>
                    <a:pt x="64732" y="76098"/>
                  </a:cubicBezTo>
                </a:path>
              </a:pathLst>
            </a:custGeom>
            <a:solidFill>
              <a:srgbClr val="FAC200"/>
            </a:solidFill>
            <a:ln w="2661" cap="flat">
              <a:noFill/>
              <a:prstDash val="solid"/>
              <a:miter/>
            </a:ln>
          </p:spPr>
          <p:txBody>
            <a:bodyPr rtlCol="0" anchor="ctr"/>
            <a:lstStyle/>
            <a:p>
              <a:endParaRPr lang="pl-PL"/>
            </a:p>
          </p:txBody>
        </p:sp>
        <p:sp>
          <p:nvSpPr>
            <p:cNvPr id="105" name="Freeform: Shape 104">
              <a:extLst>
                <a:ext uri="{FF2B5EF4-FFF2-40B4-BE49-F238E27FC236}">
                  <a16:creationId xmlns:a16="http://schemas.microsoft.com/office/drawing/2014/main" id="{F985FD16-927F-4AAA-8FA4-3421F4FDBEAA}"/>
                </a:ext>
              </a:extLst>
            </p:cNvPr>
            <p:cNvSpPr/>
            <p:nvPr/>
          </p:nvSpPr>
          <p:spPr>
            <a:xfrm>
              <a:off x="11422998" y="6669063"/>
              <a:ext cx="51268" cy="87781"/>
            </a:xfrm>
            <a:custGeom>
              <a:avLst/>
              <a:gdLst>
                <a:gd name="connsiteX0" fmla="*/ 91837 w 90848"/>
                <a:gd name="connsiteY0" fmla="*/ 74447 h 155549"/>
                <a:gd name="connsiteX1" fmla="*/ 91438 w 90848"/>
                <a:gd name="connsiteY1" fmla="*/ 73276 h 155549"/>
                <a:gd name="connsiteX2" fmla="*/ 90532 w 90848"/>
                <a:gd name="connsiteY2" fmla="*/ 70613 h 155549"/>
                <a:gd name="connsiteX3" fmla="*/ 89787 w 90848"/>
                <a:gd name="connsiteY3" fmla="*/ 68430 h 155549"/>
                <a:gd name="connsiteX4" fmla="*/ 88908 w 90848"/>
                <a:gd name="connsiteY4" fmla="*/ 66060 h 155549"/>
                <a:gd name="connsiteX5" fmla="*/ 88056 w 90848"/>
                <a:gd name="connsiteY5" fmla="*/ 63770 h 155549"/>
                <a:gd name="connsiteX6" fmla="*/ 87737 w 90848"/>
                <a:gd name="connsiteY6" fmla="*/ 62892 h 155549"/>
                <a:gd name="connsiteX7" fmla="*/ 85341 w 90848"/>
                <a:gd name="connsiteY7" fmla="*/ 56874 h 155549"/>
                <a:gd name="connsiteX8" fmla="*/ 84701 w 90848"/>
                <a:gd name="connsiteY8" fmla="*/ 55356 h 155549"/>
                <a:gd name="connsiteX9" fmla="*/ 83477 w 90848"/>
                <a:gd name="connsiteY9" fmla="*/ 52481 h 155549"/>
                <a:gd name="connsiteX10" fmla="*/ 61217 w 90848"/>
                <a:gd name="connsiteY10" fmla="*/ 11956 h 155549"/>
                <a:gd name="connsiteX11" fmla="*/ 52351 w 90848"/>
                <a:gd name="connsiteY11" fmla="*/ -346 h 155549"/>
                <a:gd name="connsiteX12" fmla="*/ 45108 w 90848"/>
                <a:gd name="connsiteY12" fmla="*/ 4660 h 155549"/>
                <a:gd name="connsiteX13" fmla="*/ 44230 w 90848"/>
                <a:gd name="connsiteY13" fmla="*/ 5299 h 155549"/>
                <a:gd name="connsiteX14" fmla="*/ 989 w 90848"/>
                <a:gd name="connsiteY14" fmla="*/ 61214 h 155549"/>
                <a:gd name="connsiteX15" fmla="*/ 989 w 90848"/>
                <a:gd name="connsiteY15" fmla="*/ 61214 h 155549"/>
                <a:gd name="connsiteX16" fmla="*/ 28840 w 90848"/>
                <a:gd name="connsiteY16" fmla="*/ 123253 h 155549"/>
                <a:gd name="connsiteX17" fmla="*/ 37360 w 90848"/>
                <a:gd name="connsiteY17" fmla="*/ 149080 h 155549"/>
                <a:gd name="connsiteX18" fmla="*/ 39144 w 90848"/>
                <a:gd name="connsiteY18" fmla="*/ 155204 h 155549"/>
                <a:gd name="connsiteX19" fmla="*/ 40475 w 90848"/>
                <a:gd name="connsiteY19" fmla="*/ 149080 h 155549"/>
                <a:gd name="connsiteX20" fmla="*/ 49448 w 90848"/>
                <a:gd name="connsiteY20" fmla="*/ 123253 h 155549"/>
                <a:gd name="connsiteX21" fmla="*/ 68646 w 90848"/>
                <a:gd name="connsiteY21" fmla="*/ 94284 h 155549"/>
                <a:gd name="connsiteX22" fmla="*/ 91811 w 90848"/>
                <a:gd name="connsiteY22" fmla="*/ 74341 h 155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0848" h="155549">
                  <a:moveTo>
                    <a:pt x="91837" y="74447"/>
                  </a:moveTo>
                  <a:lnTo>
                    <a:pt x="91438" y="73276"/>
                  </a:lnTo>
                  <a:cubicBezTo>
                    <a:pt x="91145" y="72397"/>
                    <a:pt x="90852" y="71518"/>
                    <a:pt x="90532" y="70613"/>
                  </a:cubicBezTo>
                  <a:lnTo>
                    <a:pt x="89787" y="68430"/>
                  </a:lnTo>
                  <a:lnTo>
                    <a:pt x="88908" y="66060"/>
                  </a:lnTo>
                  <a:cubicBezTo>
                    <a:pt x="88642" y="65288"/>
                    <a:pt x="88349" y="64516"/>
                    <a:pt x="88056" y="63770"/>
                  </a:cubicBezTo>
                  <a:lnTo>
                    <a:pt x="87737" y="62892"/>
                  </a:lnTo>
                  <a:cubicBezTo>
                    <a:pt x="86965" y="60868"/>
                    <a:pt x="86166" y="58871"/>
                    <a:pt x="85341" y="56874"/>
                  </a:cubicBezTo>
                  <a:lnTo>
                    <a:pt x="84701" y="55356"/>
                  </a:lnTo>
                  <a:cubicBezTo>
                    <a:pt x="84302" y="54398"/>
                    <a:pt x="83903" y="53439"/>
                    <a:pt x="83477" y="52481"/>
                  </a:cubicBezTo>
                  <a:cubicBezTo>
                    <a:pt x="77315" y="38318"/>
                    <a:pt x="69863" y="24752"/>
                    <a:pt x="61217" y="11956"/>
                  </a:cubicBezTo>
                  <a:cubicBezTo>
                    <a:pt x="58395" y="7775"/>
                    <a:pt x="55413" y="3675"/>
                    <a:pt x="52351" y="-346"/>
                  </a:cubicBezTo>
                  <a:cubicBezTo>
                    <a:pt x="49874" y="1252"/>
                    <a:pt x="47478" y="2929"/>
                    <a:pt x="45108" y="4660"/>
                  </a:cubicBezTo>
                  <a:lnTo>
                    <a:pt x="44230" y="5299"/>
                  </a:lnTo>
                  <a:cubicBezTo>
                    <a:pt x="25083" y="19741"/>
                    <a:pt x="10151" y="39048"/>
                    <a:pt x="989" y="61214"/>
                  </a:cubicBezTo>
                  <a:lnTo>
                    <a:pt x="989" y="61214"/>
                  </a:lnTo>
                  <a:cubicBezTo>
                    <a:pt x="11823" y="81162"/>
                    <a:pt x="21134" y="101901"/>
                    <a:pt x="28840" y="123253"/>
                  </a:cubicBezTo>
                  <a:cubicBezTo>
                    <a:pt x="31822" y="131534"/>
                    <a:pt x="34698" y="140134"/>
                    <a:pt x="37360" y="149080"/>
                  </a:cubicBezTo>
                  <a:cubicBezTo>
                    <a:pt x="37972" y="151104"/>
                    <a:pt x="38558" y="153154"/>
                    <a:pt x="39144" y="155204"/>
                  </a:cubicBezTo>
                  <a:cubicBezTo>
                    <a:pt x="39517" y="153261"/>
                    <a:pt x="39969" y="151210"/>
                    <a:pt x="40475" y="149080"/>
                  </a:cubicBezTo>
                  <a:cubicBezTo>
                    <a:pt x="42579" y="140187"/>
                    <a:pt x="45585" y="131534"/>
                    <a:pt x="49448" y="123253"/>
                  </a:cubicBezTo>
                  <a:cubicBezTo>
                    <a:pt x="54372" y="112696"/>
                    <a:pt x="60842" y="102932"/>
                    <a:pt x="68646" y="94284"/>
                  </a:cubicBezTo>
                  <a:cubicBezTo>
                    <a:pt x="75494" y="86685"/>
                    <a:pt x="83277" y="79983"/>
                    <a:pt x="91811" y="74341"/>
                  </a:cubicBezTo>
                  <a:close/>
                </a:path>
              </a:pathLst>
            </a:custGeom>
            <a:solidFill>
              <a:srgbClr val="E09C00"/>
            </a:solidFill>
            <a:ln w="2661" cap="flat">
              <a:noFill/>
              <a:prstDash val="solid"/>
              <a:miter/>
            </a:ln>
          </p:spPr>
          <p:txBody>
            <a:bodyPr rtlCol="0" anchor="ctr"/>
            <a:lstStyle/>
            <a:p>
              <a:endParaRPr lang="pl-PL"/>
            </a:p>
          </p:txBody>
        </p:sp>
        <p:sp>
          <p:nvSpPr>
            <p:cNvPr id="106" name="Freeform: Shape 105">
              <a:extLst>
                <a:ext uri="{FF2B5EF4-FFF2-40B4-BE49-F238E27FC236}">
                  <a16:creationId xmlns:a16="http://schemas.microsoft.com/office/drawing/2014/main" id="{02B404FA-CA78-4836-B350-1CADDDA6E023}"/>
                </a:ext>
              </a:extLst>
            </p:cNvPr>
            <p:cNvSpPr/>
            <p:nvPr/>
          </p:nvSpPr>
          <p:spPr>
            <a:xfrm>
              <a:off x="11393940" y="6672699"/>
              <a:ext cx="29090" cy="31088"/>
            </a:xfrm>
            <a:custGeom>
              <a:avLst/>
              <a:gdLst>
                <a:gd name="connsiteX0" fmla="*/ 17790 w 51548"/>
                <a:gd name="connsiteY0" fmla="*/ 1145 h 55089"/>
                <a:gd name="connsiteX1" fmla="*/ 16618 w 51548"/>
                <a:gd name="connsiteY1" fmla="*/ -346 h 55089"/>
                <a:gd name="connsiteX2" fmla="*/ 16272 w 51548"/>
                <a:gd name="connsiteY2" fmla="*/ 293 h 55089"/>
                <a:gd name="connsiteX3" fmla="*/ 989 w 51548"/>
                <a:gd name="connsiteY3" fmla="*/ 48939 h 55089"/>
                <a:gd name="connsiteX4" fmla="*/ 32940 w 51548"/>
                <a:gd name="connsiteY4" fmla="*/ 50111 h 55089"/>
                <a:gd name="connsiteX5" fmla="*/ 52537 w 51548"/>
                <a:gd name="connsiteY5" fmla="*/ 54744 h 55089"/>
                <a:gd name="connsiteX6" fmla="*/ 17923 w 51548"/>
                <a:gd name="connsiteY6" fmla="*/ 1145 h 55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48" h="55089">
                  <a:moveTo>
                    <a:pt x="17790" y="1145"/>
                  </a:moveTo>
                  <a:cubicBezTo>
                    <a:pt x="17390" y="640"/>
                    <a:pt x="17018" y="134"/>
                    <a:pt x="16618" y="-346"/>
                  </a:cubicBezTo>
                  <a:cubicBezTo>
                    <a:pt x="16618" y="-133"/>
                    <a:pt x="16405" y="80"/>
                    <a:pt x="16272" y="293"/>
                  </a:cubicBezTo>
                  <a:cubicBezTo>
                    <a:pt x="8353" y="15484"/>
                    <a:pt x="3180" y="31952"/>
                    <a:pt x="989" y="48939"/>
                  </a:cubicBezTo>
                  <a:cubicBezTo>
                    <a:pt x="11647" y="48055"/>
                    <a:pt x="22375" y="48449"/>
                    <a:pt x="32940" y="50111"/>
                  </a:cubicBezTo>
                  <a:cubicBezTo>
                    <a:pt x="39578" y="51171"/>
                    <a:pt x="46128" y="52718"/>
                    <a:pt x="52537" y="54744"/>
                  </a:cubicBezTo>
                  <a:cubicBezTo>
                    <a:pt x="42395" y="36015"/>
                    <a:pt x="30823" y="18096"/>
                    <a:pt x="17923" y="1145"/>
                  </a:cubicBezTo>
                </a:path>
              </a:pathLst>
            </a:custGeom>
            <a:solidFill>
              <a:srgbClr val="E09C00"/>
            </a:solidFill>
            <a:ln w="2661" cap="flat">
              <a:noFill/>
              <a:prstDash val="solid"/>
              <a:miter/>
            </a:ln>
          </p:spPr>
          <p:txBody>
            <a:bodyPr rtlCol="0" anchor="ctr"/>
            <a:lstStyle/>
            <a:p>
              <a:endParaRPr lang="pl-PL"/>
            </a:p>
          </p:txBody>
        </p:sp>
        <p:sp>
          <p:nvSpPr>
            <p:cNvPr id="107" name="Freeform: Shape 106">
              <a:extLst>
                <a:ext uri="{FF2B5EF4-FFF2-40B4-BE49-F238E27FC236}">
                  <a16:creationId xmlns:a16="http://schemas.microsoft.com/office/drawing/2014/main" id="{E8D4E07B-A23A-48A9-AF67-E3F3CF9ABC7E}"/>
                </a:ext>
              </a:extLst>
            </p:cNvPr>
            <p:cNvSpPr/>
            <p:nvPr/>
          </p:nvSpPr>
          <p:spPr>
            <a:xfrm>
              <a:off x="11401092" y="6746296"/>
              <a:ext cx="50862" cy="44116"/>
            </a:xfrm>
            <a:custGeom>
              <a:avLst/>
              <a:gdLst>
                <a:gd name="connsiteX0" fmla="*/ 83423 w 90129"/>
                <a:gd name="connsiteY0" fmla="*/ 39327 h 78174"/>
                <a:gd name="connsiteX1" fmla="*/ 82332 w 90129"/>
                <a:gd name="connsiteY1" fmla="*/ 34854 h 78174"/>
                <a:gd name="connsiteX2" fmla="*/ 77965 w 90129"/>
                <a:gd name="connsiteY2" fmla="*/ 18453 h 78174"/>
                <a:gd name="connsiteX3" fmla="*/ 66489 w 90129"/>
                <a:gd name="connsiteY3" fmla="*/ 12328 h 78174"/>
                <a:gd name="connsiteX4" fmla="*/ 13956 w 90129"/>
                <a:gd name="connsiteY4" fmla="*/ -292 h 78174"/>
                <a:gd name="connsiteX5" fmla="*/ 989 w 90129"/>
                <a:gd name="connsiteY5" fmla="*/ -79 h 78174"/>
                <a:gd name="connsiteX6" fmla="*/ 7619 w 90129"/>
                <a:gd name="connsiteY6" fmla="*/ 12355 h 78174"/>
                <a:gd name="connsiteX7" fmla="*/ 28227 w 90129"/>
                <a:gd name="connsiteY7" fmla="*/ 39354 h 78174"/>
                <a:gd name="connsiteX8" fmla="*/ 91118 w 90129"/>
                <a:gd name="connsiteY8" fmla="*/ 77829 h 78174"/>
                <a:gd name="connsiteX9" fmla="*/ 83423 w 90129"/>
                <a:gd name="connsiteY9" fmla="*/ 39354 h 78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129" h="78174">
                  <a:moveTo>
                    <a:pt x="83423" y="39327"/>
                  </a:moveTo>
                  <a:cubicBezTo>
                    <a:pt x="83077" y="37836"/>
                    <a:pt x="82704" y="36319"/>
                    <a:pt x="82332" y="34854"/>
                  </a:cubicBezTo>
                  <a:cubicBezTo>
                    <a:pt x="80947" y="29263"/>
                    <a:pt x="79509" y="23804"/>
                    <a:pt x="77965" y="18453"/>
                  </a:cubicBezTo>
                  <a:cubicBezTo>
                    <a:pt x="74272" y="16235"/>
                    <a:pt x="70448" y="14192"/>
                    <a:pt x="66489" y="12328"/>
                  </a:cubicBezTo>
                  <a:cubicBezTo>
                    <a:pt x="50021" y="4588"/>
                    <a:pt x="32144" y="293"/>
                    <a:pt x="13956" y="-292"/>
                  </a:cubicBezTo>
                  <a:cubicBezTo>
                    <a:pt x="9589" y="-425"/>
                    <a:pt x="5275" y="-292"/>
                    <a:pt x="989" y="-79"/>
                  </a:cubicBezTo>
                  <a:cubicBezTo>
                    <a:pt x="3012" y="4181"/>
                    <a:pt x="5222" y="8327"/>
                    <a:pt x="7619" y="12355"/>
                  </a:cubicBezTo>
                  <a:cubicBezTo>
                    <a:pt x="13418" y="22122"/>
                    <a:pt x="20335" y="31182"/>
                    <a:pt x="28227" y="39354"/>
                  </a:cubicBezTo>
                  <a:cubicBezTo>
                    <a:pt x="45566" y="57332"/>
                    <a:pt x="67216" y="70576"/>
                    <a:pt x="91118" y="77829"/>
                  </a:cubicBezTo>
                  <a:cubicBezTo>
                    <a:pt x="88961" y="64516"/>
                    <a:pt x="86352" y="51629"/>
                    <a:pt x="83423" y="39354"/>
                  </a:cubicBezTo>
                </a:path>
              </a:pathLst>
            </a:custGeom>
            <a:solidFill>
              <a:srgbClr val="E09C00"/>
            </a:solidFill>
            <a:ln w="2661" cap="flat">
              <a:noFill/>
              <a:prstDash val="solid"/>
              <a:miter/>
            </a:ln>
          </p:spPr>
          <p:txBody>
            <a:bodyPr rtlCol="0" anchor="ctr"/>
            <a:lstStyle/>
            <a:p>
              <a:endParaRPr lang="pl-PL"/>
            </a:p>
          </p:txBody>
        </p:sp>
        <p:sp>
          <p:nvSpPr>
            <p:cNvPr id="108" name="Freeform: Shape 107">
              <a:extLst>
                <a:ext uri="{FF2B5EF4-FFF2-40B4-BE49-F238E27FC236}">
                  <a16:creationId xmlns:a16="http://schemas.microsoft.com/office/drawing/2014/main" id="{CD6E2FF6-AF2C-4F2A-9C35-3825A0F2BCD4}"/>
                </a:ext>
              </a:extLst>
            </p:cNvPr>
            <p:cNvSpPr/>
            <p:nvPr/>
          </p:nvSpPr>
          <p:spPr>
            <a:xfrm>
              <a:off x="11451983" y="6691629"/>
              <a:ext cx="106699" cy="102254"/>
            </a:xfrm>
            <a:custGeom>
              <a:avLst/>
              <a:gdLst>
                <a:gd name="connsiteX0" fmla="*/ 189954 w 189072"/>
                <a:gd name="connsiteY0" fmla="*/ 30014 h 181196"/>
                <a:gd name="connsiteX1" fmla="*/ 188463 w 189072"/>
                <a:gd name="connsiteY1" fmla="*/ 13159 h 181196"/>
                <a:gd name="connsiteX2" fmla="*/ 180928 w 189072"/>
                <a:gd name="connsiteY2" fmla="*/ 13639 h 181196"/>
                <a:gd name="connsiteX3" fmla="*/ 171449 w 189072"/>
                <a:gd name="connsiteY3" fmla="*/ 21467 h 181196"/>
                <a:gd name="connsiteX4" fmla="*/ 171449 w 189072"/>
                <a:gd name="connsiteY4" fmla="*/ 21467 h 181196"/>
                <a:gd name="connsiteX5" fmla="*/ 171449 w 189072"/>
                <a:gd name="connsiteY5" fmla="*/ 21467 h 181196"/>
                <a:gd name="connsiteX6" fmla="*/ 169080 w 189072"/>
                <a:gd name="connsiteY6" fmla="*/ 52513 h 181196"/>
                <a:gd name="connsiteX7" fmla="*/ 162370 w 189072"/>
                <a:gd name="connsiteY7" fmla="*/ 81988 h 181196"/>
                <a:gd name="connsiteX8" fmla="*/ 161944 w 189072"/>
                <a:gd name="connsiteY8" fmla="*/ 83373 h 181196"/>
                <a:gd name="connsiteX9" fmla="*/ 151773 w 189072"/>
                <a:gd name="connsiteY9" fmla="*/ 109200 h 181196"/>
                <a:gd name="connsiteX10" fmla="*/ 145169 w 189072"/>
                <a:gd name="connsiteY10" fmla="*/ 120649 h 181196"/>
                <a:gd name="connsiteX11" fmla="*/ 143785 w 189072"/>
                <a:gd name="connsiteY11" fmla="*/ 121395 h 181196"/>
                <a:gd name="connsiteX12" fmla="*/ 142853 w 189072"/>
                <a:gd name="connsiteY12" fmla="*/ 121102 h 181196"/>
                <a:gd name="connsiteX13" fmla="*/ 142400 w 189072"/>
                <a:gd name="connsiteY13" fmla="*/ 118785 h 181196"/>
                <a:gd name="connsiteX14" fmla="*/ 147992 w 189072"/>
                <a:gd name="connsiteY14" fmla="*/ 109200 h 181196"/>
                <a:gd name="connsiteX15" fmla="*/ 158323 w 189072"/>
                <a:gd name="connsiteY15" fmla="*/ 83373 h 181196"/>
                <a:gd name="connsiteX16" fmla="*/ 159042 w 189072"/>
                <a:gd name="connsiteY16" fmla="*/ 81030 h 181196"/>
                <a:gd name="connsiteX17" fmla="*/ 165725 w 189072"/>
                <a:gd name="connsiteY17" fmla="*/ 51315 h 181196"/>
                <a:gd name="connsiteX18" fmla="*/ 168121 w 189072"/>
                <a:gd name="connsiteY18" fmla="*/ 20215 h 181196"/>
                <a:gd name="connsiteX19" fmla="*/ 166763 w 189072"/>
                <a:gd name="connsiteY19" fmla="*/ -340 h 181196"/>
                <a:gd name="connsiteX20" fmla="*/ 166763 w 189072"/>
                <a:gd name="connsiteY20" fmla="*/ -340 h 181196"/>
                <a:gd name="connsiteX21" fmla="*/ 166763 w 189072"/>
                <a:gd name="connsiteY21" fmla="*/ -340 h 181196"/>
                <a:gd name="connsiteX22" fmla="*/ 154062 w 189072"/>
                <a:gd name="connsiteY22" fmla="*/ 2589 h 181196"/>
                <a:gd name="connsiteX23" fmla="*/ 146847 w 189072"/>
                <a:gd name="connsiteY23" fmla="*/ 14544 h 181196"/>
                <a:gd name="connsiteX24" fmla="*/ 146847 w 189072"/>
                <a:gd name="connsiteY24" fmla="*/ 14544 h 181196"/>
                <a:gd name="connsiteX25" fmla="*/ 144371 w 189072"/>
                <a:gd name="connsiteY25" fmla="*/ 46016 h 181196"/>
                <a:gd name="connsiteX26" fmla="*/ 137181 w 189072"/>
                <a:gd name="connsiteY26" fmla="*/ 76636 h 181196"/>
                <a:gd name="connsiteX27" fmla="*/ 134972 w 189072"/>
                <a:gd name="connsiteY27" fmla="*/ 83293 h 181196"/>
                <a:gd name="connsiteX28" fmla="*/ 123070 w 189072"/>
                <a:gd name="connsiteY28" fmla="*/ 109120 h 181196"/>
                <a:gd name="connsiteX29" fmla="*/ 120167 w 189072"/>
                <a:gd name="connsiteY29" fmla="*/ 113700 h 181196"/>
                <a:gd name="connsiteX30" fmla="*/ 118783 w 189072"/>
                <a:gd name="connsiteY30" fmla="*/ 114445 h 181196"/>
                <a:gd name="connsiteX31" fmla="*/ 117851 w 189072"/>
                <a:gd name="connsiteY31" fmla="*/ 114152 h 181196"/>
                <a:gd name="connsiteX32" fmla="*/ 117409 w 189072"/>
                <a:gd name="connsiteY32" fmla="*/ 111860 h 181196"/>
                <a:gd name="connsiteX33" fmla="*/ 117425 w 189072"/>
                <a:gd name="connsiteY33" fmla="*/ 111836 h 181196"/>
                <a:gd name="connsiteX34" fmla="*/ 119156 w 189072"/>
                <a:gd name="connsiteY34" fmla="*/ 109173 h 181196"/>
                <a:gd name="connsiteX35" fmla="*/ 131430 w 189072"/>
                <a:gd name="connsiteY35" fmla="*/ 83346 h 181196"/>
                <a:gd name="connsiteX36" fmla="*/ 133827 w 189072"/>
                <a:gd name="connsiteY36" fmla="*/ 76343 h 181196"/>
                <a:gd name="connsiteX37" fmla="*/ 141069 w 189072"/>
                <a:gd name="connsiteY37" fmla="*/ 45590 h 181196"/>
                <a:gd name="connsiteX38" fmla="*/ 143465 w 189072"/>
                <a:gd name="connsiteY38" fmla="*/ 14038 h 181196"/>
                <a:gd name="connsiteX39" fmla="*/ 143465 w 189072"/>
                <a:gd name="connsiteY39" fmla="*/ 13798 h 181196"/>
                <a:gd name="connsiteX40" fmla="*/ 143465 w 189072"/>
                <a:gd name="connsiteY40" fmla="*/ 13798 h 181196"/>
                <a:gd name="connsiteX41" fmla="*/ 140403 w 189072"/>
                <a:gd name="connsiteY41" fmla="*/ 13585 h 181196"/>
                <a:gd name="connsiteX42" fmla="*/ 128208 w 189072"/>
                <a:gd name="connsiteY42" fmla="*/ 18911 h 181196"/>
                <a:gd name="connsiteX43" fmla="*/ 121978 w 189072"/>
                <a:gd name="connsiteY43" fmla="*/ 36670 h 181196"/>
                <a:gd name="connsiteX44" fmla="*/ 121073 w 189072"/>
                <a:gd name="connsiteY44" fmla="*/ 41809 h 181196"/>
                <a:gd name="connsiteX45" fmla="*/ 120673 w 189072"/>
                <a:gd name="connsiteY45" fmla="*/ 43993 h 181196"/>
                <a:gd name="connsiteX46" fmla="*/ 110901 w 189072"/>
                <a:gd name="connsiteY46" fmla="*/ 75944 h 181196"/>
                <a:gd name="connsiteX47" fmla="*/ 107546 w 189072"/>
                <a:gd name="connsiteY47" fmla="*/ 83453 h 181196"/>
                <a:gd name="connsiteX48" fmla="*/ 93807 w 189072"/>
                <a:gd name="connsiteY48" fmla="*/ 106218 h 181196"/>
                <a:gd name="connsiteX49" fmla="*/ 92476 w 189072"/>
                <a:gd name="connsiteY49" fmla="*/ 106883 h 181196"/>
                <a:gd name="connsiteX50" fmla="*/ 91464 w 189072"/>
                <a:gd name="connsiteY50" fmla="*/ 106564 h 181196"/>
                <a:gd name="connsiteX51" fmla="*/ 91118 w 189072"/>
                <a:gd name="connsiteY51" fmla="*/ 104221 h 181196"/>
                <a:gd name="connsiteX52" fmla="*/ 103792 w 189072"/>
                <a:gd name="connsiteY52" fmla="*/ 83266 h 181196"/>
                <a:gd name="connsiteX53" fmla="*/ 107147 w 189072"/>
                <a:gd name="connsiteY53" fmla="*/ 76024 h 181196"/>
                <a:gd name="connsiteX54" fmla="*/ 117105 w 189072"/>
                <a:gd name="connsiteY54" fmla="*/ 44019 h 181196"/>
                <a:gd name="connsiteX55" fmla="*/ 117691 w 189072"/>
                <a:gd name="connsiteY55" fmla="*/ 41064 h 181196"/>
                <a:gd name="connsiteX56" fmla="*/ 105470 w 189072"/>
                <a:gd name="connsiteY56" fmla="*/ 42235 h 181196"/>
                <a:gd name="connsiteX57" fmla="*/ 101502 w 189072"/>
                <a:gd name="connsiteY57" fmla="*/ 44898 h 181196"/>
                <a:gd name="connsiteX58" fmla="*/ 97881 w 189072"/>
                <a:gd name="connsiteY58" fmla="*/ 50835 h 181196"/>
                <a:gd name="connsiteX59" fmla="*/ 97509 w 189072"/>
                <a:gd name="connsiteY59" fmla="*/ 51980 h 181196"/>
                <a:gd name="connsiteX60" fmla="*/ 91491 w 189072"/>
                <a:gd name="connsiteY60" fmla="*/ 66412 h 181196"/>
                <a:gd name="connsiteX61" fmla="*/ 83716 w 189072"/>
                <a:gd name="connsiteY61" fmla="*/ 79725 h 181196"/>
                <a:gd name="connsiteX62" fmla="*/ 81266 w 189072"/>
                <a:gd name="connsiteY62" fmla="*/ 83293 h 181196"/>
                <a:gd name="connsiteX63" fmla="*/ 79909 w 189072"/>
                <a:gd name="connsiteY63" fmla="*/ 85130 h 181196"/>
                <a:gd name="connsiteX64" fmla="*/ 64093 w 189072"/>
                <a:gd name="connsiteY64" fmla="*/ 102091 h 181196"/>
                <a:gd name="connsiteX65" fmla="*/ 54774 w 189072"/>
                <a:gd name="connsiteY65" fmla="*/ 109120 h 181196"/>
                <a:gd name="connsiteX66" fmla="*/ 53043 w 189072"/>
                <a:gd name="connsiteY66" fmla="*/ 110292 h 181196"/>
                <a:gd name="connsiteX67" fmla="*/ 53043 w 189072"/>
                <a:gd name="connsiteY67" fmla="*/ 110292 h 181196"/>
                <a:gd name="connsiteX68" fmla="*/ 51578 w 189072"/>
                <a:gd name="connsiteY68" fmla="*/ 111250 h 181196"/>
                <a:gd name="connsiteX69" fmla="*/ 22290 w 189072"/>
                <a:gd name="connsiteY69" fmla="*/ 136092 h 181196"/>
                <a:gd name="connsiteX70" fmla="*/ 989 w 189072"/>
                <a:gd name="connsiteY70" fmla="*/ 174567 h 181196"/>
                <a:gd name="connsiteX71" fmla="*/ 1468 w 189072"/>
                <a:gd name="connsiteY71" fmla="*/ 174700 h 181196"/>
                <a:gd name="connsiteX72" fmla="*/ 21065 w 189072"/>
                <a:gd name="connsiteY72" fmla="*/ 179120 h 181196"/>
                <a:gd name="connsiteX73" fmla="*/ 43511 w 189072"/>
                <a:gd name="connsiteY73" fmla="*/ 180851 h 181196"/>
                <a:gd name="connsiteX74" fmla="*/ 43910 w 189072"/>
                <a:gd name="connsiteY74" fmla="*/ 180851 h 181196"/>
                <a:gd name="connsiteX75" fmla="*/ 148924 w 189072"/>
                <a:gd name="connsiteY75" fmla="*/ 136119 h 181196"/>
                <a:gd name="connsiteX76" fmla="*/ 169559 w 189072"/>
                <a:gd name="connsiteY76" fmla="*/ 109120 h 181196"/>
                <a:gd name="connsiteX77" fmla="*/ 179783 w 189072"/>
                <a:gd name="connsiteY77" fmla="*/ 88325 h 181196"/>
                <a:gd name="connsiteX78" fmla="*/ 181674 w 189072"/>
                <a:gd name="connsiteY78" fmla="*/ 83293 h 181196"/>
                <a:gd name="connsiteX79" fmla="*/ 187718 w 189072"/>
                <a:gd name="connsiteY79" fmla="*/ 60527 h 181196"/>
                <a:gd name="connsiteX80" fmla="*/ 190061 w 189072"/>
                <a:gd name="connsiteY80" fmla="*/ 34301 h 181196"/>
                <a:gd name="connsiteX81" fmla="*/ 190061 w 189072"/>
                <a:gd name="connsiteY81" fmla="*/ 29854 h 181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89072" h="181196">
                  <a:moveTo>
                    <a:pt x="189954" y="30014"/>
                  </a:moveTo>
                  <a:cubicBezTo>
                    <a:pt x="189784" y="24372"/>
                    <a:pt x="189286" y="18743"/>
                    <a:pt x="188463" y="13159"/>
                  </a:cubicBezTo>
                  <a:cubicBezTo>
                    <a:pt x="185942" y="12909"/>
                    <a:pt x="183396" y="13072"/>
                    <a:pt x="180928" y="13639"/>
                  </a:cubicBezTo>
                  <a:cubicBezTo>
                    <a:pt x="176713" y="14613"/>
                    <a:pt x="173204" y="17513"/>
                    <a:pt x="171449" y="21467"/>
                  </a:cubicBezTo>
                  <a:lnTo>
                    <a:pt x="171449" y="21467"/>
                  </a:lnTo>
                  <a:lnTo>
                    <a:pt x="171449" y="21467"/>
                  </a:lnTo>
                  <a:cubicBezTo>
                    <a:pt x="171487" y="31862"/>
                    <a:pt x="170693" y="42243"/>
                    <a:pt x="169080" y="52513"/>
                  </a:cubicBezTo>
                  <a:cubicBezTo>
                    <a:pt x="167522" y="62479"/>
                    <a:pt x="165280" y="72328"/>
                    <a:pt x="162370" y="81988"/>
                  </a:cubicBezTo>
                  <a:cubicBezTo>
                    <a:pt x="162210" y="82441"/>
                    <a:pt x="162077" y="82893"/>
                    <a:pt x="161944" y="83373"/>
                  </a:cubicBezTo>
                  <a:cubicBezTo>
                    <a:pt x="159260" y="92244"/>
                    <a:pt x="155860" y="100882"/>
                    <a:pt x="151773" y="109200"/>
                  </a:cubicBezTo>
                  <a:cubicBezTo>
                    <a:pt x="149821" y="113154"/>
                    <a:pt x="147614" y="116980"/>
                    <a:pt x="145169" y="120649"/>
                  </a:cubicBezTo>
                  <a:cubicBezTo>
                    <a:pt x="144860" y="121112"/>
                    <a:pt x="144341" y="121392"/>
                    <a:pt x="143785" y="121395"/>
                  </a:cubicBezTo>
                  <a:cubicBezTo>
                    <a:pt x="143452" y="121387"/>
                    <a:pt x="143130" y="121286"/>
                    <a:pt x="142853" y="121102"/>
                  </a:cubicBezTo>
                  <a:cubicBezTo>
                    <a:pt x="142091" y="120585"/>
                    <a:pt x="141892" y="119552"/>
                    <a:pt x="142400" y="118785"/>
                  </a:cubicBezTo>
                  <a:cubicBezTo>
                    <a:pt x="144458" y="115707"/>
                    <a:pt x="146325" y="112507"/>
                    <a:pt x="147992" y="109200"/>
                  </a:cubicBezTo>
                  <a:cubicBezTo>
                    <a:pt x="152161" y="100898"/>
                    <a:pt x="155617" y="92258"/>
                    <a:pt x="158323" y="83373"/>
                  </a:cubicBezTo>
                  <a:lnTo>
                    <a:pt x="159042" y="81030"/>
                  </a:lnTo>
                  <a:cubicBezTo>
                    <a:pt x="161944" y="71290"/>
                    <a:pt x="164178" y="61361"/>
                    <a:pt x="165725" y="51315"/>
                  </a:cubicBezTo>
                  <a:cubicBezTo>
                    <a:pt x="167306" y="41024"/>
                    <a:pt x="168108" y="30626"/>
                    <a:pt x="168121" y="20215"/>
                  </a:cubicBezTo>
                  <a:cubicBezTo>
                    <a:pt x="168116" y="13341"/>
                    <a:pt x="167663" y="6474"/>
                    <a:pt x="166763" y="-340"/>
                  </a:cubicBezTo>
                  <a:lnTo>
                    <a:pt x="166763" y="-340"/>
                  </a:lnTo>
                  <a:lnTo>
                    <a:pt x="166763" y="-340"/>
                  </a:lnTo>
                  <a:cubicBezTo>
                    <a:pt x="162351" y="-431"/>
                    <a:pt x="157987" y="576"/>
                    <a:pt x="154062" y="2589"/>
                  </a:cubicBezTo>
                  <a:cubicBezTo>
                    <a:pt x="149685" y="4988"/>
                    <a:pt x="146929" y="9552"/>
                    <a:pt x="146847" y="14544"/>
                  </a:cubicBezTo>
                  <a:lnTo>
                    <a:pt x="146847" y="14544"/>
                  </a:lnTo>
                  <a:cubicBezTo>
                    <a:pt x="146868" y="25085"/>
                    <a:pt x="146040" y="35608"/>
                    <a:pt x="144371" y="46016"/>
                  </a:cubicBezTo>
                  <a:cubicBezTo>
                    <a:pt x="142752" y="56390"/>
                    <a:pt x="140347" y="66625"/>
                    <a:pt x="137181" y="76636"/>
                  </a:cubicBezTo>
                  <a:cubicBezTo>
                    <a:pt x="136489" y="78899"/>
                    <a:pt x="135744" y="81109"/>
                    <a:pt x="134972" y="83293"/>
                  </a:cubicBezTo>
                  <a:cubicBezTo>
                    <a:pt x="131840" y="92263"/>
                    <a:pt x="127854" y="100911"/>
                    <a:pt x="123070" y="109120"/>
                  </a:cubicBezTo>
                  <a:cubicBezTo>
                    <a:pt x="122111" y="110744"/>
                    <a:pt x="121153" y="112262"/>
                    <a:pt x="120167" y="113700"/>
                  </a:cubicBezTo>
                  <a:cubicBezTo>
                    <a:pt x="119861" y="114166"/>
                    <a:pt x="119342" y="114448"/>
                    <a:pt x="118783" y="114445"/>
                  </a:cubicBezTo>
                  <a:cubicBezTo>
                    <a:pt x="118450" y="114437"/>
                    <a:pt x="118128" y="114336"/>
                    <a:pt x="117851" y="114152"/>
                  </a:cubicBezTo>
                  <a:cubicBezTo>
                    <a:pt x="117095" y="113641"/>
                    <a:pt x="116898" y="112616"/>
                    <a:pt x="117409" y="111860"/>
                  </a:cubicBezTo>
                  <a:cubicBezTo>
                    <a:pt x="117414" y="111852"/>
                    <a:pt x="117419" y="111844"/>
                    <a:pt x="117425" y="111836"/>
                  </a:cubicBezTo>
                  <a:cubicBezTo>
                    <a:pt x="118011" y="110957"/>
                    <a:pt x="118570" y="110052"/>
                    <a:pt x="119156" y="109173"/>
                  </a:cubicBezTo>
                  <a:cubicBezTo>
                    <a:pt x="124127" y="101010"/>
                    <a:pt x="128240" y="92356"/>
                    <a:pt x="131430" y="83346"/>
                  </a:cubicBezTo>
                  <a:cubicBezTo>
                    <a:pt x="132256" y="81056"/>
                    <a:pt x="133054" y="78713"/>
                    <a:pt x="133827" y="76343"/>
                  </a:cubicBezTo>
                  <a:cubicBezTo>
                    <a:pt x="137027" y="66292"/>
                    <a:pt x="139447" y="56012"/>
                    <a:pt x="141069" y="45590"/>
                  </a:cubicBezTo>
                  <a:cubicBezTo>
                    <a:pt x="142738" y="35158"/>
                    <a:pt x="143540" y="24603"/>
                    <a:pt x="143465" y="14038"/>
                  </a:cubicBezTo>
                  <a:lnTo>
                    <a:pt x="143465" y="13798"/>
                  </a:lnTo>
                  <a:lnTo>
                    <a:pt x="143465" y="13798"/>
                  </a:lnTo>
                  <a:cubicBezTo>
                    <a:pt x="142451" y="13655"/>
                    <a:pt x="141428" y="13583"/>
                    <a:pt x="140403" y="13585"/>
                  </a:cubicBezTo>
                  <a:cubicBezTo>
                    <a:pt x="135741" y="13418"/>
                    <a:pt x="131255" y="15375"/>
                    <a:pt x="128208" y="18911"/>
                  </a:cubicBezTo>
                  <a:cubicBezTo>
                    <a:pt x="124055" y="23890"/>
                    <a:pt x="121978" y="36670"/>
                    <a:pt x="121978" y="36670"/>
                  </a:cubicBezTo>
                  <a:cubicBezTo>
                    <a:pt x="121712" y="38401"/>
                    <a:pt x="121419" y="40105"/>
                    <a:pt x="121073" y="41809"/>
                  </a:cubicBezTo>
                  <a:cubicBezTo>
                    <a:pt x="121073" y="41809"/>
                    <a:pt x="121073" y="42608"/>
                    <a:pt x="120673" y="43993"/>
                  </a:cubicBezTo>
                  <a:cubicBezTo>
                    <a:pt x="118469" y="54936"/>
                    <a:pt x="115196" y="65640"/>
                    <a:pt x="110901" y="75944"/>
                  </a:cubicBezTo>
                  <a:cubicBezTo>
                    <a:pt x="109871" y="78394"/>
                    <a:pt x="108753" y="80896"/>
                    <a:pt x="107546" y="83453"/>
                  </a:cubicBezTo>
                  <a:cubicBezTo>
                    <a:pt x="103744" y="91483"/>
                    <a:pt x="99141" y="99111"/>
                    <a:pt x="93807" y="106218"/>
                  </a:cubicBezTo>
                  <a:cubicBezTo>
                    <a:pt x="93488" y="106633"/>
                    <a:pt x="92998" y="106878"/>
                    <a:pt x="92476" y="106883"/>
                  </a:cubicBezTo>
                  <a:cubicBezTo>
                    <a:pt x="92114" y="106886"/>
                    <a:pt x="91760" y="106774"/>
                    <a:pt x="91464" y="106564"/>
                  </a:cubicBezTo>
                  <a:cubicBezTo>
                    <a:pt x="90724" y="106013"/>
                    <a:pt x="90567" y="104964"/>
                    <a:pt x="91118" y="104221"/>
                  </a:cubicBezTo>
                  <a:cubicBezTo>
                    <a:pt x="95956" y="97626"/>
                    <a:pt x="100198" y="90615"/>
                    <a:pt x="103792" y="83266"/>
                  </a:cubicBezTo>
                  <a:cubicBezTo>
                    <a:pt x="104964" y="80896"/>
                    <a:pt x="106082" y="78473"/>
                    <a:pt x="107147" y="76024"/>
                  </a:cubicBezTo>
                  <a:cubicBezTo>
                    <a:pt x="111572" y="65733"/>
                    <a:pt x="114911" y="55005"/>
                    <a:pt x="117105" y="44019"/>
                  </a:cubicBezTo>
                  <a:cubicBezTo>
                    <a:pt x="117318" y="43034"/>
                    <a:pt x="117505" y="42049"/>
                    <a:pt x="117691" y="41064"/>
                  </a:cubicBezTo>
                  <a:cubicBezTo>
                    <a:pt x="113593" y="40212"/>
                    <a:pt x="109333" y="40619"/>
                    <a:pt x="105470" y="42235"/>
                  </a:cubicBezTo>
                  <a:cubicBezTo>
                    <a:pt x="103995" y="42872"/>
                    <a:pt x="102650" y="43774"/>
                    <a:pt x="101502" y="44898"/>
                  </a:cubicBezTo>
                  <a:cubicBezTo>
                    <a:pt x="99868" y="46583"/>
                    <a:pt x="98632" y="48612"/>
                    <a:pt x="97881" y="50835"/>
                  </a:cubicBezTo>
                  <a:cubicBezTo>
                    <a:pt x="97881" y="51208"/>
                    <a:pt x="97615" y="51581"/>
                    <a:pt x="97509" y="51980"/>
                  </a:cubicBezTo>
                  <a:cubicBezTo>
                    <a:pt x="95812" y="56914"/>
                    <a:pt x="93802" y="61734"/>
                    <a:pt x="91491" y="66412"/>
                  </a:cubicBezTo>
                  <a:cubicBezTo>
                    <a:pt x="89190" y="71013"/>
                    <a:pt x="86594" y="75459"/>
                    <a:pt x="83716" y="79725"/>
                  </a:cubicBezTo>
                  <a:cubicBezTo>
                    <a:pt x="82944" y="80923"/>
                    <a:pt x="82119" y="82095"/>
                    <a:pt x="81266" y="83293"/>
                  </a:cubicBezTo>
                  <a:lnTo>
                    <a:pt x="79909" y="85130"/>
                  </a:lnTo>
                  <a:cubicBezTo>
                    <a:pt x="75257" y="91334"/>
                    <a:pt x="69956" y="97019"/>
                    <a:pt x="64093" y="102091"/>
                  </a:cubicBezTo>
                  <a:cubicBezTo>
                    <a:pt x="61124" y="104610"/>
                    <a:pt x="58011" y="106958"/>
                    <a:pt x="54774" y="109120"/>
                  </a:cubicBezTo>
                  <a:lnTo>
                    <a:pt x="53043" y="110292"/>
                  </a:lnTo>
                  <a:lnTo>
                    <a:pt x="53043" y="110292"/>
                  </a:lnTo>
                  <a:lnTo>
                    <a:pt x="51578" y="111250"/>
                  </a:lnTo>
                  <a:cubicBezTo>
                    <a:pt x="40757" y="118197"/>
                    <a:pt x="30909" y="126550"/>
                    <a:pt x="22290" y="136092"/>
                  </a:cubicBezTo>
                  <a:cubicBezTo>
                    <a:pt x="12654" y="147339"/>
                    <a:pt x="5406" y="160429"/>
                    <a:pt x="989" y="174567"/>
                  </a:cubicBezTo>
                  <a:lnTo>
                    <a:pt x="1468" y="174700"/>
                  </a:lnTo>
                  <a:cubicBezTo>
                    <a:pt x="7888" y="176636"/>
                    <a:pt x="14435" y="178114"/>
                    <a:pt x="21065" y="179120"/>
                  </a:cubicBezTo>
                  <a:cubicBezTo>
                    <a:pt x="28491" y="180278"/>
                    <a:pt x="35994" y="180856"/>
                    <a:pt x="43511" y="180851"/>
                  </a:cubicBezTo>
                  <a:lnTo>
                    <a:pt x="43910" y="180851"/>
                  </a:lnTo>
                  <a:cubicBezTo>
                    <a:pt x="83532" y="180798"/>
                    <a:pt x="121432" y="164652"/>
                    <a:pt x="148924" y="136119"/>
                  </a:cubicBezTo>
                  <a:cubicBezTo>
                    <a:pt x="156824" y="127947"/>
                    <a:pt x="163749" y="118889"/>
                    <a:pt x="169559" y="109120"/>
                  </a:cubicBezTo>
                  <a:cubicBezTo>
                    <a:pt x="173507" y="102466"/>
                    <a:pt x="176926" y="95514"/>
                    <a:pt x="179783" y="88325"/>
                  </a:cubicBezTo>
                  <a:cubicBezTo>
                    <a:pt x="180449" y="86674"/>
                    <a:pt x="181088" y="84970"/>
                    <a:pt x="181674" y="83293"/>
                  </a:cubicBezTo>
                  <a:cubicBezTo>
                    <a:pt x="184304" y="75880"/>
                    <a:pt x="186325" y="68268"/>
                    <a:pt x="187718" y="60527"/>
                  </a:cubicBezTo>
                  <a:cubicBezTo>
                    <a:pt x="189283" y="51874"/>
                    <a:pt x="190066" y="43095"/>
                    <a:pt x="190061" y="34301"/>
                  </a:cubicBezTo>
                  <a:cubicBezTo>
                    <a:pt x="190061" y="32810"/>
                    <a:pt x="190061" y="31318"/>
                    <a:pt x="190061" y="29854"/>
                  </a:cubicBezTo>
                </a:path>
              </a:pathLst>
            </a:custGeom>
            <a:solidFill>
              <a:srgbClr val="143DCF"/>
            </a:solidFill>
            <a:ln w="2661" cap="flat">
              <a:noFill/>
              <a:prstDash val="solid"/>
              <a:miter/>
            </a:ln>
          </p:spPr>
          <p:txBody>
            <a:bodyPr rtlCol="0" anchor="ctr"/>
            <a:lstStyle/>
            <a:p>
              <a:endParaRPr lang="pl-PL"/>
            </a:p>
          </p:txBody>
        </p:sp>
        <p:sp>
          <p:nvSpPr>
            <p:cNvPr id="109" name="Freeform: Shape 108">
              <a:extLst>
                <a:ext uri="{FF2B5EF4-FFF2-40B4-BE49-F238E27FC236}">
                  <a16:creationId xmlns:a16="http://schemas.microsoft.com/office/drawing/2014/main" id="{82132543-FB19-4A8F-BA46-F62B13130FE9}"/>
                </a:ext>
              </a:extLst>
            </p:cNvPr>
            <p:cNvSpPr/>
            <p:nvPr/>
          </p:nvSpPr>
          <p:spPr>
            <a:xfrm>
              <a:off x="11502581" y="6714997"/>
              <a:ext cx="17090" cy="37099"/>
            </a:xfrm>
            <a:custGeom>
              <a:avLst/>
              <a:gdLst>
                <a:gd name="connsiteX0" fmla="*/ 31273 w 30283"/>
                <a:gd name="connsiteY0" fmla="*/ 400 h 65740"/>
                <a:gd name="connsiteX1" fmla="*/ 28024 w 30283"/>
                <a:gd name="connsiteY1" fmla="*/ -346 h 65740"/>
                <a:gd name="connsiteX2" fmla="*/ 27438 w 30283"/>
                <a:gd name="connsiteY2" fmla="*/ 2610 h 65740"/>
                <a:gd name="connsiteX3" fmla="*/ 17374 w 30283"/>
                <a:gd name="connsiteY3" fmla="*/ 34721 h 65740"/>
                <a:gd name="connsiteX4" fmla="*/ 13992 w 30283"/>
                <a:gd name="connsiteY4" fmla="*/ 41963 h 65740"/>
                <a:gd name="connsiteX5" fmla="*/ 1318 w 30283"/>
                <a:gd name="connsiteY5" fmla="*/ 62732 h 65740"/>
                <a:gd name="connsiteX6" fmla="*/ 1664 w 30283"/>
                <a:gd name="connsiteY6" fmla="*/ 65075 h 65740"/>
                <a:gd name="connsiteX7" fmla="*/ 2650 w 30283"/>
                <a:gd name="connsiteY7" fmla="*/ 65394 h 65740"/>
                <a:gd name="connsiteX8" fmla="*/ 4007 w 30283"/>
                <a:gd name="connsiteY8" fmla="*/ 64729 h 65740"/>
                <a:gd name="connsiteX9" fmla="*/ 17747 w 30283"/>
                <a:gd name="connsiteY9" fmla="*/ 41963 h 65740"/>
                <a:gd name="connsiteX10" fmla="*/ 21101 w 30283"/>
                <a:gd name="connsiteY10" fmla="*/ 34481 h 65740"/>
                <a:gd name="connsiteX11" fmla="*/ 30873 w 30283"/>
                <a:gd name="connsiteY11" fmla="*/ 2530 h 65740"/>
                <a:gd name="connsiteX12" fmla="*/ 31273 w 30283"/>
                <a:gd name="connsiteY12" fmla="*/ 347 h 6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283" h="65740">
                  <a:moveTo>
                    <a:pt x="31273" y="400"/>
                  </a:moveTo>
                  <a:cubicBezTo>
                    <a:pt x="30213" y="62"/>
                    <a:pt x="29126" y="-186"/>
                    <a:pt x="28024" y="-346"/>
                  </a:cubicBezTo>
                  <a:cubicBezTo>
                    <a:pt x="27838" y="640"/>
                    <a:pt x="27652" y="1625"/>
                    <a:pt x="27438" y="2610"/>
                  </a:cubicBezTo>
                  <a:cubicBezTo>
                    <a:pt x="25218" y="13636"/>
                    <a:pt x="21844" y="24398"/>
                    <a:pt x="17374" y="34721"/>
                  </a:cubicBezTo>
                  <a:cubicBezTo>
                    <a:pt x="16309" y="37171"/>
                    <a:pt x="15190" y="39594"/>
                    <a:pt x="13992" y="41963"/>
                  </a:cubicBezTo>
                  <a:cubicBezTo>
                    <a:pt x="10400" y="49254"/>
                    <a:pt x="6159" y="56203"/>
                    <a:pt x="1318" y="62732"/>
                  </a:cubicBezTo>
                  <a:cubicBezTo>
                    <a:pt x="767" y="63475"/>
                    <a:pt x="924" y="64524"/>
                    <a:pt x="1664" y="65075"/>
                  </a:cubicBezTo>
                  <a:cubicBezTo>
                    <a:pt x="1952" y="65283"/>
                    <a:pt x="2295" y="65394"/>
                    <a:pt x="2650" y="65394"/>
                  </a:cubicBezTo>
                  <a:cubicBezTo>
                    <a:pt x="3182" y="65405"/>
                    <a:pt x="3688" y="65157"/>
                    <a:pt x="4007" y="64729"/>
                  </a:cubicBezTo>
                  <a:cubicBezTo>
                    <a:pt x="9341" y="57622"/>
                    <a:pt x="13944" y="49994"/>
                    <a:pt x="17747" y="41963"/>
                  </a:cubicBezTo>
                  <a:cubicBezTo>
                    <a:pt x="18945" y="39301"/>
                    <a:pt x="20063" y="36931"/>
                    <a:pt x="21101" y="34481"/>
                  </a:cubicBezTo>
                  <a:cubicBezTo>
                    <a:pt x="25380" y="24172"/>
                    <a:pt x="28653" y="13471"/>
                    <a:pt x="30873" y="2530"/>
                  </a:cubicBezTo>
                  <a:cubicBezTo>
                    <a:pt x="31140" y="1145"/>
                    <a:pt x="31273" y="347"/>
                    <a:pt x="31273" y="347"/>
                  </a:cubicBezTo>
                </a:path>
              </a:pathLst>
            </a:custGeom>
            <a:solidFill>
              <a:srgbClr val="8FD942"/>
            </a:solidFill>
            <a:ln w="2661" cap="flat">
              <a:noFill/>
              <a:prstDash val="solid"/>
              <a:miter/>
            </a:ln>
          </p:spPr>
          <p:txBody>
            <a:bodyPr rtlCol="0" anchor="ctr"/>
            <a:lstStyle/>
            <a:p>
              <a:endParaRPr lang="pl-PL"/>
            </a:p>
          </p:txBody>
        </p:sp>
        <p:sp>
          <p:nvSpPr>
            <p:cNvPr id="110" name="Freeform: Shape 109">
              <a:extLst>
                <a:ext uri="{FF2B5EF4-FFF2-40B4-BE49-F238E27FC236}">
                  <a16:creationId xmlns:a16="http://schemas.microsoft.com/office/drawing/2014/main" id="{774BCFE9-B1F1-494A-8418-98792E7B5750}"/>
                </a:ext>
              </a:extLst>
            </p:cNvPr>
            <p:cNvSpPr/>
            <p:nvPr/>
          </p:nvSpPr>
          <p:spPr>
            <a:xfrm>
              <a:off x="11517500" y="6699685"/>
              <a:ext cx="16773" cy="56738"/>
            </a:xfrm>
            <a:custGeom>
              <a:avLst/>
              <a:gdLst>
                <a:gd name="connsiteX0" fmla="*/ 27995 w 29722"/>
                <a:gd name="connsiteY0" fmla="*/ -239 h 100540"/>
                <a:gd name="connsiteX1" fmla="*/ 27542 w 29722"/>
                <a:gd name="connsiteY1" fmla="*/ -239 h 100540"/>
                <a:gd name="connsiteX2" fmla="*/ 27356 w 29722"/>
                <a:gd name="connsiteY2" fmla="*/ -239 h 100540"/>
                <a:gd name="connsiteX3" fmla="*/ 27356 w 29722"/>
                <a:gd name="connsiteY3" fmla="*/ -239 h 100540"/>
                <a:gd name="connsiteX4" fmla="*/ 24959 w 29722"/>
                <a:gd name="connsiteY4" fmla="*/ 31313 h 100540"/>
                <a:gd name="connsiteX5" fmla="*/ 17691 w 29722"/>
                <a:gd name="connsiteY5" fmla="*/ 62093 h 100540"/>
                <a:gd name="connsiteX6" fmla="*/ 15294 w 29722"/>
                <a:gd name="connsiteY6" fmla="*/ 69095 h 100540"/>
                <a:gd name="connsiteX7" fmla="*/ 3020 w 29722"/>
                <a:gd name="connsiteY7" fmla="*/ 94923 h 100540"/>
                <a:gd name="connsiteX8" fmla="*/ 1289 w 29722"/>
                <a:gd name="connsiteY8" fmla="*/ 97585 h 100540"/>
                <a:gd name="connsiteX9" fmla="*/ 1691 w 29722"/>
                <a:gd name="connsiteY9" fmla="*/ 99886 h 100540"/>
                <a:gd name="connsiteX10" fmla="*/ 1715 w 29722"/>
                <a:gd name="connsiteY10" fmla="*/ 99902 h 100540"/>
                <a:gd name="connsiteX11" fmla="*/ 2647 w 29722"/>
                <a:gd name="connsiteY11" fmla="*/ 100195 h 100540"/>
                <a:gd name="connsiteX12" fmla="*/ 4031 w 29722"/>
                <a:gd name="connsiteY12" fmla="*/ 99449 h 100540"/>
                <a:gd name="connsiteX13" fmla="*/ 6933 w 29722"/>
                <a:gd name="connsiteY13" fmla="*/ 94870 h 100540"/>
                <a:gd name="connsiteX14" fmla="*/ 18835 w 29722"/>
                <a:gd name="connsiteY14" fmla="*/ 69042 h 100540"/>
                <a:gd name="connsiteX15" fmla="*/ 21045 w 29722"/>
                <a:gd name="connsiteY15" fmla="*/ 62386 h 100540"/>
                <a:gd name="connsiteX16" fmla="*/ 28234 w 29722"/>
                <a:gd name="connsiteY16" fmla="*/ 31766 h 100540"/>
                <a:gd name="connsiteX17" fmla="*/ 30711 w 29722"/>
                <a:gd name="connsiteY17" fmla="*/ 293 h 100540"/>
                <a:gd name="connsiteX18" fmla="*/ 30711 w 29722"/>
                <a:gd name="connsiteY18" fmla="*/ 293 h 100540"/>
                <a:gd name="connsiteX19" fmla="*/ 30711 w 29722"/>
                <a:gd name="connsiteY19" fmla="*/ 293 h 100540"/>
                <a:gd name="connsiteX20" fmla="*/ 28048 w 29722"/>
                <a:gd name="connsiteY20" fmla="*/ -346 h 100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722" h="100540">
                  <a:moveTo>
                    <a:pt x="27995" y="-239"/>
                  </a:moveTo>
                  <a:lnTo>
                    <a:pt x="27542" y="-239"/>
                  </a:lnTo>
                  <a:lnTo>
                    <a:pt x="27356" y="-239"/>
                  </a:lnTo>
                  <a:lnTo>
                    <a:pt x="27356" y="-239"/>
                  </a:lnTo>
                  <a:cubicBezTo>
                    <a:pt x="27430" y="10326"/>
                    <a:pt x="26629" y="20881"/>
                    <a:pt x="24959" y="31313"/>
                  </a:cubicBezTo>
                  <a:cubicBezTo>
                    <a:pt x="23330" y="41745"/>
                    <a:pt x="20899" y="52033"/>
                    <a:pt x="17691" y="62093"/>
                  </a:cubicBezTo>
                  <a:cubicBezTo>
                    <a:pt x="16918" y="64462"/>
                    <a:pt x="16120" y="66806"/>
                    <a:pt x="15294" y="69095"/>
                  </a:cubicBezTo>
                  <a:cubicBezTo>
                    <a:pt x="12104" y="78106"/>
                    <a:pt x="7991" y="86759"/>
                    <a:pt x="3020" y="94923"/>
                  </a:cubicBezTo>
                  <a:cubicBezTo>
                    <a:pt x="2434" y="95855"/>
                    <a:pt x="1875" y="96760"/>
                    <a:pt x="1289" y="97585"/>
                  </a:cubicBezTo>
                  <a:cubicBezTo>
                    <a:pt x="764" y="98331"/>
                    <a:pt x="945" y="99361"/>
                    <a:pt x="1691" y="99886"/>
                  </a:cubicBezTo>
                  <a:cubicBezTo>
                    <a:pt x="1699" y="99891"/>
                    <a:pt x="1707" y="99897"/>
                    <a:pt x="1715" y="99902"/>
                  </a:cubicBezTo>
                  <a:cubicBezTo>
                    <a:pt x="1992" y="100086"/>
                    <a:pt x="2314" y="100187"/>
                    <a:pt x="2647" y="100195"/>
                  </a:cubicBezTo>
                  <a:cubicBezTo>
                    <a:pt x="3203" y="100195"/>
                    <a:pt x="3725" y="99915"/>
                    <a:pt x="4031" y="99449"/>
                  </a:cubicBezTo>
                  <a:cubicBezTo>
                    <a:pt x="5016" y="98011"/>
                    <a:pt x="5975" y="96494"/>
                    <a:pt x="6933" y="94870"/>
                  </a:cubicBezTo>
                  <a:cubicBezTo>
                    <a:pt x="11718" y="86661"/>
                    <a:pt x="15704" y="78013"/>
                    <a:pt x="18835" y="69042"/>
                  </a:cubicBezTo>
                  <a:cubicBezTo>
                    <a:pt x="19608" y="66859"/>
                    <a:pt x="20327" y="64649"/>
                    <a:pt x="21045" y="62386"/>
                  </a:cubicBezTo>
                  <a:cubicBezTo>
                    <a:pt x="24211" y="52374"/>
                    <a:pt x="26616" y="42139"/>
                    <a:pt x="28234" y="31766"/>
                  </a:cubicBezTo>
                  <a:cubicBezTo>
                    <a:pt x="29904" y="21357"/>
                    <a:pt x="30732" y="10835"/>
                    <a:pt x="30711" y="293"/>
                  </a:cubicBezTo>
                  <a:lnTo>
                    <a:pt x="30711" y="293"/>
                  </a:lnTo>
                  <a:lnTo>
                    <a:pt x="30711" y="293"/>
                  </a:lnTo>
                  <a:cubicBezTo>
                    <a:pt x="29840" y="19"/>
                    <a:pt x="28948" y="-194"/>
                    <a:pt x="28048" y="-346"/>
                  </a:cubicBezTo>
                </a:path>
              </a:pathLst>
            </a:custGeom>
            <a:solidFill>
              <a:srgbClr val="8FD942"/>
            </a:solidFill>
            <a:ln w="2661" cap="flat">
              <a:noFill/>
              <a:prstDash val="solid"/>
              <a:miter/>
            </a:ln>
          </p:spPr>
          <p:txBody>
            <a:bodyPr rtlCol="0" anchor="ctr"/>
            <a:lstStyle/>
            <a:p>
              <a:endParaRPr lang="pl-PL"/>
            </a:p>
          </p:txBody>
        </p:sp>
        <p:sp>
          <p:nvSpPr>
            <p:cNvPr id="111" name="Freeform: Shape 110">
              <a:extLst>
                <a:ext uri="{FF2B5EF4-FFF2-40B4-BE49-F238E27FC236}">
                  <a16:creationId xmlns:a16="http://schemas.microsoft.com/office/drawing/2014/main" id="{F0DAB02F-EB89-4E26-A111-0024A6C67DFE}"/>
                </a:ext>
              </a:extLst>
            </p:cNvPr>
            <p:cNvSpPr/>
            <p:nvPr/>
          </p:nvSpPr>
          <p:spPr>
            <a:xfrm>
              <a:off x="11531661" y="6691648"/>
              <a:ext cx="16507" cy="68726"/>
            </a:xfrm>
            <a:custGeom>
              <a:avLst/>
              <a:gdLst>
                <a:gd name="connsiteX0" fmla="*/ 30239 w 29251"/>
                <a:gd name="connsiteY0" fmla="*/ 21351 h 121784"/>
                <a:gd name="connsiteX1" fmla="*/ 28934 w 29251"/>
                <a:gd name="connsiteY1" fmla="*/ -296 h 121784"/>
                <a:gd name="connsiteX2" fmla="*/ 25526 w 29251"/>
                <a:gd name="connsiteY2" fmla="*/ -296 h 121784"/>
                <a:gd name="connsiteX3" fmla="*/ 26911 w 29251"/>
                <a:gd name="connsiteY3" fmla="*/ 20313 h 121784"/>
                <a:gd name="connsiteX4" fmla="*/ 24514 w 29251"/>
                <a:gd name="connsiteY4" fmla="*/ 51412 h 121784"/>
                <a:gd name="connsiteX5" fmla="*/ 17911 w 29251"/>
                <a:gd name="connsiteY5" fmla="*/ 81074 h 121784"/>
                <a:gd name="connsiteX6" fmla="*/ 17192 w 29251"/>
                <a:gd name="connsiteY6" fmla="*/ 83417 h 121784"/>
                <a:gd name="connsiteX7" fmla="*/ 6861 w 29251"/>
                <a:gd name="connsiteY7" fmla="*/ 109244 h 121784"/>
                <a:gd name="connsiteX8" fmla="*/ 1270 w 29251"/>
                <a:gd name="connsiteY8" fmla="*/ 118830 h 121784"/>
                <a:gd name="connsiteX9" fmla="*/ 1722 w 29251"/>
                <a:gd name="connsiteY9" fmla="*/ 121146 h 121784"/>
                <a:gd name="connsiteX10" fmla="*/ 2654 w 29251"/>
                <a:gd name="connsiteY10" fmla="*/ 121439 h 121784"/>
                <a:gd name="connsiteX11" fmla="*/ 4039 w 29251"/>
                <a:gd name="connsiteY11" fmla="*/ 120694 h 121784"/>
                <a:gd name="connsiteX12" fmla="*/ 10642 w 29251"/>
                <a:gd name="connsiteY12" fmla="*/ 109244 h 121784"/>
                <a:gd name="connsiteX13" fmla="*/ 20813 w 29251"/>
                <a:gd name="connsiteY13" fmla="*/ 83417 h 121784"/>
                <a:gd name="connsiteX14" fmla="*/ 21239 w 29251"/>
                <a:gd name="connsiteY14" fmla="*/ 82032 h 121784"/>
                <a:gd name="connsiteX15" fmla="*/ 27869 w 29251"/>
                <a:gd name="connsiteY15" fmla="*/ 52557 h 121784"/>
                <a:gd name="connsiteX16" fmla="*/ 30239 w 29251"/>
                <a:gd name="connsiteY16" fmla="*/ 21511 h 121784"/>
                <a:gd name="connsiteX17" fmla="*/ 30239 w 29251"/>
                <a:gd name="connsiteY17" fmla="*/ 21511 h 121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251" h="121784">
                  <a:moveTo>
                    <a:pt x="30239" y="21351"/>
                  </a:moveTo>
                  <a:cubicBezTo>
                    <a:pt x="30207" y="14117"/>
                    <a:pt x="29770" y="6891"/>
                    <a:pt x="28934" y="-296"/>
                  </a:cubicBezTo>
                  <a:cubicBezTo>
                    <a:pt x="27800" y="-362"/>
                    <a:pt x="26660" y="-362"/>
                    <a:pt x="25526" y="-296"/>
                  </a:cubicBezTo>
                  <a:cubicBezTo>
                    <a:pt x="26448" y="6534"/>
                    <a:pt x="26911" y="13419"/>
                    <a:pt x="26911" y="20313"/>
                  </a:cubicBezTo>
                  <a:cubicBezTo>
                    <a:pt x="26898" y="30724"/>
                    <a:pt x="26096" y="41121"/>
                    <a:pt x="24514" y="51412"/>
                  </a:cubicBezTo>
                  <a:cubicBezTo>
                    <a:pt x="22991" y="61437"/>
                    <a:pt x="20784" y="71347"/>
                    <a:pt x="17911" y="81074"/>
                  </a:cubicBezTo>
                  <a:lnTo>
                    <a:pt x="17192" y="83417"/>
                  </a:lnTo>
                  <a:cubicBezTo>
                    <a:pt x="14487" y="92302"/>
                    <a:pt x="11031" y="100942"/>
                    <a:pt x="6861" y="109244"/>
                  </a:cubicBezTo>
                  <a:cubicBezTo>
                    <a:pt x="5189" y="112549"/>
                    <a:pt x="3323" y="115749"/>
                    <a:pt x="1270" y="118830"/>
                  </a:cubicBezTo>
                  <a:cubicBezTo>
                    <a:pt x="761" y="119596"/>
                    <a:pt x="961" y="120630"/>
                    <a:pt x="1722" y="121146"/>
                  </a:cubicBezTo>
                  <a:cubicBezTo>
                    <a:pt x="1999" y="121330"/>
                    <a:pt x="2321" y="121431"/>
                    <a:pt x="2654" y="121439"/>
                  </a:cubicBezTo>
                  <a:cubicBezTo>
                    <a:pt x="3211" y="121436"/>
                    <a:pt x="3730" y="121157"/>
                    <a:pt x="4039" y="120694"/>
                  </a:cubicBezTo>
                  <a:cubicBezTo>
                    <a:pt x="6483" y="117024"/>
                    <a:pt x="8691" y="113198"/>
                    <a:pt x="10642" y="109244"/>
                  </a:cubicBezTo>
                  <a:cubicBezTo>
                    <a:pt x="14729" y="100926"/>
                    <a:pt x="18129" y="92289"/>
                    <a:pt x="20813" y="83417"/>
                  </a:cubicBezTo>
                  <a:cubicBezTo>
                    <a:pt x="20813" y="82938"/>
                    <a:pt x="21080" y="82485"/>
                    <a:pt x="21239" y="82032"/>
                  </a:cubicBezTo>
                  <a:cubicBezTo>
                    <a:pt x="24123" y="72370"/>
                    <a:pt x="26338" y="62523"/>
                    <a:pt x="27869" y="52557"/>
                  </a:cubicBezTo>
                  <a:cubicBezTo>
                    <a:pt x="29483" y="42287"/>
                    <a:pt x="30276" y="31906"/>
                    <a:pt x="30239" y="21511"/>
                  </a:cubicBezTo>
                  <a:lnTo>
                    <a:pt x="30239" y="21511"/>
                  </a:lnTo>
                  <a:close/>
                </a:path>
              </a:pathLst>
            </a:custGeom>
            <a:solidFill>
              <a:srgbClr val="8FD942"/>
            </a:solidFill>
            <a:ln w="2661" cap="flat">
              <a:noFill/>
              <a:prstDash val="solid"/>
              <a:miter/>
            </a:ln>
          </p:spPr>
          <p:txBody>
            <a:bodyPr rtlCol="0" anchor="ctr"/>
            <a:lstStyle/>
            <a:p>
              <a:endParaRPr lang="pl-PL"/>
            </a:p>
          </p:txBody>
        </p:sp>
        <p:sp>
          <p:nvSpPr>
            <p:cNvPr id="112" name="Freeform: Shape 111">
              <a:extLst>
                <a:ext uri="{FF2B5EF4-FFF2-40B4-BE49-F238E27FC236}">
                  <a16:creationId xmlns:a16="http://schemas.microsoft.com/office/drawing/2014/main" id="{D3BB3AC9-A186-439C-89B6-81A3DC6ACF28}"/>
                </a:ext>
              </a:extLst>
            </p:cNvPr>
            <p:cNvSpPr/>
            <p:nvPr/>
          </p:nvSpPr>
          <p:spPr>
            <a:xfrm>
              <a:off x="11646242" y="6644465"/>
              <a:ext cx="64654" cy="65032"/>
            </a:xfrm>
            <a:custGeom>
              <a:avLst/>
              <a:gdLst>
                <a:gd name="connsiteX0" fmla="*/ 989 w 114568"/>
                <a:gd name="connsiteY0" fmla="*/ 56475 h 115237"/>
                <a:gd name="connsiteX1" fmla="*/ 60738 w 114568"/>
                <a:gd name="connsiteY1" fmla="*/ 114892 h 115237"/>
                <a:gd name="connsiteX2" fmla="*/ 112233 w 114568"/>
                <a:gd name="connsiteY2" fmla="*/ 83340 h 115237"/>
                <a:gd name="connsiteX3" fmla="*/ 105550 w 114568"/>
                <a:gd name="connsiteY3" fmla="*/ 75219 h 115237"/>
                <a:gd name="connsiteX4" fmla="*/ 87870 w 114568"/>
                <a:gd name="connsiteY4" fmla="*/ 75219 h 115237"/>
                <a:gd name="connsiteX5" fmla="*/ 79057 w 114568"/>
                <a:gd name="connsiteY5" fmla="*/ 80545 h 115237"/>
                <a:gd name="connsiteX6" fmla="*/ 59833 w 114568"/>
                <a:gd name="connsiteY6" fmla="*/ 87361 h 115237"/>
                <a:gd name="connsiteX7" fmla="*/ 37440 w 114568"/>
                <a:gd name="connsiteY7" fmla="*/ 72850 h 115237"/>
                <a:gd name="connsiteX8" fmla="*/ 35523 w 114568"/>
                <a:gd name="connsiteY8" fmla="*/ 66646 h 115237"/>
                <a:gd name="connsiteX9" fmla="*/ 109011 w 114568"/>
                <a:gd name="connsiteY9" fmla="*/ 66646 h 115237"/>
                <a:gd name="connsiteX10" fmla="*/ 115447 w 114568"/>
                <a:gd name="connsiteY10" fmla="*/ 61488 h 115237"/>
                <a:gd name="connsiteX11" fmla="*/ 115481 w 114568"/>
                <a:gd name="connsiteY11" fmla="*/ 60895 h 115237"/>
                <a:gd name="connsiteX12" fmla="*/ 60685 w 114568"/>
                <a:gd name="connsiteY12" fmla="*/ -346 h 115237"/>
                <a:gd name="connsiteX13" fmla="*/ 989 w 114568"/>
                <a:gd name="connsiteY13" fmla="*/ 56368 h 115237"/>
                <a:gd name="connsiteX14" fmla="*/ 59380 w 114568"/>
                <a:gd name="connsiteY14" fmla="*/ 26946 h 115237"/>
                <a:gd name="connsiteX15" fmla="*/ 81533 w 114568"/>
                <a:gd name="connsiteY15" fmla="*/ 46303 h 115237"/>
                <a:gd name="connsiteX16" fmla="*/ 42605 w 114568"/>
                <a:gd name="connsiteY16" fmla="*/ 46303 h 115237"/>
                <a:gd name="connsiteX17" fmla="*/ 35683 w 114568"/>
                <a:gd name="connsiteY17" fmla="*/ 46303 h 115237"/>
                <a:gd name="connsiteX18" fmla="*/ 59380 w 114568"/>
                <a:gd name="connsiteY18" fmla="*/ 26973 h 11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4568" h="115237">
                  <a:moveTo>
                    <a:pt x="989" y="56475"/>
                  </a:moveTo>
                  <a:cubicBezTo>
                    <a:pt x="989" y="91089"/>
                    <a:pt x="27322" y="114892"/>
                    <a:pt x="60738" y="114892"/>
                  </a:cubicBezTo>
                  <a:cubicBezTo>
                    <a:pt x="87364" y="114892"/>
                    <a:pt x="105789" y="101446"/>
                    <a:pt x="112233" y="83340"/>
                  </a:cubicBezTo>
                  <a:cubicBezTo>
                    <a:pt x="113963" y="78415"/>
                    <a:pt x="110742" y="75219"/>
                    <a:pt x="105550" y="75219"/>
                  </a:cubicBezTo>
                  <a:lnTo>
                    <a:pt x="87870" y="75219"/>
                  </a:lnTo>
                  <a:cubicBezTo>
                    <a:pt x="83796" y="75219"/>
                    <a:pt x="81639" y="77350"/>
                    <a:pt x="79057" y="80545"/>
                  </a:cubicBezTo>
                  <a:cubicBezTo>
                    <a:pt x="75808" y="84379"/>
                    <a:pt x="69098" y="87361"/>
                    <a:pt x="59833" y="87361"/>
                  </a:cubicBezTo>
                  <a:cubicBezTo>
                    <a:pt x="50034" y="87806"/>
                    <a:pt x="41037" y="81975"/>
                    <a:pt x="37440" y="72850"/>
                  </a:cubicBezTo>
                  <a:cubicBezTo>
                    <a:pt x="36641" y="70834"/>
                    <a:pt x="35999" y="68760"/>
                    <a:pt x="35523" y="66646"/>
                  </a:cubicBezTo>
                  <a:lnTo>
                    <a:pt x="109011" y="66646"/>
                  </a:lnTo>
                  <a:cubicBezTo>
                    <a:pt x="112212" y="67000"/>
                    <a:pt x="115092" y="64689"/>
                    <a:pt x="115447" y="61488"/>
                  </a:cubicBezTo>
                  <a:cubicBezTo>
                    <a:pt x="115468" y="61291"/>
                    <a:pt x="115479" y="61094"/>
                    <a:pt x="115481" y="60895"/>
                  </a:cubicBezTo>
                  <a:cubicBezTo>
                    <a:pt x="117185" y="22926"/>
                    <a:pt x="89787" y="-346"/>
                    <a:pt x="60685" y="-346"/>
                  </a:cubicBezTo>
                  <a:cubicBezTo>
                    <a:pt x="26070" y="-346"/>
                    <a:pt x="989" y="22233"/>
                    <a:pt x="989" y="56368"/>
                  </a:cubicBezTo>
                  <a:moveTo>
                    <a:pt x="59380" y="26946"/>
                  </a:moveTo>
                  <a:cubicBezTo>
                    <a:pt x="79616" y="26946"/>
                    <a:pt x="81533" y="46303"/>
                    <a:pt x="81533" y="46303"/>
                  </a:cubicBezTo>
                  <a:lnTo>
                    <a:pt x="42605" y="46303"/>
                  </a:lnTo>
                  <a:lnTo>
                    <a:pt x="35683" y="46303"/>
                  </a:lnTo>
                  <a:cubicBezTo>
                    <a:pt x="35683" y="46303"/>
                    <a:pt x="39171" y="26973"/>
                    <a:pt x="59380" y="26973"/>
                  </a:cubicBezTo>
                </a:path>
              </a:pathLst>
            </a:custGeom>
            <a:solidFill>
              <a:srgbClr val="FFFFFF"/>
            </a:solidFill>
            <a:ln w="2661" cap="flat">
              <a:noFill/>
              <a:prstDash val="solid"/>
              <a:miter/>
            </a:ln>
          </p:spPr>
          <p:txBody>
            <a:bodyPr rtlCol="0" anchor="ctr"/>
            <a:lstStyle/>
            <a:p>
              <a:endParaRPr lang="pl-PL"/>
            </a:p>
          </p:txBody>
        </p:sp>
        <p:sp>
          <p:nvSpPr>
            <p:cNvPr id="113" name="Freeform: Shape 112">
              <a:extLst>
                <a:ext uri="{FF2B5EF4-FFF2-40B4-BE49-F238E27FC236}">
                  <a16:creationId xmlns:a16="http://schemas.microsoft.com/office/drawing/2014/main" id="{227A27FB-5996-419C-AF0B-4141980F7EEF}"/>
                </a:ext>
              </a:extLst>
            </p:cNvPr>
            <p:cNvSpPr/>
            <p:nvPr/>
          </p:nvSpPr>
          <p:spPr>
            <a:xfrm>
              <a:off x="11719462" y="6644495"/>
              <a:ext cx="64897" cy="89810"/>
            </a:xfrm>
            <a:custGeom>
              <a:avLst/>
              <a:gdLst>
                <a:gd name="connsiteX0" fmla="*/ 115987 w 114998"/>
                <a:gd name="connsiteY0" fmla="*/ 57140 h 159144"/>
                <a:gd name="connsiteX1" fmla="*/ 58501 w 114998"/>
                <a:gd name="connsiteY1" fmla="*/ -346 h 159144"/>
                <a:gd name="connsiteX2" fmla="*/ 58475 w 114998"/>
                <a:gd name="connsiteY2" fmla="*/ -346 h 159144"/>
                <a:gd name="connsiteX3" fmla="*/ 29958 w 114998"/>
                <a:gd name="connsiteY3" fmla="*/ 7269 h 159144"/>
                <a:gd name="connsiteX4" fmla="*/ 23142 w 114998"/>
                <a:gd name="connsiteY4" fmla="*/ 1784 h 159144"/>
                <a:gd name="connsiteX5" fmla="*/ 8178 w 114998"/>
                <a:gd name="connsiteY5" fmla="*/ 1784 h 159144"/>
                <a:gd name="connsiteX6" fmla="*/ 989 w 114998"/>
                <a:gd name="connsiteY6" fmla="*/ 8947 h 159144"/>
                <a:gd name="connsiteX7" fmla="*/ 989 w 114998"/>
                <a:gd name="connsiteY7" fmla="*/ 57114 h 159144"/>
                <a:gd name="connsiteX8" fmla="*/ 989 w 114998"/>
                <a:gd name="connsiteY8" fmla="*/ 57114 h 159144"/>
                <a:gd name="connsiteX9" fmla="*/ 989 w 114998"/>
                <a:gd name="connsiteY9" fmla="*/ 151610 h 159144"/>
                <a:gd name="connsiteX10" fmla="*/ 8178 w 114998"/>
                <a:gd name="connsiteY10" fmla="*/ 158799 h 159144"/>
                <a:gd name="connsiteX11" fmla="*/ 23142 w 114998"/>
                <a:gd name="connsiteY11" fmla="*/ 158799 h 159144"/>
                <a:gd name="connsiteX12" fmla="*/ 30304 w 114998"/>
                <a:gd name="connsiteY12" fmla="*/ 151610 h 159144"/>
                <a:gd name="connsiteX13" fmla="*/ 30304 w 114998"/>
                <a:gd name="connsiteY13" fmla="*/ 107197 h 159144"/>
                <a:gd name="connsiteX14" fmla="*/ 58475 w 114998"/>
                <a:gd name="connsiteY14" fmla="*/ 114599 h 159144"/>
                <a:gd name="connsiteX15" fmla="*/ 115934 w 114998"/>
                <a:gd name="connsiteY15" fmla="*/ 57140 h 159144"/>
                <a:gd name="connsiteX16" fmla="*/ 86432 w 114998"/>
                <a:gd name="connsiteY16" fmla="*/ 57140 h 159144"/>
                <a:gd name="connsiteX17" fmla="*/ 58475 w 114998"/>
                <a:gd name="connsiteY17" fmla="*/ 85098 h 159144"/>
                <a:gd name="connsiteX18" fmla="*/ 30491 w 114998"/>
                <a:gd name="connsiteY18" fmla="*/ 57140 h 159144"/>
                <a:gd name="connsiteX19" fmla="*/ 58475 w 114998"/>
                <a:gd name="connsiteY19" fmla="*/ 29156 h 159144"/>
                <a:gd name="connsiteX20" fmla="*/ 86432 w 114998"/>
                <a:gd name="connsiteY20" fmla="*/ 57140 h 159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998" h="159144">
                  <a:moveTo>
                    <a:pt x="115987" y="57140"/>
                  </a:moveTo>
                  <a:cubicBezTo>
                    <a:pt x="115987" y="25391"/>
                    <a:pt x="90250" y="-346"/>
                    <a:pt x="58501" y="-346"/>
                  </a:cubicBezTo>
                  <a:cubicBezTo>
                    <a:pt x="58493" y="-346"/>
                    <a:pt x="58483" y="-346"/>
                    <a:pt x="58475" y="-346"/>
                  </a:cubicBezTo>
                  <a:cubicBezTo>
                    <a:pt x="48466" y="-346"/>
                    <a:pt x="38633" y="2280"/>
                    <a:pt x="29958" y="7269"/>
                  </a:cubicBezTo>
                  <a:cubicBezTo>
                    <a:pt x="29220" y="4088"/>
                    <a:pt x="26406" y="1824"/>
                    <a:pt x="23142" y="1784"/>
                  </a:cubicBezTo>
                  <a:lnTo>
                    <a:pt x="8178" y="1784"/>
                  </a:lnTo>
                  <a:cubicBezTo>
                    <a:pt x="4224" y="1798"/>
                    <a:pt x="1018" y="4993"/>
                    <a:pt x="989" y="8947"/>
                  </a:cubicBezTo>
                  <a:lnTo>
                    <a:pt x="989" y="57114"/>
                  </a:lnTo>
                  <a:lnTo>
                    <a:pt x="989" y="57114"/>
                  </a:lnTo>
                  <a:lnTo>
                    <a:pt x="989" y="151610"/>
                  </a:lnTo>
                  <a:cubicBezTo>
                    <a:pt x="1002" y="155574"/>
                    <a:pt x="4213" y="158786"/>
                    <a:pt x="8178" y="158799"/>
                  </a:cubicBezTo>
                  <a:lnTo>
                    <a:pt x="23142" y="158799"/>
                  </a:lnTo>
                  <a:cubicBezTo>
                    <a:pt x="27096" y="158770"/>
                    <a:pt x="30291" y="155564"/>
                    <a:pt x="30304" y="151610"/>
                  </a:cubicBezTo>
                  <a:lnTo>
                    <a:pt x="30304" y="107197"/>
                  </a:lnTo>
                  <a:cubicBezTo>
                    <a:pt x="38899" y="112051"/>
                    <a:pt x="48604" y="114602"/>
                    <a:pt x="58475" y="114599"/>
                  </a:cubicBezTo>
                  <a:cubicBezTo>
                    <a:pt x="90208" y="114599"/>
                    <a:pt x="115934" y="88873"/>
                    <a:pt x="115934" y="57140"/>
                  </a:cubicBezTo>
                  <a:moveTo>
                    <a:pt x="86432" y="57140"/>
                  </a:moveTo>
                  <a:cubicBezTo>
                    <a:pt x="86432" y="72581"/>
                    <a:pt x="73915" y="85098"/>
                    <a:pt x="58475" y="85098"/>
                  </a:cubicBezTo>
                  <a:cubicBezTo>
                    <a:pt x="43029" y="85098"/>
                    <a:pt x="30506" y="72586"/>
                    <a:pt x="30491" y="57140"/>
                  </a:cubicBezTo>
                  <a:cubicBezTo>
                    <a:pt x="30504" y="41692"/>
                    <a:pt x="43026" y="29172"/>
                    <a:pt x="58475" y="29156"/>
                  </a:cubicBezTo>
                  <a:cubicBezTo>
                    <a:pt x="73921" y="29172"/>
                    <a:pt x="86432" y="41694"/>
                    <a:pt x="86432" y="57140"/>
                  </a:cubicBezTo>
                </a:path>
              </a:pathLst>
            </a:custGeom>
            <a:solidFill>
              <a:srgbClr val="FFFFFF"/>
            </a:solidFill>
            <a:ln w="2661" cap="flat">
              <a:noFill/>
              <a:prstDash val="solid"/>
              <a:miter/>
            </a:ln>
          </p:spPr>
          <p:txBody>
            <a:bodyPr rtlCol="0" anchor="ctr"/>
            <a:lstStyle/>
            <a:p>
              <a:endParaRPr lang="pl-PL"/>
            </a:p>
          </p:txBody>
        </p:sp>
        <p:sp>
          <p:nvSpPr>
            <p:cNvPr id="114" name="Freeform: Shape 113">
              <a:extLst>
                <a:ext uri="{FF2B5EF4-FFF2-40B4-BE49-F238E27FC236}">
                  <a16:creationId xmlns:a16="http://schemas.microsoft.com/office/drawing/2014/main" id="{367936D1-9B32-48AB-9155-1B298DF481C2}"/>
                </a:ext>
              </a:extLst>
            </p:cNvPr>
            <p:cNvSpPr/>
            <p:nvPr/>
          </p:nvSpPr>
          <p:spPr>
            <a:xfrm>
              <a:off x="11792669" y="6644495"/>
              <a:ext cx="64867" cy="64867"/>
            </a:xfrm>
            <a:custGeom>
              <a:avLst/>
              <a:gdLst>
                <a:gd name="connsiteX0" fmla="*/ 115934 w 114945"/>
                <a:gd name="connsiteY0" fmla="*/ 64596 h 114945"/>
                <a:gd name="connsiteX1" fmla="*/ 115934 w 114945"/>
                <a:gd name="connsiteY1" fmla="*/ 49632 h 114945"/>
                <a:gd name="connsiteX2" fmla="*/ 108745 w 114945"/>
                <a:gd name="connsiteY2" fmla="*/ 42443 h 114945"/>
                <a:gd name="connsiteX3" fmla="*/ 73119 w 114945"/>
                <a:gd name="connsiteY3" fmla="*/ 42443 h 114945"/>
                <a:gd name="connsiteX4" fmla="*/ 73119 w 114945"/>
                <a:gd name="connsiteY4" fmla="*/ 6843 h 114945"/>
                <a:gd name="connsiteX5" fmla="*/ 65930 w 114945"/>
                <a:gd name="connsiteY5" fmla="*/ -346 h 114945"/>
                <a:gd name="connsiteX6" fmla="*/ 50993 w 114945"/>
                <a:gd name="connsiteY6" fmla="*/ -346 h 114945"/>
                <a:gd name="connsiteX7" fmla="*/ 43804 w 114945"/>
                <a:gd name="connsiteY7" fmla="*/ 6843 h 114945"/>
                <a:gd name="connsiteX8" fmla="*/ 43804 w 114945"/>
                <a:gd name="connsiteY8" fmla="*/ 42469 h 114945"/>
                <a:gd name="connsiteX9" fmla="*/ 8178 w 114945"/>
                <a:gd name="connsiteY9" fmla="*/ 42469 h 114945"/>
                <a:gd name="connsiteX10" fmla="*/ 989 w 114945"/>
                <a:gd name="connsiteY10" fmla="*/ 49658 h 114945"/>
                <a:gd name="connsiteX11" fmla="*/ 989 w 114945"/>
                <a:gd name="connsiteY11" fmla="*/ 64596 h 114945"/>
                <a:gd name="connsiteX12" fmla="*/ 8178 w 114945"/>
                <a:gd name="connsiteY12" fmla="*/ 71785 h 114945"/>
                <a:gd name="connsiteX13" fmla="*/ 43804 w 114945"/>
                <a:gd name="connsiteY13" fmla="*/ 71785 h 114945"/>
                <a:gd name="connsiteX14" fmla="*/ 43804 w 114945"/>
                <a:gd name="connsiteY14" fmla="*/ 107410 h 114945"/>
                <a:gd name="connsiteX15" fmla="*/ 50993 w 114945"/>
                <a:gd name="connsiteY15" fmla="*/ 114599 h 114945"/>
                <a:gd name="connsiteX16" fmla="*/ 65930 w 114945"/>
                <a:gd name="connsiteY16" fmla="*/ 114599 h 114945"/>
                <a:gd name="connsiteX17" fmla="*/ 73119 w 114945"/>
                <a:gd name="connsiteY17" fmla="*/ 107410 h 114945"/>
                <a:gd name="connsiteX18" fmla="*/ 73119 w 114945"/>
                <a:gd name="connsiteY18" fmla="*/ 71785 h 114945"/>
                <a:gd name="connsiteX19" fmla="*/ 108745 w 114945"/>
                <a:gd name="connsiteY19" fmla="*/ 71785 h 114945"/>
                <a:gd name="connsiteX20" fmla="*/ 115934 w 114945"/>
                <a:gd name="connsiteY20" fmla="*/ 64596 h 114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945" h="114945">
                  <a:moveTo>
                    <a:pt x="115934" y="64596"/>
                  </a:moveTo>
                  <a:lnTo>
                    <a:pt x="115934" y="49632"/>
                  </a:lnTo>
                  <a:cubicBezTo>
                    <a:pt x="115918" y="45667"/>
                    <a:pt x="112709" y="42456"/>
                    <a:pt x="108745" y="42443"/>
                  </a:cubicBezTo>
                  <a:lnTo>
                    <a:pt x="73119" y="42443"/>
                  </a:lnTo>
                  <a:lnTo>
                    <a:pt x="73119" y="6843"/>
                  </a:lnTo>
                  <a:cubicBezTo>
                    <a:pt x="73103" y="2879"/>
                    <a:pt x="69894" y="-332"/>
                    <a:pt x="65930" y="-346"/>
                  </a:cubicBezTo>
                  <a:lnTo>
                    <a:pt x="50993" y="-346"/>
                  </a:lnTo>
                  <a:cubicBezTo>
                    <a:pt x="47028" y="-330"/>
                    <a:pt x="43817" y="2879"/>
                    <a:pt x="43804" y="6843"/>
                  </a:cubicBezTo>
                  <a:lnTo>
                    <a:pt x="43804" y="42469"/>
                  </a:lnTo>
                  <a:lnTo>
                    <a:pt x="8178" y="42469"/>
                  </a:lnTo>
                  <a:cubicBezTo>
                    <a:pt x="4213" y="42483"/>
                    <a:pt x="1002" y="45694"/>
                    <a:pt x="989" y="49658"/>
                  </a:cubicBezTo>
                  <a:lnTo>
                    <a:pt x="989" y="64596"/>
                  </a:lnTo>
                  <a:cubicBezTo>
                    <a:pt x="1002" y="68560"/>
                    <a:pt x="4213" y="71771"/>
                    <a:pt x="8178" y="71785"/>
                  </a:cubicBezTo>
                  <a:lnTo>
                    <a:pt x="43804" y="71785"/>
                  </a:lnTo>
                  <a:lnTo>
                    <a:pt x="43804" y="107410"/>
                  </a:lnTo>
                  <a:cubicBezTo>
                    <a:pt x="43820" y="111375"/>
                    <a:pt x="47028" y="114586"/>
                    <a:pt x="50993" y="114599"/>
                  </a:cubicBezTo>
                  <a:lnTo>
                    <a:pt x="65930" y="114599"/>
                  </a:lnTo>
                  <a:cubicBezTo>
                    <a:pt x="69900" y="114599"/>
                    <a:pt x="73119" y="111380"/>
                    <a:pt x="73119" y="107410"/>
                  </a:cubicBezTo>
                  <a:lnTo>
                    <a:pt x="73119" y="71785"/>
                  </a:lnTo>
                  <a:lnTo>
                    <a:pt x="108745" y="71785"/>
                  </a:lnTo>
                  <a:cubicBezTo>
                    <a:pt x="112709" y="71771"/>
                    <a:pt x="115918" y="68560"/>
                    <a:pt x="115934" y="64596"/>
                  </a:cubicBezTo>
                </a:path>
              </a:pathLst>
            </a:custGeom>
            <a:solidFill>
              <a:srgbClr val="8FDB42"/>
            </a:solidFill>
            <a:ln w="2661" cap="flat">
              <a:noFill/>
              <a:prstDash val="solid"/>
              <a:miter/>
            </a:ln>
          </p:spPr>
          <p:txBody>
            <a:bodyPr rtlCol="0" anchor="ctr"/>
            <a:lstStyle/>
            <a:p>
              <a:endParaRPr lang="pl-PL"/>
            </a:p>
          </p:txBody>
        </p:sp>
        <p:sp>
          <p:nvSpPr>
            <p:cNvPr id="115" name="Freeform: Shape 114">
              <a:extLst>
                <a:ext uri="{FF2B5EF4-FFF2-40B4-BE49-F238E27FC236}">
                  <a16:creationId xmlns:a16="http://schemas.microsoft.com/office/drawing/2014/main" id="{86979269-9187-49C9-A67D-3AC7FAFF2FA1}"/>
                </a:ext>
              </a:extLst>
            </p:cNvPr>
            <p:cNvSpPr/>
            <p:nvPr/>
          </p:nvSpPr>
          <p:spPr>
            <a:xfrm>
              <a:off x="11574954" y="6644781"/>
              <a:ext cx="64867" cy="89524"/>
            </a:xfrm>
            <a:custGeom>
              <a:avLst/>
              <a:gdLst>
                <a:gd name="connsiteX0" fmla="*/ 115934 w 114945"/>
                <a:gd name="connsiteY0" fmla="*/ 57114 h 158638"/>
                <a:gd name="connsiteX1" fmla="*/ 58475 w 114945"/>
                <a:gd name="connsiteY1" fmla="*/ -346 h 158638"/>
                <a:gd name="connsiteX2" fmla="*/ 29905 w 114945"/>
                <a:gd name="connsiteY2" fmla="*/ 7296 h 158638"/>
                <a:gd name="connsiteX3" fmla="*/ 23115 w 114945"/>
                <a:gd name="connsiteY3" fmla="*/ 2131 h 158638"/>
                <a:gd name="connsiteX4" fmla="*/ 8178 w 114945"/>
                <a:gd name="connsiteY4" fmla="*/ 2131 h 158638"/>
                <a:gd name="connsiteX5" fmla="*/ 989 w 114945"/>
                <a:gd name="connsiteY5" fmla="*/ 9320 h 158638"/>
                <a:gd name="connsiteX6" fmla="*/ 989 w 114945"/>
                <a:gd name="connsiteY6" fmla="*/ 57114 h 158638"/>
                <a:gd name="connsiteX7" fmla="*/ 989 w 114945"/>
                <a:gd name="connsiteY7" fmla="*/ 57114 h 158638"/>
                <a:gd name="connsiteX8" fmla="*/ 989 w 114945"/>
                <a:gd name="connsiteY8" fmla="*/ 151104 h 158638"/>
                <a:gd name="connsiteX9" fmla="*/ 8178 w 114945"/>
                <a:gd name="connsiteY9" fmla="*/ 158293 h 158638"/>
                <a:gd name="connsiteX10" fmla="*/ 23115 w 114945"/>
                <a:gd name="connsiteY10" fmla="*/ 158293 h 158638"/>
                <a:gd name="connsiteX11" fmla="*/ 30304 w 114945"/>
                <a:gd name="connsiteY11" fmla="*/ 151104 h 158638"/>
                <a:gd name="connsiteX12" fmla="*/ 30304 w 114945"/>
                <a:gd name="connsiteY12" fmla="*/ 107171 h 158638"/>
                <a:gd name="connsiteX13" fmla="*/ 58475 w 114945"/>
                <a:gd name="connsiteY13" fmla="*/ 114573 h 158638"/>
                <a:gd name="connsiteX14" fmla="*/ 115934 w 114945"/>
                <a:gd name="connsiteY14" fmla="*/ 57114 h 158638"/>
                <a:gd name="connsiteX15" fmla="*/ 86432 w 114945"/>
                <a:gd name="connsiteY15" fmla="*/ 57114 h 158638"/>
                <a:gd name="connsiteX16" fmla="*/ 58475 w 114945"/>
                <a:gd name="connsiteY16" fmla="*/ 85098 h 158638"/>
                <a:gd name="connsiteX17" fmla="*/ 30491 w 114945"/>
                <a:gd name="connsiteY17" fmla="*/ 57114 h 158638"/>
                <a:gd name="connsiteX18" fmla="*/ 58475 w 114945"/>
                <a:gd name="connsiteY18" fmla="*/ 29156 h 158638"/>
                <a:gd name="connsiteX19" fmla="*/ 86432 w 114945"/>
                <a:gd name="connsiteY19" fmla="*/ 57114 h 158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4945" h="158638">
                  <a:moveTo>
                    <a:pt x="115934" y="57114"/>
                  </a:moveTo>
                  <a:cubicBezTo>
                    <a:pt x="115934" y="25381"/>
                    <a:pt x="90208" y="-346"/>
                    <a:pt x="58475" y="-346"/>
                  </a:cubicBezTo>
                  <a:cubicBezTo>
                    <a:pt x="48447" y="-340"/>
                    <a:pt x="38596" y="2293"/>
                    <a:pt x="29905" y="7296"/>
                  </a:cubicBezTo>
                  <a:cubicBezTo>
                    <a:pt x="29034" y="4261"/>
                    <a:pt x="26273" y="2160"/>
                    <a:pt x="23115" y="2131"/>
                  </a:cubicBezTo>
                  <a:lnTo>
                    <a:pt x="8178" y="2131"/>
                  </a:lnTo>
                  <a:cubicBezTo>
                    <a:pt x="4213" y="2144"/>
                    <a:pt x="1002" y="5355"/>
                    <a:pt x="989" y="9320"/>
                  </a:cubicBezTo>
                  <a:lnTo>
                    <a:pt x="989" y="57114"/>
                  </a:lnTo>
                  <a:lnTo>
                    <a:pt x="989" y="57114"/>
                  </a:lnTo>
                  <a:lnTo>
                    <a:pt x="989" y="151104"/>
                  </a:lnTo>
                  <a:cubicBezTo>
                    <a:pt x="1002" y="155069"/>
                    <a:pt x="4213" y="158280"/>
                    <a:pt x="8178" y="158293"/>
                  </a:cubicBezTo>
                  <a:lnTo>
                    <a:pt x="23115" y="158293"/>
                  </a:lnTo>
                  <a:cubicBezTo>
                    <a:pt x="27080" y="158280"/>
                    <a:pt x="30291" y="155069"/>
                    <a:pt x="30304" y="151104"/>
                  </a:cubicBezTo>
                  <a:lnTo>
                    <a:pt x="30304" y="107171"/>
                  </a:lnTo>
                  <a:cubicBezTo>
                    <a:pt x="38899" y="112025"/>
                    <a:pt x="48604" y="114575"/>
                    <a:pt x="58475" y="114573"/>
                  </a:cubicBezTo>
                  <a:cubicBezTo>
                    <a:pt x="90202" y="114557"/>
                    <a:pt x="115918" y="88841"/>
                    <a:pt x="115934" y="57114"/>
                  </a:cubicBezTo>
                  <a:moveTo>
                    <a:pt x="86432" y="57114"/>
                  </a:moveTo>
                  <a:cubicBezTo>
                    <a:pt x="86432" y="72559"/>
                    <a:pt x="73920" y="85082"/>
                    <a:pt x="58475" y="85098"/>
                  </a:cubicBezTo>
                  <a:cubicBezTo>
                    <a:pt x="43026" y="85082"/>
                    <a:pt x="30506" y="72562"/>
                    <a:pt x="30491" y="57114"/>
                  </a:cubicBezTo>
                  <a:cubicBezTo>
                    <a:pt x="30506" y="41668"/>
                    <a:pt x="43029" y="29156"/>
                    <a:pt x="58475" y="29156"/>
                  </a:cubicBezTo>
                  <a:cubicBezTo>
                    <a:pt x="73915" y="29156"/>
                    <a:pt x="86432" y="41673"/>
                    <a:pt x="86432" y="57114"/>
                  </a:cubicBezTo>
                </a:path>
              </a:pathLst>
            </a:custGeom>
            <a:solidFill>
              <a:srgbClr val="FFFFFF"/>
            </a:solidFill>
            <a:ln w="2661" cap="flat">
              <a:noFill/>
              <a:prstDash val="solid"/>
              <a:miter/>
            </a:ln>
          </p:spPr>
          <p:txBody>
            <a:bodyPr rtlCol="0" anchor="ctr"/>
            <a:lstStyle/>
            <a:p>
              <a:endParaRPr lang="pl-PL"/>
            </a:p>
          </p:txBody>
        </p:sp>
        <p:sp>
          <p:nvSpPr>
            <p:cNvPr id="116" name="Freeform: Shape 115">
              <a:extLst>
                <a:ext uri="{FF2B5EF4-FFF2-40B4-BE49-F238E27FC236}">
                  <a16:creationId xmlns:a16="http://schemas.microsoft.com/office/drawing/2014/main" id="{4CD421FB-D8D6-4B66-8CC4-D8648D1C7DF0}"/>
                </a:ext>
              </a:extLst>
            </p:cNvPr>
            <p:cNvSpPr/>
            <p:nvPr/>
          </p:nvSpPr>
          <p:spPr>
            <a:xfrm>
              <a:off x="11574969" y="6750860"/>
              <a:ext cx="19691" cy="26558"/>
            </a:xfrm>
            <a:custGeom>
              <a:avLst/>
              <a:gdLst>
                <a:gd name="connsiteX0" fmla="*/ 1103 w 34893"/>
                <a:gd name="connsiteY0" fmla="*/ 44632 h 47062"/>
                <a:gd name="connsiteX1" fmla="*/ 1103 w 34893"/>
                <a:gd name="connsiteY1" fmla="*/ 2270 h 47062"/>
                <a:gd name="connsiteX2" fmla="*/ 2765 w 34893"/>
                <a:gd name="connsiteY2" fmla="*/ 273 h 47062"/>
                <a:gd name="connsiteX3" fmla="*/ 3100 w 34893"/>
                <a:gd name="connsiteY3" fmla="*/ 273 h 47062"/>
                <a:gd name="connsiteX4" fmla="*/ 5124 w 34893"/>
                <a:gd name="connsiteY4" fmla="*/ 273 h 47062"/>
                <a:gd name="connsiteX5" fmla="*/ 7387 w 34893"/>
                <a:gd name="connsiteY5" fmla="*/ 1897 h 47062"/>
                <a:gd name="connsiteX6" fmla="*/ 9704 w 34893"/>
                <a:gd name="connsiteY6" fmla="*/ 2589 h 47062"/>
                <a:gd name="connsiteX7" fmla="*/ 19316 w 34893"/>
                <a:gd name="connsiteY7" fmla="*/ -339 h 47062"/>
                <a:gd name="connsiteX8" fmla="*/ 35880 w 34893"/>
                <a:gd name="connsiteY8" fmla="*/ 16060 h 47062"/>
                <a:gd name="connsiteX9" fmla="*/ 35877 w 34893"/>
                <a:gd name="connsiteY9" fmla="*/ 16462 h 47062"/>
                <a:gd name="connsiteX10" fmla="*/ 19667 w 34893"/>
                <a:gd name="connsiteY10" fmla="*/ 33524 h 47062"/>
                <a:gd name="connsiteX11" fmla="*/ 19182 w 34893"/>
                <a:gd name="connsiteY11" fmla="*/ 33529 h 47062"/>
                <a:gd name="connsiteX12" fmla="*/ 11195 w 34893"/>
                <a:gd name="connsiteY12" fmla="*/ 31585 h 47062"/>
                <a:gd name="connsiteX13" fmla="*/ 9118 w 34893"/>
                <a:gd name="connsiteY13" fmla="*/ 32597 h 47062"/>
                <a:gd name="connsiteX14" fmla="*/ 9118 w 34893"/>
                <a:gd name="connsiteY14" fmla="*/ 44712 h 47062"/>
                <a:gd name="connsiteX15" fmla="*/ 7456 w 34893"/>
                <a:gd name="connsiteY15" fmla="*/ 46709 h 47062"/>
                <a:gd name="connsiteX16" fmla="*/ 7121 w 34893"/>
                <a:gd name="connsiteY16" fmla="*/ 46709 h 47062"/>
                <a:gd name="connsiteX17" fmla="*/ 2994 w 34893"/>
                <a:gd name="connsiteY17" fmla="*/ 46709 h 47062"/>
                <a:gd name="connsiteX18" fmla="*/ 997 w 34893"/>
                <a:gd name="connsiteY18" fmla="*/ 45048 h 47062"/>
                <a:gd name="connsiteX19" fmla="*/ 997 w 34893"/>
                <a:gd name="connsiteY19" fmla="*/ 44712 h 47062"/>
                <a:gd name="connsiteX20" fmla="*/ 10236 w 34893"/>
                <a:gd name="connsiteY20" fmla="*/ 22106 h 47062"/>
                <a:gd name="connsiteX21" fmla="*/ 18224 w 34893"/>
                <a:gd name="connsiteY21" fmla="*/ 26127 h 47062"/>
                <a:gd name="connsiteX22" fmla="*/ 26968 w 34893"/>
                <a:gd name="connsiteY22" fmla="*/ 16571 h 47062"/>
                <a:gd name="connsiteX23" fmla="*/ 26957 w 34893"/>
                <a:gd name="connsiteY23" fmla="*/ 16382 h 47062"/>
                <a:gd name="connsiteX24" fmla="*/ 18250 w 34893"/>
                <a:gd name="connsiteY24" fmla="*/ 6983 h 47062"/>
                <a:gd name="connsiteX25" fmla="*/ 10263 w 34893"/>
                <a:gd name="connsiteY25" fmla="*/ 10977 h 47062"/>
                <a:gd name="connsiteX26" fmla="*/ 9677 w 34893"/>
                <a:gd name="connsiteY26" fmla="*/ 13133 h 47062"/>
                <a:gd name="connsiteX27" fmla="*/ 9677 w 34893"/>
                <a:gd name="connsiteY27" fmla="*/ 19896 h 47062"/>
                <a:gd name="connsiteX28" fmla="*/ 10263 w 34893"/>
                <a:gd name="connsiteY28" fmla="*/ 22027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893" h="47062">
                  <a:moveTo>
                    <a:pt x="1103" y="44632"/>
                  </a:moveTo>
                  <a:lnTo>
                    <a:pt x="1103" y="2270"/>
                  </a:lnTo>
                  <a:cubicBezTo>
                    <a:pt x="1010" y="1261"/>
                    <a:pt x="1756" y="366"/>
                    <a:pt x="2765" y="273"/>
                  </a:cubicBezTo>
                  <a:cubicBezTo>
                    <a:pt x="2877" y="262"/>
                    <a:pt x="2988" y="262"/>
                    <a:pt x="3100" y="273"/>
                  </a:cubicBezTo>
                  <a:lnTo>
                    <a:pt x="5124" y="273"/>
                  </a:lnTo>
                  <a:cubicBezTo>
                    <a:pt x="6170" y="201"/>
                    <a:pt x="7121" y="883"/>
                    <a:pt x="7387" y="1897"/>
                  </a:cubicBezTo>
                  <a:cubicBezTo>
                    <a:pt x="7707" y="3228"/>
                    <a:pt x="8638" y="3415"/>
                    <a:pt x="9704" y="2589"/>
                  </a:cubicBezTo>
                  <a:cubicBezTo>
                    <a:pt x="12502" y="592"/>
                    <a:pt x="15878" y="-435"/>
                    <a:pt x="19316" y="-339"/>
                  </a:cubicBezTo>
                  <a:cubicBezTo>
                    <a:pt x="28419" y="-385"/>
                    <a:pt x="35834" y="6956"/>
                    <a:pt x="35880" y="16060"/>
                  </a:cubicBezTo>
                  <a:cubicBezTo>
                    <a:pt x="35880" y="16193"/>
                    <a:pt x="35880" y="16329"/>
                    <a:pt x="35877" y="16462"/>
                  </a:cubicBezTo>
                  <a:cubicBezTo>
                    <a:pt x="36111" y="25650"/>
                    <a:pt x="28856" y="33289"/>
                    <a:pt x="19667" y="33524"/>
                  </a:cubicBezTo>
                  <a:cubicBezTo>
                    <a:pt x="19505" y="33529"/>
                    <a:pt x="19345" y="33529"/>
                    <a:pt x="19182" y="33529"/>
                  </a:cubicBezTo>
                  <a:cubicBezTo>
                    <a:pt x="16397" y="33582"/>
                    <a:pt x="13644" y="32914"/>
                    <a:pt x="11195" y="31585"/>
                  </a:cubicBezTo>
                  <a:cubicBezTo>
                    <a:pt x="9943" y="30840"/>
                    <a:pt x="9118" y="31213"/>
                    <a:pt x="9118" y="32597"/>
                  </a:cubicBezTo>
                  <a:lnTo>
                    <a:pt x="9118" y="44712"/>
                  </a:lnTo>
                  <a:cubicBezTo>
                    <a:pt x="9211" y="45721"/>
                    <a:pt x="8465" y="46616"/>
                    <a:pt x="7456" y="46709"/>
                  </a:cubicBezTo>
                  <a:cubicBezTo>
                    <a:pt x="7344" y="46720"/>
                    <a:pt x="7233" y="46720"/>
                    <a:pt x="7121" y="46709"/>
                  </a:cubicBezTo>
                  <a:lnTo>
                    <a:pt x="2994" y="46709"/>
                  </a:lnTo>
                  <a:cubicBezTo>
                    <a:pt x="1982" y="46802"/>
                    <a:pt x="1090" y="46057"/>
                    <a:pt x="997" y="45048"/>
                  </a:cubicBezTo>
                  <a:cubicBezTo>
                    <a:pt x="986" y="44936"/>
                    <a:pt x="986" y="44824"/>
                    <a:pt x="997" y="44712"/>
                  </a:cubicBezTo>
                  <a:moveTo>
                    <a:pt x="10236" y="22106"/>
                  </a:moveTo>
                  <a:cubicBezTo>
                    <a:pt x="12039" y="24721"/>
                    <a:pt x="15050" y="26236"/>
                    <a:pt x="18224" y="26127"/>
                  </a:cubicBezTo>
                  <a:cubicBezTo>
                    <a:pt x="23277" y="25903"/>
                    <a:pt x="27192" y="21625"/>
                    <a:pt x="26968" y="16571"/>
                  </a:cubicBezTo>
                  <a:cubicBezTo>
                    <a:pt x="26965" y="16507"/>
                    <a:pt x="26963" y="16446"/>
                    <a:pt x="26957" y="16382"/>
                  </a:cubicBezTo>
                  <a:cubicBezTo>
                    <a:pt x="27122" y="11392"/>
                    <a:pt x="23238" y="7198"/>
                    <a:pt x="18250" y="6983"/>
                  </a:cubicBezTo>
                  <a:cubicBezTo>
                    <a:pt x="15085" y="6884"/>
                    <a:pt x="12081" y="8386"/>
                    <a:pt x="10263" y="10977"/>
                  </a:cubicBezTo>
                  <a:cubicBezTo>
                    <a:pt x="9837" y="11613"/>
                    <a:pt x="9632" y="12369"/>
                    <a:pt x="9677" y="13133"/>
                  </a:cubicBezTo>
                  <a:lnTo>
                    <a:pt x="9677" y="19896"/>
                  </a:lnTo>
                  <a:cubicBezTo>
                    <a:pt x="9650" y="20650"/>
                    <a:pt x="9855" y="21393"/>
                    <a:pt x="10263" y="22027"/>
                  </a:cubicBezTo>
                </a:path>
              </a:pathLst>
            </a:custGeom>
            <a:solidFill>
              <a:srgbClr val="FFFFFF"/>
            </a:solidFill>
            <a:ln w="2661" cap="flat">
              <a:noFill/>
              <a:prstDash val="solid"/>
              <a:miter/>
            </a:ln>
          </p:spPr>
          <p:txBody>
            <a:bodyPr rtlCol="0" anchor="ctr"/>
            <a:lstStyle/>
            <a:p>
              <a:endParaRPr lang="pl-PL"/>
            </a:p>
          </p:txBody>
        </p:sp>
        <p:sp>
          <p:nvSpPr>
            <p:cNvPr id="117" name="Freeform: Shape 116">
              <a:extLst>
                <a:ext uri="{FF2B5EF4-FFF2-40B4-BE49-F238E27FC236}">
                  <a16:creationId xmlns:a16="http://schemas.microsoft.com/office/drawing/2014/main" id="{CEB77767-F0C8-420B-9966-D031E612F309}"/>
                </a:ext>
              </a:extLst>
            </p:cNvPr>
            <p:cNvSpPr/>
            <p:nvPr/>
          </p:nvSpPr>
          <p:spPr>
            <a:xfrm>
              <a:off x="11597252" y="6750822"/>
              <a:ext cx="18514" cy="19157"/>
            </a:xfrm>
            <a:custGeom>
              <a:avLst/>
              <a:gdLst>
                <a:gd name="connsiteX0" fmla="*/ 18038 w 32808"/>
                <a:gd name="connsiteY0" fmla="*/ -324 h 33946"/>
                <a:gd name="connsiteX1" fmla="*/ 33795 w 32808"/>
                <a:gd name="connsiteY1" fmla="*/ 15867 h 33946"/>
                <a:gd name="connsiteX2" fmla="*/ 33721 w 32808"/>
                <a:gd name="connsiteY2" fmla="*/ 17196 h 33946"/>
                <a:gd name="connsiteX3" fmla="*/ 31915 w 32808"/>
                <a:gd name="connsiteY3" fmla="*/ 19012 h 33946"/>
                <a:gd name="connsiteX4" fmla="*/ 31777 w 32808"/>
                <a:gd name="connsiteY4" fmla="*/ 19006 h 33946"/>
                <a:gd name="connsiteX5" fmla="*/ 11568 w 32808"/>
                <a:gd name="connsiteY5" fmla="*/ 19006 h 33946"/>
                <a:gd name="connsiteX6" fmla="*/ 10130 w 32808"/>
                <a:gd name="connsiteY6" fmla="*/ 20950 h 33946"/>
                <a:gd name="connsiteX7" fmla="*/ 18118 w 32808"/>
                <a:gd name="connsiteY7" fmla="*/ 26488 h 33946"/>
                <a:gd name="connsiteX8" fmla="*/ 24455 w 32808"/>
                <a:gd name="connsiteY8" fmla="*/ 23613 h 33946"/>
                <a:gd name="connsiteX9" fmla="*/ 26771 w 32808"/>
                <a:gd name="connsiteY9" fmla="*/ 22148 h 33946"/>
                <a:gd name="connsiteX10" fmla="*/ 31058 w 32808"/>
                <a:gd name="connsiteY10" fmla="*/ 22148 h 33946"/>
                <a:gd name="connsiteX11" fmla="*/ 32815 w 32808"/>
                <a:gd name="connsiteY11" fmla="*/ 24358 h 33946"/>
                <a:gd name="connsiteX12" fmla="*/ 18118 w 32808"/>
                <a:gd name="connsiteY12" fmla="*/ 33571 h 33946"/>
                <a:gd name="connsiteX13" fmla="*/ 994 w 32808"/>
                <a:gd name="connsiteY13" fmla="*/ 17371 h 33946"/>
                <a:gd name="connsiteX14" fmla="*/ 997 w 32808"/>
                <a:gd name="connsiteY14" fmla="*/ 16370 h 33946"/>
                <a:gd name="connsiteX15" fmla="*/ 16866 w 32808"/>
                <a:gd name="connsiteY15" fmla="*/ -340 h 33946"/>
                <a:gd name="connsiteX16" fmla="*/ 18118 w 32808"/>
                <a:gd name="connsiteY16" fmla="*/ -324 h 33946"/>
                <a:gd name="connsiteX17" fmla="*/ 12020 w 32808"/>
                <a:gd name="connsiteY17" fmla="*/ 13362 h 33946"/>
                <a:gd name="connsiteX18" fmla="*/ 23257 w 32808"/>
                <a:gd name="connsiteY18" fmla="*/ 13362 h 33946"/>
                <a:gd name="connsiteX19" fmla="*/ 24774 w 32808"/>
                <a:gd name="connsiteY19" fmla="*/ 11365 h 33946"/>
                <a:gd name="connsiteX20" fmla="*/ 17985 w 32808"/>
                <a:gd name="connsiteY20" fmla="*/ 6705 h 33946"/>
                <a:gd name="connsiteX21" fmla="*/ 10582 w 32808"/>
                <a:gd name="connsiteY21" fmla="*/ 11285 h 33946"/>
                <a:gd name="connsiteX22" fmla="*/ 12020 w 32808"/>
                <a:gd name="connsiteY22" fmla="*/ 13362 h 3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808" h="33946">
                  <a:moveTo>
                    <a:pt x="18038" y="-324"/>
                  </a:moveTo>
                  <a:cubicBezTo>
                    <a:pt x="26859" y="-204"/>
                    <a:pt x="33915" y="7046"/>
                    <a:pt x="33795" y="15867"/>
                  </a:cubicBezTo>
                  <a:cubicBezTo>
                    <a:pt x="33787" y="16312"/>
                    <a:pt x="33763" y="16754"/>
                    <a:pt x="33721" y="17196"/>
                  </a:cubicBezTo>
                  <a:cubicBezTo>
                    <a:pt x="33723" y="18197"/>
                    <a:pt x="32914" y="19009"/>
                    <a:pt x="31915" y="19012"/>
                  </a:cubicBezTo>
                  <a:cubicBezTo>
                    <a:pt x="31870" y="19012"/>
                    <a:pt x="31822" y="19009"/>
                    <a:pt x="31777" y="19006"/>
                  </a:cubicBezTo>
                  <a:lnTo>
                    <a:pt x="11568" y="19006"/>
                  </a:lnTo>
                  <a:cubicBezTo>
                    <a:pt x="10396" y="19006"/>
                    <a:pt x="9624" y="19778"/>
                    <a:pt x="10130" y="20950"/>
                  </a:cubicBezTo>
                  <a:cubicBezTo>
                    <a:pt x="11272" y="24361"/>
                    <a:pt x="14523" y="26616"/>
                    <a:pt x="18118" y="26488"/>
                  </a:cubicBezTo>
                  <a:cubicBezTo>
                    <a:pt x="20589" y="26709"/>
                    <a:pt x="22996" y="25618"/>
                    <a:pt x="24455" y="23613"/>
                  </a:cubicBezTo>
                  <a:cubicBezTo>
                    <a:pt x="24897" y="22734"/>
                    <a:pt x="25789" y="22172"/>
                    <a:pt x="26771" y="22148"/>
                  </a:cubicBezTo>
                  <a:lnTo>
                    <a:pt x="31058" y="22148"/>
                  </a:lnTo>
                  <a:cubicBezTo>
                    <a:pt x="32443" y="22148"/>
                    <a:pt x="33295" y="23027"/>
                    <a:pt x="32815" y="24358"/>
                  </a:cubicBezTo>
                  <a:cubicBezTo>
                    <a:pt x="30403" y="30267"/>
                    <a:pt x="24487" y="33975"/>
                    <a:pt x="18118" y="33571"/>
                  </a:cubicBezTo>
                  <a:cubicBezTo>
                    <a:pt x="8916" y="33826"/>
                    <a:pt x="1250" y="26573"/>
                    <a:pt x="994" y="17371"/>
                  </a:cubicBezTo>
                  <a:cubicBezTo>
                    <a:pt x="986" y="17036"/>
                    <a:pt x="986" y="16703"/>
                    <a:pt x="997" y="16370"/>
                  </a:cubicBezTo>
                  <a:cubicBezTo>
                    <a:pt x="765" y="7373"/>
                    <a:pt x="7869" y="-109"/>
                    <a:pt x="16866" y="-340"/>
                  </a:cubicBezTo>
                  <a:cubicBezTo>
                    <a:pt x="17284" y="-351"/>
                    <a:pt x="17702" y="-346"/>
                    <a:pt x="18118" y="-324"/>
                  </a:cubicBezTo>
                  <a:moveTo>
                    <a:pt x="12020" y="13362"/>
                  </a:moveTo>
                  <a:lnTo>
                    <a:pt x="23257" y="13362"/>
                  </a:lnTo>
                  <a:cubicBezTo>
                    <a:pt x="24508" y="13362"/>
                    <a:pt x="25280" y="12616"/>
                    <a:pt x="24774" y="11365"/>
                  </a:cubicBezTo>
                  <a:cubicBezTo>
                    <a:pt x="23707" y="8545"/>
                    <a:pt x="20999" y="6686"/>
                    <a:pt x="17985" y="6705"/>
                  </a:cubicBezTo>
                  <a:cubicBezTo>
                    <a:pt x="14859" y="6737"/>
                    <a:pt x="12007" y="8502"/>
                    <a:pt x="10582" y="11285"/>
                  </a:cubicBezTo>
                  <a:cubicBezTo>
                    <a:pt x="10023" y="12483"/>
                    <a:pt x="10716" y="13362"/>
                    <a:pt x="12020" y="13362"/>
                  </a:cubicBezTo>
                </a:path>
              </a:pathLst>
            </a:custGeom>
            <a:solidFill>
              <a:srgbClr val="FFFFFF"/>
            </a:solidFill>
            <a:ln w="2661" cap="flat">
              <a:noFill/>
              <a:prstDash val="solid"/>
              <a:miter/>
            </a:ln>
          </p:spPr>
          <p:txBody>
            <a:bodyPr rtlCol="0" anchor="ctr"/>
            <a:lstStyle/>
            <a:p>
              <a:endParaRPr lang="pl-PL"/>
            </a:p>
          </p:txBody>
        </p:sp>
        <p:sp>
          <p:nvSpPr>
            <p:cNvPr id="118" name="Freeform: Shape 117">
              <a:extLst>
                <a:ext uri="{FF2B5EF4-FFF2-40B4-BE49-F238E27FC236}">
                  <a16:creationId xmlns:a16="http://schemas.microsoft.com/office/drawing/2014/main" id="{2CDE2C1D-0766-418A-B7E4-5752FDD58A10}"/>
                </a:ext>
              </a:extLst>
            </p:cNvPr>
            <p:cNvSpPr/>
            <p:nvPr/>
          </p:nvSpPr>
          <p:spPr>
            <a:xfrm>
              <a:off x="11619475" y="6750860"/>
              <a:ext cx="19631" cy="26558"/>
            </a:xfrm>
            <a:custGeom>
              <a:avLst/>
              <a:gdLst>
                <a:gd name="connsiteX0" fmla="*/ 997 w 34787"/>
                <a:gd name="connsiteY0" fmla="*/ 44632 h 47062"/>
                <a:gd name="connsiteX1" fmla="*/ 997 w 34787"/>
                <a:gd name="connsiteY1" fmla="*/ 2270 h 47062"/>
                <a:gd name="connsiteX2" fmla="*/ 2658 w 34787"/>
                <a:gd name="connsiteY2" fmla="*/ 273 h 47062"/>
                <a:gd name="connsiteX3" fmla="*/ 2994 w 34787"/>
                <a:gd name="connsiteY3" fmla="*/ 273 h 47062"/>
                <a:gd name="connsiteX4" fmla="*/ 5017 w 34787"/>
                <a:gd name="connsiteY4" fmla="*/ 273 h 47062"/>
                <a:gd name="connsiteX5" fmla="*/ 7280 w 34787"/>
                <a:gd name="connsiteY5" fmla="*/ 1897 h 47062"/>
                <a:gd name="connsiteX6" fmla="*/ 9597 w 34787"/>
                <a:gd name="connsiteY6" fmla="*/ 2589 h 47062"/>
                <a:gd name="connsiteX7" fmla="*/ 19209 w 34787"/>
                <a:gd name="connsiteY7" fmla="*/ -339 h 47062"/>
                <a:gd name="connsiteX8" fmla="*/ 35773 w 34787"/>
                <a:gd name="connsiteY8" fmla="*/ 16060 h 47062"/>
                <a:gd name="connsiteX9" fmla="*/ 35770 w 34787"/>
                <a:gd name="connsiteY9" fmla="*/ 16462 h 47062"/>
                <a:gd name="connsiteX10" fmla="*/ 19560 w 34787"/>
                <a:gd name="connsiteY10" fmla="*/ 33524 h 47062"/>
                <a:gd name="connsiteX11" fmla="*/ 19076 w 34787"/>
                <a:gd name="connsiteY11" fmla="*/ 33529 h 47062"/>
                <a:gd name="connsiteX12" fmla="*/ 11088 w 34787"/>
                <a:gd name="connsiteY12" fmla="*/ 31585 h 47062"/>
                <a:gd name="connsiteX13" fmla="*/ 9011 w 34787"/>
                <a:gd name="connsiteY13" fmla="*/ 32597 h 47062"/>
                <a:gd name="connsiteX14" fmla="*/ 9011 w 34787"/>
                <a:gd name="connsiteY14" fmla="*/ 44712 h 47062"/>
                <a:gd name="connsiteX15" fmla="*/ 7350 w 34787"/>
                <a:gd name="connsiteY15" fmla="*/ 46709 h 47062"/>
                <a:gd name="connsiteX16" fmla="*/ 7014 w 34787"/>
                <a:gd name="connsiteY16" fmla="*/ 46709 h 47062"/>
                <a:gd name="connsiteX17" fmla="*/ 3100 w 34787"/>
                <a:gd name="connsiteY17" fmla="*/ 46709 h 47062"/>
                <a:gd name="connsiteX18" fmla="*/ 1103 w 34787"/>
                <a:gd name="connsiteY18" fmla="*/ 45048 h 47062"/>
                <a:gd name="connsiteX19" fmla="*/ 1103 w 34787"/>
                <a:gd name="connsiteY19" fmla="*/ 44712 h 47062"/>
                <a:gd name="connsiteX20" fmla="*/ 10342 w 34787"/>
                <a:gd name="connsiteY20" fmla="*/ 22106 h 47062"/>
                <a:gd name="connsiteX21" fmla="*/ 18330 w 34787"/>
                <a:gd name="connsiteY21" fmla="*/ 26127 h 47062"/>
                <a:gd name="connsiteX22" fmla="*/ 27042 w 34787"/>
                <a:gd name="connsiteY22" fmla="*/ 16539 h 47062"/>
                <a:gd name="connsiteX23" fmla="*/ 27037 w 34787"/>
                <a:gd name="connsiteY23" fmla="*/ 16462 h 47062"/>
                <a:gd name="connsiteX24" fmla="*/ 18330 w 34787"/>
                <a:gd name="connsiteY24" fmla="*/ 7063 h 47062"/>
                <a:gd name="connsiteX25" fmla="*/ 10342 w 34787"/>
                <a:gd name="connsiteY25" fmla="*/ 11057 h 47062"/>
                <a:gd name="connsiteX26" fmla="*/ 9757 w 34787"/>
                <a:gd name="connsiteY26" fmla="*/ 13213 h 47062"/>
                <a:gd name="connsiteX27" fmla="*/ 9757 w 34787"/>
                <a:gd name="connsiteY27" fmla="*/ 19976 h 47062"/>
                <a:gd name="connsiteX28" fmla="*/ 10342 w 34787"/>
                <a:gd name="connsiteY28" fmla="*/ 22106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787" h="47062">
                  <a:moveTo>
                    <a:pt x="997" y="44632"/>
                  </a:moveTo>
                  <a:lnTo>
                    <a:pt x="997" y="2270"/>
                  </a:lnTo>
                  <a:cubicBezTo>
                    <a:pt x="903" y="1261"/>
                    <a:pt x="1649" y="366"/>
                    <a:pt x="2658" y="273"/>
                  </a:cubicBezTo>
                  <a:cubicBezTo>
                    <a:pt x="2770" y="262"/>
                    <a:pt x="2882" y="262"/>
                    <a:pt x="2994" y="273"/>
                  </a:cubicBezTo>
                  <a:lnTo>
                    <a:pt x="5017" y="273"/>
                  </a:lnTo>
                  <a:cubicBezTo>
                    <a:pt x="6064" y="201"/>
                    <a:pt x="7014" y="883"/>
                    <a:pt x="7280" y="1897"/>
                  </a:cubicBezTo>
                  <a:cubicBezTo>
                    <a:pt x="7600" y="3228"/>
                    <a:pt x="8532" y="3415"/>
                    <a:pt x="9597" y="2589"/>
                  </a:cubicBezTo>
                  <a:cubicBezTo>
                    <a:pt x="12395" y="592"/>
                    <a:pt x="15771" y="-435"/>
                    <a:pt x="19209" y="-339"/>
                  </a:cubicBezTo>
                  <a:cubicBezTo>
                    <a:pt x="28312" y="-385"/>
                    <a:pt x="35728" y="6956"/>
                    <a:pt x="35773" y="16060"/>
                  </a:cubicBezTo>
                  <a:cubicBezTo>
                    <a:pt x="35773" y="16193"/>
                    <a:pt x="35773" y="16329"/>
                    <a:pt x="35770" y="16462"/>
                  </a:cubicBezTo>
                  <a:cubicBezTo>
                    <a:pt x="36005" y="25650"/>
                    <a:pt x="28749" y="33289"/>
                    <a:pt x="19560" y="33524"/>
                  </a:cubicBezTo>
                  <a:cubicBezTo>
                    <a:pt x="19398" y="33529"/>
                    <a:pt x="19238" y="33529"/>
                    <a:pt x="19076" y="33529"/>
                  </a:cubicBezTo>
                  <a:cubicBezTo>
                    <a:pt x="16291" y="33582"/>
                    <a:pt x="13538" y="32914"/>
                    <a:pt x="11088" y="31585"/>
                  </a:cubicBezTo>
                  <a:cubicBezTo>
                    <a:pt x="9836" y="30840"/>
                    <a:pt x="9011" y="31213"/>
                    <a:pt x="9011" y="32597"/>
                  </a:cubicBezTo>
                  <a:lnTo>
                    <a:pt x="9011" y="44712"/>
                  </a:lnTo>
                  <a:cubicBezTo>
                    <a:pt x="9104" y="45721"/>
                    <a:pt x="8359" y="46616"/>
                    <a:pt x="7350" y="46709"/>
                  </a:cubicBezTo>
                  <a:cubicBezTo>
                    <a:pt x="7238" y="46720"/>
                    <a:pt x="7126" y="46720"/>
                    <a:pt x="7014" y="46709"/>
                  </a:cubicBezTo>
                  <a:lnTo>
                    <a:pt x="3100" y="46709"/>
                  </a:lnTo>
                  <a:cubicBezTo>
                    <a:pt x="2088" y="46802"/>
                    <a:pt x="1196" y="46057"/>
                    <a:pt x="1103" y="45048"/>
                  </a:cubicBezTo>
                  <a:cubicBezTo>
                    <a:pt x="1092" y="44936"/>
                    <a:pt x="1092" y="44824"/>
                    <a:pt x="1103" y="44712"/>
                  </a:cubicBezTo>
                  <a:moveTo>
                    <a:pt x="10342" y="22106"/>
                  </a:moveTo>
                  <a:cubicBezTo>
                    <a:pt x="12145" y="24721"/>
                    <a:pt x="15156" y="26236"/>
                    <a:pt x="18330" y="26127"/>
                  </a:cubicBezTo>
                  <a:cubicBezTo>
                    <a:pt x="23384" y="25885"/>
                    <a:pt x="27282" y="21592"/>
                    <a:pt x="27042" y="16539"/>
                  </a:cubicBezTo>
                  <a:cubicBezTo>
                    <a:pt x="27040" y="16515"/>
                    <a:pt x="27040" y="16488"/>
                    <a:pt x="27037" y="16462"/>
                  </a:cubicBezTo>
                  <a:cubicBezTo>
                    <a:pt x="27202" y="11472"/>
                    <a:pt x="23317" y="7278"/>
                    <a:pt x="18330" y="7063"/>
                  </a:cubicBezTo>
                  <a:cubicBezTo>
                    <a:pt x="15164" y="6964"/>
                    <a:pt x="12161" y="8466"/>
                    <a:pt x="10342" y="11057"/>
                  </a:cubicBezTo>
                  <a:cubicBezTo>
                    <a:pt x="9919" y="11693"/>
                    <a:pt x="9711" y="12449"/>
                    <a:pt x="9757" y="13213"/>
                  </a:cubicBezTo>
                  <a:lnTo>
                    <a:pt x="9757" y="19976"/>
                  </a:lnTo>
                  <a:cubicBezTo>
                    <a:pt x="9730" y="20730"/>
                    <a:pt x="9935" y="21473"/>
                    <a:pt x="10342" y="22106"/>
                  </a:cubicBezTo>
                </a:path>
              </a:pathLst>
            </a:custGeom>
            <a:solidFill>
              <a:srgbClr val="FFFFFF"/>
            </a:solidFill>
            <a:ln w="2661" cap="flat">
              <a:noFill/>
              <a:prstDash val="solid"/>
              <a:miter/>
            </a:ln>
          </p:spPr>
          <p:txBody>
            <a:bodyPr rtlCol="0" anchor="ctr"/>
            <a:lstStyle/>
            <a:p>
              <a:endParaRPr lang="pl-PL"/>
            </a:p>
          </p:txBody>
        </p:sp>
        <p:sp>
          <p:nvSpPr>
            <p:cNvPr id="119" name="Freeform: Shape 118">
              <a:extLst>
                <a:ext uri="{FF2B5EF4-FFF2-40B4-BE49-F238E27FC236}">
                  <a16:creationId xmlns:a16="http://schemas.microsoft.com/office/drawing/2014/main" id="{18380B0B-D7C2-4A2F-993E-6F635B9326CB}"/>
                </a:ext>
              </a:extLst>
            </p:cNvPr>
            <p:cNvSpPr/>
            <p:nvPr/>
          </p:nvSpPr>
          <p:spPr>
            <a:xfrm>
              <a:off x="11641544" y="6750833"/>
              <a:ext cx="16868" cy="19128"/>
            </a:xfrm>
            <a:custGeom>
              <a:avLst/>
              <a:gdLst>
                <a:gd name="connsiteX0" fmla="*/ 16181 w 29890"/>
                <a:gd name="connsiteY0" fmla="*/ -346 h 33895"/>
                <a:gd name="connsiteX1" fmla="*/ 30186 w 29890"/>
                <a:gd name="connsiteY1" fmla="*/ 9400 h 33895"/>
                <a:gd name="connsiteX2" fmla="*/ 28296 w 29890"/>
                <a:gd name="connsiteY2" fmla="*/ 11476 h 33895"/>
                <a:gd name="connsiteX3" fmla="*/ 24275 w 29890"/>
                <a:gd name="connsiteY3" fmla="*/ 11476 h 33895"/>
                <a:gd name="connsiteX4" fmla="*/ 22092 w 29890"/>
                <a:gd name="connsiteY4" fmla="*/ 9719 h 33895"/>
                <a:gd name="connsiteX5" fmla="*/ 16048 w 29890"/>
                <a:gd name="connsiteY5" fmla="*/ 6444 h 33895"/>
                <a:gd name="connsiteX6" fmla="*/ 10723 w 29890"/>
                <a:gd name="connsiteY6" fmla="*/ 9266 h 33895"/>
                <a:gd name="connsiteX7" fmla="*/ 30879 w 29890"/>
                <a:gd name="connsiteY7" fmla="*/ 23591 h 33895"/>
                <a:gd name="connsiteX8" fmla="*/ 16687 w 29890"/>
                <a:gd name="connsiteY8" fmla="*/ 33550 h 33895"/>
                <a:gd name="connsiteX9" fmla="*/ 1057 w 29890"/>
                <a:gd name="connsiteY9" fmla="*/ 23511 h 33895"/>
                <a:gd name="connsiteX10" fmla="*/ 2895 w 29890"/>
                <a:gd name="connsiteY10" fmla="*/ 21381 h 33895"/>
                <a:gd name="connsiteX11" fmla="*/ 7155 w 29890"/>
                <a:gd name="connsiteY11" fmla="*/ 21381 h 33895"/>
                <a:gd name="connsiteX12" fmla="*/ 9338 w 29890"/>
                <a:gd name="connsiteY12" fmla="*/ 23006 h 33895"/>
                <a:gd name="connsiteX13" fmla="*/ 16873 w 29890"/>
                <a:gd name="connsiteY13" fmla="*/ 26786 h 33895"/>
                <a:gd name="connsiteX14" fmla="*/ 22411 w 29890"/>
                <a:gd name="connsiteY14" fmla="*/ 23645 h 33895"/>
                <a:gd name="connsiteX15" fmla="*/ 2256 w 29890"/>
                <a:gd name="connsiteY15" fmla="*/ 9453 h 33895"/>
                <a:gd name="connsiteX16" fmla="*/ 16128 w 29890"/>
                <a:gd name="connsiteY16" fmla="*/ -346 h 3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890" h="33895">
                  <a:moveTo>
                    <a:pt x="16181" y="-346"/>
                  </a:moveTo>
                  <a:cubicBezTo>
                    <a:pt x="24169" y="-346"/>
                    <a:pt x="28855" y="3622"/>
                    <a:pt x="30186" y="9400"/>
                  </a:cubicBezTo>
                  <a:cubicBezTo>
                    <a:pt x="30479" y="10704"/>
                    <a:pt x="29681" y="11476"/>
                    <a:pt x="28296" y="11476"/>
                  </a:cubicBezTo>
                  <a:lnTo>
                    <a:pt x="24275" y="11476"/>
                  </a:lnTo>
                  <a:cubicBezTo>
                    <a:pt x="23077" y="11476"/>
                    <a:pt x="22518" y="10837"/>
                    <a:pt x="22092" y="9719"/>
                  </a:cubicBezTo>
                  <a:cubicBezTo>
                    <a:pt x="21320" y="7642"/>
                    <a:pt x="19429" y="6444"/>
                    <a:pt x="16048" y="6444"/>
                  </a:cubicBezTo>
                  <a:cubicBezTo>
                    <a:pt x="12666" y="6444"/>
                    <a:pt x="10723" y="7562"/>
                    <a:pt x="10723" y="9266"/>
                  </a:cubicBezTo>
                  <a:cubicBezTo>
                    <a:pt x="10723" y="15364"/>
                    <a:pt x="30879" y="10971"/>
                    <a:pt x="30879" y="23591"/>
                  </a:cubicBezTo>
                  <a:cubicBezTo>
                    <a:pt x="30879" y="29982"/>
                    <a:pt x="25048" y="33550"/>
                    <a:pt x="16687" y="33550"/>
                  </a:cubicBezTo>
                  <a:cubicBezTo>
                    <a:pt x="8326" y="33550"/>
                    <a:pt x="2389" y="29928"/>
                    <a:pt x="1057" y="23511"/>
                  </a:cubicBezTo>
                  <a:cubicBezTo>
                    <a:pt x="738" y="22127"/>
                    <a:pt x="1563" y="21381"/>
                    <a:pt x="2895" y="21381"/>
                  </a:cubicBezTo>
                  <a:lnTo>
                    <a:pt x="7155" y="21381"/>
                  </a:lnTo>
                  <a:cubicBezTo>
                    <a:pt x="8172" y="21347"/>
                    <a:pt x="9077" y="22020"/>
                    <a:pt x="9338" y="23006"/>
                  </a:cubicBezTo>
                  <a:cubicBezTo>
                    <a:pt x="10858" y="25668"/>
                    <a:pt x="13830" y="27159"/>
                    <a:pt x="16873" y="26786"/>
                  </a:cubicBezTo>
                  <a:cubicBezTo>
                    <a:pt x="20281" y="26786"/>
                    <a:pt x="22411" y="25721"/>
                    <a:pt x="22411" y="23645"/>
                  </a:cubicBezTo>
                  <a:cubicBezTo>
                    <a:pt x="22411" y="17494"/>
                    <a:pt x="2256" y="22127"/>
                    <a:pt x="2256" y="9453"/>
                  </a:cubicBezTo>
                  <a:cubicBezTo>
                    <a:pt x="2256" y="3808"/>
                    <a:pt x="7101" y="-346"/>
                    <a:pt x="16128" y="-346"/>
                  </a:cubicBezTo>
                </a:path>
              </a:pathLst>
            </a:custGeom>
            <a:solidFill>
              <a:srgbClr val="FFFFFF"/>
            </a:solidFill>
            <a:ln w="2661" cap="flat">
              <a:noFill/>
              <a:prstDash val="solid"/>
              <a:miter/>
            </a:ln>
          </p:spPr>
          <p:txBody>
            <a:bodyPr rtlCol="0" anchor="ctr"/>
            <a:lstStyle/>
            <a:p>
              <a:endParaRPr lang="pl-PL"/>
            </a:p>
          </p:txBody>
        </p:sp>
        <p:sp>
          <p:nvSpPr>
            <p:cNvPr id="120" name="Freeform: Shape 119">
              <a:extLst>
                <a:ext uri="{FF2B5EF4-FFF2-40B4-BE49-F238E27FC236}">
                  <a16:creationId xmlns:a16="http://schemas.microsoft.com/office/drawing/2014/main" id="{6E8FD2FF-F991-43E5-9EA7-DEF10683A074}"/>
                </a:ext>
              </a:extLst>
            </p:cNvPr>
            <p:cNvSpPr/>
            <p:nvPr/>
          </p:nvSpPr>
          <p:spPr>
            <a:xfrm>
              <a:off x="11661657" y="6742209"/>
              <a:ext cx="6551" cy="27381"/>
            </a:xfrm>
            <a:custGeom>
              <a:avLst/>
              <a:gdLst>
                <a:gd name="connsiteX0" fmla="*/ 989 w 11609"/>
                <a:gd name="connsiteY0" fmla="*/ 5352 h 48520"/>
                <a:gd name="connsiteX1" fmla="*/ 6687 w 11609"/>
                <a:gd name="connsiteY1" fmla="*/ -346 h 48520"/>
                <a:gd name="connsiteX2" fmla="*/ 6767 w 11609"/>
                <a:gd name="connsiteY2" fmla="*/ -346 h 48520"/>
                <a:gd name="connsiteX3" fmla="*/ 12598 w 11609"/>
                <a:gd name="connsiteY3" fmla="*/ 5352 h 48520"/>
                <a:gd name="connsiteX4" fmla="*/ 6767 w 11609"/>
                <a:gd name="connsiteY4" fmla="*/ 11263 h 48520"/>
                <a:gd name="connsiteX5" fmla="*/ 989 w 11609"/>
                <a:gd name="connsiteY5" fmla="*/ 5432 h 48520"/>
                <a:gd name="connsiteX6" fmla="*/ 989 w 11609"/>
                <a:gd name="connsiteY6" fmla="*/ 5352 h 48520"/>
                <a:gd name="connsiteX7" fmla="*/ 10734 w 11609"/>
                <a:gd name="connsiteY7" fmla="*/ 17521 h 48520"/>
                <a:gd name="connsiteX8" fmla="*/ 10734 w 11609"/>
                <a:gd name="connsiteY8" fmla="*/ 46144 h 48520"/>
                <a:gd name="connsiteX9" fmla="*/ 9046 w 11609"/>
                <a:gd name="connsiteY9" fmla="*/ 48167 h 48520"/>
                <a:gd name="connsiteX10" fmla="*/ 8710 w 11609"/>
                <a:gd name="connsiteY10" fmla="*/ 48167 h 48520"/>
                <a:gd name="connsiteX11" fmla="*/ 3998 w 11609"/>
                <a:gd name="connsiteY11" fmla="*/ 48167 h 48520"/>
                <a:gd name="connsiteX12" fmla="*/ 1998 w 11609"/>
                <a:gd name="connsiteY12" fmla="*/ 46450 h 48520"/>
                <a:gd name="connsiteX13" fmla="*/ 2001 w 11609"/>
                <a:gd name="connsiteY13" fmla="*/ 46144 h 48520"/>
                <a:gd name="connsiteX14" fmla="*/ 2001 w 11609"/>
                <a:gd name="connsiteY14" fmla="*/ 17600 h 48520"/>
                <a:gd name="connsiteX15" fmla="*/ 3662 w 11609"/>
                <a:gd name="connsiteY15" fmla="*/ 15603 h 48520"/>
                <a:gd name="connsiteX16" fmla="*/ 3998 w 11609"/>
                <a:gd name="connsiteY16" fmla="*/ 15603 h 48520"/>
                <a:gd name="connsiteX17" fmla="*/ 8710 w 11609"/>
                <a:gd name="connsiteY17" fmla="*/ 15603 h 48520"/>
                <a:gd name="connsiteX18" fmla="*/ 10731 w 11609"/>
                <a:gd name="connsiteY18" fmla="*/ 17294 h 48520"/>
                <a:gd name="connsiteX19" fmla="*/ 10734 w 11609"/>
                <a:gd name="connsiteY19" fmla="*/ 17600 h 48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09" h="48520">
                  <a:moveTo>
                    <a:pt x="989" y="5352"/>
                  </a:moveTo>
                  <a:cubicBezTo>
                    <a:pt x="989" y="2205"/>
                    <a:pt x="3540" y="-346"/>
                    <a:pt x="6687" y="-346"/>
                  </a:cubicBezTo>
                  <a:cubicBezTo>
                    <a:pt x="6713" y="-346"/>
                    <a:pt x="6740" y="-346"/>
                    <a:pt x="6767" y="-346"/>
                  </a:cubicBezTo>
                  <a:cubicBezTo>
                    <a:pt x="9935" y="-346"/>
                    <a:pt x="12526" y="2184"/>
                    <a:pt x="12598" y="5352"/>
                  </a:cubicBezTo>
                  <a:cubicBezTo>
                    <a:pt x="12598" y="8585"/>
                    <a:pt x="9999" y="11221"/>
                    <a:pt x="6767" y="11263"/>
                  </a:cubicBezTo>
                  <a:cubicBezTo>
                    <a:pt x="3561" y="11250"/>
                    <a:pt x="973" y="8638"/>
                    <a:pt x="989" y="5432"/>
                  </a:cubicBezTo>
                  <a:cubicBezTo>
                    <a:pt x="989" y="5406"/>
                    <a:pt x="989" y="5379"/>
                    <a:pt x="989" y="5352"/>
                  </a:cubicBezTo>
                  <a:moveTo>
                    <a:pt x="10734" y="17521"/>
                  </a:moveTo>
                  <a:lnTo>
                    <a:pt x="10734" y="46144"/>
                  </a:lnTo>
                  <a:cubicBezTo>
                    <a:pt x="10827" y="47169"/>
                    <a:pt x="10071" y="48074"/>
                    <a:pt x="9046" y="48167"/>
                  </a:cubicBezTo>
                  <a:cubicBezTo>
                    <a:pt x="8934" y="48178"/>
                    <a:pt x="8822" y="48178"/>
                    <a:pt x="8710" y="48167"/>
                  </a:cubicBezTo>
                  <a:lnTo>
                    <a:pt x="3998" y="48167"/>
                  </a:lnTo>
                  <a:cubicBezTo>
                    <a:pt x="2972" y="48244"/>
                    <a:pt x="2075" y="47475"/>
                    <a:pt x="1998" y="46450"/>
                  </a:cubicBezTo>
                  <a:cubicBezTo>
                    <a:pt x="1990" y="46349"/>
                    <a:pt x="1993" y="46245"/>
                    <a:pt x="2001" y="46144"/>
                  </a:cubicBezTo>
                  <a:lnTo>
                    <a:pt x="2001" y="17600"/>
                  </a:lnTo>
                  <a:cubicBezTo>
                    <a:pt x="1907" y="16591"/>
                    <a:pt x="2653" y="15697"/>
                    <a:pt x="3662" y="15603"/>
                  </a:cubicBezTo>
                  <a:cubicBezTo>
                    <a:pt x="3774" y="15593"/>
                    <a:pt x="3886" y="15593"/>
                    <a:pt x="3998" y="15603"/>
                  </a:cubicBezTo>
                  <a:lnTo>
                    <a:pt x="8710" y="15603"/>
                  </a:lnTo>
                  <a:cubicBezTo>
                    <a:pt x="9735" y="15513"/>
                    <a:pt x="10641" y="16269"/>
                    <a:pt x="10731" y="17294"/>
                  </a:cubicBezTo>
                  <a:cubicBezTo>
                    <a:pt x="10742" y="17395"/>
                    <a:pt x="10742" y="17499"/>
                    <a:pt x="10734" y="17600"/>
                  </a:cubicBezTo>
                </a:path>
              </a:pathLst>
            </a:custGeom>
            <a:solidFill>
              <a:srgbClr val="FFFFFF"/>
            </a:solidFill>
            <a:ln w="2661" cap="flat">
              <a:noFill/>
              <a:prstDash val="solid"/>
              <a:miter/>
            </a:ln>
          </p:spPr>
          <p:txBody>
            <a:bodyPr rtlCol="0" anchor="ctr"/>
            <a:lstStyle/>
            <a:p>
              <a:endParaRPr lang="pl-PL"/>
            </a:p>
          </p:txBody>
        </p:sp>
        <p:sp>
          <p:nvSpPr>
            <p:cNvPr id="121" name="Freeform: Shape 120">
              <a:extLst>
                <a:ext uri="{FF2B5EF4-FFF2-40B4-BE49-F238E27FC236}">
                  <a16:creationId xmlns:a16="http://schemas.microsoft.com/office/drawing/2014/main" id="{8852C37D-D0A8-425B-92B3-107ED00C1644}"/>
                </a:ext>
              </a:extLst>
            </p:cNvPr>
            <p:cNvSpPr/>
            <p:nvPr/>
          </p:nvSpPr>
          <p:spPr>
            <a:xfrm>
              <a:off x="11670912" y="6750850"/>
              <a:ext cx="18928" cy="19154"/>
            </a:xfrm>
            <a:custGeom>
              <a:avLst/>
              <a:gdLst>
                <a:gd name="connsiteX0" fmla="*/ 25781 w 33540"/>
                <a:gd name="connsiteY0" fmla="*/ 11128 h 33942"/>
                <a:gd name="connsiteX1" fmla="*/ 18672 w 33540"/>
                <a:gd name="connsiteY1" fmla="*/ 7001 h 33942"/>
                <a:gd name="connsiteX2" fmla="*/ 9850 w 33540"/>
                <a:gd name="connsiteY2" fmla="*/ 15699 h 33942"/>
                <a:gd name="connsiteX3" fmla="*/ 9885 w 33540"/>
                <a:gd name="connsiteY3" fmla="*/ 16533 h 33942"/>
                <a:gd name="connsiteX4" fmla="*/ 17838 w 33540"/>
                <a:gd name="connsiteY4" fmla="*/ 26030 h 33942"/>
                <a:gd name="connsiteX5" fmla="*/ 18618 w 33540"/>
                <a:gd name="connsiteY5" fmla="*/ 26065 h 33942"/>
                <a:gd name="connsiteX6" fmla="*/ 25514 w 33540"/>
                <a:gd name="connsiteY6" fmla="*/ 22364 h 33942"/>
                <a:gd name="connsiteX7" fmla="*/ 27778 w 33540"/>
                <a:gd name="connsiteY7" fmla="*/ 20793 h 33942"/>
                <a:gd name="connsiteX8" fmla="*/ 32411 w 33540"/>
                <a:gd name="connsiteY8" fmla="*/ 20793 h 33942"/>
                <a:gd name="connsiteX9" fmla="*/ 34301 w 33540"/>
                <a:gd name="connsiteY9" fmla="*/ 22923 h 33942"/>
                <a:gd name="connsiteX10" fmla="*/ 18805 w 33540"/>
                <a:gd name="connsiteY10" fmla="*/ 33573 h 33942"/>
                <a:gd name="connsiteX11" fmla="*/ 1013 w 33540"/>
                <a:gd name="connsiteY11" fmla="*/ 17545 h 33942"/>
                <a:gd name="connsiteX12" fmla="*/ 992 w 33540"/>
                <a:gd name="connsiteY12" fmla="*/ 16373 h 33942"/>
                <a:gd name="connsiteX13" fmla="*/ 17503 w 33540"/>
                <a:gd name="connsiteY13" fmla="*/ -346 h 33942"/>
                <a:gd name="connsiteX14" fmla="*/ 18485 w 33540"/>
                <a:gd name="connsiteY14" fmla="*/ -322 h 33942"/>
                <a:gd name="connsiteX15" fmla="*/ 34461 w 33540"/>
                <a:gd name="connsiteY15" fmla="*/ 10728 h 33942"/>
                <a:gd name="connsiteX16" fmla="*/ 33324 w 33540"/>
                <a:gd name="connsiteY16" fmla="*/ 12810 h 33942"/>
                <a:gd name="connsiteX17" fmla="*/ 32597 w 33540"/>
                <a:gd name="connsiteY17" fmla="*/ 12858 h 33942"/>
                <a:gd name="connsiteX18" fmla="*/ 28124 w 33540"/>
                <a:gd name="connsiteY18" fmla="*/ 12858 h 33942"/>
                <a:gd name="connsiteX19" fmla="*/ 25887 w 33540"/>
                <a:gd name="connsiteY19" fmla="*/ 11234 h 33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3540" h="33942">
                  <a:moveTo>
                    <a:pt x="25781" y="11128"/>
                  </a:moveTo>
                  <a:cubicBezTo>
                    <a:pt x="24463" y="8441"/>
                    <a:pt x="21656" y="6814"/>
                    <a:pt x="18672" y="7001"/>
                  </a:cubicBezTo>
                  <a:cubicBezTo>
                    <a:pt x="13834" y="6966"/>
                    <a:pt x="9885" y="10861"/>
                    <a:pt x="9850" y="15699"/>
                  </a:cubicBezTo>
                  <a:cubicBezTo>
                    <a:pt x="9850" y="15979"/>
                    <a:pt x="9861" y="16256"/>
                    <a:pt x="9885" y="16533"/>
                  </a:cubicBezTo>
                  <a:cubicBezTo>
                    <a:pt x="9459" y="21352"/>
                    <a:pt x="13019" y="25604"/>
                    <a:pt x="17838" y="26030"/>
                  </a:cubicBezTo>
                  <a:cubicBezTo>
                    <a:pt x="18099" y="26054"/>
                    <a:pt x="18357" y="26065"/>
                    <a:pt x="18618" y="26065"/>
                  </a:cubicBezTo>
                  <a:cubicBezTo>
                    <a:pt x="21441" y="26281"/>
                    <a:pt x="24133" y="24835"/>
                    <a:pt x="25514" y="22364"/>
                  </a:cubicBezTo>
                  <a:cubicBezTo>
                    <a:pt x="25869" y="21421"/>
                    <a:pt x="26771" y="20796"/>
                    <a:pt x="27778" y="20793"/>
                  </a:cubicBezTo>
                  <a:lnTo>
                    <a:pt x="32411" y="20793"/>
                  </a:lnTo>
                  <a:cubicBezTo>
                    <a:pt x="33742" y="20793"/>
                    <a:pt x="34621" y="21618"/>
                    <a:pt x="34301" y="22923"/>
                  </a:cubicBezTo>
                  <a:cubicBezTo>
                    <a:pt x="32810" y="29340"/>
                    <a:pt x="26313" y="33573"/>
                    <a:pt x="18805" y="33573"/>
                  </a:cubicBezTo>
                  <a:cubicBezTo>
                    <a:pt x="9464" y="34061"/>
                    <a:pt x="1498" y="26882"/>
                    <a:pt x="1013" y="17545"/>
                  </a:cubicBezTo>
                  <a:cubicBezTo>
                    <a:pt x="992" y="17153"/>
                    <a:pt x="984" y="16764"/>
                    <a:pt x="992" y="16373"/>
                  </a:cubicBezTo>
                  <a:cubicBezTo>
                    <a:pt x="936" y="7198"/>
                    <a:pt x="8327" y="-287"/>
                    <a:pt x="17503" y="-346"/>
                  </a:cubicBezTo>
                  <a:cubicBezTo>
                    <a:pt x="17830" y="-346"/>
                    <a:pt x="18158" y="-340"/>
                    <a:pt x="18485" y="-322"/>
                  </a:cubicBezTo>
                  <a:cubicBezTo>
                    <a:pt x="27724" y="-322"/>
                    <a:pt x="32996" y="4578"/>
                    <a:pt x="34461" y="10728"/>
                  </a:cubicBezTo>
                  <a:cubicBezTo>
                    <a:pt x="34722" y="11618"/>
                    <a:pt x="34213" y="12549"/>
                    <a:pt x="33324" y="12810"/>
                  </a:cubicBezTo>
                  <a:cubicBezTo>
                    <a:pt x="33087" y="12880"/>
                    <a:pt x="32839" y="12896"/>
                    <a:pt x="32597" y="12858"/>
                  </a:cubicBezTo>
                  <a:lnTo>
                    <a:pt x="28124" y="12858"/>
                  </a:lnTo>
                  <a:cubicBezTo>
                    <a:pt x="27006" y="12858"/>
                    <a:pt x="26446" y="12299"/>
                    <a:pt x="25887" y="11234"/>
                  </a:cubicBezTo>
                </a:path>
              </a:pathLst>
            </a:custGeom>
            <a:solidFill>
              <a:srgbClr val="FFFFFF"/>
            </a:solidFill>
            <a:ln w="2661" cap="flat">
              <a:noFill/>
              <a:prstDash val="solid"/>
              <a:miter/>
            </a:ln>
          </p:spPr>
          <p:txBody>
            <a:bodyPr rtlCol="0" anchor="ctr"/>
            <a:lstStyle/>
            <a:p>
              <a:endParaRPr lang="pl-PL"/>
            </a:p>
          </p:txBody>
        </p:sp>
        <p:sp>
          <p:nvSpPr>
            <p:cNvPr id="122" name="Freeform: Shape 121">
              <a:extLst>
                <a:ext uri="{FF2B5EF4-FFF2-40B4-BE49-F238E27FC236}">
                  <a16:creationId xmlns:a16="http://schemas.microsoft.com/office/drawing/2014/main" id="{6AA3C3E1-7ABD-4DA9-9253-2794618CDE22}"/>
                </a:ext>
              </a:extLst>
            </p:cNvPr>
            <p:cNvSpPr/>
            <p:nvPr/>
          </p:nvSpPr>
          <p:spPr>
            <a:xfrm>
              <a:off x="11692340" y="6750833"/>
              <a:ext cx="20150" cy="19139"/>
            </a:xfrm>
            <a:custGeom>
              <a:avLst/>
              <a:gdLst>
                <a:gd name="connsiteX0" fmla="*/ 18856 w 35707"/>
                <a:gd name="connsiteY0" fmla="*/ -346 h 33914"/>
                <a:gd name="connsiteX1" fmla="*/ 36695 w 35707"/>
                <a:gd name="connsiteY1" fmla="*/ 16349 h 33914"/>
                <a:gd name="connsiteX2" fmla="*/ 19833 w 35707"/>
                <a:gd name="connsiteY2" fmla="*/ 33568 h 33914"/>
                <a:gd name="connsiteX3" fmla="*/ 18856 w 35707"/>
                <a:gd name="connsiteY3" fmla="*/ 33550 h 33914"/>
                <a:gd name="connsiteX4" fmla="*/ 1008 w 35707"/>
                <a:gd name="connsiteY4" fmla="*/ 17300 h 33914"/>
                <a:gd name="connsiteX5" fmla="*/ 989 w 35707"/>
                <a:gd name="connsiteY5" fmla="*/ 16349 h 33914"/>
                <a:gd name="connsiteX6" fmla="*/ 18856 w 35707"/>
                <a:gd name="connsiteY6" fmla="*/ -346 h 33914"/>
                <a:gd name="connsiteX7" fmla="*/ 18856 w 35707"/>
                <a:gd name="connsiteY7" fmla="*/ 26147 h 33914"/>
                <a:gd name="connsiteX8" fmla="*/ 28028 w 35707"/>
                <a:gd name="connsiteY8" fmla="*/ 17214 h 33914"/>
                <a:gd name="connsiteX9" fmla="*/ 28015 w 35707"/>
                <a:gd name="connsiteY9" fmla="*/ 16615 h 33914"/>
                <a:gd name="connsiteX10" fmla="*/ 19455 w 35707"/>
                <a:gd name="connsiteY10" fmla="*/ 7096 h 33914"/>
                <a:gd name="connsiteX11" fmla="*/ 18856 w 35707"/>
                <a:gd name="connsiteY11" fmla="*/ 7083 h 33914"/>
                <a:gd name="connsiteX12" fmla="*/ 9683 w 35707"/>
                <a:gd name="connsiteY12" fmla="*/ 15960 h 33914"/>
                <a:gd name="connsiteX13" fmla="*/ 9696 w 35707"/>
                <a:gd name="connsiteY13" fmla="*/ 16615 h 33914"/>
                <a:gd name="connsiteX14" fmla="*/ 18200 w 35707"/>
                <a:gd name="connsiteY14" fmla="*/ 26134 h 33914"/>
                <a:gd name="connsiteX15" fmla="*/ 18856 w 35707"/>
                <a:gd name="connsiteY15" fmla="*/ 26147 h 33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07" h="33914">
                  <a:moveTo>
                    <a:pt x="18856" y="-346"/>
                  </a:moveTo>
                  <a:cubicBezTo>
                    <a:pt x="29346" y="-346"/>
                    <a:pt x="36695" y="7003"/>
                    <a:pt x="36695" y="16349"/>
                  </a:cubicBezTo>
                  <a:cubicBezTo>
                    <a:pt x="36794" y="25759"/>
                    <a:pt x="29245" y="33470"/>
                    <a:pt x="19833" y="33568"/>
                  </a:cubicBezTo>
                  <a:cubicBezTo>
                    <a:pt x="19508" y="33571"/>
                    <a:pt x="19180" y="33565"/>
                    <a:pt x="18856" y="33550"/>
                  </a:cubicBezTo>
                  <a:cubicBezTo>
                    <a:pt x="9440" y="33991"/>
                    <a:pt x="1450" y="26717"/>
                    <a:pt x="1008" y="17300"/>
                  </a:cubicBezTo>
                  <a:cubicBezTo>
                    <a:pt x="992" y="16983"/>
                    <a:pt x="987" y="16666"/>
                    <a:pt x="989" y="16349"/>
                  </a:cubicBezTo>
                  <a:cubicBezTo>
                    <a:pt x="989" y="7003"/>
                    <a:pt x="8391" y="-346"/>
                    <a:pt x="18856" y="-346"/>
                  </a:cubicBezTo>
                  <a:moveTo>
                    <a:pt x="18856" y="26147"/>
                  </a:moveTo>
                  <a:cubicBezTo>
                    <a:pt x="23856" y="26214"/>
                    <a:pt x="27962" y="22215"/>
                    <a:pt x="28028" y="17214"/>
                  </a:cubicBezTo>
                  <a:cubicBezTo>
                    <a:pt x="28031" y="17015"/>
                    <a:pt x="28026" y="16815"/>
                    <a:pt x="28015" y="16615"/>
                  </a:cubicBezTo>
                  <a:cubicBezTo>
                    <a:pt x="28281" y="11623"/>
                    <a:pt x="24447" y="7360"/>
                    <a:pt x="19455" y="7096"/>
                  </a:cubicBezTo>
                  <a:cubicBezTo>
                    <a:pt x="19255" y="7086"/>
                    <a:pt x="19055" y="7080"/>
                    <a:pt x="18856" y="7083"/>
                  </a:cubicBezTo>
                  <a:cubicBezTo>
                    <a:pt x="13871" y="7001"/>
                    <a:pt x="9765" y="10976"/>
                    <a:pt x="9683" y="15960"/>
                  </a:cubicBezTo>
                  <a:cubicBezTo>
                    <a:pt x="9680" y="16179"/>
                    <a:pt x="9683" y="16397"/>
                    <a:pt x="9696" y="16615"/>
                  </a:cubicBezTo>
                  <a:cubicBezTo>
                    <a:pt x="9417" y="21592"/>
                    <a:pt x="13224" y="25855"/>
                    <a:pt x="18200" y="26134"/>
                  </a:cubicBezTo>
                  <a:cubicBezTo>
                    <a:pt x="18419" y="26147"/>
                    <a:pt x="18637" y="26150"/>
                    <a:pt x="18856" y="26147"/>
                  </a:cubicBezTo>
                </a:path>
              </a:pathLst>
            </a:custGeom>
            <a:solidFill>
              <a:srgbClr val="FFFFFF"/>
            </a:solidFill>
            <a:ln w="2661" cap="flat">
              <a:noFill/>
              <a:prstDash val="solid"/>
              <a:miter/>
            </a:ln>
          </p:spPr>
          <p:txBody>
            <a:bodyPr rtlCol="0" anchor="ctr"/>
            <a:lstStyle/>
            <a:p>
              <a:endParaRPr lang="pl-PL"/>
            </a:p>
          </p:txBody>
        </p:sp>
        <p:sp>
          <p:nvSpPr>
            <p:cNvPr id="123" name="Freeform: Shape 122">
              <a:extLst>
                <a:ext uri="{FF2B5EF4-FFF2-40B4-BE49-F238E27FC236}">
                  <a16:creationId xmlns:a16="http://schemas.microsoft.com/office/drawing/2014/main" id="{E91CDA46-47A5-465C-91C7-5578AEC8C345}"/>
                </a:ext>
              </a:extLst>
            </p:cNvPr>
            <p:cNvSpPr/>
            <p:nvPr/>
          </p:nvSpPr>
          <p:spPr>
            <a:xfrm>
              <a:off x="11719549" y="6750860"/>
              <a:ext cx="19630" cy="26558"/>
            </a:xfrm>
            <a:custGeom>
              <a:avLst/>
              <a:gdLst>
                <a:gd name="connsiteX0" fmla="*/ 994 w 34784"/>
                <a:gd name="connsiteY0" fmla="*/ 44632 h 47062"/>
                <a:gd name="connsiteX1" fmla="*/ 994 w 34784"/>
                <a:gd name="connsiteY1" fmla="*/ 2270 h 47062"/>
                <a:gd name="connsiteX2" fmla="*/ 2711 w 34784"/>
                <a:gd name="connsiteY2" fmla="*/ 270 h 47062"/>
                <a:gd name="connsiteX3" fmla="*/ 3018 w 34784"/>
                <a:gd name="connsiteY3" fmla="*/ 273 h 47062"/>
                <a:gd name="connsiteX4" fmla="*/ 5015 w 34784"/>
                <a:gd name="connsiteY4" fmla="*/ 273 h 47062"/>
                <a:gd name="connsiteX5" fmla="*/ 7278 w 34784"/>
                <a:gd name="connsiteY5" fmla="*/ 1897 h 47062"/>
                <a:gd name="connsiteX6" fmla="*/ 9594 w 34784"/>
                <a:gd name="connsiteY6" fmla="*/ 2589 h 47062"/>
                <a:gd name="connsiteX7" fmla="*/ 19206 w 34784"/>
                <a:gd name="connsiteY7" fmla="*/ -339 h 47062"/>
                <a:gd name="connsiteX8" fmla="*/ 35771 w 34784"/>
                <a:gd name="connsiteY8" fmla="*/ 16060 h 47062"/>
                <a:gd name="connsiteX9" fmla="*/ 35768 w 34784"/>
                <a:gd name="connsiteY9" fmla="*/ 16462 h 47062"/>
                <a:gd name="connsiteX10" fmla="*/ 19558 w 34784"/>
                <a:gd name="connsiteY10" fmla="*/ 33524 h 47062"/>
                <a:gd name="connsiteX11" fmla="*/ 19073 w 34784"/>
                <a:gd name="connsiteY11" fmla="*/ 33529 h 47062"/>
                <a:gd name="connsiteX12" fmla="*/ 11085 w 34784"/>
                <a:gd name="connsiteY12" fmla="*/ 31585 h 47062"/>
                <a:gd name="connsiteX13" fmla="*/ 9009 w 34784"/>
                <a:gd name="connsiteY13" fmla="*/ 32597 h 47062"/>
                <a:gd name="connsiteX14" fmla="*/ 9009 w 34784"/>
                <a:gd name="connsiteY14" fmla="*/ 44712 h 47062"/>
                <a:gd name="connsiteX15" fmla="*/ 7347 w 34784"/>
                <a:gd name="connsiteY15" fmla="*/ 46709 h 47062"/>
                <a:gd name="connsiteX16" fmla="*/ 7012 w 34784"/>
                <a:gd name="connsiteY16" fmla="*/ 46709 h 47062"/>
                <a:gd name="connsiteX17" fmla="*/ 3124 w 34784"/>
                <a:gd name="connsiteY17" fmla="*/ 46709 h 47062"/>
                <a:gd name="connsiteX18" fmla="*/ 1103 w 34784"/>
                <a:gd name="connsiteY18" fmla="*/ 45018 h 47062"/>
                <a:gd name="connsiteX19" fmla="*/ 1101 w 34784"/>
                <a:gd name="connsiteY19" fmla="*/ 44712 h 47062"/>
                <a:gd name="connsiteX20" fmla="*/ 10340 w 34784"/>
                <a:gd name="connsiteY20" fmla="*/ 22106 h 47062"/>
                <a:gd name="connsiteX21" fmla="*/ 18328 w 34784"/>
                <a:gd name="connsiteY21" fmla="*/ 26127 h 47062"/>
                <a:gd name="connsiteX22" fmla="*/ 27064 w 34784"/>
                <a:gd name="connsiteY22" fmla="*/ 16512 h 47062"/>
                <a:gd name="connsiteX23" fmla="*/ 27061 w 34784"/>
                <a:gd name="connsiteY23" fmla="*/ 16462 h 47062"/>
                <a:gd name="connsiteX24" fmla="*/ 18328 w 34784"/>
                <a:gd name="connsiteY24" fmla="*/ 7063 h 47062"/>
                <a:gd name="connsiteX25" fmla="*/ 10340 w 34784"/>
                <a:gd name="connsiteY25" fmla="*/ 11057 h 47062"/>
                <a:gd name="connsiteX26" fmla="*/ 9781 w 34784"/>
                <a:gd name="connsiteY26" fmla="*/ 13213 h 47062"/>
                <a:gd name="connsiteX27" fmla="*/ 9781 w 34784"/>
                <a:gd name="connsiteY27" fmla="*/ 19976 h 47062"/>
                <a:gd name="connsiteX28" fmla="*/ 10340 w 34784"/>
                <a:gd name="connsiteY28" fmla="*/ 22106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784" h="47062">
                  <a:moveTo>
                    <a:pt x="994" y="44632"/>
                  </a:moveTo>
                  <a:lnTo>
                    <a:pt x="994" y="2270"/>
                  </a:lnTo>
                  <a:cubicBezTo>
                    <a:pt x="917" y="1245"/>
                    <a:pt x="1686" y="348"/>
                    <a:pt x="2711" y="270"/>
                  </a:cubicBezTo>
                  <a:cubicBezTo>
                    <a:pt x="2813" y="262"/>
                    <a:pt x="2917" y="265"/>
                    <a:pt x="3018" y="273"/>
                  </a:cubicBezTo>
                  <a:lnTo>
                    <a:pt x="5015" y="273"/>
                  </a:lnTo>
                  <a:cubicBezTo>
                    <a:pt x="6064" y="190"/>
                    <a:pt x="7022" y="875"/>
                    <a:pt x="7278" y="1897"/>
                  </a:cubicBezTo>
                  <a:cubicBezTo>
                    <a:pt x="7597" y="3228"/>
                    <a:pt x="8529" y="3415"/>
                    <a:pt x="9594" y="2589"/>
                  </a:cubicBezTo>
                  <a:cubicBezTo>
                    <a:pt x="12393" y="592"/>
                    <a:pt x="15769" y="-435"/>
                    <a:pt x="19206" y="-339"/>
                  </a:cubicBezTo>
                  <a:cubicBezTo>
                    <a:pt x="28310" y="-385"/>
                    <a:pt x="35725" y="6956"/>
                    <a:pt x="35771" y="16060"/>
                  </a:cubicBezTo>
                  <a:cubicBezTo>
                    <a:pt x="35771" y="16193"/>
                    <a:pt x="35771" y="16329"/>
                    <a:pt x="35768" y="16462"/>
                  </a:cubicBezTo>
                  <a:cubicBezTo>
                    <a:pt x="36002" y="25650"/>
                    <a:pt x="28747" y="33289"/>
                    <a:pt x="19558" y="33524"/>
                  </a:cubicBezTo>
                  <a:cubicBezTo>
                    <a:pt x="19395" y="33529"/>
                    <a:pt x="19236" y="33529"/>
                    <a:pt x="19073" y="33529"/>
                  </a:cubicBezTo>
                  <a:cubicBezTo>
                    <a:pt x="16288" y="33580"/>
                    <a:pt x="13538" y="32909"/>
                    <a:pt x="11085" y="31585"/>
                  </a:cubicBezTo>
                  <a:cubicBezTo>
                    <a:pt x="9834" y="30840"/>
                    <a:pt x="9009" y="31213"/>
                    <a:pt x="9009" y="32597"/>
                  </a:cubicBezTo>
                  <a:lnTo>
                    <a:pt x="9009" y="44712"/>
                  </a:lnTo>
                  <a:cubicBezTo>
                    <a:pt x="9102" y="45721"/>
                    <a:pt x="8356" y="46616"/>
                    <a:pt x="7347" y="46709"/>
                  </a:cubicBezTo>
                  <a:cubicBezTo>
                    <a:pt x="7235" y="46720"/>
                    <a:pt x="7123" y="46720"/>
                    <a:pt x="7012" y="46709"/>
                  </a:cubicBezTo>
                  <a:lnTo>
                    <a:pt x="3124" y="46709"/>
                  </a:lnTo>
                  <a:cubicBezTo>
                    <a:pt x="2099" y="46799"/>
                    <a:pt x="1194" y="46043"/>
                    <a:pt x="1103" y="45018"/>
                  </a:cubicBezTo>
                  <a:cubicBezTo>
                    <a:pt x="1093" y="44917"/>
                    <a:pt x="1093" y="44813"/>
                    <a:pt x="1101" y="44712"/>
                  </a:cubicBezTo>
                  <a:moveTo>
                    <a:pt x="10340" y="22106"/>
                  </a:moveTo>
                  <a:cubicBezTo>
                    <a:pt x="12148" y="24716"/>
                    <a:pt x="15154" y="26231"/>
                    <a:pt x="18328" y="26127"/>
                  </a:cubicBezTo>
                  <a:cubicBezTo>
                    <a:pt x="23395" y="25885"/>
                    <a:pt x="27306" y="21579"/>
                    <a:pt x="27064" y="16512"/>
                  </a:cubicBezTo>
                  <a:cubicBezTo>
                    <a:pt x="27064" y="16496"/>
                    <a:pt x="27061" y="16478"/>
                    <a:pt x="27061" y="16462"/>
                  </a:cubicBezTo>
                  <a:cubicBezTo>
                    <a:pt x="27210" y="11467"/>
                    <a:pt x="23320" y="7278"/>
                    <a:pt x="18328" y="7063"/>
                  </a:cubicBezTo>
                  <a:cubicBezTo>
                    <a:pt x="15165" y="6972"/>
                    <a:pt x="12166" y="8471"/>
                    <a:pt x="10340" y="11057"/>
                  </a:cubicBezTo>
                  <a:cubicBezTo>
                    <a:pt x="9924" y="11696"/>
                    <a:pt x="9727" y="12452"/>
                    <a:pt x="9781" y="13213"/>
                  </a:cubicBezTo>
                  <a:lnTo>
                    <a:pt x="9781" y="19976"/>
                  </a:lnTo>
                  <a:cubicBezTo>
                    <a:pt x="9746" y="20727"/>
                    <a:pt x="9941" y="21470"/>
                    <a:pt x="10340" y="22106"/>
                  </a:cubicBezTo>
                </a:path>
              </a:pathLst>
            </a:custGeom>
            <a:solidFill>
              <a:srgbClr val="8FDB42"/>
            </a:solidFill>
            <a:ln w="2661" cap="flat">
              <a:noFill/>
              <a:prstDash val="solid"/>
              <a:miter/>
            </a:ln>
          </p:spPr>
          <p:txBody>
            <a:bodyPr rtlCol="0" anchor="ctr"/>
            <a:lstStyle/>
            <a:p>
              <a:endParaRPr lang="pl-PL"/>
            </a:p>
          </p:txBody>
        </p:sp>
        <p:sp>
          <p:nvSpPr>
            <p:cNvPr id="124" name="Freeform: Shape 123">
              <a:extLst>
                <a:ext uri="{FF2B5EF4-FFF2-40B4-BE49-F238E27FC236}">
                  <a16:creationId xmlns:a16="http://schemas.microsoft.com/office/drawing/2014/main" id="{9156027A-6D27-43DA-8005-DFF7648AC8EF}"/>
                </a:ext>
              </a:extLst>
            </p:cNvPr>
            <p:cNvSpPr/>
            <p:nvPr/>
          </p:nvSpPr>
          <p:spPr>
            <a:xfrm>
              <a:off x="11741806" y="6750833"/>
              <a:ext cx="20150" cy="19139"/>
            </a:xfrm>
            <a:custGeom>
              <a:avLst/>
              <a:gdLst>
                <a:gd name="connsiteX0" fmla="*/ 18882 w 35707"/>
                <a:gd name="connsiteY0" fmla="*/ -346 h 33914"/>
                <a:gd name="connsiteX1" fmla="*/ 36695 w 35707"/>
                <a:gd name="connsiteY1" fmla="*/ 16349 h 33914"/>
                <a:gd name="connsiteX2" fmla="*/ 19833 w 35707"/>
                <a:gd name="connsiteY2" fmla="*/ 33565 h 33914"/>
                <a:gd name="connsiteX3" fmla="*/ 18882 w 35707"/>
                <a:gd name="connsiteY3" fmla="*/ 33550 h 33914"/>
                <a:gd name="connsiteX4" fmla="*/ 1008 w 35707"/>
                <a:gd name="connsiteY4" fmla="*/ 17273 h 33914"/>
                <a:gd name="connsiteX5" fmla="*/ 989 w 35707"/>
                <a:gd name="connsiteY5" fmla="*/ 16349 h 33914"/>
                <a:gd name="connsiteX6" fmla="*/ 18882 w 35707"/>
                <a:gd name="connsiteY6" fmla="*/ -346 h 33914"/>
                <a:gd name="connsiteX7" fmla="*/ 18882 w 35707"/>
                <a:gd name="connsiteY7" fmla="*/ 26147 h 33914"/>
                <a:gd name="connsiteX8" fmla="*/ 28052 w 35707"/>
                <a:gd name="connsiteY8" fmla="*/ 17158 h 33914"/>
                <a:gd name="connsiteX9" fmla="*/ 28041 w 35707"/>
                <a:gd name="connsiteY9" fmla="*/ 16615 h 33914"/>
                <a:gd name="connsiteX10" fmla="*/ 19425 w 35707"/>
                <a:gd name="connsiteY10" fmla="*/ 7094 h 33914"/>
                <a:gd name="connsiteX11" fmla="*/ 18882 w 35707"/>
                <a:gd name="connsiteY11" fmla="*/ 7083 h 33914"/>
                <a:gd name="connsiteX12" fmla="*/ 9709 w 35707"/>
                <a:gd name="connsiteY12" fmla="*/ 15960 h 33914"/>
                <a:gd name="connsiteX13" fmla="*/ 9723 w 35707"/>
                <a:gd name="connsiteY13" fmla="*/ 16615 h 33914"/>
                <a:gd name="connsiteX14" fmla="*/ 18227 w 35707"/>
                <a:gd name="connsiteY14" fmla="*/ 26134 h 33914"/>
                <a:gd name="connsiteX15" fmla="*/ 18882 w 35707"/>
                <a:gd name="connsiteY15" fmla="*/ 26147 h 33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07" h="33914">
                  <a:moveTo>
                    <a:pt x="18882" y="-346"/>
                  </a:moveTo>
                  <a:cubicBezTo>
                    <a:pt x="29346" y="-346"/>
                    <a:pt x="36695" y="7003"/>
                    <a:pt x="36695" y="16349"/>
                  </a:cubicBezTo>
                  <a:cubicBezTo>
                    <a:pt x="36793" y="25759"/>
                    <a:pt x="29242" y="33467"/>
                    <a:pt x="19833" y="33565"/>
                  </a:cubicBezTo>
                  <a:cubicBezTo>
                    <a:pt x="19516" y="33568"/>
                    <a:pt x="19199" y="33563"/>
                    <a:pt x="18882" y="33550"/>
                  </a:cubicBezTo>
                  <a:cubicBezTo>
                    <a:pt x="9451" y="33991"/>
                    <a:pt x="1450" y="26704"/>
                    <a:pt x="1008" y="17273"/>
                  </a:cubicBezTo>
                  <a:cubicBezTo>
                    <a:pt x="992" y="16967"/>
                    <a:pt x="987" y="16658"/>
                    <a:pt x="989" y="16349"/>
                  </a:cubicBezTo>
                  <a:cubicBezTo>
                    <a:pt x="989" y="7003"/>
                    <a:pt x="8391" y="-346"/>
                    <a:pt x="18882" y="-346"/>
                  </a:cubicBezTo>
                  <a:moveTo>
                    <a:pt x="18882" y="26147"/>
                  </a:moveTo>
                  <a:cubicBezTo>
                    <a:pt x="23896" y="26198"/>
                    <a:pt x="28002" y="22175"/>
                    <a:pt x="28052" y="17158"/>
                  </a:cubicBezTo>
                  <a:cubicBezTo>
                    <a:pt x="28055" y="16977"/>
                    <a:pt x="28049" y="16796"/>
                    <a:pt x="28041" y="16615"/>
                  </a:cubicBezTo>
                  <a:cubicBezTo>
                    <a:pt x="28292" y="11607"/>
                    <a:pt x="24434" y="7344"/>
                    <a:pt x="19425" y="7094"/>
                  </a:cubicBezTo>
                  <a:cubicBezTo>
                    <a:pt x="19244" y="7086"/>
                    <a:pt x="19063" y="7080"/>
                    <a:pt x="18882" y="7083"/>
                  </a:cubicBezTo>
                  <a:cubicBezTo>
                    <a:pt x="13898" y="7001"/>
                    <a:pt x="9792" y="10976"/>
                    <a:pt x="9709" y="15960"/>
                  </a:cubicBezTo>
                  <a:cubicBezTo>
                    <a:pt x="9707" y="16179"/>
                    <a:pt x="9709" y="16397"/>
                    <a:pt x="9723" y="16615"/>
                  </a:cubicBezTo>
                  <a:cubicBezTo>
                    <a:pt x="9443" y="21592"/>
                    <a:pt x="13251" y="25855"/>
                    <a:pt x="18227" y="26134"/>
                  </a:cubicBezTo>
                  <a:cubicBezTo>
                    <a:pt x="18445" y="26147"/>
                    <a:pt x="18664" y="26150"/>
                    <a:pt x="18882" y="26147"/>
                  </a:cubicBezTo>
                </a:path>
              </a:pathLst>
            </a:custGeom>
            <a:solidFill>
              <a:srgbClr val="8FDB42"/>
            </a:solidFill>
            <a:ln w="2661" cap="flat">
              <a:noFill/>
              <a:prstDash val="solid"/>
              <a:miter/>
            </a:ln>
          </p:spPr>
          <p:txBody>
            <a:bodyPr rtlCol="0" anchor="ctr"/>
            <a:lstStyle/>
            <a:p>
              <a:endParaRPr lang="pl-PL"/>
            </a:p>
          </p:txBody>
        </p:sp>
        <p:sp>
          <p:nvSpPr>
            <p:cNvPr id="125" name="Freeform: Shape 124">
              <a:extLst>
                <a:ext uri="{FF2B5EF4-FFF2-40B4-BE49-F238E27FC236}">
                  <a16:creationId xmlns:a16="http://schemas.microsoft.com/office/drawing/2014/main" id="{1ACBB335-0B34-4BE3-8D25-7BCC4C2FE2AA}"/>
                </a:ext>
              </a:extLst>
            </p:cNvPr>
            <p:cNvSpPr/>
            <p:nvPr/>
          </p:nvSpPr>
          <p:spPr>
            <a:xfrm>
              <a:off x="11764305" y="6750833"/>
              <a:ext cx="16853" cy="19128"/>
            </a:xfrm>
            <a:custGeom>
              <a:avLst/>
              <a:gdLst>
                <a:gd name="connsiteX0" fmla="*/ 16288 w 29863"/>
                <a:gd name="connsiteY0" fmla="*/ -346 h 33895"/>
                <a:gd name="connsiteX1" fmla="*/ 30266 w 29863"/>
                <a:gd name="connsiteY1" fmla="*/ 9400 h 33895"/>
                <a:gd name="connsiteX2" fmla="*/ 28376 w 29863"/>
                <a:gd name="connsiteY2" fmla="*/ 11476 h 33895"/>
                <a:gd name="connsiteX3" fmla="*/ 24275 w 29863"/>
                <a:gd name="connsiteY3" fmla="*/ 11476 h 33895"/>
                <a:gd name="connsiteX4" fmla="*/ 22065 w 29863"/>
                <a:gd name="connsiteY4" fmla="*/ 9719 h 33895"/>
                <a:gd name="connsiteX5" fmla="*/ 16048 w 29863"/>
                <a:gd name="connsiteY5" fmla="*/ 6444 h 33895"/>
                <a:gd name="connsiteX6" fmla="*/ 10723 w 29863"/>
                <a:gd name="connsiteY6" fmla="*/ 9266 h 33895"/>
                <a:gd name="connsiteX7" fmla="*/ 30852 w 29863"/>
                <a:gd name="connsiteY7" fmla="*/ 23591 h 33895"/>
                <a:gd name="connsiteX8" fmla="*/ 16687 w 29863"/>
                <a:gd name="connsiteY8" fmla="*/ 33550 h 33895"/>
                <a:gd name="connsiteX9" fmla="*/ 1058 w 29863"/>
                <a:gd name="connsiteY9" fmla="*/ 23511 h 33895"/>
                <a:gd name="connsiteX10" fmla="*/ 2868 w 29863"/>
                <a:gd name="connsiteY10" fmla="*/ 21381 h 33895"/>
                <a:gd name="connsiteX11" fmla="*/ 7128 w 29863"/>
                <a:gd name="connsiteY11" fmla="*/ 21381 h 33895"/>
                <a:gd name="connsiteX12" fmla="*/ 9338 w 29863"/>
                <a:gd name="connsiteY12" fmla="*/ 23006 h 33895"/>
                <a:gd name="connsiteX13" fmla="*/ 16873 w 29863"/>
                <a:gd name="connsiteY13" fmla="*/ 26786 h 33895"/>
                <a:gd name="connsiteX14" fmla="*/ 22385 w 29863"/>
                <a:gd name="connsiteY14" fmla="*/ 23645 h 33895"/>
                <a:gd name="connsiteX15" fmla="*/ 2256 w 29863"/>
                <a:gd name="connsiteY15" fmla="*/ 9453 h 33895"/>
                <a:gd name="connsiteX16" fmla="*/ 16128 w 29863"/>
                <a:gd name="connsiteY16" fmla="*/ -346 h 3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863" h="33895">
                  <a:moveTo>
                    <a:pt x="16288" y="-346"/>
                  </a:moveTo>
                  <a:cubicBezTo>
                    <a:pt x="24275" y="-346"/>
                    <a:pt x="28962" y="3622"/>
                    <a:pt x="30266" y="9400"/>
                  </a:cubicBezTo>
                  <a:cubicBezTo>
                    <a:pt x="30586" y="10704"/>
                    <a:pt x="29760" y="11476"/>
                    <a:pt x="28376" y="11476"/>
                  </a:cubicBezTo>
                  <a:lnTo>
                    <a:pt x="24275" y="11476"/>
                  </a:lnTo>
                  <a:cubicBezTo>
                    <a:pt x="23077" y="11476"/>
                    <a:pt x="22518" y="10837"/>
                    <a:pt x="22065" y="9719"/>
                  </a:cubicBezTo>
                  <a:cubicBezTo>
                    <a:pt x="21320" y="7642"/>
                    <a:pt x="19403" y="6444"/>
                    <a:pt x="16048" y="6444"/>
                  </a:cubicBezTo>
                  <a:cubicBezTo>
                    <a:pt x="12693" y="6444"/>
                    <a:pt x="10723" y="7562"/>
                    <a:pt x="10723" y="9266"/>
                  </a:cubicBezTo>
                  <a:cubicBezTo>
                    <a:pt x="10723" y="15364"/>
                    <a:pt x="30852" y="10971"/>
                    <a:pt x="30852" y="23591"/>
                  </a:cubicBezTo>
                  <a:cubicBezTo>
                    <a:pt x="30852" y="29982"/>
                    <a:pt x="25021" y="33550"/>
                    <a:pt x="16687" y="33550"/>
                  </a:cubicBezTo>
                  <a:cubicBezTo>
                    <a:pt x="8353" y="33550"/>
                    <a:pt x="2362" y="29928"/>
                    <a:pt x="1058" y="23511"/>
                  </a:cubicBezTo>
                  <a:cubicBezTo>
                    <a:pt x="738" y="22127"/>
                    <a:pt x="1563" y="21381"/>
                    <a:pt x="2868" y="21381"/>
                  </a:cubicBezTo>
                  <a:lnTo>
                    <a:pt x="7128" y="21381"/>
                  </a:lnTo>
                  <a:cubicBezTo>
                    <a:pt x="8153" y="21344"/>
                    <a:pt x="9067" y="22018"/>
                    <a:pt x="9338" y="23006"/>
                  </a:cubicBezTo>
                  <a:cubicBezTo>
                    <a:pt x="10853" y="25673"/>
                    <a:pt x="13827" y="27165"/>
                    <a:pt x="16873" y="26786"/>
                  </a:cubicBezTo>
                  <a:cubicBezTo>
                    <a:pt x="20255" y="26786"/>
                    <a:pt x="22385" y="25721"/>
                    <a:pt x="22385" y="23645"/>
                  </a:cubicBezTo>
                  <a:cubicBezTo>
                    <a:pt x="22385" y="17494"/>
                    <a:pt x="2256" y="22127"/>
                    <a:pt x="2256" y="9453"/>
                  </a:cubicBezTo>
                  <a:cubicBezTo>
                    <a:pt x="2256" y="3808"/>
                    <a:pt x="7075" y="-346"/>
                    <a:pt x="16128" y="-346"/>
                  </a:cubicBezTo>
                </a:path>
              </a:pathLst>
            </a:custGeom>
            <a:solidFill>
              <a:srgbClr val="8FDB42"/>
            </a:solidFill>
            <a:ln w="2661" cap="flat">
              <a:noFill/>
              <a:prstDash val="solid"/>
              <a:miter/>
            </a:ln>
          </p:spPr>
          <p:txBody>
            <a:bodyPr rtlCol="0" anchor="ctr"/>
            <a:lstStyle/>
            <a:p>
              <a:endParaRPr lang="pl-PL"/>
            </a:p>
          </p:txBody>
        </p:sp>
        <p:sp>
          <p:nvSpPr>
            <p:cNvPr id="126" name="Freeform: Shape 125">
              <a:extLst>
                <a:ext uri="{FF2B5EF4-FFF2-40B4-BE49-F238E27FC236}">
                  <a16:creationId xmlns:a16="http://schemas.microsoft.com/office/drawing/2014/main" id="{C4E0D0DA-ED2B-492F-B16D-3D98F58A5080}"/>
                </a:ext>
              </a:extLst>
            </p:cNvPr>
            <p:cNvSpPr/>
            <p:nvPr/>
          </p:nvSpPr>
          <p:spPr>
            <a:xfrm>
              <a:off x="11784416" y="6742209"/>
              <a:ext cx="6552" cy="27380"/>
            </a:xfrm>
            <a:custGeom>
              <a:avLst/>
              <a:gdLst>
                <a:gd name="connsiteX0" fmla="*/ 1098 w 11611"/>
                <a:gd name="connsiteY0" fmla="*/ 5352 h 48518"/>
                <a:gd name="connsiteX1" fmla="*/ 6796 w 11611"/>
                <a:gd name="connsiteY1" fmla="*/ -346 h 48518"/>
                <a:gd name="connsiteX2" fmla="*/ 6876 w 11611"/>
                <a:gd name="connsiteY2" fmla="*/ -346 h 48518"/>
                <a:gd name="connsiteX3" fmla="*/ 12600 w 11611"/>
                <a:gd name="connsiteY3" fmla="*/ 5352 h 48518"/>
                <a:gd name="connsiteX4" fmla="*/ 6769 w 11611"/>
                <a:gd name="connsiteY4" fmla="*/ 11263 h 48518"/>
                <a:gd name="connsiteX5" fmla="*/ 989 w 11611"/>
                <a:gd name="connsiteY5" fmla="*/ 5488 h 48518"/>
                <a:gd name="connsiteX6" fmla="*/ 991 w 11611"/>
                <a:gd name="connsiteY6" fmla="*/ 5352 h 48518"/>
                <a:gd name="connsiteX7" fmla="*/ 10710 w 11611"/>
                <a:gd name="connsiteY7" fmla="*/ 17521 h 48518"/>
                <a:gd name="connsiteX8" fmla="*/ 10710 w 11611"/>
                <a:gd name="connsiteY8" fmla="*/ 46144 h 48518"/>
                <a:gd name="connsiteX9" fmla="*/ 9019 w 11611"/>
                <a:gd name="connsiteY9" fmla="*/ 48165 h 48518"/>
                <a:gd name="connsiteX10" fmla="*/ 8713 w 11611"/>
                <a:gd name="connsiteY10" fmla="*/ 48167 h 48518"/>
                <a:gd name="connsiteX11" fmla="*/ 4000 w 11611"/>
                <a:gd name="connsiteY11" fmla="*/ 48167 h 48518"/>
                <a:gd name="connsiteX12" fmla="*/ 2001 w 11611"/>
                <a:gd name="connsiteY12" fmla="*/ 46450 h 48518"/>
                <a:gd name="connsiteX13" fmla="*/ 2003 w 11611"/>
                <a:gd name="connsiteY13" fmla="*/ 46144 h 48518"/>
                <a:gd name="connsiteX14" fmla="*/ 2003 w 11611"/>
                <a:gd name="connsiteY14" fmla="*/ 17600 h 48518"/>
                <a:gd name="connsiteX15" fmla="*/ 3665 w 11611"/>
                <a:gd name="connsiteY15" fmla="*/ 15603 h 48518"/>
                <a:gd name="connsiteX16" fmla="*/ 4000 w 11611"/>
                <a:gd name="connsiteY16" fmla="*/ 15603 h 48518"/>
                <a:gd name="connsiteX17" fmla="*/ 8713 w 11611"/>
                <a:gd name="connsiteY17" fmla="*/ 15603 h 48518"/>
                <a:gd name="connsiteX18" fmla="*/ 10710 w 11611"/>
                <a:gd name="connsiteY18" fmla="*/ 17265 h 48518"/>
                <a:gd name="connsiteX19" fmla="*/ 10710 w 11611"/>
                <a:gd name="connsiteY19" fmla="*/ 17600 h 48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11" h="48518">
                  <a:moveTo>
                    <a:pt x="1098" y="5352"/>
                  </a:moveTo>
                  <a:cubicBezTo>
                    <a:pt x="1098" y="2205"/>
                    <a:pt x="3649" y="-346"/>
                    <a:pt x="6796" y="-346"/>
                  </a:cubicBezTo>
                  <a:cubicBezTo>
                    <a:pt x="6823" y="-346"/>
                    <a:pt x="6849" y="-346"/>
                    <a:pt x="6876" y="-346"/>
                  </a:cubicBezTo>
                  <a:cubicBezTo>
                    <a:pt x="10004" y="-290"/>
                    <a:pt x="12529" y="2224"/>
                    <a:pt x="12600" y="5352"/>
                  </a:cubicBezTo>
                  <a:cubicBezTo>
                    <a:pt x="12600" y="8585"/>
                    <a:pt x="10002" y="11221"/>
                    <a:pt x="6769" y="11263"/>
                  </a:cubicBezTo>
                  <a:cubicBezTo>
                    <a:pt x="3579" y="11263"/>
                    <a:pt x="991" y="8678"/>
                    <a:pt x="989" y="5488"/>
                  </a:cubicBezTo>
                  <a:cubicBezTo>
                    <a:pt x="989" y="5443"/>
                    <a:pt x="991" y="5398"/>
                    <a:pt x="991" y="5352"/>
                  </a:cubicBezTo>
                  <a:moveTo>
                    <a:pt x="10710" y="17521"/>
                  </a:moveTo>
                  <a:lnTo>
                    <a:pt x="10710" y="46144"/>
                  </a:lnTo>
                  <a:cubicBezTo>
                    <a:pt x="10800" y="47169"/>
                    <a:pt x="10044" y="48074"/>
                    <a:pt x="9019" y="48165"/>
                  </a:cubicBezTo>
                  <a:cubicBezTo>
                    <a:pt x="8918" y="48175"/>
                    <a:pt x="8814" y="48175"/>
                    <a:pt x="8713" y="48167"/>
                  </a:cubicBezTo>
                  <a:lnTo>
                    <a:pt x="4000" y="48167"/>
                  </a:lnTo>
                  <a:cubicBezTo>
                    <a:pt x="2975" y="48244"/>
                    <a:pt x="2078" y="47475"/>
                    <a:pt x="2001" y="46450"/>
                  </a:cubicBezTo>
                  <a:cubicBezTo>
                    <a:pt x="1993" y="46349"/>
                    <a:pt x="1995" y="46245"/>
                    <a:pt x="2003" y="46144"/>
                  </a:cubicBezTo>
                  <a:lnTo>
                    <a:pt x="2003" y="17600"/>
                  </a:lnTo>
                  <a:cubicBezTo>
                    <a:pt x="1910" y="16591"/>
                    <a:pt x="2656" y="15697"/>
                    <a:pt x="3665" y="15603"/>
                  </a:cubicBezTo>
                  <a:cubicBezTo>
                    <a:pt x="3776" y="15593"/>
                    <a:pt x="3888" y="15593"/>
                    <a:pt x="4000" y="15603"/>
                  </a:cubicBezTo>
                  <a:lnTo>
                    <a:pt x="8713" y="15603"/>
                  </a:lnTo>
                  <a:cubicBezTo>
                    <a:pt x="9722" y="15510"/>
                    <a:pt x="10617" y="16256"/>
                    <a:pt x="10710" y="17265"/>
                  </a:cubicBezTo>
                  <a:cubicBezTo>
                    <a:pt x="10721" y="17377"/>
                    <a:pt x="10721" y="17489"/>
                    <a:pt x="10710" y="17600"/>
                  </a:cubicBezTo>
                </a:path>
              </a:pathLst>
            </a:custGeom>
            <a:solidFill>
              <a:srgbClr val="8FDB42"/>
            </a:solidFill>
            <a:ln w="2661" cap="flat">
              <a:noFill/>
              <a:prstDash val="solid"/>
              <a:miter/>
            </a:ln>
          </p:spPr>
          <p:txBody>
            <a:bodyPr rtlCol="0" anchor="ctr"/>
            <a:lstStyle/>
            <a:p>
              <a:endParaRPr lang="pl-PL"/>
            </a:p>
          </p:txBody>
        </p:sp>
        <p:sp>
          <p:nvSpPr>
            <p:cNvPr id="127" name="Freeform: Shape 126">
              <a:extLst>
                <a:ext uri="{FF2B5EF4-FFF2-40B4-BE49-F238E27FC236}">
                  <a16:creationId xmlns:a16="http://schemas.microsoft.com/office/drawing/2014/main" id="{8E2B4B93-4FD7-48C8-8D98-94D6363B25C7}"/>
                </a:ext>
              </a:extLst>
            </p:cNvPr>
            <p:cNvSpPr/>
            <p:nvPr/>
          </p:nvSpPr>
          <p:spPr>
            <a:xfrm>
              <a:off x="11793381" y="6746197"/>
              <a:ext cx="13675" cy="23794"/>
            </a:xfrm>
            <a:custGeom>
              <a:avLst/>
              <a:gdLst>
                <a:gd name="connsiteX0" fmla="*/ 1029 w 24233"/>
                <a:gd name="connsiteY0" fmla="*/ 13782 h 42164"/>
                <a:gd name="connsiteX1" fmla="*/ 1029 w 24233"/>
                <a:gd name="connsiteY1" fmla="*/ 10533 h 42164"/>
                <a:gd name="connsiteX2" fmla="*/ 2608 w 24233"/>
                <a:gd name="connsiteY2" fmla="*/ 8518 h 42164"/>
                <a:gd name="connsiteX3" fmla="*/ 2972 w 24233"/>
                <a:gd name="connsiteY3" fmla="*/ 8510 h 42164"/>
                <a:gd name="connsiteX4" fmla="*/ 5049 w 24233"/>
                <a:gd name="connsiteY4" fmla="*/ 8510 h 42164"/>
                <a:gd name="connsiteX5" fmla="*/ 5741 w 24233"/>
                <a:gd name="connsiteY5" fmla="*/ 7817 h 42164"/>
                <a:gd name="connsiteX6" fmla="*/ 5741 w 24233"/>
                <a:gd name="connsiteY6" fmla="*/ 3105 h 42164"/>
                <a:gd name="connsiteX7" fmla="*/ 7419 w 24233"/>
                <a:gd name="connsiteY7" fmla="*/ 921 h 42164"/>
                <a:gd name="connsiteX8" fmla="*/ 11892 w 24233"/>
                <a:gd name="connsiteY8" fmla="*/ -224 h 42164"/>
                <a:gd name="connsiteX9" fmla="*/ 14043 w 24233"/>
                <a:gd name="connsiteY9" fmla="*/ 684 h 42164"/>
                <a:gd name="connsiteX10" fmla="*/ 14155 w 24233"/>
                <a:gd name="connsiteY10" fmla="*/ 1480 h 42164"/>
                <a:gd name="connsiteX11" fmla="*/ 14155 w 24233"/>
                <a:gd name="connsiteY11" fmla="*/ 7871 h 42164"/>
                <a:gd name="connsiteX12" fmla="*/ 14794 w 24233"/>
                <a:gd name="connsiteY12" fmla="*/ 8563 h 42164"/>
                <a:gd name="connsiteX13" fmla="*/ 14848 w 24233"/>
                <a:gd name="connsiteY13" fmla="*/ 8563 h 42164"/>
                <a:gd name="connsiteX14" fmla="*/ 22835 w 24233"/>
                <a:gd name="connsiteY14" fmla="*/ 8563 h 42164"/>
                <a:gd name="connsiteX15" fmla="*/ 24859 w 24233"/>
                <a:gd name="connsiteY15" fmla="*/ 10251 h 42164"/>
                <a:gd name="connsiteX16" fmla="*/ 24859 w 24233"/>
                <a:gd name="connsiteY16" fmla="*/ 10587 h 42164"/>
                <a:gd name="connsiteX17" fmla="*/ 24859 w 24233"/>
                <a:gd name="connsiteY17" fmla="*/ 13888 h 42164"/>
                <a:gd name="connsiteX18" fmla="*/ 23171 w 24233"/>
                <a:gd name="connsiteY18" fmla="*/ 15912 h 42164"/>
                <a:gd name="connsiteX19" fmla="*/ 22835 w 24233"/>
                <a:gd name="connsiteY19" fmla="*/ 15912 h 42164"/>
                <a:gd name="connsiteX20" fmla="*/ 14848 w 24233"/>
                <a:gd name="connsiteY20" fmla="*/ 15912 h 42164"/>
                <a:gd name="connsiteX21" fmla="*/ 14150 w 24233"/>
                <a:gd name="connsiteY21" fmla="*/ 16545 h 42164"/>
                <a:gd name="connsiteX22" fmla="*/ 14155 w 24233"/>
                <a:gd name="connsiteY22" fmla="*/ 16657 h 42164"/>
                <a:gd name="connsiteX23" fmla="*/ 14155 w 24233"/>
                <a:gd name="connsiteY23" fmla="*/ 30157 h 42164"/>
                <a:gd name="connsiteX24" fmla="*/ 17590 w 24233"/>
                <a:gd name="connsiteY24" fmla="*/ 34177 h 42164"/>
                <a:gd name="connsiteX25" fmla="*/ 22436 w 24233"/>
                <a:gd name="connsiteY25" fmla="*/ 33485 h 42164"/>
                <a:gd name="connsiteX26" fmla="*/ 24683 w 24233"/>
                <a:gd name="connsiteY26" fmla="*/ 34454 h 42164"/>
                <a:gd name="connsiteX27" fmla="*/ 24806 w 24233"/>
                <a:gd name="connsiteY27" fmla="*/ 35109 h 42164"/>
                <a:gd name="connsiteX28" fmla="*/ 25178 w 24233"/>
                <a:gd name="connsiteY28" fmla="*/ 38384 h 42164"/>
                <a:gd name="connsiteX29" fmla="*/ 23639 w 24233"/>
                <a:gd name="connsiteY29" fmla="*/ 40754 h 42164"/>
                <a:gd name="connsiteX30" fmla="*/ 23634 w 24233"/>
                <a:gd name="connsiteY30" fmla="*/ 40754 h 42164"/>
                <a:gd name="connsiteX31" fmla="*/ 15966 w 24233"/>
                <a:gd name="connsiteY31" fmla="*/ 41819 h 42164"/>
                <a:gd name="connsiteX32" fmla="*/ 5315 w 24233"/>
                <a:gd name="connsiteY32" fmla="*/ 30343 h 42164"/>
                <a:gd name="connsiteX33" fmla="*/ 5315 w 24233"/>
                <a:gd name="connsiteY33" fmla="*/ 16657 h 42164"/>
                <a:gd name="connsiteX34" fmla="*/ 4703 w 24233"/>
                <a:gd name="connsiteY34" fmla="*/ 15859 h 42164"/>
                <a:gd name="connsiteX35" fmla="*/ 2946 w 24233"/>
                <a:gd name="connsiteY35" fmla="*/ 15859 h 42164"/>
                <a:gd name="connsiteX36" fmla="*/ 994 w 24233"/>
                <a:gd name="connsiteY36" fmla="*/ 14200 h 42164"/>
                <a:gd name="connsiteX37" fmla="*/ 1002 w 24233"/>
                <a:gd name="connsiteY37" fmla="*/ 13835 h 42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233" h="42164">
                  <a:moveTo>
                    <a:pt x="1029" y="13782"/>
                  </a:moveTo>
                  <a:lnTo>
                    <a:pt x="1029" y="10533"/>
                  </a:lnTo>
                  <a:cubicBezTo>
                    <a:pt x="909" y="9540"/>
                    <a:pt x="1614" y="8637"/>
                    <a:pt x="2608" y="8518"/>
                  </a:cubicBezTo>
                  <a:cubicBezTo>
                    <a:pt x="2727" y="8502"/>
                    <a:pt x="2850" y="8499"/>
                    <a:pt x="2972" y="8510"/>
                  </a:cubicBezTo>
                  <a:lnTo>
                    <a:pt x="5049" y="8510"/>
                  </a:lnTo>
                  <a:cubicBezTo>
                    <a:pt x="5432" y="8510"/>
                    <a:pt x="5741" y="8201"/>
                    <a:pt x="5741" y="7817"/>
                  </a:cubicBezTo>
                  <a:lnTo>
                    <a:pt x="5741" y="3105"/>
                  </a:lnTo>
                  <a:cubicBezTo>
                    <a:pt x="5630" y="2045"/>
                    <a:pt x="6367" y="1086"/>
                    <a:pt x="7419" y="921"/>
                  </a:cubicBezTo>
                  <a:lnTo>
                    <a:pt x="11892" y="-224"/>
                  </a:lnTo>
                  <a:cubicBezTo>
                    <a:pt x="12736" y="-567"/>
                    <a:pt x="13700" y="-160"/>
                    <a:pt x="14043" y="684"/>
                  </a:cubicBezTo>
                  <a:cubicBezTo>
                    <a:pt x="14145" y="937"/>
                    <a:pt x="14184" y="1209"/>
                    <a:pt x="14155" y="1480"/>
                  </a:cubicBezTo>
                  <a:lnTo>
                    <a:pt x="14155" y="7871"/>
                  </a:lnTo>
                  <a:cubicBezTo>
                    <a:pt x="14139" y="8238"/>
                    <a:pt x="14427" y="8547"/>
                    <a:pt x="14794" y="8563"/>
                  </a:cubicBezTo>
                  <a:cubicBezTo>
                    <a:pt x="14810" y="8563"/>
                    <a:pt x="14829" y="8563"/>
                    <a:pt x="14848" y="8563"/>
                  </a:cubicBezTo>
                  <a:lnTo>
                    <a:pt x="22835" y="8563"/>
                  </a:lnTo>
                  <a:cubicBezTo>
                    <a:pt x="23861" y="8470"/>
                    <a:pt x="24766" y="9226"/>
                    <a:pt x="24859" y="10251"/>
                  </a:cubicBezTo>
                  <a:cubicBezTo>
                    <a:pt x="24870" y="10363"/>
                    <a:pt x="24870" y="10475"/>
                    <a:pt x="24859" y="10587"/>
                  </a:cubicBezTo>
                  <a:lnTo>
                    <a:pt x="24859" y="13888"/>
                  </a:lnTo>
                  <a:cubicBezTo>
                    <a:pt x="24952" y="14913"/>
                    <a:pt x="24196" y="15819"/>
                    <a:pt x="23171" y="15912"/>
                  </a:cubicBezTo>
                  <a:cubicBezTo>
                    <a:pt x="23059" y="15922"/>
                    <a:pt x="22947" y="15922"/>
                    <a:pt x="22835" y="15912"/>
                  </a:cubicBezTo>
                  <a:lnTo>
                    <a:pt x="14848" y="15912"/>
                  </a:lnTo>
                  <a:cubicBezTo>
                    <a:pt x="14480" y="15893"/>
                    <a:pt x="14169" y="16178"/>
                    <a:pt x="14150" y="16545"/>
                  </a:cubicBezTo>
                  <a:cubicBezTo>
                    <a:pt x="14150" y="16583"/>
                    <a:pt x="14150" y="16620"/>
                    <a:pt x="14155" y="16657"/>
                  </a:cubicBezTo>
                  <a:lnTo>
                    <a:pt x="14155" y="30157"/>
                  </a:lnTo>
                  <a:cubicBezTo>
                    <a:pt x="14155" y="32819"/>
                    <a:pt x="15034" y="34177"/>
                    <a:pt x="17590" y="34177"/>
                  </a:cubicBezTo>
                  <a:cubicBezTo>
                    <a:pt x="19230" y="34175"/>
                    <a:pt x="20860" y="33940"/>
                    <a:pt x="22436" y="33485"/>
                  </a:cubicBezTo>
                  <a:cubicBezTo>
                    <a:pt x="23325" y="33131"/>
                    <a:pt x="24332" y="33565"/>
                    <a:pt x="24683" y="34454"/>
                  </a:cubicBezTo>
                  <a:cubicBezTo>
                    <a:pt x="24766" y="34662"/>
                    <a:pt x="24808" y="34886"/>
                    <a:pt x="24806" y="35109"/>
                  </a:cubicBezTo>
                  <a:lnTo>
                    <a:pt x="25178" y="38384"/>
                  </a:lnTo>
                  <a:cubicBezTo>
                    <a:pt x="25407" y="39463"/>
                    <a:pt x="24718" y="40522"/>
                    <a:pt x="23639" y="40754"/>
                  </a:cubicBezTo>
                  <a:cubicBezTo>
                    <a:pt x="23639" y="40754"/>
                    <a:pt x="23637" y="40754"/>
                    <a:pt x="23634" y="40754"/>
                  </a:cubicBezTo>
                  <a:cubicBezTo>
                    <a:pt x="21139" y="41462"/>
                    <a:pt x="18559" y="41822"/>
                    <a:pt x="15966" y="41819"/>
                  </a:cubicBezTo>
                  <a:cubicBezTo>
                    <a:pt x="10241" y="41819"/>
                    <a:pt x="5315" y="38943"/>
                    <a:pt x="5315" y="30343"/>
                  </a:cubicBezTo>
                  <a:lnTo>
                    <a:pt x="5315" y="16657"/>
                  </a:lnTo>
                  <a:cubicBezTo>
                    <a:pt x="5363" y="16269"/>
                    <a:pt x="5092" y="15914"/>
                    <a:pt x="4703" y="15859"/>
                  </a:cubicBezTo>
                  <a:lnTo>
                    <a:pt x="2946" y="15859"/>
                  </a:lnTo>
                  <a:cubicBezTo>
                    <a:pt x="1950" y="15938"/>
                    <a:pt x="1076" y="15198"/>
                    <a:pt x="994" y="14200"/>
                  </a:cubicBezTo>
                  <a:cubicBezTo>
                    <a:pt x="986" y="14080"/>
                    <a:pt x="986" y="13957"/>
                    <a:pt x="1002" y="13835"/>
                  </a:cubicBezTo>
                </a:path>
              </a:pathLst>
            </a:custGeom>
            <a:solidFill>
              <a:srgbClr val="8FDB42"/>
            </a:solidFill>
            <a:ln w="2661" cap="flat">
              <a:noFill/>
              <a:prstDash val="solid"/>
              <a:miter/>
            </a:ln>
          </p:spPr>
          <p:txBody>
            <a:bodyPr rtlCol="0" anchor="ctr"/>
            <a:lstStyle/>
            <a:p>
              <a:endParaRPr lang="pl-PL"/>
            </a:p>
          </p:txBody>
        </p:sp>
        <p:sp>
          <p:nvSpPr>
            <p:cNvPr id="128" name="Freeform: Shape 127">
              <a:extLst>
                <a:ext uri="{FF2B5EF4-FFF2-40B4-BE49-F238E27FC236}">
                  <a16:creationId xmlns:a16="http://schemas.microsoft.com/office/drawing/2014/main" id="{77DF1EBB-F8DA-4C82-9758-7EE86EE8D188}"/>
                </a:ext>
              </a:extLst>
            </p:cNvPr>
            <p:cNvSpPr/>
            <p:nvPr/>
          </p:nvSpPr>
          <p:spPr>
            <a:xfrm>
              <a:off x="11809766" y="6742209"/>
              <a:ext cx="6552" cy="27380"/>
            </a:xfrm>
            <a:custGeom>
              <a:avLst/>
              <a:gdLst>
                <a:gd name="connsiteX0" fmla="*/ 991 w 11611"/>
                <a:gd name="connsiteY0" fmla="*/ 5352 h 48518"/>
                <a:gd name="connsiteX1" fmla="*/ 6689 w 11611"/>
                <a:gd name="connsiteY1" fmla="*/ -346 h 48518"/>
                <a:gd name="connsiteX2" fmla="*/ 6769 w 11611"/>
                <a:gd name="connsiteY2" fmla="*/ -346 h 48518"/>
                <a:gd name="connsiteX3" fmla="*/ 12600 w 11611"/>
                <a:gd name="connsiteY3" fmla="*/ 5352 h 48518"/>
                <a:gd name="connsiteX4" fmla="*/ 6769 w 11611"/>
                <a:gd name="connsiteY4" fmla="*/ 11263 h 48518"/>
                <a:gd name="connsiteX5" fmla="*/ 989 w 11611"/>
                <a:gd name="connsiteY5" fmla="*/ 5488 h 48518"/>
                <a:gd name="connsiteX6" fmla="*/ 991 w 11611"/>
                <a:gd name="connsiteY6" fmla="*/ 5352 h 48518"/>
                <a:gd name="connsiteX7" fmla="*/ 10710 w 11611"/>
                <a:gd name="connsiteY7" fmla="*/ 17521 h 48518"/>
                <a:gd name="connsiteX8" fmla="*/ 10710 w 11611"/>
                <a:gd name="connsiteY8" fmla="*/ 46144 h 48518"/>
                <a:gd name="connsiteX9" fmla="*/ 9019 w 11611"/>
                <a:gd name="connsiteY9" fmla="*/ 48165 h 48518"/>
                <a:gd name="connsiteX10" fmla="*/ 8713 w 11611"/>
                <a:gd name="connsiteY10" fmla="*/ 48167 h 48518"/>
                <a:gd name="connsiteX11" fmla="*/ 4000 w 11611"/>
                <a:gd name="connsiteY11" fmla="*/ 48167 h 48518"/>
                <a:gd name="connsiteX12" fmla="*/ 2001 w 11611"/>
                <a:gd name="connsiteY12" fmla="*/ 46450 h 48518"/>
                <a:gd name="connsiteX13" fmla="*/ 2003 w 11611"/>
                <a:gd name="connsiteY13" fmla="*/ 46144 h 48518"/>
                <a:gd name="connsiteX14" fmla="*/ 2003 w 11611"/>
                <a:gd name="connsiteY14" fmla="*/ 17600 h 48518"/>
                <a:gd name="connsiteX15" fmla="*/ 3665 w 11611"/>
                <a:gd name="connsiteY15" fmla="*/ 15603 h 48518"/>
                <a:gd name="connsiteX16" fmla="*/ 4000 w 11611"/>
                <a:gd name="connsiteY16" fmla="*/ 15603 h 48518"/>
                <a:gd name="connsiteX17" fmla="*/ 8713 w 11611"/>
                <a:gd name="connsiteY17" fmla="*/ 15603 h 48518"/>
                <a:gd name="connsiteX18" fmla="*/ 10710 w 11611"/>
                <a:gd name="connsiteY18" fmla="*/ 17265 h 48518"/>
                <a:gd name="connsiteX19" fmla="*/ 10710 w 11611"/>
                <a:gd name="connsiteY19" fmla="*/ 17600 h 48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11" h="48518">
                  <a:moveTo>
                    <a:pt x="991" y="5352"/>
                  </a:moveTo>
                  <a:cubicBezTo>
                    <a:pt x="991" y="2205"/>
                    <a:pt x="3542" y="-346"/>
                    <a:pt x="6689" y="-346"/>
                  </a:cubicBezTo>
                  <a:cubicBezTo>
                    <a:pt x="6716" y="-346"/>
                    <a:pt x="6743" y="-346"/>
                    <a:pt x="6769" y="-346"/>
                  </a:cubicBezTo>
                  <a:cubicBezTo>
                    <a:pt x="9938" y="-346"/>
                    <a:pt x="12529" y="2184"/>
                    <a:pt x="12600" y="5352"/>
                  </a:cubicBezTo>
                  <a:cubicBezTo>
                    <a:pt x="12600" y="8585"/>
                    <a:pt x="10002" y="11221"/>
                    <a:pt x="6769" y="11263"/>
                  </a:cubicBezTo>
                  <a:cubicBezTo>
                    <a:pt x="3579" y="11263"/>
                    <a:pt x="991" y="8678"/>
                    <a:pt x="989" y="5488"/>
                  </a:cubicBezTo>
                  <a:cubicBezTo>
                    <a:pt x="989" y="5443"/>
                    <a:pt x="991" y="5398"/>
                    <a:pt x="991" y="5352"/>
                  </a:cubicBezTo>
                  <a:moveTo>
                    <a:pt x="10710" y="17521"/>
                  </a:moveTo>
                  <a:lnTo>
                    <a:pt x="10710" y="46144"/>
                  </a:lnTo>
                  <a:cubicBezTo>
                    <a:pt x="10800" y="47169"/>
                    <a:pt x="10044" y="48074"/>
                    <a:pt x="9019" y="48165"/>
                  </a:cubicBezTo>
                  <a:cubicBezTo>
                    <a:pt x="8918" y="48175"/>
                    <a:pt x="8814" y="48175"/>
                    <a:pt x="8713" y="48167"/>
                  </a:cubicBezTo>
                  <a:lnTo>
                    <a:pt x="4000" y="48167"/>
                  </a:lnTo>
                  <a:cubicBezTo>
                    <a:pt x="2975" y="48244"/>
                    <a:pt x="2078" y="47475"/>
                    <a:pt x="2001" y="46450"/>
                  </a:cubicBezTo>
                  <a:cubicBezTo>
                    <a:pt x="1993" y="46349"/>
                    <a:pt x="1995" y="46245"/>
                    <a:pt x="2003" y="46144"/>
                  </a:cubicBezTo>
                  <a:lnTo>
                    <a:pt x="2003" y="17600"/>
                  </a:lnTo>
                  <a:cubicBezTo>
                    <a:pt x="1910" y="16591"/>
                    <a:pt x="2656" y="15697"/>
                    <a:pt x="3665" y="15603"/>
                  </a:cubicBezTo>
                  <a:cubicBezTo>
                    <a:pt x="3777" y="15593"/>
                    <a:pt x="3888" y="15593"/>
                    <a:pt x="4000" y="15603"/>
                  </a:cubicBezTo>
                  <a:lnTo>
                    <a:pt x="8713" y="15603"/>
                  </a:lnTo>
                  <a:cubicBezTo>
                    <a:pt x="9722" y="15510"/>
                    <a:pt x="10617" y="16256"/>
                    <a:pt x="10710" y="17265"/>
                  </a:cubicBezTo>
                  <a:cubicBezTo>
                    <a:pt x="10721" y="17377"/>
                    <a:pt x="10721" y="17489"/>
                    <a:pt x="10710" y="17600"/>
                  </a:cubicBezTo>
                </a:path>
              </a:pathLst>
            </a:custGeom>
            <a:solidFill>
              <a:srgbClr val="8FDB42"/>
            </a:solidFill>
            <a:ln w="2661" cap="flat">
              <a:noFill/>
              <a:prstDash val="solid"/>
              <a:miter/>
            </a:ln>
          </p:spPr>
          <p:txBody>
            <a:bodyPr rtlCol="0" anchor="ctr"/>
            <a:lstStyle/>
            <a:p>
              <a:endParaRPr lang="pl-PL"/>
            </a:p>
          </p:txBody>
        </p:sp>
        <p:sp>
          <p:nvSpPr>
            <p:cNvPr id="129" name="Freeform: Shape 128">
              <a:extLst>
                <a:ext uri="{FF2B5EF4-FFF2-40B4-BE49-F238E27FC236}">
                  <a16:creationId xmlns:a16="http://schemas.microsoft.com/office/drawing/2014/main" id="{CFF4F197-214B-486F-8282-586EE96281C7}"/>
                </a:ext>
              </a:extLst>
            </p:cNvPr>
            <p:cNvSpPr/>
            <p:nvPr/>
          </p:nvSpPr>
          <p:spPr>
            <a:xfrm>
              <a:off x="11818135" y="6751161"/>
              <a:ext cx="19391" cy="18427"/>
            </a:xfrm>
            <a:custGeom>
              <a:avLst/>
              <a:gdLst>
                <a:gd name="connsiteX0" fmla="*/ 3041 w 34361"/>
                <a:gd name="connsiteY0" fmla="*/ -340 h 32653"/>
                <a:gd name="connsiteX1" fmla="*/ 8766 w 34361"/>
                <a:gd name="connsiteY1" fmla="*/ -340 h 32653"/>
                <a:gd name="connsiteX2" fmla="*/ 11029 w 34361"/>
                <a:gd name="connsiteY2" fmla="*/ 1364 h 32653"/>
                <a:gd name="connsiteX3" fmla="*/ 17606 w 34361"/>
                <a:gd name="connsiteY3" fmla="*/ 22665 h 32653"/>
                <a:gd name="connsiteX4" fmla="*/ 19257 w 34361"/>
                <a:gd name="connsiteY4" fmla="*/ 22665 h 32653"/>
                <a:gd name="connsiteX5" fmla="*/ 26020 w 34361"/>
                <a:gd name="connsiteY5" fmla="*/ 1364 h 32653"/>
                <a:gd name="connsiteX6" fmla="*/ 28230 w 34361"/>
                <a:gd name="connsiteY6" fmla="*/ -340 h 32653"/>
                <a:gd name="connsiteX7" fmla="*/ 33555 w 34361"/>
                <a:gd name="connsiteY7" fmla="*/ -340 h 32653"/>
                <a:gd name="connsiteX8" fmla="*/ 35179 w 34361"/>
                <a:gd name="connsiteY8" fmla="*/ 1976 h 32653"/>
                <a:gd name="connsiteX9" fmla="*/ 23623 w 34361"/>
                <a:gd name="connsiteY9" fmla="*/ 30546 h 32653"/>
                <a:gd name="connsiteX10" fmla="*/ 20961 w 34361"/>
                <a:gd name="connsiteY10" fmla="*/ 32304 h 32653"/>
                <a:gd name="connsiteX11" fmla="*/ 15130 w 34361"/>
                <a:gd name="connsiteY11" fmla="*/ 32304 h 32653"/>
                <a:gd name="connsiteX12" fmla="*/ 12467 w 34361"/>
                <a:gd name="connsiteY12" fmla="*/ 30546 h 32653"/>
                <a:gd name="connsiteX13" fmla="*/ 1178 w 34361"/>
                <a:gd name="connsiteY13" fmla="*/ 1923 h 32653"/>
                <a:gd name="connsiteX14" fmla="*/ 2748 w 34361"/>
                <a:gd name="connsiteY14" fmla="*/ -340 h 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361" h="32653">
                  <a:moveTo>
                    <a:pt x="3041" y="-340"/>
                  </a:moveTo>
                  <a:lnTo>
                    <a:pt x="8766" y="-340"/>
                  </a:lnTo>
                  <a:cubicBezTo>
                    <a:pt x="9839" y="-417"/>
                    <a:pt x="10806" y="310"/>
                    <a:pt x="11029" y="1364"/>
                  </a:cubicBezTo>
                  <a:lnTo>
                    <a:pt x="17606" y="22665"/>
                  </a:lnTo>
                  <a:cubicBezTo>
                    <a:pt x="18005" y="23757"/>
                    <a:pt x="18884" y="23757"/>
                    <a:pt x="19257" y="22665"/>
                  </a:cubicBezTo>
                  <a:lnTo>
                    <a:pt x="26020" y="1364"/>
                  </a:lnTo>
                  <a:cubicBezTo>
                    <a:pt x="26230" y="326"/>
                    <a:pt x="27173" y="-401"/>
                    <a:pt x="28230" y="-340"/>
                  </a:cubicBezTo>
                  <a:lnTo>
                    <a:pt x="33555" y="-340"/>
                  </a:lnTo>
                  <a:cubicBezTo>
                    <a:pt x="35046" y="-340"/>
                    <a:pt x="35685" y="592"/>
                    <a:pt x="35179" y="1976"/>
                  </a:cubicBezTo>
                  <a:lnTo>
                    <a:pt x="23623" y="30546"/>
                  </a:lnTo>
                  <a:cubicBezTo>
                    <a:pt x="23224" y="31657"/>
                    <a:pt x="22140" y="32373"/>
                    <a:pt x="20961" y="32304"/>
                  </a:cubicBezTo>
                  <a:lnTo>
                    <a:pt x="15130" y="32304"/>
                  </a:lnTo>
                  <a:cubicBezTo>
                    <a:pt x="13950" y="32373"/>
                    <a:pt x="12866" y="31657"/>
                    <a:pt x="12467" y="30546"/>
                  </a:cubicBezTo>
                  <a:lnTo>
                    <a:pt x="1178" y="1923"/>
                  </a:lnTo>
                  <a:cubicBezTo>
                    <a:pt x="672" y="592"/>
                    <a:pt x="1178" y="-340"/>
                    <a:pt x="2748" y="-340"/>
                  </a:cubicBezTo>
                </a:path>
              </a:pathLst>
            </a:custGeom>
            <a:solidFill>
              <a:srgbClr val="8FDB42"/>
            </a:solidFill>
            <a:ln w="2661" cap="flat">
              <a:noFill/>
              <a:prstDash val="solid"/>
              <a:miter/>
            </a:ln>
          </p:spPr>
          <p:txBody>
            <a:bodyPr rtlCol="0" anchor="ctr"/>
            <a:lstStyle/>
            <a:p>
              <a:endParaRPr lang="pl-PL"/>
            </a:p>
          </p:txBody>
        </p:sp>
        <p:sp>
          <p:nvSpPr>
            <p:cNvPr id="130" name="Freeform: Shape 129">
              <a:extLst>
                <a:ext uri="{FF2B5EF4-FFF2-40B4-BE49-F238E27FC236}">
                  <a16:creationId xmlns:a16="http://schemas.microsoft.com/office/drawing/2014/main" id="{C02C761C-C53C-4237-8595-F7B717D65201}"/>
                </a:ext>
              </a:extLst>
            </p:cNvPr>
            <p:cNvSpPr/>
            <p:nvPr/>
          </p:nvSpPr>
          <p:spPr>
            <a:xfrm>
              <a:off x="11839093" y="6750822"/>
              <a:ext cx="18454" cy="19157"/>
            </a:xfrm>
            <a:custGeom>
              <a:avLst/>
              <a:gdLst>
                <a:gd name="connsiteX0" fmla="*/ 17931 w 32701"/>
                <a:gd name="connsiteY0" fmla="*/ -324 h 33946"/>
                <a:gd name="connsiteX1" fmla="*/ 33689 w 32701"/>
                <a:gd name="connsiteY1" fmla="*/ 15867 h 33946"/>
                <a:gd name="connsiteX2" fmla="*/ 33614 w 32701"/>
                <a:gd name="connsiteY2" fmla="*/ 17196 h 33946"/>
                <a:gd name="connsiteX3" fmla="*/ 31809 w 32701"/>
                <a:gd name="connsiteY3" fmla="*/ 19012 h 33946"/>
                <a:gd name="connsiteX4" fmla="*/ 31670 w 32701"/>
                <a:gd name="connsiteY4" fmla="*/ 19006 h 33946"/>
                <a:gd name="connsiteX5" fmla="*/ 11568 w 32701"/>
                <a:gd name="connsiteY5" fmla="*/ 19006 h 33946"/>
                <a:gd name="connsiteX6" fmla="*/ 10130 w 32701"/>
                <a:gd name="connsiteY6" fmla="*/ 20950 h 33946"/>
                <a:gd name="connsiteX7" fmla="*/ 18118 w 32701"/>
                <a:gd name="connsiteY7" fmla="*/ 26488 h 33946"/>
                <a:gd name="connsiteX8" fmla="*/ 24455 w 32701"/>
                <a:gd name="connsiteY8" fmla="*/ 23613 h 33946"/>
                <a:gd name="connsiteX9" fmla="*/ 26771 w 32701"/>
                <a:gd name="connsiteY9" fmla="*/ 22148 h 33946"/>
                <a:gd name="connsiteX10" fmla="*/ 31058 w 32701"/>
                <a:gd name="connsiteY10" fmla="*/ 22148 h 33946"/>
                <a:gd name="connsiteX11" fmla="*/ 32789 w 32701"/>
                <a:gd name="connsiteY11" fmla="*/ 24358 h 33946"/>
                <a:gd name="connsiteX12" fmla="*/ 18118 w 32701"/>
                <a:gd name="connsiteY12" fmla="*/ 33571 h 33946"/>
                <a:gd name="connsiteX13" fmla="*/ 994 w 32701"/>
                <a:gd name="connsiteY13" fmla="*/ 17371 h 33946"/>
                <a:gd name="connsiteX14" fmla="*/ 997 w 32701"/>
                <a:gd name="connsiteY14" fmla="*/ 16370 h 33946"/>
                <a:gd name="connsiteX15" fmla="*/ 16866 w 32701"/>
                <a:gd name="connsiteY15" fmla="*/ -340 h 33946"/>
                <a:gd name="connsiteX16" fmla="*/ 18118 w 32701"/>
                <a:gd name="connsiteY16" fmla="*/ -324 h 33946"/>
                <a:gd name="connsiteX17" fmla="*/ 12020 w 32701"/>
                <a:gd name="connsiteY17" fmla="*/ 13362 h 33946"/>
                <a:gd name="connsiteX18" fmla="*/ 23257 w 32701"/>
                <a:gd name="connsiteY18" fmla="*/ 13362 h 33946"/>
                <a:gd name="connsiteX19" fmla="*/ 24774 w 32701"/>
                <a:gd name="connsiteY19" fmla="*/ 11365 h 33946"/>
                <a:gd name="connsiteX20" fmla="*/ 17984 w 32701"/>
                <a:gd name="connsiteY20" fmla="*/ 6705 h 33946"/>
                <a:gd name="connsiteX21" fmla="*/ 10582 w 32701"/>
                <a:gd name="connsiteY21" fmla="*/ 11285 h 33946"/>
                <a:gd name="connsiteX22" fmla="*/ 12020 w 32701"/>
                <a:gd name="connsiteY22" fmla="*/ 13362 h 3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701" h="33946">
                  <a:moveTo>
                    <a:pt x="17931" y="-324"/>
                  </a:moveTo>
                  <a:cubicBezTo>
                    <a:pt x="26753" y="-204"/>
                    <a:pt x="33809" y="7046"/>
                    <a:pt x="33689" y="15867"/>
                  </a:cubicBezTo>
                  <a:cubicBezTo>
                    <a:pt x="33681" y="16312"/>
                    <a:pt x="33657" y="16754"/>
                    <a:pt x="33614" y="17196"/>
                  </a:cubicBezTo>
                  <a:cubicBezTo>
                    <a:pt x="33617" y="18197"/>
                    <a:pt x="32807" y="19009"/>
                    <a:pt x="31809" y="19012"/>
                  </a:cubicBezTo>
                  <a:cubicBezTo>
                    <a:pt x="31764" y="19012"/>
                    <a:pt x="31716" y="19009"/>
                    <a:pt x="31670" y="19006"/>
                  </a:cubicBezTo>
                  <a:lnTo>
                    <a:pt x="11568" y="19006"/>
                  </a:lnTo>
                  <a:cubicBezTo>
                    <a:pt x="10369" y="19006"/>
                    <a:pt x="9624" y="19778"/>
                    <a:pt x="10130" y="20950"/>
                  </a:cubicBezTo>
                  <a:cubicBezTo>
                    <a:pt x="11272" y="24361"/>
                    <a:pt x="14523" y="26616"/>
                    <a:pt x="18118" y="26488"/>
                  </a:cubicBezTo>
                  <a:cubicBezTo>
                    <a:pt x="20589" y="26709"/>
                    <a:pt x="22996" y="25618"/>
                    <a:pt x="24455" y="23613"/>
                  </a:cubicBezTo>
                  <a:cubicBezTo>
                    <a:pt x="24897" y="22734"/>
                    <a:pt x="25789" y="22172"/>
                    <a:pt x="26771" y="22148"/>
                  </a:cubicBezTo>
                  <a:lnTo>
                    <a:pt x="31058" y="22148"/>
                  </a:lnTo>
                  <a:cubicBezTo>
                    <a:pt x="32416" y="22148"/>
                    <a:pt x="33295" y="23027"/>
                    <a:pt x="32789" y="24358"/>
                  </a:cubicBezTo>
                  <a:cubicBezTo>
                    <a:pt x="30387" y="30264"/>
                    <a:pt x="24479" y="33973"/>
                    <a:pt x="18118" y="33571"/>
                  </a:cubicBezTo>
                  <a:cubicBezTo>
                    <a:pt x="8916" y="33826"/>
                    <a:pt x="1250" y="26573"/>
                    <a:pt x="994" y="17371"/>
                  </a:cubicBezTo>
                  <a:cubicBezTo>
                    <a:pt x="986" y="17036"/>
                    <a:pt x="986" y="16703"/>
                    <a:pt x="997" y="16370"/>
                  </a:cubicBezTo>
                  <a:cubicBezTo>
                    <a:pt x="765" y="7373"/>
                    <a:pt x="7869" y="-109"/>
                    <a:pt x="16866" y="-340"/>
                  </a:cubicBezTo>
                  <a:cubicBezTo>
                    <a:pt x="17284" y="-351"/>
                    <a:pt x="17700" y="-346"/>
                    <a:pt x="18118" y="-324"/>
                  </a:cubicBezTo>
                  <a:moveTo>
                    <a:pt x="12020" y="13362"/>
                  </a:moveTo>
                  <a:lnTo>
                    <a:pt x="23257" y="13362"/>
                  </a:lnTo>
                  <a:cubicBezTo>
                    <a:pt x="24508" y="13362"/>
                    <a:pt x="25280" y="12616"/>
                    <a:pt x="24774" y="11365"/>
                  </a:cubicBezTo>
                  <a:cubicBezTo>
                    <a:pt x="23707" y="8545"/>
                    <a:pt x="20999" y="6686"/>
                    <a:pt x="17984" y="6705"/>
                  </a:cubicBezTo>
                  <a:cubicBezTo>
                    <a:pt x="14859" y="6737"/>
                    <a:pt x="12007" y="8502"/>
                    <a:pt x="10582" y="11285"/>
                  </a:cubicBezTo>
                  <a:cubicBezTo>
                    <a:pt x="10023" y="12483"/>
                    <a:pt x="10716" y="13362"/>
                    <a:pt x="12020" y="13362"/>
                  </a:cubicBezTo>
                </a:path>
              </a:pathLst>
            </a:custGeom>
            <a:solidFill>
              <a:srgbClr val="8FDB42"/>
            </a:solidFill>
            <a:ln w="2661" cap="flat">
              <a:noFill/>
              <a:prstDash val="solid"/>
              <a:miter/>
            </a:ln>
          </p:spPr>
          <p:txBody>
            <a:bodyPr rtlCol="0" anchor="ctr"/>
            <a:lstStyle/>
            <a:p>
              <a:endParaRPr lang="pl-PL"/>
            </a:p>
          </p:txBody>
        </p:sp>
        <p:sp>
          <p:nvSpPr>
            <p:cNvPr id="131" name="Freeform: Shape 130">
              <a:extLst>
                <a:ext uri="{FF2B5EF4-FFF2-40B4-BE49-F238E27FC236}">
                  <a16:creationId xmlns:a16="http://schemas.microsoft.com/office/drawing/2014/main" id="{514688B5-0D49-45A5-8497-6CB59375BE01}"/>
                </a:ext>
              </a:extLst>
            </p:cNvPr>
            <p:cNvSpPr/>
            <p:nvPr/>
          </p:nvSpPr>
          <p:spPr>
            <a:xfrm>
              <a:off x="11575064" y="6784526"/>
              <a:ext cx="208318" cy="27505"/>
            </a:xfrm>
            <a:custGeom>
              <a:avLst/>
              <a:gdLst>
                <a:gd name="connsiteX0" fmla="*/ 2220 w 369143"/>
                <a:gd name="connsiteY0" fmla="*/ 48333 h 48740"/>
                <a:gd name="connsiteX1" fmla="*/ 4004 w 369143"/>
                <a:gd name="connsiteY1" fmla="*/ 48333 h 48740"/>
                <a:gd name="connsiteX2" fmla="*/ 5226 w 369143"/>
                <a:gd name="connsiteY2" fmla="*/ 47390 h 48740"/>
                <a:gd name="connsiteX3" fmla="*/ 5229 w 369143"/>
                <a:gd name="connsiteY3" fmla="*/ 47135 h 48740"/>
                <a:gd name="connsiteX4" fmla="*/ 5229 w 369143"/>
                <a:gd name="connsiteY4" fmla="*/ 37043 h 48740"/>
                <a:gd name="connsiteX5" fmla="*/ 7172 w 369143"/>
                <a:gd name="connsiteY5" fmla="*/ 36165 h 48740"/>
                <a:gd name="connsiteX6" fmla="*/ 14202 w 369143"/>
                <a:gd name="connsiteY6" fmla="*/ 38109 h 48740"/>
                <a:gd name="connsiteX7" fmla="*/ 26961 w 369143"/>
                <a:gd name="connsiteY7" fmla="*/ 25096 h 48740"/>
                <a:gd name="connsiteX8" fmla="*/ 26955 w 369143"/>
                <a:gd name="connsiteY8" fmla="*/ 24795 h 48740"/>
                <a:gd name="connsiteX9" fmla="*/ 14444 w 369143"/>
                <a:gd name="connsiteY9" fmla="*/ 11751 h 48740"/>
                <a:gd name="connsiteX10" fmla="*/ 14281 w 369143"/>
                <a:gd name="connsiteY10" fmla="*/ 11749 h 48740"/>
                <a:gd name="connsiteX11" fmla="*/ 6533 w 369143"/>
                <a:gd name="connsiteY11" fmla="*/ 14198 h 48740"/>
                <a:gd name="connsiteX12" fmla="*/ 4403 w 369143"/>
                <a:gd name="connsiteY12" fmla="*/ 13453 h 48740"/>
                <a:gd name="connsiteX13" fmla="*/ 4403 w 369143"/>
                <a:gd name="connsiteY13" fmla="*/ 13453 h 48740"/>
                <a:gd name="connsiteX14" fmla="*/ 3098 w 369143"/>
                <a:gd name="connsiteY14" fmla="*/ 12334 h 48740"/>
                <a:gd name="connsiteX15" fmla="*/ 2220 w 369143"/>
                <a:gd name="connsiteY15" fmla="*/ 12334 h 48740"/>
                <a:gd name="connsiteX16" fmla="*/ 998 w 369143"/>
                <a:gd name="connsiteY16" fmla="*/ 13277 h 48740"/>
                <a:gd name="connsiteX17" fmla="*/ 995 w 369143"/>
                <a:gd name="connsiteY17" fmla="*/ 13533 h 48740"/>
                <a:gd name="connsiteX18" fmla="*/ 995 w 369143"/>
                <a:gd name="connsiteY18" fmla="*/ 47135 h 48740"/>
                <a:gd name="connsiteX19" fmla="*/ 1964 w 369143"/>
                <a:gd name="connsiteY19" fmla="*/ 48336 h 48740"/>
                <a:gd name="connsiteX20" fmla="*/ 2220 w 369143"/>
                <a:gd name="connsiteY20" fmla="*/ 48333 h 48740"/>
                <a:gd name="connsiteX21" fmla="*/ 5575 w 369143"/>
                <a:gd name="connsiteY21" fmla="*/ 27991 h 48740"/>
                <a:gd name="connsiteX22" fmla="*/ 5575 w 369143"/>
                <a:gd name="connsiteY22" fmla="*/ 21920 h 48740"/>
                <a:gd name="connsiteX23" fmla="*/ 6107 w 369143"/>
                <a:gd name="connsiteY23" fmla="*/ 19816 h 48740"/>
                <a:gd name="connsiteX24" fmla="*/ 13749 w 369143"/>
                <a:gd name="connsiteY24" fmla="*/ 15769 h 48740"/>
                <a:gd name="connsiteX25" fmla="*/ 22269 w 369143"/>
                <a:gd name="connsiteY25" fmla="*/ 24875 h 48740"/>
                <a:gd name="connsiteX26" fmla="*/ 13749 w 369143"/>
                <a:gd name="connsiteY26" fmla="*/ 34195 h 48740"/>
                <a:gd name="connsiteX27" fmla="*/ 6107 w 369143"/>
                <a:gd name="connsiteY27" fmla="*/ 30094 h 48740"/>
                <a:gd name="connsiteX28" fmla="*/ 5575 w 369143"/>
                <a:gd name="connsiteY28" fmla="*/ 27991 h 48740"/>
                <a:gd name="connsiteX29" fmla="*/ 36967 w 369143"/>
                <a:gd name="connsiteY29" fmla="*/ -340 h 48740"/>
                <a:gd name="connsiteX30" fmla="*/ 34837 w 369143"/>
                <a:gd name="connsiteY30" fmla="*/ -340 h 48740"/>
                <a:gd name="connsiteX31" fmla="*/ 33612 w 369143"/>
                <a:gd name="connsiteY31" fmla="*/ 662 h 48740"/>
                <a:gd name="connsiteX32" fmla="*/ 33612 w 369143"/>
                <a:gd name="connsiteY32" fmla="*/ 885 h 48740"/>
                <a:gd name="connsiteX33" fmla="*/ 33612 w 369143"/>
                <a:gd name="connsiteY33" fmla="*/ 36431 h 48740"/>
                <a:gd name="connsiteX34" fmla="*/ 34581 w 369143"/>
                <a:gd name="connsiteY34" fmla="*/ 37632 h 48740"/>
                <a:gd name="connsiteX35" fmla="*/ 34837 w 369143"/>
                <a:gd name="connsiteY35" fmla="*/ 37629 h 48740"/>
                <a:gd name="connsiteX36" fmla="*/ 36967 w 369143"/>
                <a:gd name="connsiteY36" fmla="*/ 37629 h 48740"/>
                <a:gd name="connsiteX37" fmla="*/ 38189 w 369143"/>
                <a:gd name="connsiteY37" fmla="*/ 36687 h 48740"/>
                <a:gd name="connsiteX38" fmla="*/ 38192 w 369143"/>
                <a:gd name="connsiteY38" fmla="*/ 36431 h 48740"/>
                <a:gd name="connsiteX39" fmla="*/ 38192 w 369143"/>
                <a:gd name="connsiteY39" fmla="*/ 885 h 48740"/>
                <a:gd name="connsiteX40" fmla="*/ 37191 w 369143"/>
                <a:gd name="connsiteY40" fmla="*/ -340 h 48740"/>
                <a:gd name="connsiteX41" fmla="*/ 36967 w 369143"/>
                <a:gd name="connsiteY41" fmla="*/ -340 h 48740"/>
                <a:gd name="connsiteX42" fmla="*/ 44768 w 369143"/>
                <a:gd name="connsiteY42" fmla="*/ 30680 h 48740"/>
                <a:gd name="connsiteX43" fmla="*/ 52485 w 369143"/>
                <a:gd name="connsiteY43" fmla="*/ 38141 h 48740"/>
                <a:gd name="connsiteX44" fmla="*/ 53049 w 369143"/>
                <a:gd name="connsiteY44" fmla="*/ 38109 h 48740"/>
                <a:gd name="connsiteX45" fmla="*/ 61756 w 369143"/>
                <a:gd name="connsiteY45" fmla="*/ 35446 h 48740"/>
                <a:gd name="connsiteX46" fmla="*/ 63992 w 369143"/>
                <a:gd name="connsiteY46" fmla="*/ 36218 h 48740"/>
                <a:gd name="connsiteX47" fmla="*/ 64152 w 369143"/>
                <a:gd name="connsiteY47" fmla="*/ 36724 h 48740"/>
                <a:gd name="connsiteX48" fmla="*/ 65510 w 369143"/>
                <a:gd name="connsiteY48" fmla="*/ 37736 h 48740"/>
                <a:gd name="connsiteX49" fmla="*/ 66096 w 369143"/>
                <a:gd name="connsiteY49" fmla="*/ 37736 h 48740"/>
                <a:gd name="connsiteX50" fmla="*/ 67294 w 369143"/>
                <a:gd name="connsiteY50" fmla="*/ 36761 h 48740"/>
                <a:gd name="connsiteX51" fmla="*/ 67294 w 369143"/>
                <a:gd name="connsiteY51" fmla="*/ 36538 h 48740"/>
                <a:gd name="connsiteX52" fmla="*/ 67294 w 369143"/>
                <a:gd name="connsiteY52" fmla="*/ 22905 h 48740"/>
                <a:gd name="connsiteX53" fmla="*/ 56644 w 369143"/>
                <a:gd name="connsiteY53" fmla="*/ 11935 h 48740"/>
                <a:gd name="connsiteX54" fmla="*/ 45993 w 369143"/>
                <a:gd name="connsiteY54" fmla="*/ 19497 h 48740"/>
                <a:gd name="connsiteX55" fmla="*/ 46712 w 369143"/>
                <a:gd name="connsiteY55" fmla="*/ 20778 h 48740"/>
                <a:gd name="connsiteX56" fmla="*/ 47165 w 369143"/>
                <a:gd name="connsiteY56" fmla="*/ 20802 h 48740"/>
                <a:gd name="connsiteX57" fmla="*/ 49055 w 369143"/>
                <a:gd name="connsiteY57" fmla="*/ 20802 h 48740"/>
                <a:gd name="connsiteX58" fmla="*/ 50386 w 369143"/>
                <a:gd name="connsiteY58" fmla="*/ 19736 h 48740"/>
                <a:gd name="connsiteX59" fmla="*/ 56510 w 369143"/>
                <a:gd name="connsiteY59" fmla="*/ 15929 h 48740"/>
                <a:gd name="connsiteX60" fmla="*/ 62938 w 369143"/>
                <a:gd name="connsiteY60" fmla="*/ 20791 h 48740"/>
                <a:gd name="connsiteX61" fmla="*/ 62981 w 369143"/>
                <a:gd name="connsiteY61" fmla="*/ 21920 h 48740"/>
                <a:gd name="connsiteX62" fmla="*/ 61277 w 369143"/>
                <a:gd name="connsiteY62" fmla="*/ 23491 h 48740"/>
                <a:gd name="connsiteX63" fmla="*/ 55632 w 369143"/>
                <a:gd name="connsiteY63" fmla="*/ 23491 h 48740"/>
                <a:gd name="connsiteX64" fmla="*/ 44981 w 369143"/>
                <a:gd name="connsiteY64" fmla="*/ 30840 h 48740"/>
                <a:gd name="connsiteX65" fmla="*/ 49561 w 369143"/>
                <a:gd name="connsiteY65" fmla="*/ 30840 h 48740"/>
                <a:gd name="connsiteX66" fmla="*/ 55792 w 369143"/>
                <a:gd name="connsiteY66" fmla="*/ 27325 h 48740"/>
                <a:gd name="connsiteX67" fmla="*/ 61330 w 369143"/>
                <a:gd name="connsiteY67" fmla="*/ 27325 h 48740"/>
                <a:gd name="connsiteX68" fmla="*/ 63034 w 369143"/>
                <a:gd name="connsiteY68" fmla="*/ 28691 h 48740"/>
                <a:gd name="connsiteX69" fmla="*/ 63034 w 369143"/>
                <a:gd name="connsiteY69" fmla="*/ 29029 h 48740"/>
                <a:gd name="connsiteX70" fmla="*/ 63034 w 369143"/>
                <a:gd name="connsiteY70" fmla="*/ 29535 h 48740"/>
                <a:gd name="connsiteX71" fmla="*/ 62022 w 369143"/>
                <a:gd name="connsiteY71" fmla="*/ 31585 h 48740"/>
                <a:gd name="connsiteX72" fmla="*/ 54274 w 369143"/>
                <a:gd name="connsiteY72" fmla="*/ 34248 h 48740"/>
                <a:gd name="connsiteX73" fmla="*/ 49561 w 369143"/>
                <a:gd name="connsiteY73" fmla="*/ 30733 h 48740"/>
                <a:gd name="connsiteX74" fmla="*/ 76826 w 369143"/>
                <a:gd name="connsiteY74" fmla="*/ 37789 h 48740"/>
                <a:gd name="connsiteX75" fmla="*/ 78956 w 369143"/>
                <a:gd name="connsiteY75" fmla="*/ 37789 h 48740"/>
                <a:gd name="connsiteX76" fmla="*/ 80179 w 369143"/>
                <a:gd name="connsiteY76" fmla="*/ 36846 h 48740"/>
                <a:gd name="connsiteX77" fmla="*/ 80181 w 369143"/>
                <a:gd name="connsiteY77" fmla="*/ 36591 h 48740"/>
                <a:gd name="connsiteX78" fmla="*/ 80181 w 369143"/>
                <a:gd name="connsiteY78" fmla="*/ 20988 h 48740"/>
                <a:gd name="connsiteX79" fmla="*/ 81299 w 369143"/>
                <a:gd name="connsiteY79" fmla="*/ 18964 h 48740"/>
                <a:gd name="connsiteX80" fmla="*/ 89580 w 369143"/>
                <a:gd name="connsiteY80" fmla="*/ 16035 h 48740"/>
                <a:gd name="connsiteX81" fmla="*/ 95140 w 369143"/>
                <a:gd name="connsiteY81" fmla="*/ 20658 h 48740"/>
                <a:gd name="connsiteX82" fmla="*/ 95118 w 369143"/>
                <a:gd name="connsiteY82" fmla="*/ 21787 h 48740"/>
                <a:gd name="connsiteX83" fmla="*/ 95118 w 369143"/>
                <a:gd name="connsiteY83" fmla="*/ 36591 h 48740"/>
                <a:gd name="connsiteX84" fmla="*/ 96088 w 369143"/>
                <a:gd name="connsiteY84" fmla="*/ 37792 h 48740"/>
                <a:gd name="connsiteX85" fmla="*/ 96343 w 369143"/>
                <a:gd name="connsiteY85" fmla="*/ 37789 h 48740"/>
                <a:gd name="connsiteX86" fmla="*/ 98473 w 369143"/>
                <a:gd name="connsiteY86" fmla="*/ 37789 h 48740"/>
                <a:gd name="connsiteX87" fmla="*/ 99696 w 369143"/>
                <a:gd name="connsiteY87" fmla="*/ 36846 h 48740"/>
                <a:gd name="connsiteX88" fmla="*/ 99698 w 369143"/>
                <a:gd name="connsiteY88" fmla="*/ 36591 h 48740"/>
                <a:gd name="connsiteX89" fmla="*/ 99698 w 369143"/>
                <a:gd name="connsiteY89" fmla="*/ 21574 h 48740"/>
                <a:gd name="connsiteX90" fmla="*/ 90885 w 369143"/>
                <a:gd name="connsiteY90" fmla="*/ 11988 h 48740"/>
                <a:gd name="connsiteX91" fmla="*/ 81326 w 369143"/>
                <a:gd name="connsiteY91" fmla="*/ 14811 h 48740"/>
                <a:gd name="connsiteX92" fmla="*/ 79143 w 369143"/>
                <a:gd name="connsiteY92" fmla="*/ 13932 h 48740"/>
                <a:gd name="connsiteX93" fmla="*/ 79143 w 369143"/>
                <a:gd name="connsiteY93" fmla="*/ 13559 h 48740"/>
                <a:gd name="connsiteX94" fmla="*/ 77758 w 369143"/>
                <a:gd name="connsiteY94" fmla="*/ 12494 h 48740"/>
                <a:gd name="connsiteX95" fmla="*/ 76906 w 369143"/>
                <a:gd name="connsiteY95" fmla="*/ 12494 h 48740"/>
                <a:gd name="connsiteX96" fmla="*/ 75684 w 369143"/>
                <a:gd name="connsiteY96" fmla="*/ 13437 h 48740"/>
                <a:gd name="connsiteX97" fmla="*/ 75681 w 369143"/>
                <a:gd name="connsiteY97" fmla="*/ 13692 h 48740"/>
                <a:gd name="connsiteX98" fmla="*/ 75681 w 369143"/>
                <a:gd name="connsiteY98" fmla="*/ 36591 h 48740"/>
                <a:gd name="connsiteX99" fmla="*/ 76651 w 369143"/>
                <a:gd name="connsiteY99" fmla="*/ 37792 h 48740"/>
                <a:gd name="connsiteX100" fmla="*/ 76906 w 369143"/>
                <a:gd name="connsiteY100" fmla="*/ 37789 h 48740"/>
                <a:gd name="connsiteX101" fmla="*/ 106195 w 369143"/>
                <a:gd name="connsiteY101" fmla="*/ 24982 h 48740"/>
                <a:gd name="connsiteX102" fmla="*/ 118323 w 369143"/>
                <a:gd name="connsiteY102" fmla="*/ 38282 h 48740"/>
                <a:gd name="connsiteX103" fmla="*/ 119055 w 369143"/>
                <a:gd name="connsiteY103" fmla="*/ 38295 h 48740"/>
                <a:gd name="connsiteX104" fmla="*/ 129945 w 369143"/>
                <a:gd name="connsiteY104" fmla="*/ 31212 h 48740"/>
                <a:gd name="connsiteX105" fmla="*/ 128880 w 369143"/>
                <a:gd name="connsiteY105" fmla="*/ 29828 h 48740"/>
                <a:gd name="connsiteX106" fmla="*/ 127043 w 369143"/>
                <a:gd name="connsiteY106" fmla="*/ 29828 h 48740"/>
                <a:gd name="connsiteX107" fmla="*/ 125632 w 369143"/>
                <a:gd name="connsiteY107" fmla="*/ 30813 h 48740"/>
                <a:gd name="connsiteX108" fmla="*/ 119055 w 369143"/>
                <a:gd name="connsiteY108" fmla="*/ 34381 h 48740"/>
                <a:gd name="connsiteX109" fmla="*/ 111068 w 369143"/>
                <a:gd name="connsiteY109" fmla="*/ 28177 h 48740"/>
                <a:gd name="connsiteX110" fmla="*/ 112638 w 369143"/>
                <a:gd name="connsiteY110" fmla="*/ 26340 h 48740"/>
                <a:gd name="connsiteX111" fmla="*/ 129173 w 369143"/>
                <a:gd name="connsiteY111" fmla="*/ 26340 h 48740"/>
                <a:gd name="connsiteX112" fmla="*/ 130821 w 369143"/>
                <a:gd name="connsiteY112" fmla="*/ 24905 h 48740"/>
                <a:gd name="connsiteX113" fmla="*/ 130824 w 369143"/>
                <a:gd name="connsiteY113" fmla="*/ 24769 h 48740"/>
                <a:gd name="connsiteX114" fmla="*/ 119372 w 369143"/>
                <a:gd name="connsiteY114" fmla="*/ 11975 h 48740"/>
                <a:gd name="connsiteX115" fmla="*/ 119055 w 369143"/>
                <a:gd name="connsiteY115" fmla="*/ 11962 h 48740"/>
                <a:gd name="connsiteX116" fmla="*/ 106245 w 369143"/>
                <a:gd name="connsiteY116" fmla="*/ 24444 h 48740"/>
                <a:gd name="connsiteX117" fmla="*/ 106248 w 369143"/>
                <a:gd name="connsiteY117" fmla="*/ 24955 h 48740"/>
                <a:gd name="connsiteX118" fmla="*/ 111707 w 369143"/>
                <a:gd name="connsiteY118" fmla="*/ 20535 h 48740"/>
                <a:gd name="connsiteX119" fmla="*/ 119002 w 369143"/>
                <a:gd name="connsiteY119" fmla="*/ 15849 h 48740"/>
                <a:gd name="connsiteX120" fmla="*/ 125792 w 369143"/>
                <a:gd name="connsiteY120" fmla="*/ 20589 h 48740"/>
                <a:gd name="connsiteX121" fmla="*/ 124327 w 369143"/>
                <a:gd name="connsiteY121" fmla="*/ 22532 h 48740"/>
                <a:gd name="connsiteX122" fmla="*/ 113065 w 369143"/>
                <a:gd name="connsiteY122" fmla="*/ 22532 h 48740"/>
                <a:gd name="connsiteX123" fmla="*/ 111707 w 369143"/>
                <a:gd name="connsiteY123" fmla="*/ 20589 h 48740"/>
                <a:gd name="connsiteX124" fmla="*/ 135670 w 369143"/>
                <a:gd name="connsiteY124" fmla="*/ 16408 h 48740"/>
                <a:gd name="connsiteX125" fmla="*/ 137720 w 369143"/>
                <a:gd name="connsiteY125" fmla="*/ 16408 h 48740"/>
                <a:gd name="connsiteX126" fmla="*/ 138200 w 369143"/>
                <a:gd name="connsiteY126" fmla="*/ 16832 h 48740"/>
                <a:gd name="connsiteX127" fmla="*/ 138200 w 369143"/>
                <a:gd name="connsiteY127" fmla="*/ 16888 h 48740"/>
                <a:gd name="connsiteX128" fmla="*/ 138200 w 369143"/>
                <a:gd name="connsiteY128" fmla="*/ 30414 h 48740"/>
                <a:gd name="connsiteX129" fmla="*/ 145495 w 369143"/>
                <a:gd name="connsiteY129" fmla="*/ 38401 h 48740"/>
                <a:gd name="connsiteX130" fmla="*/ 151592 w 369143"/>
                <a:gd name="connsiteY130" fmla="*/ 37443 h 48740"/>
                <a:gd name="connsiteX131" fmla="*/ 151939 w 369143"/>
                <a:gd name="connsiteY131" fmla="*/ 35819 h 48740"/>
                <a:gd name="connsiteX132" fmla="*/ 151779 w 369143"/>
                <a:gd name="connsiteY132" fmla="*/ 34354 h 48740"/>
                <a:gd name="connsiteX133" fmla="*/ 150314 w 369143"/>
                <a:gd name="connsiteY133" fmla="*/ 33476 h 48740"/>
                <a:gd name="connsiteX134" fmla="*/ 145735 w 369143"/>
                <a:gd name="connsiteY134" fmla="*/ 34221 h 48740"/>
                <a:gd name="connsiteX135" fmla="*/ 142247 w 369143"/>
                <a:gd name="connsiteY135" fmla="*/ 30281 h 48740"/>
                <a:gd name="connsiteX136" fmla="*/ 142247 w 369143"/>
                <a:gd name="connsiteY136" fmla="*/ 16834 h 48740"/>
                <a:gd name="connsiteX137" fmla="*/ 142670 w 369143"/>
                <a:gd name="connsiteY137" fmla="*/ 16355 h 48740"/>
                <a:gd name="connsiteX138" fmla="*/ 142726 w 369143"/>
                <a:gd name="connsiteY138" fmla="*/ 16355 h 48740"/>
                <a:gd name="connsiteX139" fmla="*/ 150714 w 369143"/>
                <a:gd name="connsiteY139" fmla="*/ 16355 h 48740"/>
                <a:gd name="connsiteX140" fmla="*/ 151939 w 369143"/>
                <a:gd name="connsiteY140" fmla="*/ 15354 h 48740"/>
                <a:gd name="connsiteX141" fmla="*/ 151939 w 369143"/>
                <a:gd name="connsiteY141" fmla="*/ 15130 h 48740"/>
                <a:gd name="connsiteX142" fmla="*/ 151939 w 369143"/>
                <a:gd name="connsiteY142" fmla="*/ 13666 h 48740"/>
                <a:gd name="connsiteX143" fmla="*/ 150969 w 369143"/>
                <a:gd name="connsiteY143" fmla="*/ 12465 h 48740"/>
                <a:gd name="connsiteX144" fmla="*/ 150714 w 369143"/>
                <a:gd name="connsiteY144" fmla="*/ 12468 h 48740"/>
                <a:gd name="connsiteX145" fmla="*/ 142726 w 369143"/>
                <a:gd name="connsiteY145" fmla="*/ 12468 h 48740"/>
                <a:gd name="connsiteX146" fmla="*/ 142247 w 369143"/>
                <a:gd name="connsiteY146" fmla="*/ 11988 h 48740"/>
                <a:gd name="connsiteX147" fmla="*/ 142247 w 369143"/>
                <a:gd name="connsiteY147" fmla="*/ 11962 h 48740"/>
                <a:gd name="connsiteX148" fmla="*/ 142247 w 369143"/>
                <a:gd name="connsiteY148" fmla="*/ 6636 h 48740"/>
                <a:gd name="connsiteX149" fmla="*/ 140889 w 369143"/>
                <a:gd name="connsiteY149" fmla="*/ 5571 h 48740"/>
                <a:gd name="connsiteX150" fmla="*/ 138839 w 369143"/>
                <a:gd name="connsiteY150" fmla="*/ 6104 h 48740"/>
                <a:gd name="connsiteX151" fmla="*/ 137827 w 369143"/>
                <a:gd name="connsiteY151" fmla="*/ 7462 h 48740"/>
                <a:gd name="connsiteX152" fmla="*/ 137827 w 369143"/>
                <a:gd name="connsiteY152" fmla="*/ 11855 h 48740"/>
                <a:gd name="connsiteX153" fmla="*/ 137377 w 369143"/>
                <a:gd name="connsiteY153" fmla="*/ 12361 h 48740"/>
                <a:gd name="connsiteX154" fmla="*/ 137321 w 369143"/>
                <a:gd name="connsiteY154" fmla="*/ 12361 h 48740"/>
                <a:gd name="connsiteX155" fmla="*/ 135138 w 369143"/>
                <a:gd name="connsiteY155" fmla="*/ 12361 h 48740"/>
                <a:gd name="connsiteX156" fmla="*/ 133915 w 369143"/>
                <a:gd name="connsiteY156" fmla="*/ 13304 h 48740"/>
                <a:gd name="connsiteX157" fmla="*/ 133913 w 369143"/>
                <a:gd name="connsiteY157" fmla="*/ 13559 h 48740"/>
                <a:gd name="connsiteX158" fmla="*/ 133913 w 369143"/>
                <a:gd name="connsiteY158" fmla="*/ 15024 h 48740"/>
                <a:gd name="connsiteX159" fmla="*/ 134914 w 369143"/>
                <a:gd name="connsiteY159" fmla="*/ 16248 h 48740"/>
                <a:gd name="connsiteX160" fmla="*/ 135138 w 369143"/>
                <a:gd name="connsiteY160" fmla="*/ 16248 h 48740"/>
                <a:gd name="connsiteX161" fmla="*/ 168820 w 369143"/>
                <a:gd name="connsiteY161" fmla="*/ 24023 h 48740"/>
                <a:gd name="connsiteX162" fmla="*/ 169821 w 369143"/>
                <a:gd name="connsiteY162" fmla="*/ 25248 h 48740"/>
                <a:gd name="connsiteX163" fmla="*/ 170044 w 369143"/>
                <a:gd name="connsiteY163" fmla="*/ 25248 h 48740"/>
                <a:gd name="connsiteX164" fmla="*/ 175609 w 369143"/>
                <a:gd name="connsiteY164" fmla="*/ 25248 h 48740"/>
                <a:gd name="connsiteX165" fmla="*/ 176674 w 369143"/>
                <a:gd name="connsiteY165" fmla="*/ 26087 h 48740"/>
                <a:gd name="connsiteX166" fmla="*/ 176674 w 369143"/>
                <a:gd name="connsiteY166" fmla="*/ 26313 h 48740"/>
                <a:gd name="connsiteX167" fmla="*/ 176674 w 369143"/>
                <a:gd name="connsiteY167" fmla="*/ 31772 h 48740"/>
                <a:gd name="connsiteX168" fmla="*/ 177556 w 369143"/>
                <a:gd name="connsiteY168" fmla="*/ 32994 h 48740"/>
                <a:gd name="connsiteX169" fmla="*/ 177872 w 369143"/>
                <a:gd name="connsiteY169" fmla="*/ 32996 h 48740"/>
                <a:gd name="connsiteX170" fmla="*/ 179230 w 369143"/>
                <a:gd name="connsiteY170" fmla="*/ 32996 h 48740"/>
                <a:gd name="connsiteX171" fmla="*/ 180455 w 369143"/>
                <a:gd name="connsiteY171" fmla="*/ 31995 h 48740"/>
                <a:gd name="connsiteX172" fmla="*/ 180455 w 369143"/>
                <a:gd name="connsiteY172" fmla="*/ 31772 h 48740"/>
                <a:gd name="connsiteX173" fmla="*/ 180455 w 369143"/>
                <a:gd name="connsiteY173" fmla="*/ 26313 h 48740"/>
                <a:gd name="connsiteX174" fmla="*/ 181353 w 369143"/>
                <a:gd name="connsiteY174" fmla="*/ 25248 h 48740"/>
                <a:gd name="connsiteX175" fmla="*/ 181520 w 369143"/>
                <a:gd name="connsiteY175" fmla="*/ 25248 h 48740"/>
                <a:gd name="connsiteX176" fmla="*/ 186979 w 369143"/>
                <a:gd name="connsiteY176" fmla="*/ 25248 h 48740"/>
                <a:gd name="connsiteX177" fmla="*/ 188203 w 369143"/>
                <a:gd name="connsiteY177" fmla="*/ 24247 h 48740"/>
                <a:gd name="connsiteX178" fmla="*/ 188203 w 369143"/>
                <a:gd name="connsiteY178" fmla="*/ 24023 h 48740"/>
                <a:gd name="connsiteX179" fmla="*/ 188203 w 369143"/>
                <a:gd name="connsiteY179" fmla="*/ 22665 h 48740"/>
                <a:gd name="connsiteX180" fmla="*/ 187234 w 369143"/>
                <a:gd name="connsiteY180" fmla="*/ 21465 h 48740"/>
                <a:gd name="connsiteX181" fmla="*/ 186979 w 369143"/>
                <a:gd name="connsiteY181" fmla="*/ 21467 h 48740"/>
                <a:gd name="connsiteX182" fmla="*/ 181520 w 369143"/>
                <a:gd name="connsiteY182" fmla="*/ 21467 h 48740"/>
                <a:gd name="connsiteX183" fmla="*/ 180453 w 369143"/>
                <a:gd name="connsiteY183" fmla="*/ 20573 h 48740"/>
                <a:gd name="connsiteX184" fmla="*/ 180455 w 369143"/>
                <a:gd name="connsiteY184" fmla="*/ 20376 h 48740"/>
                <a:gd name="connsiteX185" fmla="*/ 180455 w 369143"/>
                <a:gd name="connsiteY185" fmla="*/ 15050 h 48740"/>
                <a:gd name="connsiteX186" fmla="*/ 179515 w 369143"/>
                <a:gd name="connsiteY186" fmla="*/ 13825 h 48740"/>
                <a:gd name="connsiteX187" fmla="*/ 179230 w 369143"/>
                <a:gd name="connsiteY187" fmla="*/ 13825 h 48740"/>
                <a:gd name="connsiteX188" fmla="*/ 177846 w 369143"/>
                <a:gd name="connsiteY188" fmla="*/ 13825 h 48740"/>
                <a:gd name="connsiteX189" fmla="*/ 176621 w 369143"/>
                <a:gd name="connsiteY189" fmla="*/ 14702 h 48740"/>
                <a:gd name="connsiteX190" fmla="*/ 176621 w 369143"/>
                <a:gd name="connsiteY190" fmla="*/ 15050 h 48740"/>
                <a:gd name="connsiteX191" fmla="*/ 176621 w 369143"/>
                <a:gd name="connsiteY191" fmla="*/ 20376 h 48740"/>
                <a:gd name="connsiteX192" fmla="*/ 175814 w 369143"/>
                <a:gd name="connsiteY192" fmla="*/ 21465 h 48740"/>
                <a:gd name="connsiteX193" fmla="*/ 175556 w 369143"/>
                <a:gd name="connsiteY193" fmla="*/ 21467 h 48740"/>
                <a:gd name="connsiteX194" fmla="*/ 170044 w 369143"/>
                <a:gd name="connsiteY194" fmla="*/ 21467 h 48740"/>
                <a:gd name="connsiteX195" fmla="*/ 168822 w 369143"/>
                <a:gd name="connsiteY195" fmla="*/ 22410 h 48740"/>
                <a:gd name="connsiteX196" fmla="*/ 168820 w 369143"/>
                <a:gd name="connsiteY196" fmla="*/ 22665 h 48740"/>
                <a:gd name="connsiteX197" fmla="*/ 209185 w 369143"/>
                <a:gd name="connsiteY197" fmla="*/ 48360 h 48740"/>
                <a:gd name="connsiteX198" fmla="*/ 210995 w 369143"/>
                <a:gd name="connsiteY198" fmla="*/ 48360 h 48740"/>
                <a:gd name="connsiteX199" fmla="*/ 212194 w 369143"/>
                <a:gd name="connsiteY199" fmla="*/ 47385 h 48740"/>
                <a:gd name="connsiteX200" fmla="*/ 212194 w 369143"/>
                <a:gd name="connsiteY200" fmla="*/ 47161 h 48740"/>
                <a:gd name="connsiteX201" fmla="*/ 212194 w 369143"/>
                <a:gd name="connsiteY201" fmla="*/ 37070 h 48740"/>
                <a:gd name="connsiteX202" fmla="*/ 214137 w 369143"/>
                <a:gd name="connsiteY202" fmla="*/ 36192 h 48740"/>
                <a:gd name="connsiteX203" fmla="*/ 221167 w 369143"/>
                <a:gd name="connsiteY203" fmla="*/ 38135 h 48740"/>
                <a:gd name="connsiteX204" fmla="*/ 233926 w 369143"/>
                <a:gd name="connsiteY204" fmla="*/ 25123 h 48740"/>
                <a:gd name="connsiteX205" fmla="*/ 233921 w 369143"/>
                <a:gd name="connsiteY205" fmla="*/ 24822 h 48740"/>
                <a:gd name="connsiteX206" fmla="*/ 221409 w 369143"/>
                <a:gd name="connsiteY206" fmla="*/ 11778 h 48740"/>
                <a:gd name="connsiteX207" fmla="*/ 221247 w 369143"/>
                <a:gd name="connsiteY207" fmla="*/ 11775 h 48740"/>
                <a:gd name="connsiteX208" fmla="*/ 213525 w 369143"/>
                <a:gd name="connsiteY208" fmla="*/ 14225 h 48740"/>
                <a:gd name="connsiteX209" fmla="*/ 211368 w 369143"/>
                <a:gd name="connsiteY209" fmla="*/ 13479 h 48740"/>
                <a:gd name="connsiteX210" fmla="*/ 211368 w 369143"/>
                <a:gd name="connsiteY210" fmla="*/ 13479 h 48740"/>
                <a:gd name="connsiteX211" fmla="*/ 210064 w 369143"/>
                <a:gd name="connsiteY211" fmla="*/ 12361 h 48740"/>
                <a:gd name="connsiteX212" fmla="*/ 209185 w 369143"/>
                <a:gd name="connsiteY212" fmla="*/ 12361 h 48740"/>
                <a:gd name="connsiteX213" fmla="*/ 207963 w 369143"/>
                <a:gd name="connsiteY213" fmla="*/ 13304 h 48740"/>
                <a:gd name="connsiteX214" fmla="*/ 207960 w 369143"/>
                <a:gd name="connsiteY214" fmla="*/ 13559 h 48740"/>
                <a:gd name="connsiteX215" fmla="*/ 207960 w 369143"/>
                <a:gd name="connsiteY215" fmla="*/ 47161 h 48740"/>
                <a:gd name="connsiteX216" fmla="*/ 208929 w 369143"/>
                <a:gd name="connsiteY216" fmla="*/ 48362 h 48740"/>
                <a:gd name="connsiteX217" fmla="*/ 209185 w 369143"/>
                <a:gd name="connsiteY217" fmla="*/ 48360 h 48740"/>
                <a:gd name="connsiteX218" fmla="*/ 212540 w 369143"/>
                <a:gd name="connsiteY218" fmla="*/ 28017 h 48740"/>
                <a:gd name="connsiteX219" fmla="*/ 212540 w 369143"/>
                <a:gd name="connsiteY219" fmla="*/ 21947 h 48740"/>
                <a:gd name="connsiteX220" fmla="*/ 213072 w 369143"/>
                <a:gd name="connsiteY220" fmla="*/ 19843 h 48740"/>
                <a:gd name="connsiteX221" fmla="*/ 220714 w 369143"/>
                <a:gd name="connsiteY221" fmla="*/ 15796 h 48740"/>
                <a:gd name="connsiteX222" fmla="*/ 229234 w 369143"/>
                <a:gd name="connsiteY222" fmla="*/ 24902 h 48740"/>
                <a:gd name="connsiteX223" fmla="*/ 220714 w 369143"/>
                <a:gd name="connsiteY223" fmla="*/ 34221 h 48740"/>
                <a:gd name="connsiteX224" fmla="*/ 213072 w 369143"/>
                <a:gd name="connsiteY224" fmla="*/ 30121 h 48740"/>
                <a:gd name="connsiteX225" fmla="*/ 212540 w 369143"/>
                <a:gd name="connsiteY225" fmla="*/ 28017 h 48740"/>
                <a:gd name="connsiteX226" fmla="*/ 238740 w 369143"/>
                <a:gd name="connsiteY226" fmla="*/ 24849 h 48740"/>
                <a:gd name="connsiteX227" fmla="*/ 250868 w 369143"/>
                <a:gd name="connsiteY227" fmla="*/ 38148 h 48740"/>
                <a:gd name="connsiteX228" fmla="*/ 251600 w 369143"/>
                <a:gd name="connsiteY228" fmla="*/ 38162 h 48740"/>
                <a:gd name="connsiteX229" fmla="*/ 262491 w 369143"/>
                <a:gd name="connsiteY229" fmla="*/ 31079 h 48740"/>
                <a:gd name="connsiteX230" fmla="*/ 261425 w 369143"/>
                <a:gd name="connsiteY230" fmla="*/ 29695 h 48740"/>
                <a:gd name="connsiteX231" fmla="*/ 259588 w 369143"/>
                <a:gd name="connsiteY231" fmla="*/ 29695 h 48740"/>
                <a:gd name="connsiteX232" fmla="*/ 258177 w 369143"/>
                <a:gd name="connsiteY232" fmla="*/ 30680 h 48740"/>
                <a:gd name="connsiteX233" fmla="*/ 251600 w 369143"/>
                <a:gd name="connsiteY233" fmla="*/ 34248 h 48740"/>
                <a:gd name="connsiteX234" fmla="*/ 243612 w 369143"/>
                <a:gd name="connsiteY234" fmla="*/ 28044 h 48740"/>
                <a:gd name="connsiteX235" fmla="*/ 245184 w 369143"/>
                <a:gd name="connsiteY235" fmla="*/ 26207 h 48740"/>
                <a:gd name="connsiteX236" fmla="*/ 261718 w 369143"/>
                <a:gd name="connsiteY236" fmla="*/ 26207 h 48740"/>
                <a:gd name="connsiteX237" fmla="*/ 263366 w 369143"/>
                <a:gd name="connsiteY237" fmla="*/ 24774 h 48740"/>
                <a:gd name="connsiteX238" fmla="*/ 263369 w 369143"/>
                <a:gd name="connsiteY238" fmla="*/ 24636 h 48740"/>
                <a:gd name="connsiteX239" fmla="*/ 251917 w 369143"/>
                <a:gd name="connsiteY239" fmla="*/ 11842 h 48740"/>
                <a:gd name="connsiteX240" fmla="*/ 251600 w 369143"/>
                <a:gd name="connsiteY240" fmla="*/ 11829 h 48740"/>
                <a:gd name="connsiteX241" fmla="*/ 238791 w 369143"/>
                <a:gd name="connsiteY241" fmla="*/ 24311 h 48740"/>
                <a:gd name="connsiteX242" fmla="*/ 238793 w 369143"/>
                <a:gd name="connsiteY242" fmla="*/ 24822 h 48740"/>
                <a:gd name="connsiteX243" fmla="*/ 244118 w 369143"/>
                <a:gd name="connsiteY243" fmla="*/ 20402 h 48740"/>
                <a:gd name="connsiteX244" fmla="*/ 251414 w 369143"/>
                <a:gd name="connsiteY244" fmla="*/ 15716 h 48740"/>
                <a:gd name="connsiteX245" fmla="*/ 258204 w 369143"/>
                <a:gd name="connsiteY245" fmla="*/ 20455 h 48740"/>
                <a:gd name="connsiteX246" fmla="*/ 256739 w 369143"/>
                <a:gd name="connsiteY246" fmla="*/ 22399 h 48740"/>
                <a:gd name="connsiteX247" fmla="*/ 245476 w 369143"/>
                <a:gd name="connsiteY247" fmla="*/ 22399 h 48740"/>
                <a:gd name="connsiteX248" fmla="*/ 244118 w 369143"/>
                <a:gd name="connsiteY248" fmla="*/ 20455 h 48740"/>
                <a:gd name="connsiteX249" fmla="*/ 268082 w 369143"/>
                <a:gd name="connsiteY249" fmla="*/ 24875 h 48740"/>
                <a:gd name="connsiteX250" fmla="*/ 280801 w 369143"/>
                <a:gd name="connsiteY250" fmla="*/ 38188 h 48740"/>
                <a:gd name="connsiteX251" fmla="*/ 281395 w 369143"/>
                <a:gd name="connsiteY251" fmla="*/ 38188 h 48740"/>
                <a:gd name="connsiteX252" fmla="*/ 294708 w 369143"/>
                <a:gd name="connsiteY252" fmla="*/ 25469 h 48740"/>
                <a:gd name="connsiteX253" fmla="*/ 294708 w 369143"/>
                <a:gd name="connsiteY253" fmla="*/ 24875 h 48740"/>
                <a:gd name="connsiteX254" fmla="*/ 281989 w 369143"/>
                <a:gd name="connsiteY254" fmla="*/ 11874 h 48740"/>
                <a:gd name="connsiteX255" fmla="*/ 281395 w 369143"/>
                <a:gd name="connsiteY255" fmla="*/ 11882 h 48740"/>
                <a:gd name="connsiteX256" fmla="*/ 268087 w 369143"/>
                <a:gd name="connsiteY256" fmla="*/ 24335 h 48740"/>
                <a:gd name="connsiteX257" fmla="*/ 268082 w 369143"/>
                <a:gd name="connsiteY257" fmla="*/ 24875 h 48740"/>
                <a:gd name="connsiteX258" fmla="*/ 272662 w 369143"/>
                <a:gd name="connsiteY258" fmla="*/ 25035 h 48740"/>
                <a:gd name="connsiteX259" fmla="*/ 281012 w 369143"/>
                <a:gd name="connsiteY259" fmla="*/ 15833 h 48740"/>
                <a:gd name="connsiteX260" fmla="*/ 281528 w 369143"/>
                <a:gd name="connsiteY260" fmla="*/ 15822 h 48740"/>
                <a:gd name="connsiteX261" fmla="*/ 290349 w 369143"/>
                <a:gd name="connsiteY261" fmla="*/ 24628 h 48740"/>
                <a:gd name="connsiteX262" fmla="*/ 290341 w 369143"/>
                <a:gd name="connsiteY262" fmla="*/ 25035 h 48740"/>
                <a:gd name="connsiteX263" fmla="*/ 281882 w 369143"/>
                <a:gd name="connsiteY263" fmla="*/ 34240 h 48740"/>
                <a:gd name="connsiteX264" fmla="*/ 281528 w 369143"/>
                <a:gd name="connsiteY264" fmla="*/ 34248 h 48740"/>
                <a:gd name="connsiteX265" fmla="*/ 272654 w 369143"/>
                <a:gd name="connsiteY265" fmla="*/ 25442 h 48740"/>
                <a:gd name="connsiteX266" fmla="*/ 272662 w 369143"/>
                <a:gd name="connsiteY266" fmla="*/ 25035 h 48740"/>
                <a:gd name="connsiteX267" fmla="*/ 302749 w 369143"/>
                <a:gd name="connsiteY267" fmla="*/ 48386 h 48740"/>
                <a:gd name="connsiteX268" fmla="*/ 304533 w 369143"/>
                <a:gd name="connsiteY268" fmla="*/ 48386 h 48740"/>
                <a:gd name="connsiteX269" fmla="*/ 305755 w 369143"/>
                <a:gd name="connsiteY269" fmla="*/ 47444 h 48740"/>
                <a:gd name="connsiteX270" fmla="*/ 305758 w 369143"/>
                <a:gd name="connsiteY270" fmla="*/ 47188 h 48740"/>
                <a:gd name="connsiteX271" fmla="*/ 305758 w 369143"/>
                <a:gd name="connsiteY271" fmla="*/ 37097 h 48740"/>
                <a:gd name="connsiteX272" fmla="*/ 307702 w 369143"/>
                <a:gd name="connsiteY272" fmla="*/ 36218 h 48740"/>
                <a:gd name="connsiteX273" fmla="*/ 314731 w 369143"/>
                <a:gd name="connsiteY273" fmla="*/ 38162 h 48740"/>
                <a:gd name="connsiteX274" fmla="*/ 327490 w 369143"/>
                <a:gd name="connsiteY274" fmla="*/ 25096 h 48740"/>
                <a:gd name="connsiteX275" fmla="*/ 327485 w 369143"/>
                <a:gd name="connsiteY275" fmla="*/ 24849 h 48740"/>
                <a:gd name="connsiteX276" fmla="*/ 314973 w 369143"/>
                <a:gd name="connsiteY276" fmla="*/ 11805 h 48740"/>
                <a:gd name="connsiteX277" fmla="*/ 314811 w 369143"/>
                <a:gd name="connsiteY277" fmla="*/ 11802 h 48740"/>
                <a:gd name="connsiteX278" fmla="*/ 307063 w 369143"/>
                <a:gd name="connsiteY278" fmla="*/ 14252 h 48740"/>
                <a:gd name="connsiteX279" fmla="*/ 304933 w 369143"/>
                <a:gd name="connsiteY279" fmla="*/ 13506 h 48740"/>
                <a:gd name="connsiteX280" fmla="*/ 304933 w 369143"/>
                <a:gd name="connsiteY280" fmla="*/ 13506 h 48740"/>
                <a:gd name="connsiteX281" fmla="*/ 303628 w 369143"/>
                <a:gd name="connsiteY281" fmla="*/ 12388 h 48740"/>
                <a:gd name="connsiteX282" fmla="*/ 302749 w 369143"/>
                <a:gd name="connsiteY282" fmla="*/ 12388 h 48740"/>
                <a:gd name="connsiteX283" fmla="*/ 301527 w 369143"/>
                <a:gd name="connsiteY283" fmla="*/ 13330 h 48740"/>
                <a:gd name="connsiteX284" fmla="*/ 301524 w 369143"/>
                <a:gd name="connsiteY284" fmla="*/ 13586 h 48740"/>
                <a:gd name="connsiteX285" fmla="*/ 301524 w 369143"/>
                <a:gd name="connsiteY285" fmla="*/ 47188 h 48740"/>
                <a:gd name="connsiteX286" fmla="*/ 302494 w 369143"/>
                <a:gd name="connsiteY286" fmla="*/ 48389 h 48740"/>
                <a:gd name="connsiteX287" fmla="*/ 302749 w 369143"/>
                <a:gd name="connsiteY287" fmla="*/ 48386 h 48740"/>
                <a:gd name="connsiteX288" fmla="*/ 306104 w 369143"/>
                <a:gd name="connsiteY288" fmla="*/ 28044 h 48740"/>
                <a:gd name="connsiteX289" fmla="*/ 306104 w 369143"/>
                <a:gd name="connsiteY289" fmla="*/ 21973 h 48740"/>
                <a:gd name="connsiteX290" fmla="*/ 306637 w 369143"/>
                <a:gd name="connsiteY290" fmla="*/ 19870 h 48740"/>
                <a:gd name="connsiteX291" fmla="*/ 314278 w 369143"/>
                <a:gd name="connsiteY291" fmla="*/ 15822 h 48740"/>
                <a:gd name="connsiteX292" fmla="*/ 322799 w 369143"/>
                <a:gd name="connsiteY292" fmla="*/ 24929 h 48740"/>
                <a:gd name="connsiteX293" fmla="*/ 314278 w 369143"/>
                <a:gd name="connsiteY293" fmla="*/ 34248 h 48740"/>
                <a:gd name="connsiteX294" fmla="*/ 306637 w 369143"/>
                <a:gd name="connsiteY294" fmla="*/ 30147 h 48740"/>
                <a:gd name="connsiteX295" fmla="*/ 306104 w 369143"/>
                <a:gd name="connsiteY295" fmla="*/ 28044 h 48740"/>
                <a:gd name="connsiteX296" fmla="*/ 337496 w 369143"/>
                <a:gd name="connsiteY296" fmla="*/ -286 h 48740"/>
                <a:gd name="connsiteX297" fmla="*/ 335366 w 369143"/>
                <a:gd name="connsiteY297" fmla="*/ -286 h 48740"/>
                <a:gd name="connsiteX298" fmla="*/ 334141 w 369143"/>
                <a:gd name="connsiteY298" fmla="*/ 715 h 48740"/>
                <a:gd name="connsiteX299" fmla="*/ 334141 w 369143"/>
                <a:gd name="connsiteY299" fmla="*/ 938 h 48740"/>
                <a:gd name="connsiteX300" fmla="*/ 334141 w 369143"/>
                <a:gd name="connsiteY300" fmla="*/ 36484 h 48740"/>
                <a:gd name="connsiteX301" fmla="*/ 335111 w 369143"/>
                <a:gd name="connsiteY301" fmla="*/ 37685 h 48740"/>
                <a:gd name="connsiteX302" fmla="*/ 335366 w 369143"/>
                <a:gd name="connsiteY302" fmla="*/ 37683 h 48740"/>
                <a:gd name="connsiteX303" fmla="*/ 337496 w 369143"/>
                <a:gd name="connsiteY303" fmla="*/ 37683 h 48740"/>
                <a:gd name="connsiteX304" fmla="*/ 338718 w 369143"/>
                <a:gd name="connsiteY304" fmla="*/ 36740 h 48740"/>
                <a:gd name="connsiteX305" fmla="*/ 338721 w 369143"/>
                <a:gd name="connsiteY305" fmla="*/ 36484 h 48740"/>
                <a:gd name="connsiteX306" fmla="*/ 338721 w 369143"/>
                <a:gd name="connsiteY306" fmla="*/ 885 h 48740"/>
                <a:gd name="connsiteX307" fmla="*/ 337720 w 369143"/>
                <a:gd name="connsiteY307" fmla="*/ -340 h 48740"/>
                <a:gd name="connsiteX308" fmla="*/ 337496 w 369143"/>
                <a:gd name="connsiteY308" fmla="*/ -340 h 48740"/>
                <a:gd name="connsiteX309" fmla="*/ 345484 w 369143"/>
                <a:gd name="connsiteY309" fmla="*/ 24822 h 48740"/>
                <a:gd name="connsiteX310" fmla="*/ 357612 w 369143"/>
                <a:gd name="connsiteY310" fmla="*/ 38122 h 48740"/>
                <a:gd name="connsiteX311" fmla="*/ 358345 w 369143"/>
                <a:gd name="connsiteY311" fmla="*/ 38135 h 48740"/>
                <a:gd name="connsiteX312" fmla="*/ 369235 w 369143"/>
                <a:gd name="connsiteY312" fmla="*/ 31053 h 48740"/>
                <a:gd name="connsiteX313" fmla="*/ 368170 w 369143"/>
                <a:gd name="connsiteY313" fmla="*/ 29668 h 48740"/>
                <a:gd name="connsiteX314" fmla="*/ 366333 w 369143"/>
                <a:gd name="connsiteY314" fmla="*/ 29668 h 48740"/>
                <a:gd name="connsiteX315" fmla="*/ 364921 w 369143"/>
                <a:gd name="connsiteY315" fmla="*/ 30653 h 48740"/>
                <a:gd name="connsiteX316" fmla="*/ 358345 w 369143"/>
                <a:gd name="connsiteY316" fmla="*/ 34221 h 48740"/>
                <a:gd name="connsiteX317" fmla="*/ 350357 w 369143"/>
                <a:gd name="connsiteY317" fmla="*/ 28017 h 48740"/>
                <a:gd name="connsiteX318" fmla="*/ 351928 w 369143"/>
                <a:gd name="connsiteY318" fmla="*/ 26180 h 48740"/>
                <a:gd name="connsiteX319" fmla="*/ 368463 w 369143"/>
                <a:gd name="connsiteY319" fmla="*/ 26180 h 48740"/>
                <a:gd name="connsiteX320" fmla="*/ 370111 w 369143"/>
                <a:gd name="connsiteY320" fmla="*/ 24745 h 48740"/>
                <a:gd name="connsiteX321" fmla="*/ 370113 w 369143"/>
                <a:gd name="connsiteY321" fmla="*/ 24609 h 48740"/>
                <a:gd name="connsiteX322" fmla="*/ 358661 w 369143"/>
                <a:gd name="connsiteY322" fmla="*/ 11815 h 48740"/>
                <a:gd name="connsiteX323" fmla="*/ 358371 w 369143"/>
                <a:gd name="connsiteY323" fmla="*/ 11802 h 48740"/>
                <a:gd name="connsiteX324" fmla="*/ 345535 w 369143"/>
                <a:gd name="connsiteY324" fmla="*/ 24311 h 48740"/>
                <a:gd name="connsiteX325" fmla="*/ 345538 w 369143"/>
                <a:gd name="connsiteY325" fmla="*/ 24795 h 48740"/>
                <a:gd name="connsiteX326" fmla="*/ 350863 w 369143"/>
                <a:gd name="connsiteY326" fmla="*/ 20376 h 48740"/>
                <a:gd name="connsiteX327" fmla="*/ 358185 w 369143"/>
                <a:gd name="connsiteY327" fmla="*/ 15689 h 48740"/>
                <a:gd name="connsiteX328" fmla="*/ 364948 w 369143"/>
                <a:gd name="connsiteY328" fmla="*/ 20429 h 48740"/>
                <a:gd name="connsiteX329" fmla="*/ 363484 w 369143"/>
                <a:gd name="connsiteY329" fmla="*/ 22373 h 48740"/>
                <a:gd name="connsiteX330" fmla="*/ 352221 w 369143"/>
                <a:gd name="connsiteY330" fmla="*/ 22373 h 48740"/>
                <a:gd name="connsiteX331" fmla="*/ 350863 w 369143"/>
                <a:gd name="connsiteY331" fmla="*/ 20429 h 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Lst>
              <a:rect l="l" t="t" r="r" b="b"/>
              <a:pathLst>
                <a:path w="369143" h="48740">
                  <a:moveTo>
                    <a:pt x="2220" y="48333"/>
                  </a:moveTo>
                  <a:lnTo>
                    <a:pt x="4004" y="48333"/>
                  </a:lnTo>
                  <a:cubicBezTo>
                    <a:pt x="4603" y="48410"/>
                    <a:pt x="5149" y="47987"/>
                    <a:pt x="5226" y="47390"/>
                  </a:cubicBezTo>
                  <a:cubicBezTo>
                    <a:pt x="5237" y="47305"/>
                    <a:pt x="5237" y="47220"/>
                    <a:pt x="5229" y="47135"/>
                  </a:cubicBezTo>
                  <a:lnTo>
                    <a:pt x="5229" y="37043"/>
                  </a:lnTo>
                  <a:cubicBezTo>
                    <a:pt x="5229" y="35632"/>
                    <a:pt x="6001" y="35339"/>
                    <a:pt x="7172" y="36165"/>
                  </a:cubicBezTo>
                  <a:cubicBezTo>
                    <a:pt x="9265" y="37507"/>
                    <a:pt x="11717" y="38183"/>
                    <a:pt x="14202" y="38109"/>
                  </a:cubicBezTo>
                  <a:cubicBezTo>
                    <a:pt x="21319" y="38039"/>
                    <a:pt x="27033" y="32214"/>
                    <a:pt x="26961" y="25096"/>
                  </a:cubicBezTo>
                  <a:cubicBezTo>
                    <a:pt x="26961" y="24995"/>
                    <a:pt x="26958" y="24897"/>
                    <a:pt x="26955" y="24795"/>
                  </a:cubicBezTo>
                  <a:cubicBezTo>
                    <a:pt x="27102" y="17740"/>
                    <a:pt x="21502" y="11898"/>
                    <a:pt x="14444" y="11751"/>
                  </a:cubicBezTo>
                  <a:cubicBezTo>
                    <a:pt x="14391" y="11749"/>
                    <a:pt x="14335" y="11749"/>
                    <a:pt x="14281" y="11749"/>
                  </a:cubicBezTo>
                  <a:cubicBezTo>
                    <a:pt x="11496" y="11671"/>
                    <a:pt x="8767" y="12534"/>
                    <a:pt x="6533" y="14198"/>
                  </a:cubicBezTo>
                  <a:cubicBezTo>
                    <a:pt x="5468" y="15024"/>
                    <a:pt x="4643" y="14837"/>
                    <a:pt x="4403" y="13453"/>
                  </a:cubicBezTo>
                  <a:lnTo>
                    <a:pt x="4403" y="13453"/>
                  </a:lnTo>
                  <a:cubicBezTo>
                    <a:pt x="4347" y="12787"/>
                    <a:pt x="3767" y="12289"/>
                    <a:pt x="3098" y="12334"/>
                  </a:cubicBezTo>
                  <a:lnTo>
                    <a:pt x="2220" y="12334"/>
                  </a:lnTo>
                  <a:cubicBezTo>
                    <a:pt x="1621" y="12257"/>
                    <a:pt x="1075" y="12681"/>
                    <a:pt x="998" y="13277"/>
                  </a:cubicBezTo>
                  <a:cubicBezTo>
                    <a:pt x="987" y="13362"/>
                    <a:pt x="987" y="13447"/>
                    <a:pt x="995" y="13533"/>
                  </a:cubicBezTo>
                  <a:lnTo>
                    <a:pt x="995" y="47135"/>
                  </a:lnTo>
                  <a:cubicBezTo>
                    <a:pt x="931" y="47734"/>
                    <a:pt x="1365" y="48272"/>
                    <a:pt x="1964" y="48336"/>
                  </a:cubicBezTo>
                  <a:cubicBezTo>
                    <a:pt x="2049" y="48344"/>
                    <a:pt x="2134" y="48344"/>
                    <a:pt x="2220" y="48333"/>
                  </a:cubicBezTo>
                  <a:moveTo>
                    <a:pt x="5575" y="27991"/>
                  </a:moveTo>
                  <a:lnTo>
                    <a:pt x="5575" y="21920"/>
                  </a:lnTo>
                  <a:cubicBezTo>
                    <a:pt x="5535" y="21180"/>
                    <a:pt x="5721" y="20447"/>
                    <a:pt x="6107" y="19816"/>
                  </a:cubicBezTo>
                  <a:cubicBezTo>
                    <a:pt x="7777" y="17228"/>
                    <a:pt x="10671" y="15695"/>
                    <a:pt x="13749" y="15769"/>
                  </a:cubicBezTo>
                  <a:cubicBezTo>
                    <a:pt x="18606" y="15958"/>
                    <a:pt x="22405" y="20019"/>
                    <a:pt x="22269" y="24875"/>
                  </a:cubicBezTo>
                  <a:cubicBezTo>
                    <a:pt x="22480" y="29799"/>
                    <a:pt x="18672" y="33965"/>
                    <a:pt x="13749" y="34195"/>
                  </a:cubicBezTo>
                  <a:cubicBezTo>
                    <a:pt x="10655" y="34285"/>
                    <a:pt x="7745" y="32722"/>
                    <a:pt x="6107" y="30094"/>
                  </a:cubicBezTo>
                  <a:cubicBezTo>
                    <a:pt x="5721" y="29463"/>
                    <a:pt x="5535" y="28731"/>
                    <a:pt x="5575" y="27991"/>
                  </a:cubicBezTo>
                  <a:moveTo>
                    <a:pt x="36967" y="-340"/>
                  </a:moveTo>
                  <a:lnTo>
                    <a:pt x="34837" y="-340"/>
                  </a:lnTo>
                  <a:cubicBezTo>
                    <a:pt x="34222" y="-401"/>
                    <a:pt x="33673" y="46"/>
                    <a:pt x="33612" y="662"/>
                  </a:cubicBezTo>
                  <a:cubicBezTo>
                    <a:pt x="33604" y="736"/>
                    <a:pt x="33604" y="811"/>
                    <a:pt x="33612" y="885"/>
                  </a:cubicBezTo>
                  <a:lnTo>
                    <a:pt x="33612" y="36431"/>
                  </a:lnTo>
                  <a:cubicBezTo>
                    <a:pt x="33548" y="37030"/>
                    <a:pt x="33982" y="37568"/>
                    <a:pt x="34581" y="37632"/>
                  </a:cubicBezTo>
                  <a:cubicBezTo>
                    <a:pt x="34666" y="37640"/>
                    <a:pt x="34752" y="37640"/>
                    <a:pt x="34837" y="37629"/>
                  </a:cubicBezTo>
                  <a:lnTo>
                    <a:pt x="36967" y="37629"/>
                  </a:lnTo>
                  <a:cubicBezTo>
                    <a:pt x="37566" y="37707"/>
                    <a:pt x="38112" y="37283"/>
                    <a:pt x="38189" y="36687"/>
                  </a:cubicBezTo>
                  <a:cubicBezTo>
                    <a:pt x="38200" y="36602"/>
                    <a:pt x="38200" y="36516"/>
                    <a:pt x="38192" y="36431"/>
                  </a:cubicBezTo>
                  <a:lnTo>
                    <a:pt x="38192" y="885"/>
                  </a:lnTo>
                  <a:cubicBezTo>
                    <a:pt x="38253" y="270"/>
                    <a:pt x="37806" y="-278"/>
                    <a:pt x="37191" y="-340"/>
                  </a:cubicBezTo>
                  <a:cubicBezTo>
                    <a:pt x="37116" y="-348"/>
                    <a:pt x="37041" y="-348"/>
                    <a:pt x="36967" y="-340"/>
                  </a:cubicBezTo>
                  <a:moveTo>
                    <a:pt x="44768" y="30680"/>
                  </a:moveTo>
                  <a:cubicBezTo>
                    <a:pt x="44840" y="34871"/>
                    <a:pt x="48294" y="38210"/>
                    <a:pt x="52485" y="38141"/>
                  </a:cubicBezTo>
                  <a:cubicBezTo>
                    <a:pt x="52674" y="38135"/>
                    <a:pt x="52860" y="38125"/>
                    <a:pt x="53049" y="38109"/>
                  </a:cubicBezTo>
                  <a:cubicBezTo>
                    <a:pt x="56154" y="38127"/>
                    <a:pt x="59192" y="37198"/>
                    <a:pt x="61756" y="35446"/>
                  </a:cubicBezTo>
                  <a:cubicBezTo>
                    <a:pt x="62821" y="34780"/>
                    <a:pt x="63646" y="35020"/>
                    <a:pt x="63992" y="36218"/>
                  </a:cubicBezTo>
                  <a:lnTo>
                    <a:pt x="64152" y="36724"/>
                  </a:lnTo>
                  <a:cubicBezTo>
                    <a:pt x="64275" y="37363"/>
                    <a:pt x="64863" y="37802"/>
                    <a:pt x="65510" y="37736"/>
                  </a:cubicBezTo>
                  <a:lnTo>
                    <a:pt x="66096" y="37736"/>
                  </a:lnTo>
                  <a:cubicBezTo>
                    <a:pt x="66695" y="37797"/>
                    <a:pt x="67233" y="37363"/>
                    <a:pt x="67294" y="36761"/>
                  </a:cubicBezTo>
                  <a:cubicBezTo>
                    <a:pt x="67302" y="36687"/>
                    <a:pt x="67302" y="36612"/>
                    <a:pt x="67294" y="36538"/>
                  </a:cubicBezTo>
                  <a:lnTo>
                    <a:pt x="67294" y="22905"/>
                  </a:lnTo>
                  <a:cubicBezTo>
                    <a:pt x="67294" y="15982"/>
                    <a:pt x="63353" y="11935"/>
                    <a:pt x="56644" y="11935"/>
                  </a:cubicBezTo>
                  <a:cubicBezTo>
                    <a:pt x="50892" y="11935"/>
                    <a:pt x="46872" y="14864"/>
                    <a:pt x="45993" y="19497"/>
                  </a:cubicBezTo>
                  <a:cubicBezTo>
                    <a:pt x="45839" y="20048"/>
                    <a:pt x="46161" y="20623"/>
                    <a:pt x="46712" y="20778"/>
                  </a:cubicBezTo>
                  <a:cubicBezTo>
                    <a:pt x="46858" y="20818"/>
                    <a:pt x="47013" y="20825"/>
                    <a:pt x="47165" y="20802"/>
                  </a:cubicBezTo>
                  <a:lnTo>
                    <a:pt x="49055" y="20802"/>
                  </a:lnTo>
                  <a:cubicBezTo>
                    <a:pt x="49702" y="20825"/>
                    <a:pt x="50269" y="20373"/>
                    <a:pt x="50386" y="19736"/>
                  </a:cubicBezTo>
                  <a:cubicBezTo>
                    <a:pt x="51305" y="17207"/>
                    <a:pt x="53835" y="15633"/>
                    <a:pt x="56510" y="15929"/>
                  </a:cubicBezTo>
                  <a:cubicBezTo>
                    <a:pt x="59628" y="15498"/>
                    <a:pt x="62504" y="17673"/>
                    <a:pt x="62938" y="20791"/>
                  </a:cubicBezTo>
                  <a:cubicBezTo>
                    <a:pt x="62989" y="21164"/>
                    <a:pt x="63005" y="21542"/>
                    <a:pt x="62981" y="21920"/>
                  </a:cubicBezTo>
                  <a:cubicBezTo>
                    <a:pt x="62981" y="22958"/>
                    <a:pt x="62368" y="23491"/>
                    <a:pt x="61277" y="23491"/>
                  </a:cubicBezTo>
                  <a:lnTo>
                    <a:pt x="55632" y="23491"/>
                  </a:lnTo>
                  <a:cubicBezTo>
                    <a:pt x="48975" y="23491"/>
                    <a:pt x="44981" y="26606"/>
                    <a:pt x="44981" y="30840"/>
                  </a:cubicBezTo>
                  <a:moveTo>
                    <a:pt x="49561" y="30840"/>
                  </a:moveTo>
                  <a:cubicBezTo>
                    <a:pt x="49561" y="28417"/>
                    <a:pt x="51638" y="27325"/>
                    <a:pt x="55792" y="27325"/>
                  </a:cubicBezTo>
                  <a:lnTo>
                    <a:pt x="61330" y="27325"/>
                  </a:lnTo>
                  <a:cubicBezTo>
                    <a:pt x="62177" y="27232"/>
                    <a:pt x="62941" y="27844"/>
                    <a:pt x="63034" y="28691"/>
                  </a:cubicBezTo>
                  <a:cubicBezTo>
                    <a:pt x="63047" y="28803"/>
                    <a:pt x="63047" y="28917"/>
                    <a:pt x="63034" y="29029"/>
                  </a:cubicBezTo>
                  <a:lnTo>
                    <a:pt x="63034" y="29535"/>
                  </a:lnTo>
                  <a:cubicBezTo>
                    <a:pt x="63071" y="30347"/>
                    <a:pt x="62688" y="31119"/>
                    <a:pt x="62022" y="31585"/>
                  </a:cubicBezTo>
                  <a:cubicBezTo>
                    <a:pt x="59767" y="33233"/>
                    <a:pt x="57067" y="34160"/>
                    <a:pt x="54274" y="34248"/>
                  </a:cubicBezTo>
                  <a:cubicBezTo>
                    <a:pt x="51611" y="34248"/>
                    <a:pt x="49561" y="33129"/>
                    <a:pt x="49561" y="30733"/>
                  </a:cubicBezTo>
                  <a:moveTo>
                    <a:pt x="76826" y="37789"/>
                  </a:moveTo>
                  <a:lnTo>
                    <a:pt x="78956" y="37789"/>
                  </a:lnTo>
                  <a:cubicBezTo>
                    <a:pt x="79555" y="37866"/>
                    <a:pt x="80101" y="37443"/>
                    <a:pt x="80179" y="36846"/>
                  </a:cubicBezTo>
                  <a:cubicBezTo>
                    <a:pt x="80189" y="36761"/>
                    <a:pt x="80189" y="36676"/>
                    <a:pt x="80181" y="36591"/>
                  </a:cubicBezTo>
                  <a:lnTo>
                    <a:pt x="80181" y="20988"/>
                  </a:lnTo>
                  <a:cubicBezTo>
                    <a:pt x="80123" y="20152"/>
                    <a:pt x="80562" y="19361"/>
                    <a:pt x="81299" y="18964"/>
                  </a:cubicBezTo>
                  <a:cubicBezTo>
                    <a:pt x="83752" y="17274"/>
                    <a:pt x="86609" y="16264"/>
                    <a:pt x="89580" y="16035"/>
                  </a:cubicBezTo>
                  <a:cubicBezTo>
                    <a:pt x="92392" y="15777"/>
                    <a:pt x="94881" y="17846"/>
                    <a:pt x="95140" y="20658"/>
                  </a:cubicBezTo>
                  <a:cubicBezTo>
                    <a:pt x="95174" y="21033"/>
                    <a:pt x="95166" y="21411"/>
                    <a:pt x="95118" y="21787"/>
                  </a:cubicBezTo>
                  <a:lnTo>
                    <a:pt x="95118" y="36591"/>
                  </a:lnTo>
                  <a:cubicBezTo>
                    <a:pt x="95054" y="37190"/>
                    <a:pt x="95489" y="37728"/>
                    <a:pt x="96088" y="37792"/>
                  </a:cubicBezTo>
                  <a:cubicBezTo>
                    <a:pt x="96173" y="37800"/>
                    <a:pt x="96258" y="37800"/>
                    <a:pt x="96343" y="37789"/>
                  </a:cubicBezTo>
                  <a:lnTo>
                    <a:pt x="98473" y="37789"/>
                  </a:lnTo>
                  <a:cubicBezTo>
                    <a:pt x="99072" y="37866"/>
                    <a:pt x="99618" y="37443"/>
                    <a:pt x="99696" y="36846"/>
                  </a:cubicBezTo>
                  <a:cubicBezTo>
                    <a:pt x="99706" y="36761"/>
                    <a:pt x="99706" y="36676"/>
                    <a:pt x="99698" y="36591"/>
                  </a:cubicBezTo>
                  <a:lnTo>
                    <a:pt x="99698" y="21574"/>
                  </a:lnTo>
                  <a:cubicBezTo>
                    <a:pt x="99698" y="15343"/>
                    <a:pt x="96397" y="11988"/>
                    <a:pt x="90885" y="11988"/>
                  </a:cubicBezTo>
                  <a:cubicBezTo>
                    <a:pt x="87495" y="11996"/>
                    <a:pt x="84178" y="12976"/>
                    <a:pt x="81326" y="14811"/>
                  </a:cubicBezTo>
                  <a:cubicBezTo>
                    <a:pt x="80261" y="15503"/>
                    <a:pt x="79436" y="15210"/>
                    <a:pt x="79143" y="13932"/>
                  </a:cubicBezTo>
                  <a:lnTo>
                    <a:pt x="79143" y="13559"/>
                  </a:lnTo>
                  <a:cubicBezTo>
                    <a:pt x="79023" y="12902"/>
                    <a:pt x="78424" y="12444"/>
                    <a:pt x="77758" y="12494"/>
                  </a:cubicBezTo>
                  <a:lnTo>
                    <a:pt x="76906" y="12494"/>
                  </a:lnTo>
                  <a:cubicBezTo>
                    <a:pt x="76307" y="12417"/>
                    <a:pt x="75761" y="12840"/>
                    <a:pt x="75684" y="13437"/>
                  </a:cubicBezTo>
                  <a:cubicBezTo>
                    <a:pt x="75673" y="13522"/>
                    <a:pt x="75673" y="13607"/>
                    <a:pt x="75681" y="13692"/>
                  </a:cubicBezTo>
                  <a:lnTo>
                    <a:pt x="75681" y="36591"/>
                  </a:lnTo>
                  <a:cubicBezTo>
                    <a:pt x="75617" y="37190"/>
                    <a:pt x="76051" y="37728"/>
                    <a:pt x="76651" y="37792"/>
                  </a:cubicBezTo>
                  <a:cubicBezTo>
                    <a:pt x="76736" y="37800"/>
                    <a:pt x="76821" y="37800"/>
                    <a:pt x="76906" y="37789"/>
                  </a:cubicBezTo>
                  <a:moveTo>
                    <a:pt x="106195" y="24982"/>
                  </a:moveTo>
                  <a:cubicBezTo>
                    <a:pt x="105870" y="32003"/>
                    <a:pt x="111299" y="37959"/>
                    <a:pt x="118323" y="38282"/>
                  </a:cubicBezTo>
                  <a:cubicBezTo>
                    <a:pt x="118565" y="38292"/>
                    <a:pt x="118810" y="38298"/>
                    <a:pt x="119055" y="38295"/>
                  </a:cubicBezTo>
                  <a:cubicBezTo>
                    <a:pt x="123824" y="38492"/>
                    <a:pt x="128193" y="35651"/>
                    <a:pt x="129945" y="31212"/>
                  </a:cubicBezTo>
                  <a:cubicBezTo>
                    <a:pt x="130238" y="30387"/>
                    <a:pt x="129706" y="29828"/>
                    <a:pt x="128880" y="29828"/>
                  </a:cubicBezTo>
                  <a:lnTo>
                    <a:pt x="127043" y="29828"/>
                  </a:lnTo>
                  <a:cubicBezTo>
                    <a:pt x="126409" y="29817"/>
                    <a:pt x="125840" y="30214"/>
                    <a:pt x="125632" y="30813"/>
                  </a:cubicBezTo>
                  <a:cubicBezTo>
                    <a:pt x="124357" y="33217"/>
                    <a:pt x="121766" y="34623"/>
                    <a:pt x="119055" y="34381"/>
                  </a:cubicBezTo>
                  <a:cubicBezTo>
                    <a:pt x="115256" y="34477"/>
                    <a:pt x="111914" y="31881"/>
                    <a:pt x="111068" y="28177"/>
                  </a:cubicBezTo>
                  <a:cubicBezTo>
                    <a:pt x="110775" y="27059"/>
                    <a:pt x="111467" y="26340"/>
                    <a:pt x="112638" y="26340"/>
                  </a:cubicBezTo>
                  <a:lnTo>
                    <a:pt x="129173" y="26340"/>
                  </a:lnTo>
                  <a:cubicBezTo>
                    <a:pt x="130025" y="26398"/>
                    <a:pt x="130763" y="25757"/>
                    <a:pt x="130821" y="24905"/>
                  </a:cubicBezTo>
                  <a:cubicBezTo>
                    <a:pt x="130824" y="24859"/>
                    <a:pt x="130824" y="24814"/>
                    <a:pt x="130824" y="24769"/>
                  </a:cubicBezTo>
                  <a:cubicBezTo>
                    <a:pt x="131194" y="18072"/>
                    <a:pt x="126069" y="12345"/>
                    <a:pt x="119372" y="11975"/>
                  </a:cubicBezTo>
                  <a:cubicBezTo>
                    <a:pt x="119266" y="11970"/>
                    <a:pt x="119162" y="11964"/>
                    <a:pt x="119055" y="11962"/>
                  </a:cubicBezTo>
                  <a:cubicBezTo>
                    <a:pt x="112071" y="11871"/>
                    <a:pt x="106336" y="17460"/>
                    <a:pt x="106245" y="24444"/>
                  </a:cubicBezTo>
                  <a:cubicBezTo>
                    <a:pt x="106243" y="24614"/>
                    <a:pt x="106243" y="24785"/>
                    <a:pt x="106248" y="24955"/>
                  </a:cubicBezTo>
                  <a:moveTo>
                    <a:pt x="111707" y="20535"/>
                  </a:moveTo>
                  <a:cubicBezTo>
                    <a:pt x="113006" y="17676"/>
                    <a:pt x="115860" y="15841"/>
                    <a:pt x="119002" y="15849"/>
                  </a:cubicBezTo>
                  <a:cubicBezTo>
                    <a:pt x="122038" y="15844"/>
                    <a:pt x="124751" y="17737"/>
                    <a:pt x="125792" y="20589"/>
                  </a:cubicBezTo>
                  <a:cubicBezTo>
                    <a:pt x="126218" y="21760"/>
                    <a:pt x="125526" y="22532"/>
                    <a:pt x="124327" y="22532"/>
                  </a:cubicBezTo>
                  <a:lnTo>
                    <a:pt x="113065" y="22532"/>
                  </a:lnTo>
                  <a:cubicBezTo>
                    <a:pt x="111786" y="22532"/>
                    <a:pt x="111121" y="21707"/>
                    <a:pt x="111707" y="20589"/>
                  </a:cubicBezTo>
                  <a:moveTo>
                    <a:pt x="135670" y="16408"/>
                  </a:moveTo>
                  <a:lnTo>
                    <a:pt x="137720" y="16408"/>
                  </a:lnTo>
                  <a:cubicBezTo>
                    <a:pt x="137971" y="16392"/>
                    <a:pt x="138184" y="16584"/>
                    <a:pt x="138200" y="16832"/>
                  </a:cubicBezTo>
                  <a:cubicBezTo>
                    <a:pt x="138200" y="16850"/>
                    <a:pt x="138200" y="16869"/>
                    <a:pt x="138200" y="16888"/>
                  </a:cubicBezTo>
                  <a:lnTo>
                    <a:pt x="138200" y="30414"/>
                  </a:lnTo>
                  <a:cubicBezTo>
                    <a:pt x="138200" y="36218"/>
                    <a:pt x="141475" y="38401"/>
                    <a:pt x="145495" y="38401"/>
                  </a:cubicBezTo>
                  <a:cubicBezTo>
                    <a:pt x="147564" y="38404"/>
                    <a:pt x="149622" y="38079"/>
                    <a:pt x="151592" y="37443"/>
                  </a:cubicBezTo>
                  <a:cubicBezTo>
                    <a:pt x="152090" y="37059"/>
                    <a:pt x="152239" y="36373"/>
                    <a:pt x="151939" y="35819"/>
                  </a:cubicBezTo>
                  <a:lnTo>
                    <a:pt x="151779" y="34354"/>
                  </a:lnTo>
                  <a:cubicBezTo>
                    <a:pt x="151779" y="33529"/>
                    <a:pt x="151140" y="33183"/>
                    <a:pt x="150314" y="33476"/>
                  </a:cubicBezTo>
                  <a:cubicBezTo>
                    <a:pt x="148837" y="33963"/>
                    <a:pt x="147292" y="34216"/>
                    <a:pt x="145735" y="34221"/>
                  </a:cubicBezTo>
                  <a:cubicBezTo>
                    <a:pt x="143472" y="34221"/>
                    <a:pt x="142247" y="32996"/>
                    <a:pt x="142247" y="30281"/>
                  </a:cubicBezTo>
                  <a:lnTo>
                    <a:pt x="142247" y="16834"/>
                  </a:lnTo>
                  <a:cubicBezTo>
                    <a:pt x="142231" y="16584"/>
                    <a:pt x="142423" y="16371"/>
                    <a:pt x="142670" y="16355"/>
                  </a:cubicBezTo>
                  <a:cubicBezTo>
                    <a:pt x="142689" y="16355"/>
                    <a:pt x="142707" y="16355"/>
                    <a:pt x="142726" y="16355"/>
                  </a:cubicBezTo>
                  <a:lnTo>
                    <a:pt x="150714" y="16355"/>
                  </a:lnTo>
                  <a:cubicBezTo>
                    <a:pt x="151329" y="16416"/>
                    <a:pt x="151877" y="15969"/>
                    <a:pt x="151939" y="15354"/>
                  </a:cubicBezTo>
                  <a:cubicBezTo>
                    <a:pt x="151947" y="15279"/>
                    <a:pt x="151947" y="15205"/>
                    <a:pt x="151939" y="15130"/>
                  </a:cubicBezTo>
                  <a:lnTo>
                    <a:pt x="151939" y="13666"/>
                  </a:lnTo>
                  <a:cubicBezTo>
                    <a:pt x="152003" y="13067"/>
                    <a:pt x="151569" y="12529"/>
                    <a:pt x="150969" y="12465"/>
                  </a:cubicBezTo>
                  <a:cubicBezTo>
                    <a:pt x="150884" y="12457"/>
                    <a:pt x="150799" y="12457"/>
                    <a:pt x="150714" y="12468"/>
                  </a:cubicBezTo>
                  <a:lnTo>
                    <a:pt x="142726" y="12468"/>
                  </a:lnTo>
                  <a:cubicBezTo>
                    <a:pt x="142462" y="12468"/>
                    <a:pt x="142247" y="12255"/>
                    <a:pt x="142247" y="11988"/>
                  </a:cubicBezTo>
                  <a:cubicBezTo>
                    <a:pt x="142247" y="11980"/>
                    <a:pt x="142247" y="11970"/>
                    <a:pt x="142247" y="11962"/>
                  </a:cubicBezTo>
                  <a:lnTo>
                    <a:pt x="142247" y="6636"/>
                  </a:lnTo>
                  <a:cubicBezTo>
                    <a:pt x="142247" y="5811"/>
                    <a:pt x="141767" y="5332"/>
                    <a:pt x="140889" y="5571"/>
                  </a:cubicBezTo>
                  <a:lnTo>
                    <a:pt x="138839" y="6104"/>
                  </a:lnTo>
                  <a:cubicBezTo>
                    <a:pt x="138200" y="6224"/>
                    <a:pt x="137760" y="6815"/>
                    <a:pt x="137827" y="7462"/>
                  </a:cubicBezTo>
                  <a:lnTo>
                    <a:pt x="137827" y="11855"/>
                  </a:lnTo>
                  <a:cubicBezTo>
                    <a:pt x="137843" y="12119"/>
                    <a:pt x="137640" y="12345"/>
                    <a:pt x="137377" y="12361"/>
                  </a:cubicBezTo>
                  <a:cubicBezTo>
                    <a:pt x="137358" y="12361"/>
                    <a:pt x="137340" y="12361"/>
                    <a:pt x="137321" y="12361"/>
                  </a:cubicBezTo>
                  <a:lnTo>
                    <a:pt x="135138" y="12361"/>
                  </a:lnTo>
                  <a:cubicBezTo>
                    <a:pt x="134539" y="12284"/>
                    <a:pt x="133993" y="12707"/>
                    <a:pt x="133915" y="13304"/>
                  </a:cubicBezTo>
                  <a:cubicBezTo>
                    <a:pt x="133905" y="13389"/>
                    <a:pt x="133905" y="13474"/>
                    <a:pt x="133913" y="13559"/>
                  </a:cubicBezTo>
                  <a:lnTo>
                    <a:pt x="133913" y="15024"/>
                  </a:lnTo>
                  <a:cubicBezTo>
                    <a:pt x="133851" y="15639"/>
                    <a:pt x="134299" y="16187"/>
                    <a:pt x="134914" y="16248"/>
                  </a:cubicBezTo>
                  <a:cubicBezTo>
                    <a:pt x="134988" y="16257"/>
                    <a:pt x="135063" y="16257"/>
                    <a:pt x="135138" y="16248"/>
                  </a:cubicBezTo>
                  <a:moveTo>
                    <a:pt x="168820" y="24023"/>
                  </a:moveTo>
                  <a:cubicBezTo>
                    <a:pt x="168758" y="24638"/>
                    <a:pt x="169206" y="25187"/>
                    <a:pt x="169821" y="25248"/>
                  </a:cubicBezTo>
                  <a:cubicBezTo>
                    <a:pt x="169895" y="25256"/>
                    <a:pt x="169970" y="25256"/>
                    <a:pt x="170044" y="25248"/>
                  </a:cubicBezTo>
                  <a:lnTo>
                    <a:pt x="175609" y="25248"/>
                  </a:lnTo>
                  <a:cubicBezTo>
                    <a:pt x="176134" y="25187"/>
                    <a:pt x="176613" y="25562"/>
                    <a:pt x="176674" y="26087"/>
                  </a:cubicBezTo>
                  <a:cubicBezTo>
                    <a:pt x="176682" y="26161"/>
                    <a:pt x="176682" y="26239"/>
                    <a:pt x="176674" y="26313"/>
                  </a:cubicBezTo>
                  <a:lnTo>
                    <a:pt x="176674" y="31772"/>
                  </a:lnTo>
                  <a:cubicBezTo>
                    <a:pt x="176581" y="32352"/>
                    <a:pt x="176975" y="32898"/>
                    <a:pt x="177556" y="32994"/>
                  </a:cubicBezTo>
                  <a:cubicBezTo>
                    <a:pt x="177659" y="33010"/>
                    <a:pt x="177769" y="33010"/>
                    <a:pt x="177872" y="32996"/>
                  </a:cubicBezTo>
                  <a:lnTo>
                    <a:pt x="179230" y="32996"/>
                  </a:lnTo>
                  <a:cubicBezTo>
                    <a:pt x="179846" y="33058"/>
                    <a:pt x="180394" y="32610"/>
                    <a:pt x="180455" y="31995"/>
                  </a:cubicBezTo>
                  <a:cubicBezTo>
                    <a:pt x="180463" y="31921"/>
                    <a:pt x="180463" y="31846"/>
                    <a:pt x="180455" y="31772"/>
                  </a:cubicBezTo>
                  <a:lnTo>
                    <a:pt x="180455" y="26313"/>
                  </a:lnTo>
                  <a:cubicBezTo>
                    <a:pt x="180410" y="25770"/>
                    <a:pt x="180812" y="25293"/>
                    <a:pt x="181353" y="25248"/>
                  </a:cubicBezTo>
                  <a:cubicBezTo>
                    <a:pt x="181408" y="25243"/>
                    <a:pt x="181464" y="25243"/>
                    <a:pt x="181520" y="25248"/>
                  </a:cubicBezTo>
                  <a:lnTo>
                    <a:pt x="186979" y="25248"/>
                  </a:lnTo>
                  <a:cubicBezTo>
                    <a:pt x="187594" y="25309"/>
                    <a:pt x="188142" y="24862"/>
                    <a:pt x="188203" y="24247"/>
                  </a:cubicBezTo>
                  <a:cubicBezTo>
                    <a:pt x="188211" y="24172"/>
                    <a:pt x="188211" y="24098"/>
                    <a:pt x="188203" y="24023"/>
                  </a:cubicBezTo>
                  <a:lnTo>
                    <a:pt x="188203" y="22665"/>
                  </a:lnTo>
                  <a:cubicBezTo>
                    <a:pt x="188267" y="22066"/>
                    <a:pt x="187833" y="21528"/>
                    <a:pt x="187234" y="21465"/>
                  </a:cubicBezTo>
                  <a:cubicBezTo>
                    <a:pt x="187149" y="21457"/>
                    <a:pt x="187064" y="21457"/>
                    <a:pt x="186979" y="21467"/>
                  </a:cubicBezTo>
                  <a:lnTo>
                    <a:pt x="181520" y="21467"/>
                  </a:lnTo>
                  <a:cubicBezTo>
                    <a:pt x="180977" y="21515"/>
                    <a:pt x="180500" y="21113"/>
                    <a:pt x="180453" y="20573"/>
                  </a:cubicBezTo>
                  <a:cubicBezTo>
                    <a:pt x="180447" y="20506"/>
                    <a:pt x="180447" y="20439"/>
                    <a:pt x="180455" y="20376"/>
                  </a:cubicBezTo>
                  <a:lnTo>
                    <a:pt x="180455" y="15050"/>
                  </a:lnTo>
                  <a:cubicBezTo>
                    <a:pt x="180535" y="14454"/>
                    <a:pt x="180114" y="13905"/>
                    <a:pt x="179515" y="13825"/>
                  </a:cubicBezTo>
                  <a:cubicBezTo>
                    <a:pt x="179422" y="13812"/>
                    <a:pt x="179326" y="13812"/>
                    <a:pt x="179230" y="13825"/>
                  </a:cubicBezTo>
                  <a:lnTo>
                    <a:pt x="177846" y="13825"/>
                  </a:lnTo>
                  <a:cubicBezTo>
                    <a:pt x="177266" y="13730"/>
                    <a:pt x="176717" y="14121"/>
                    <a:pt x="176621" y="14702"/>
                  </a:cubicBezTo>
                  <a:cubicBezTo>
                    <a:pt x="176602" y="14819"/>
                    <a:pt x="176602" y="14936"/>
                    <a:pt x="176621" y="15050"/>
                  </a:cubicBezTo>
                  <a:lnTo>
                    <a:pt x="176621" y="20376"/>
                  </a:lnTo>
                  <a:cubicBezTo>
                    <a:pt x="176698" y="20900"/>
                    <a:pt x="176336" y="21387"/>
                    <a:pt x="175814" y="21465"/>
                  </a:cubicBezTo>
                  <a:cubicBezTo>
                    <a:pt x="175729" y="21478"/>
                    <a:pt x="175641" y="21478"/>
                    <a:pt x="175556" y="21467"/>
                  </a:cubicBezTo>
                  <a:lnTo>
                    <a:pt x="170044" y="21467"/>
                  </a:lnTo>
                  <a:cubicBezTo>
                    <a:pt x="169445" y="21390"/>
                    <a:pt x="168899" y="21813"/>
                    <a:pt x="168822" y="22410"/>
                  </a:cubicBezTo>
                  <a:cubicBezTo>
                    <a:pt x="168812" y="22495"/>
                    <a:pt x="168812" y="22580"/>
                    <a:pt x="168820" y="22665"/>
                  </a:cubicBezTo>
                  <a:close/>
                  <a:moveTo>
                    <a:pt x="209185" y="48360"/>
                  </a:moveTo>
                  <a:lnTo>
                    <a:pt x="210995" y="48360"/>
                  </a:lnTo>
                  <a:cubicBezTo>
                    <a:pt x="211595" y="48421"/>
                    <a:pt x="212132" y="47987"/>
                    <a:pt x="212194" y="47385"/>
                  </a:cubicBezTo>
                  <a:cubicBezTo>
                    <a:pt x="212202" y="47311"/>
                    <a:pt x="212202" y="47236"/>
                    <a:pt x="212194" y="47161"/>
                  </a:cubicBezTo>
                  <a:lnTo>
                    <a:pt x="212194" y="37070"/>
                  </a:lnTo>
                  <a:cubicBezTo>
                    <a:pt x="212194" y="35659"/>
                    <a:pt x="212966" y="35366"/>
                    <a:pt x="214137" y="36192"/>
                  </a:cubicBezTo>
                  <a:cubicBezTo>
                    <a:pt x="216233" y="37528"/>
                    <a:pt x="218682" y="38207"/>
                    <a:pt x="221167" y="38135"/>
                  </a:cubicBezTo>
                  <a:cubicBezTo>
                    <a:pt x="228284" y="38066"/>
                    <a:pt x="233998" y="32240"/>
                    <a:pt x="233926" y="25123"/>
                  </a:cubicBezTo>
                  <a:cubicBezTo>
                    <a:pt x="233926" y="25022"/>
                    <a:pt x="233923" y="24923"/>
                    <a:pt x="233921" y="24822"/>
                  </a:cubicBezTo>
                  <a:cubicBezTo>
                    <a:pt x="234067" y="17766"/>
                    <a:pt x="228468" y="11924"/>
                    <a:pt x="221409" y="11778"/>
                  </a:cubicBezTo>
                  <a:cubicBezTo>
                    <a:pt x="221356" y="11775"/>
                    <a:pt x="221300" y="11775"/>
                    <a:pt x="221247" y="11775"/>
                  </a:cubicBezTo>
                  <a:cubicBezTo>
                    <a:pt x="218469" y="11695"/>
                    <a:pt x="215748" y="12558"/>
                    <a:pt x="213525" y="14225"/>
                  </a:cubicBezTo>
                  <a:cubicBezTo>
                    <a:pt x="212433" y="15050"/>
                    <a:pt x="211608" y="14864"/>
                    <a:pt x="211368" y="13479"/>
                  </a:cubicBezTo>
                  <a:lnTo>
                    <a:pt x="211368" y="13479"/>
                  </a:lnTo>
                  <a:cubicBezTo>
                    <a:pt x="211312" y="12814"/>
                    <a:pt x="210732" y="12316"/>
                    <a:pt x="210064" y="12361"/>
                  </a:cubicBezTo>
                  <a:lnTo>
                    <a:pt x="209185" y="12361"/>
                  </a:lnTo>
                  <a:cubicBezTo>
                    <a:pt x="208586" y="12284"/>
                    <a:pt x="208040" y="12707"/>
                    <a:pt x="207963" y="13304"/>
                  </a:cubicBezTo>
                  <a:cubicBezTo>
                    <a:pt x="207952" y="13389"/>
                    <a:pt x="207952" y="13474"/>
                    <a:pt x="207960" y="13559"/>
                  </a:cubicBezTo>
                  <a:lnTo>
                    <a:pt x="207960" y="47161"/>
                  </a:lnTo>
                  <a:cubicBezTo>
                    <a:pt x="207896" y="47760"/>
                    <a:pt x="208330" y="48298"/>
                    <a:pt x="208929" y="48362"/>
                  </a:cubicBezTo>
                  <a:cubicBezTo>
                    <a:pt x="209014" y="48370"/>
                    <a:pt x="209100" y="48370"/>
                    <a:pt x="209185" y="48360"/>
                  </a:cubicBezTo>
                  <a:moveTo>
                    <a:pt x="212540" y="28017"/>
                  </a:moveTo>
                  <a:lnTo>
                    <a:pt x="212540" y="21947"/>
                  </a:lnTo>
                  <a:cubicBezTo>
                    <a:pt x="212500" y="21206"/>
                    <a:pt x="212686" y="20474"/>
                    <a:pt x="213072" y="19843"/>
                  </a:cubicBezTo>
                  <a:cubicBezTo>
                    <a:pt x="214744" y="17260"/>
                    <a:pt x="217636" y="15727"/>
                    <a:pt x="220714" y="15796"/>
                  </a:cubicBezTo>
                  <a:cubicBezTo>
                    <a:pt x="225571" y="15985"/>
                    <a:pt x="229370" y="20045"/>
                    <a:pt x="229234" y="24902"/>
                  </a:cubicBezTo>
                  <a:cubicBezTo>
                    <a:pt x="229445" y="29825"/>
                    <a:pt x="225637" y="33992"/>
                    <a:pt x="220714" y="34221"/>
                  </a:cubicBezTo>
                  <a:cubicBezTo>
                    <a:pt x="217620" y="34304"/>
                    <a:pt x="214712" y="32746"/>
                    <a:pt x="213072" y="30121"/>
                  </a:cubicBezTo>
                  <a:cubicBezTo>
                    <a:pt x="212686" y="29490"/>
                    <a:pt x="212500" y="28757"/>
                    <a:pt x="212540" y="28017"/>
                  </a:cubicBezTo>
                  <a:moveTo>
                    <a:pt x="238740" y="24849"/>
                  </a:moveTo>
                  <a:cubicBezTo>
                    <a:pt x="238415" y="31870"/>
                    <a:pt x="243844" y="37826"/>
                    <a:pt x="250868" y="38148"/>
                  </a:cubicBezTo>
                  <a:cubicBezTo>
                    <a:pt x="251110" y="38159"/>
                    <a:pt x="251355" y="38165"/>
                    <a:pt x="251600" y="38162"/>
                  </a:cubicBezTo>
                  <a:cubicBezTo>
                    <a:pt x="256369" y="38359"/>
                    <a:pt x="260738" y="35518"/>
                    <a:pt x="262491" y="31079"/>
                  </a:cubicBezTo>
                  <a:cubicBezTo>
                    <a:pt x="262783" y="30254"/>
                    <a:pt x="262251" y="29695"/>
                    <a:pt x="261425" y="29695"/>
                  </a:cubicBezTo>
                  <a:lnTo>
                    <a:pt x="259588" y="29695"/>
                  </a:lnTo>
                  <a:cubicBezTo>
                    <a:pt x="258955" y="29684"/>
                    <a:pt x="258385" y="30081"/>
                    <a:pt x="258177" y="30680"/>
                  </a:cubicBezTo>
                  <a:cubicBezTo>
                    <a:pt x="256907" y="33090"/>
                    <a:pt x="254311" y="34498"/>
                    <a:pt x="251600" y="34248"/>
                  </a:cubicBezTo>
                  <a:cubicBezTo>
                    <a:pt x="247801" y="34344"/>
                    <a:pt x="244459" y="31748"/>
                    <a:pt x="243612" y="28044"/>
                  </a:cubicBezTo>
                  <a:cubicBezTo>
                    <a:pt x="243320" y="26926"/>
                    <a:pt x="244012" y="26207"/>
                    <a:pt x="245184" y="26207"/>
                  </a:cubicBezTo>
                  <a:lnTo>
                    <a:pt x="261718" y="26207"/>
                  </a:lnTo>
                  <a:cubicBezTo>
                    <a:pt x="262570" y="26265"/>
                    <a:pt x="263308" y="25624"/>
                    <a:pt x="263366" y="24774"/>
                  </a:cubicBezTo>
                  <a:cubicBezTo>
                    <a:pt x="263369" y="24726"/>
                    <a:pt x="263369" y="24681"/>
                    <a:pt x="263369" y="24636"/>
                  </a:cubicBezTo>
                  <a:cubicBezTo>
                    <a:pt x="263739" y="17939"/>
                    <a:pt x="258611" y="12212"/>
                    <a:pt x="251917" y="11842"/>
                  </a:cubicBezTo>
                  <a:cubicBezTo>
                    <a:pt x="251811" y="11837"/>
                    <a:pt x="251707" y="11831"/>
                    <a:pt x="251600" y="11829"/>
                  </a:cubicBezTo>
                  <a:cubicBezTo>
                    <a:pt x="244616" y="11738"/>
                    <a:pt x="238881" y="17327"/>
                    <a:pt x="238791" y="24311"/>
                  </a:cubicBezTo>
                  <a:cubicBezTo>
                    <a:pt x="238788" y="24481"/>
                    <a:pt x="238788" y="24652"/>
                    <a:pt x="238793" y="24822"/>
                  </a:cubicBezTo>
                  <a:moveTo>
                    <a:pt x="244118" y="20402"/>
                  </a:moveTo>
                  <a:cubicBezTo>
                    <a:pt x="245418" y="17542"/>
                    <a:pt x="248272" y="15708"/>
                    <a:pt x="251414" y="15716"/>
                  </a:cubicBezTo>
                  <a:cubicBezTo>
                    <a:pt x="254449" y="15711"/>
                    <a:pt x="257163" y="17604"/>
                    <a:pt x="258204" y="20455"/>
                  </a:cubicBezTo>
                  <a:cubicBezTo>
                    <a:pt x="258630" y="21627"/>
                    <a:pt x="257964" y="22399"/>
                    <a:pt x="256739" y="22399"/>
                  </a:cubicBezTo>
                  <a:lnTo>
                    <a:pt x="245476" y="22399"/>
                  </a:lnTo>
                  <a:cubicBezTo>
                    <a:pt x="244225" y="22399"/>
                    <a:pt x="243533" y="21574"/>
                    <a:pt x="244118" y="20455"/>
                  </a:cubicBezTo>
                  <a:moveTo>
                    <a:pt x="268082" y="24875"/>
                  </a:moveTo>
                  <a:cubicBezTo>
                    <a:pt x="267920" y="32064"/>
                    <a:pt x="273615" y="38026"/>
                    <a:pt x="280801" y="38188"/>
                  </a:cubicBezTo>
                  <a:cubicBezTo>
                    <a:pt x="281001" y="38194"/>
                    <a:pt x="281198" y="38194"/>
                    <a:pt x="281395" y="38188"/>
                  </a:cubicBezTo>
                  <a:cubicBezTo>
                    <a:pt x="288584" y="38351"/>
                    <a:pt x="294546" y="32658"/>
                    <a:pt x="294708" y="25469"/>
                  </a:cubicBezTo>
                  <a:cubicBezTo>
                    <a:pt x="294713" y="25269"/>
                    <a:pt x="294713" y="25072"/>
                    <a:pt x="294708" y="24875"/>
                  </a:cubicBezTo>
                  <a:cubicBezTo>
                    <a:pt x="294785" y="17774"/>
                    <a:pt x="289093" y="11954"/>
                    <a:pt x="281989" y="11874"/>
                  </a:cubicBezTo>
                  <a:cubicBezTo>
                    <a:pt x="281792" y="11871"/>
                    <a:pt x="281592" y="11874"/>
                    <a:pt x="281395" y="11882"/>
                  </a:cubicBezTo>
                  <a:cubicBezTo>
                    <a:pt x="274281" y="11647"/>
                    <a:pt x="268324" y="17223"/>
                    <a:pt x="268087" y="24335"/>
                  </a:cubicBezTo>
                  <a:cubicBezTo>
                    <a:pt x="268082" y="24516"/>
                    <a:pt x="268079" y="24694"/>
                    <a:pt x="268082" y="24875"/>
                  </a:cubicBezTo>
                  <a:moveTo>
                    <a:pt x="272662" y="25035"/>
                  </a:moveTo>
                  <a:cubicBezTo>
                    <a:pt x="272427" y="20189"/>
                    <a:pt x="276166" y="16067"/>
                    <a:pt x="281012" y="15833"/>
                  </a:cubicBezTo>
                  <a:cubicBezTo>
                    <a:pt x="281185" y="15825"/>
                    <a:pt x="281355" y="15820"/>
                    <a:pt x="281528" y="15822"/>
                  </a:cubicBezTo>
                  <a:cubicBezTo>
                    <a:pt x="286395" y="15817"/>
                    <a:pt x="290347" y="19760"/>
                    <a:pt x="290349" y="24628"/>
                  </a:cubicBezTo>
                  <a:cubicBezTo>
                    <a:pt x="290352" y="24764"/>
                    <a:pt x="290347" y="24899"/>
                    <a:pt x="290341" y="25035"/>
                  </a:cubicBezTo>
                  <a:cubicBezTo>
                    <a:pt x="290546" y="29913"/>
                    <a:pt x="286760" y="34035"/>
                    <a:pt x="281882" y="34240"/>
                  </a:cubicBezTo>
                  <a:cubicBezTo>
                    <a:pt x="281765" y="34245"/>
                    <a:pt x="281645" y="34248"/>
                    <a:pt x="281528" y="34248"/>
                  </a:cubicBezTo>
                  <a:cubicBezTo>
                    <a:pt x="276645" y="34266"/>
                    <a:pt x="272672" y="30326"/>
                    <a:pt x="272654" y="25442"/>
                  </a:cubicBezTo>
                  <a:cubicBezTo>
                    <a:pt x="272654" y="25307"/>
                    <a:pt x="272656" y="25171"/>
                    <a:pt x="272662" y="25035"/>
                  </a:cubicBezTo>
                  <a:moveTo>
                    <a:pt x="302749" y="48386"/>
                  </a:moveTo>
                  <a:lnTo>
                    <a:pt x="304533" y="48386"/>
                  </a:lnTo>
                  <a:cubicBezTo>
                    <a:pt x="305132" y="48463"/>
                    <a:pt x="305678" y="48040"/>
                    <a:pt x="305755" y="47444"/>
                  </a:cubicBezTo>
                  <a:cubicBezTo>
                    <a:pt x="305766" y="47359"/>
                    <a:pt x="305766" y="47273"/>
                    <a:pt x="305758" y="47188"/>
                  </a:cubicBezTo>
                  <a:lnTo>
                    <a:pt x="305758" y="37097"/>
                  </a:lnTo>
                  <a:cubicBezTo>
                    <a:pt x="305758" y="35686"/>
                    <a:pt x="306530" y="35393"/>
                    <a:pt x="307702" y="36218"/>
                  </a:cubicBezTo>
                  <a:cubicBezTo>
                    <a:pt x="309795" y="37560"/>
                    <a:pt x="312247" y="38236"/>
                    <a:pt x="314731" y="38162"/>
                  </a:cubicBezTo>
                  <a:cubicBezTo>
                    <a:pt x="321861" y="38077"/>
                    <a:pt x="327575" y="32227"/>
                    <a:pt x="327490" y="25096"/>
                  </a:cubicBezTo>
                  <a:cubicBezTo>
                    <a:pt x="327490" y="25014"/>
                    <a:pt x="327488" y="24931"/>
                    <a:pt x="327485" y="24849"/>
                  </a:cubicBezTo>
                  <a:cubicBezTo>
                    <a:pt x="327631" y="17793"/>
                    <a:pt x="322032" y="11951"/>
                    <a:pt x="314973" y="11805"/>
                  </a:cubicBezTo>
                  <a:cubicBezTo>
                    <a:pt x="314920" y="11802"/>
                    <a:pt x="314864" y="11802"/>
                    <a:pt x="314811" y="11802"/>
                  </a:cubicBezTo>
                  <a:cubicBezTo>
                    <a:pt x="312026" y="11725"/>
                    <a:pt x="309297" y="12587"/>
                    <a:pt x="307063" y="14252"/>
                  </a:cubicBezTo>
                  <a:cubicBezTo>
                    <a:pt x="305998" y="15077"/>
                    <a:pt x="305172" y="14891"/>
                    <a:pt x="304933" y="13506"/>
                  </a:cubicBezTo>
                  <a:lnTo>
                    <a:pt x="304933" y="13506"/>
                  </a:lnTo>
                  <a:cubicBezTo>
                    <a:pt x="304877" y="12840"/>
                    <a:pt x="304296" y="12342"/>
                    <a:pt x="303628" y="12388"/>
                  </a:cubicBezTo>
                  <a:lnTo>
                    <a:pt x="302749" y="12388"/>
                  </a:lnTo>
                  <a:cubicBezTo>
                    <a:pt x="302150" y="12310"/>
                    <a:pt x="301604" y="12734"/>
                    <a:pt x="301527" y="13330"/>
                  </a:cubicBezTo>
                  <a:cubicBezTo>
                    <a:pt x="301516" y="13415"/>
                    <a:pt x="301516" y="13501"/>
                    <a:pt x="301524" y="13586"/>
                  </a:cubicBezTo>
                  <a:lnTo>
                    <a:pt x="301524" y="47188"/>
                  </a:lnTo>
                  <a:cubicBezTo>
                    <a:pt x="301461" y="47787"/>
                    <a:pt x="301894" y="48325"/>
                    <a:pt x="302494" y="48389"/>
                  </a:cubicBezTo>
                  <a:cubicBezTo>
                    <a:pt x="302579" y="48397"/>
                    <a:pt x="302664" y="48397"/>
                    <a:pt x="302749" y="48386"/>
                  </a:cubicBezTo>
                  <a:moveTo>
                    <a:pt x="306104" y="28044"/>
                  </a:moveTo>
                  <a:lnTo>
                    <a:pt x="306104" y="21973"/>
                  </a:lnTo>
                  <a:cubicBezTo>
                    <a:pt x="306051" y="21233"/>
                    <a:pt x="306237" y="20495"/>
                    <a:pt x="306637" y="19870"/>
                  </a:cubicBezTo>
                  <a:cubicBezTo>
                    <a:pt x="308306" y="17282"/>
                    <a:pt x="311200" y="15748"/>
                    <a:pt x="314278" y="15822"/>
                  </a:cubicBezTo>
                  <a:cubicBezTo>
                    <a:pt x="319135" y="16012"/>
                    <a:pt x="322935" y="20072"/>
                    <a:pt x="322799" y="24929"/>
                  </a:cubicBezTo>
                  <a:cubicBezTo>
                    <a:pt x="323009" y="29852"/>
                    <a:pt x="319201" y="34019"/>
                    <a:pt x="314278" y="34248"/>
                  </a:cubicBezTo>
                  <a:cubicBezTo>
                    <a:pt x="311184" y="34338"/>
                    <a:pt x="308274" y="32775"/>
                    <a:pt x="306637" y="30147"/>
                  </a:cubicBezTo>
                  <a:cubicBezTo>
                    <a:pt x="306237" y="29522"/>
                    <a:pt x="306051" y="28784"/>
                    <a:pt x="306104" y="28044"/>
                  </a:cubicBezTo>
                  <a:moveTo>
                    <a:pt x="337496" y="-286"/>
                  </a:moveTo>
                  <a:lnTo>
                    <a:pt x="335366" y="-286"/>
                  </a:lnTo>
                  <a:cubicBezTo>
                    <a:pt x="334751" y="-348"/>
                    <a:pt x="334203" y="100"/>
                    <a:pt x="334141" y="715"/>
                  </a:cubicBezTo>
                  <a:cubicBezTo>
                    <a:pt x="334133" y="789"/>
                    <a:pt x="334133" y="864"/>
                    <a:pt x="334141" y="938"/>
                  </a:cubicBezTo>
                  <a:lnTo>
                    <a:pt x="334141" y="36484"/>
                  </a:lnTo>
                  <a:cubicBezTo>
                    <a:pt x="334078" y="37083"/>
                    <a:pt x="334511" y="37621"/>
                    <a:pt x="335111" y="37685"/>
                  </a:cubicBezTo>
                  <a:cubicBezTo>
                    <a:pt x="335196" y="37693"/>
                    <a:pt x="335281" y="37693"/>
                    <a:pt x="335366" y="37683"/>
                  </a:cubicBezTo>
                  <a:lnTo>
                    <a:pt x="337496" y="37683"/>
                  </a:lnTo>
                  <a:cubicBezTo>
                    <a:pt x="338095" y="37760"/>
                    <a:pt x="338641" y="37336"/>
                    <a:pt x="338718" y="36740"/>
                  </a:cubicBezTo>
                  <a:cubicBezTo>
                    <a:pt x="338729" y="36655"/>
                    <a:pt x="338729" y="36570"/>
                    <a:pt x="338721" y="36484"/>
                  </a:cubicBezTo>
                  <a:lnTo>
                    <a:pt x="338721" y="885"/>
                  </a:lnTo>
                  <a:cubicBezTo>
                    <a:pt x="338782" y="270"/>
                    <a:pt x="338335" y="-278"/>
                    <a:pt x="337720" y="-340"/>
                  </a:cubicBezTo>
                  <a:cubicBezTo>
                    <a:pt x="337645" y="-348"/>
                    <a:pt x="337571" y="-348"/>
                    <a:pt x="337496" y="-340"/>
                  </a:cubicBezTo>
                  <a:moveTo>
                    <a:pt x="345484" y="24822"/>
                  </a:moveTo>
                  <a:cubicBezTo>
                    <a:pt x="345159" y="31843"/>
                    <a:pt x="350588" y="37800"/>
                    <a:pt x="357612" y="38122"/>
                  </a:cubicBezTo>
                  <a:cubicBezTo>
                    <a:pt x="357855" y="38132"/>
                    <a:pt x="358100" y="38138"/>
                    <a:pt x="358345" y="38135"/>
                  </a:cubicBezTo>
                  <a:cubicBezTo>
                    <a:pt x="363113" y="38332"/>
                    <a:pt x="367483" y="35491"/>
                    <a:pt x="369235" y="31053"/>
                  </a:cubicBezTo>
                  <a:cubicBezTo>
                    <a:pt x="369528" y="30227"/>
                    <a:pt x="368995" y="29668"/>
                    <a:pt x="368170" y="29668"/>
                  </a:cubicBezTo>
                  <a:lnTo>
                    <a:pt x="366333" y="29668"/>
                  </a:lnTo>
                  <a:cubicBezTo>
                    <a:pt x="365699" y="29657"/>
                    <a:pt x="365129" y="30054"/>
                    <a:pt x="364921" y="30653"/>
                  </a:cubicBezTo>
                  <a:cubicBezTo>
                    <a:pt x="363651" y="33063"/>
                    <a:pt x="361058" y="34471"/>
                    <a:pt x="358345" y="34221"/>
                  </a:cubicBezTo>
                  <a:cubicBezTo>
                    <a:pt x="354561" y="34266"/>
                    <a:pt x="351249" y="31694"/>
                    <a:pt x="350357" y="28017"/>
                  </a:cubicBezTo>
                  <a:cubicBezTo>
                    <a:pt x="350064" y="26899"/>
                    <a:pt x="350756" y="26180"/>
                    <a:pt x="351928" y="26180"/>
                  </a:cubicBezTo>
                  <a:lnTo>
                    <a:pt x="368463" y="26180"/>
                  </a:lnTo>
                  <a:cubicBezTo>
                    <a:pt x="369315" y="26239"/>
                    <a:pt x="370052" y="25597"/>
                    <a:pt x="370111" y="24745"/>
                  </a:cubicBezTo>
                  <a:cubicBezTo>
                    <a:pt x="370113" y="24700"/>
                    <a:pt x="370113" y="24654"/>
                    <a:pt x="370113" y="24609"/>
                  </a:cubicBezTo>
                  <a:cubicBezTo>
                    <a:pt x="370483" y="17913"/>
                    <a:pt x="365358" y="12185"/>
                    <a:pt x="358661" y="11815"/>
                  </a:cubicBezTo>
                  <a:cubicBezTo>
                    <a:pt x="358566" y="11810"/>
                    <a:pt x="358467" y="11805"/>
                    <a:pt x="358371" y="11802"/>
                  </a:cubicBezTo>
                  <a:cubicBezTo>
                    <a:pt x="351371" y="11711"/>
                    <a:pt x="345625" y="17311"/>
                    <a:pt x="345535" y="24311"/>
                  </a:cubicBezTo>
                  <a:cubicBezTo>
                    <a:pt x="345532" y="24473"/>
                    <a:pt x="345532" y="24633"/>
                    <a:pt x="345538" y="24795"/>
                  </a:cubicBezTo>
                  <a:moveTo>
                    <a:pt x="350863" y="20376"/>
                  </a:moveTo>
                  <a:cubicBezTo>
                    <a:pt x="352165" y="17505"/>
                    <a:pt x="355032" y="15671"/>
                    <a:pt x="358185" y="15689"/>
                  </a:cubicBezTo>
                  <a:cubicBezTo>
                    <a:pt x="361215" y="15679"/>
                    <a:pt x="363923" y="17577"/>
                    <a:pt x="364948" y="20429"/>
                  </a:cubicBezTo>
                  <a:cubicBezTo>
                    <a:pt x="365401" y="21600"/>
                    <a:pt x="364708" y="22373"/>
                    <a:pt x="363484" y="22373"/>
                  </a:cubicBezTo>
                  <a:lnTo>
                    <a:pt x="352221" y="22373"/>
                  </a:lnTo>
                  <a:cubicBezTo>
                    <a:pt x="350969" y="22373"/>
                    <a:pt x="350277" y="21547"/>
                    <a:pt x="350863" y="20429"/>
                  </a:cubicBezTo>
                </a:path>
              </a:pathLst>
            </a:custGeom>
            <a:solidFill>
              <a:srgbClr val="FFFFFF"/>
            </a:solidFill>
            <a:ln w="2661" cap="flat">
              <a:noFill/>
              <a:prstDash val="solid"/>
              <a:miter/>
            </a:ln>
          </p:spPr>
          <p:txBody>
            <a:bodyPr rtlCol="0" anchor="ctr"/>
            <a:lstStyle/>
            <a:p>
              <a:endParaRPr lang="pl-PL"/>
            </a:p>
          </p:txBody>
        </p:sp>
        <p:sp>
          <p:nvSpPr>
            <p:cNvPr id="132" name="Freeform: Shape 131">
              <a:extLst>
                <a:ext uri="{FF2B5EF4-FFF2-40B4-BE49-F238E27FC236}">
                  <a16:creationId xmlns:a16="http://schemas.microsoft.com/office/drawing/2014/main" id="{F5667239-ED4B-472C-A049-ED4A1CC934E4}"/>
                </a:ext>
              </a:extLst>
            </p:cNvPr>
            <p:cNvSpPr/>
            <p:nvPr/>
          </p:nvSpPr>
          <p:spPr>
            <a:xfrm>
              <a:off x="11848503" y="6635533"/>
              <a:ext cx="6855" cy="8973"/>
            </a:xfrm>
            <a:custGeom>
              <a:avLst/>
              <a:gdLst>
                <a:gd name="connsiteX0" fmla="*/ 992 w 12147"/>
                <a:gd name="connsiteY0" fmla="*/ 1467 h 15900"/>
                <a:gd name="connsiteX1" fmla="*/ 992 w 12147"/>
                <a:gd name="connsiteY1" fmla="*/ 295 h 15900"/>
                <a:gd name="connsiteX2" fmla="*/ 1519 w 12147"/>
                <a:gd name="connsiteY2" fmla="*/ -344 h 15900"/>
                <a:gd name="connsiteX3" fmla="*/ 1631 w 12147"/>
                <a:gd name="connsiteY3" fmla="*/ -344 h 15900"/>
                <a:gd name="connsiteX4" fmla="*/ 12521 w 12147"/>
                <a:gd name="connsiteY4" fmla="*/ -344 h 15900"/>
                <a:gd name="connsiteX5" fmla="*/ 13136 w 12147"/>
                <a:gd name="connsiteY5" fmla="*/ 213 h 15900"/>
                <a:gd name="connsiteX6" fmla="*/ 13133 w 12147"/>
                <a:gd name="connsiteY6" fmla="*/ 295 h 15900"/>
                <a:gd name="connsiteX7" fmla="*/ 13133 w 12147"/>
                <a:gd name="connsiteY7" fmla="*/ 1467 h 15900"/>
                <a:gd name="connsiteX8" fmla="*/ 12603 w 12147"/>
                <a:gd name="connsiteY8" fmla="*/ 2103 h 15900"/>
                <a:gd name="connsiteX9" fmla="*/ 12521 w 12147"/>
                <a:gd name="connsiteY9" fmla="*/ 2106 h 15900"/>
                <a:gd name="connsiteX10" fmla="*/ 8926 w 12147"/>
                <a:gd name="connsiteY10" fmla="*/ 2106 h 15900"/>
                <a:gd name="connsiteX11" fmla="*/ 8447 w 12147"/>
                <a:gd name="connsiteY11" fmla="*/ 2471 h 15900"/>
                <a:gd name="connsiteX12" fmla="*/ 8447 w 12147"/>
                <a:gd name="connsiteY12" fmla="*/ 2585 h 15900"/>
                <a:gd name="connsiteX13" fmla="*/ 8447 w 12147"/>
                <a:gd name="connsiteY13" fmla="*/ 14940 h 15900"/>
                <a:gd name="connsiteX14" fmla="*/ 7890 w 12147"/>
                <a:gd name="connsiteY14" fmla="*/ 15555 h 15900"/>
                <a:gd name="connsiteX15" fmla="*/ 7808 w 12147"/>
                <a:gd name="connsiteY15" fmla="*/ 15552 h 15900"/>
                <a:gd name="connsiteX16" fmla="*/ 6184 w 12147"/>
                <a:gd name="connsiteY16" fmla="*/ 15552 h 15900"/>
                <a:gd name="connsiteX17" fmla="*/ 5547 w 12147"/>
                <a:gd name="connsiteY17" fmla="*/ 15022 h 15900"/>
                <a:gd name="connsiteX18" fmla="*/ 5545 w 12147"/>
                <a:gd name="connsiteY18" fmla="*/ 14940 h 15900"/>
                <a:gd name="connsiteX19" fmla="*/ 5545 w 12147"/>
                <a:gd name="connsiteY19" fmla="*/ 2585 h 15900"/>
                <a:gd name="connsiteX20" fmla="*/ 5180 w 12147"/>
                <a:gd name="connsiteY20" fmla="*/ 2106 h 15900"/>
                <a:gd name="connsiteX21" fmla="*/ 5065 w 12147"/>
                <a:gd name="connsiteY21" fmla="*/ 2106 h 15900"/>
                <a:gd name="connsiteX22" fmla="*/ 1631 w 12147"/>
                <a:gd name="connsiteY22" fmla="*/ 2106 h 15900"/>
                <a:gd name="connsiteX23" fmla="*/ 992 w 12147"/>
                <a:gd name="connsiteY23" fmla="*/ 1579 h 15900"/>
                <a:gd name="connsiteX24" fmla="*/ 992 w 12147"/>
                <a:gd name="connsiteY24" fmla="*/ 1467 h 1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147" h="15900">
                  <a:moveTo>
                    <a:pt x="992" y="1467"/>
                  </a:moveTo>
                  <a:lnTo>
                    <a:pt x="992" y="295"/>
                  </a:lnTo>
                  <a:cubicBezTo>
                    <a:pt x="960" y="-27"/>
                    <a:pt x="1197" y="-312"/>
                    <a:pt x="1519" y="-344"/>
                  </a:cubicBezTo>
                  <a:cubicBezTo>
                    <a:pt x="1556" y="-346"/>
                    <a:pt x="1593" y="-346"/>
                    <a:pt x="1631" y="-344"/>
                  </a:cubicBezTo>
                  <a:lnTo>
                    <a:pt x="12521" y="-344"/>
                  </a:lnTo>
                  <a:cubicBezTo>
                    <a:pt x="12843" y="-360"/>
                    <a:pt x="13120" y="-112"/>
                    <a:pt x="13136" y="213"/>
                  </a:cubicBezTo>
                  <a:cubicBezTo>
                    <a:pt x="13136" y="240"/>
                    <a:pt x="13136" y="269"/>
                    <a:pt x="13133" y="295"/>
                  </a:cubicBezTo>
                  <a:lnTo>
                    <a:pt x="13133" y="1467"/>
                  </a:lnTo>
                  <a:cubicBezTo>
                    <a:pt x="13163" y="1789"/>
                    <a:pt x="12925" y="2074"/>
                    <a:pt x="12603" y="2103"/>
                  </a:cubicBezTo>
                  <a:cubicBezTo>
                    <a:pt x="12577" y="2106"/>
                    <a:pt x="12547" y="2109"/>
                    <a:pt x="12521" y="2106"/>
                  </a:cubicBezTo>
                  <a:lnTo>
                    <a:pt x="8926" y="2106"/>
                  </a:lnTo>
                  <a:cubicBezTo>
                    <a:pt x="8692" y="2074"/>
                    <a:pt x="8479" y="2239"/>
                    <a:pt x="8447" y="2471"/>
                  </a:cubicBezTo>
                  <a:cubicBezTo>
                    <a:pt x="8442" y="2508"/>
                    <a:pt x="8442" y="2548"/>
                    <a:pt x="8447" y="2585"/>
                  </a:cubicBezTo>
                  <a:lnTo>
                    <a:pt x="8447" y="14940"/>
                  </a:lnTo>
                  <a:cubicBezTo>
                    <a:pt x="8463" y="15262"/>
                    <a:pt x="8215" y="15539"/>
                    <a:pt x="7890" y="15555"/>
                  </a:cubicBezTo>
                  <a:cubicBezTo>
                    <a:pt x="7864" y="15555"/>
                    <a:pt x="7835" y="15555"/>
                    <a:pt x="7808" y="15552"/>
                  </a:cubicBezTo>
                  <a:lnTo>
                    <a:pt x="6184" y="15552"/>
                  </a:lnTo>
                  <a:cubicBezTo>
                    <a:pt x="5862" y="15581"/>
                    <a:pt x="5577" y="15345"/>
                    <a:pt x="5547" y="15022"/>
                  </a:cubicBezTo>
                  <a:cubicBezTo>
                    <a:pt x="5545" y="14996"/>
                    <a:pt x="5545" y="14966"/>
                    <a:pt x="5545" y="14940"/>
                  </a:cubicBezTo>
                  <a:lnTo>
                    <a:pt x="5545" y="2585"/>
                  </a:lnTo>
                  <a:cubicBezTo>
                    <a:pt x="5577" y="2351"/>
                    <a:pt x="5412" y="2138"/>
                    <a:pt x="5180" y="2106"/>
                  </a:cubicBezTo>
                  <a:cubicBezTo>
                    <a:pt x="5143" y="2101"/>
                    <a:pt x="5103" y="2101"/>
                    <a:pt x="5065" y="2106"/>
                  </a:cubicBezTo>
                  <a:lnTo>
                    <a:pt x="1631" y="2106"/>
                  </a:lnTo>
                  <a:cubicBezTo>
                    <a:pt x="1308" y="2138"/>
                    <a:pt x="1024" y="1901"/>
                    <a:pt x="992" y="1579"/>
                  </a:cubicBezTo>
                  <a:cubicBezTo>
                    <a:pt x="989" y="1542"/>
                    <a:pt x="989" y="1504"/>
                    <a:pt x="992" y="1467"/>
                  </a:cubicBezTo>
                </a:path>
              </a:pathLst>
            </a:custGeom>
            <a:solidFill>
              <a:srgbClr val="FFFFFF"/>
            </a:solidFill>
            <a:ln w="2661" cap="flat">
              <a:noFill/>
              <a:prstDash val="solid"/>
              <a:miter/>
            </a:ln>
          </p:spPr>
          <p:txBody>
            <a:bodyPr rtlCol="0" anchor="ctr"/>
            <a:lstStyle/>
            <a:p>
              <a:endParaRPr lang="pl-PL"/>
            </a:p>
          </p:txBody>
        </p:sp>
        <p:sp>
          <p:nvSpPr>
            <p:cNvPr id="133" name="Freeform: Shape 132">
              <a:extLst>
                <a:ext uri="{FF2B5EF4-FFF2-40B4-BE49-F238E27FC236}">
                  <a16:creationId xmlns:a16="http://schemas.microsoft.com/office/drawing/2014/main" id="{BF2B4CB6-EDC8-4E09-919A-655CD3CEA1B3}"/>
                </a:ext>
              </a:extLst>
            </p:cNvPr>
            <p:cNvSpPr/>
            <p:nvPr/>
          </p:nvSpPr>
          <p:spPr>
            <a:xfrm>
              <a:off x="11857776" y="6635662"/>
              <a:ext cx="8810" cy="8977"/>
            </a:xfrm>
            <a:custGeom>
              <a:avLst/>
              <a:gdLst>
                <a:gd name="connsiteX0" fmla="*/ 991 w 15611"/>
                <a:gd name="connsiteY0" fmla="*/ 14943 h 15907"/>
                <a:gd name="connsiteX1" fmla="*/ 991 w 15611"/>
                <a:gd name="connsiteY1" fmla="*/ 458 h 15907"/>
                <a:gd name="connsiteX2" fmla="*/ 1675 w 15611"/>
                <a:gd name="connsiteY2" fmla="*/ -343 h 15907"/>
                <a:gd name="connsiteX3" fmla="*/ 1816 w 15611"/>
                <a:gd name="connsiteY3" fmla="*/ -340 h 15907"/>
                <a:gd name="connsiteX4" fmla="*/ 2668 w 15611"/>
                <a:gd name="connsiteY4" fmla="*/ -340 h 15907"/>
                <a:gd name="connsiteX5" fmla="*/ 3627 w 15611"/>
                <a:gd name="connsiteY5" fmla="*/ 192 h 15907"/>
                <a:gd name="connsiteX6" fmla="*/ 8526 w 15611"/>
                <a:gd name="connsiteY6" fmla="*/ 7381 h 15907"/>
                <a:gd name="connsiteX7" fmla="*/ 8915 w 15611"/>
                <a:gd name="connsiteY7" fmla="*/ 7525 h 15907"/>
                <a:gd name="connsiteX8" fmla="*/ 9059 w 15611"/>
                <a:gd name="connsiteY8" fmla="*/ 7381 h 15907"/>
                <a:gd name="connsiteX9" fmla="*/ 14064 w 15611"/>
                <a:gd name="connsiteY9" fmla="*/ 166 h 15907"/>
                <a:gd name="connsiteX10" fmla="*/ 15050 w 15611"/>
                <a:gd name="connsiteY10" fmla="*/ -340 h 15907"/>
                <a:gd name="connsiteX11" fmla="*/ 15795 w 15611"/>
                <a:gd name="connsiteY11" fmla="*/ -340 h 15907"/>
                <a:gd name="connsiteX12" fmla="*/ 16594 w 15611"/>
                <a:gd name="connsiteY12" fmla="*/ 288 h 15907"/>
                <a:gd name="connsiteX13" fmla="*/ 16594 w 15611"/>
                <a:gd name="connsiteY13" fmla="*/ 458 h 15907"/>
                <a:gd name="connsiteX14" fmla="*/ 16594 w 15611"/>
                <a:gd name="connsiteY14" fmla="*/ 14943 h 15907"/>
                <a:gd name="connsiteX15" fmla="*/ 16035 w 15611"/>
                <a:gd name="connsiteY15" fmla="*/ 15556 h 15907"/>
                <a:gd name="connsiteX16" fmla="*/ 15982 w 15611"/>
                <a:gd name="connsiteY16" fmla="*/ 15556 h 15907"/>
                <a:gd name="connsiteX17" fmla="*/ 14677 w 15611"/>
                <a:gd name="connsiteY17" fmla="*/ 15556 h 15907"/>
                <a:gd name="connsiteX18" fmla="*/ 14064 w 15611"/>
                <a:gd name="connsiteY18" fmla="*/ 15055 h 15907"/>
                <a:gd name="connsiteX19" fmla="*/ 14064 w 15611"/>
                <a:gd name="connsiteY19" fmla="*/ 14943 h 15907"/>
                <a:gd name="connsiteX20" fmla="*/ 14064 w 15611"/>
                <a:gd name="connsiteY20" fmla="*/ 4878 h 15907"/>
                <a:gd name="connsiteX21" fmla="*/ 13585 w 15611"/>
                <a:gd name="connsiteY21" fmla="*/ 4745 h 15907"/>
                <a:gd name="connsiteX22" fmla="*/ 9804 w 15611"/>
                <a:gd name="connsiteY22" fmla="*/ 10284 h 15907"/>
                <a:gd name="connsiteX23" fmla="*/ 8846 w 15611"/>
                <a:gd name="connsiteY23" fmla="*/ 10789 h 15907"/>
                <a:gd name="connsiteX24" fmla="*/ 8846 w 15611"/>
                <a:gd name="connsiteY24" fmla="*/ 10789 h 15907"/>
                <a:gd name="connsiteX25" fmla="*/ 7914 w 15611"/>
                <a:gd name="connsiteY25" fmla="*/ 10284 h 15907"/>
                <a:gd name="connsiteX26" fmla="*/ 4133 w 15611"/>
                <a:gd name="connsiteY26" fmla="*/ 4745 h 15907"/>
                <a:gd name="connsiteX27" fmla="*/ 3654 w 15611"/>
                <a:gd name="connsiteY27" fmla="*/ 4905 h 15907"/>
                <a:gd name="connsiteX28" fmla="*/ 3654 w 15611"/>
                <a:gd name="connsiteY28" fmla="*/ 14943 h 15907"/>
                <a:gd name="connsiteX29" fmla="*/ 3097 w 15611"/>
                <a:gd name="connsiteY29" fmla="*/ 15558 h 15907"/>
                <a:gd name="connsiteX30" fmla="*/ 3015 w 15611"/>
                <a:gd name="connsiteY30" fmla="*/ 15556 h 15907"/>
                <a:gd name="connsiteX31" fmla="*/ 1736 w 15611"/>
                <a:gd name="connsiteY31" fmla="*/ 15556 h 15907"/>
                <a:gd name="connsiteX32" fmla="*/ 1100 w 15611"/>
                <a:gd name="connsiteY32" fmla="*/ 15087 h 15907"/>
                <a:gd name="connsiteX33" fmla="*/ 1097 w 15611"/>
                <a:gd name="connsiteY33" fmla="*/ 14943 h 15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611" h="15907">
                  <a:moveTo>
                    <a:pt x="991" y="14943"/>
                  </a:moveTo>
                  <a:lnTo>
                    <a:pt x="991" y="458"/>
                  </a:lnTo>
                  <a:cubicBezTo>
                    <a:pt x="959" y="48"/>
                    <a:pt x="1265" y="-311"/>
                    <a:pt x="1675" y="-343"/>
                  </a:cubicBezTo>
                  <a:cubicBezTo>
                    <a:pt x="1723" y="-346"/>
                    <a:pt x="1771" y="-346"/>
                    <a:pt x="1816" y="-340"/>
                  </a:cubicBezTo>
                  <a:lnTo>
                    <a:pt x="2668" y="-340"/>
                  </a:lnTo>
                  <a:cubicBezTo>
                    <a:pt x="3062" y="-359"/>
                    <a:pt x="3435" y="-154"/>
                    <a:pt x="3627" y="192"/>
                  </a:cubicBezTo>
                  <a:lnTo>
                    <a:pt x="8526" y="7381"/>
                  </a:lnTo>
                  <a:cubicBezTo>
                    <a:pt x="8593" y="7528"/>
                    <a:pt x="8768" y="7592"/>
                    <a:pt x="8915" y="7525"/>
                  </a:cubicBezTo>
                  <a:cubicBezTo>
                    <a:pt x="8979" y="7496"/>
                    <a:pt x="9029" y="7445"/>
                    <a:pt x="9059" y="7381"/>
                  </a:cubicBezTo>
                  <a:lnTo>
                    <a:pt x="14064" y="166"/>
                  </a:lnTo>
                  <a:cubicBezTo>
                    <a:pt x="14280" y="-165"/>
                    <a:pt x="14655" y="-356"/>
                    <a:pt x="15050" y="-340"/>
                  </a:cubicBezTo>
                  <a:lnTo>
                    <a:pt x="15795" y="-340"/>
                  </a:lnTo>
                  <a:cubicBezTo>
                    <a:pt x="16189" y="-388"/>
                    <a:pt x="16546" y="-106"/>
                    <a:pt x="16594" y="288"/>
                  </a:cubicBezTo>
                  <a:cubicBezTo>
                    <a:pt x="16602" y="344"/>
                    <a:pt x="16602" y="403"/>
                    <a:pt x="16594" y="458"/>
                  </a:cubicBezTo>
                  <a:lnTo>
                    <a:pt x="16594" y="14943"/>
                  </a:lnTo>
                  <a:cubicBezTo>
                    <a:pt x="16610" y="15265"/>
                    <a:pt x="16360" y="15540"/>
                    <a:pt x="16035" y="15556"/>
                  </a:cubicBezTo>
                  <a:cubicBezTo>
                    <a:pt x="16019" y="15556"/>
                    <a:pt x="16000" y="15556"/>
                    <a:pt x="15982" y="15556"/>
                  </a:cubicBezTo>
                  <a:lnTo>
                    <a:pt x="14677" y="15556"/>
                  </a:lnTo>
                  <a:cubicBezTo>
                    <a:pt x="14371" y="15587"/>
                    <a:pt x="14096" y="15364"/>
                    <a:pt x="14064" y="15055"/>
                  </a:cubicBezTo>
                  <a:cubicBezTo>
                    <a:pt x="14062" y="15018"/>
                    <a:pt x="14062" y="14980"/>
                    <a:pt x="14064" y="14943"/>
                  </a:cubicBezTo>
                  <a:lnTo>
                    <a:pt x="14064" y="4878"/>
                  </a:lnTo>
                  <a:cubicBezTo>
                    <a:pt x="14064" y="4506"/>
                    <a:pt x="13798" y="4399"/>
                    <a:pt x="13585" y="4745"/>
                  </a:cubicBezTo>
                  <a:lnTo>
                    <a:pt x="9804" y="10284"/>
                  </a:lnTo>
                  <a:cubicBezTo>
                    <a:pt x="9602" y="10614"/>
                    <a:pt x="9234" y="10808"/>
                    <a:pt x="8846" y="10789"/>
                  </a:cubicBezTo>
                  <a:lnTo>
                    <a:pt x="8846" y="10789"/>
                  </a:lnTo>
                  <a:cubicBezTo>
                    <a:pt x="8465" y="10803"/>
                    <a:pt x="8108" y="10611"/>
                    <a:pt x="7914" y="10284"/>
                  </a:cubicBezTo>
                  <a:lnTo>
                    <a:pt x="4133" y="4745"/>
                  </a:lnTo>
                  <a:cubicBezTo>
                    <a:pt x="3920" y="4452"/>
                    <a:pt x="3654" y="4532"/>
                    <a:pt x="3654" y="4905"/>
                  </a:cubicBezTo>
                  <a:lnTo>
                    <a:pt x="3654" y="14943"/>
                  </a:lnTo>
                  <a:cubicBezTo>
                    <a:pt x="3670" y="15265"/>
                    <a:pt x="3422" y="15542"/>
                    <a:pt x="3097" y="15558"/>
                  </a:cubicBezTo>
                  <a:cubicBezTo>
                    <a:pt x="3071" y="15558"/>
                    <a:pt x="3041" y="15558"/>
                    <a:pt x="3015" y="15556"/>
                  </a:cubicBezTo>
                  <a:lnTo>
                    <a:pt x="1736" y="15556"/>
                  </a:lnTo>
                  <a:cubicBezTo>
                    <a:pt x="1430" y="15601"/>
                    <a:pt x="1145" y="15390"/>
                    <a:pt x="1100" y="15087"/>
                  </a:cubicBezTo>
                  <a:cubicBezTo>
                    <a:pt x="1092" y="15039"/>
                    <a:pt x="1092" y="14991"/>
                    <a:pt x="1097" y="14943"/>
                  </a:cubicBezTo>
                </a:path>
              </a:pathLst>
            </a:custGeom>
            <a:solidFill>
              <a:srgbClr val="FFFFFF"/>
            </a:solidFill>
            <a:ln w="2661" cap="flat">
              <a:noFill/>
              <a:prstDash val="solid"/>
              <a:miter/>
            </a:ln>
          </p:spPr>
          <p:txBody>
            <a:bodyPr rtlCol="0" anchor="ctr"/>
            <a:lstStyle/>
            <a:p>
              <a:endParaRPr lang="pl-PL"/>
            </a:p>
          </p:txBody>
        </p:sp>
      </p:grpSp>
      <p:grpSp>
        <p:nvGrpSpPr>
          <p:cNvPr id="134" name="Group 133">
            <a:extLst>
              <a:ext uri="{FF2B5EF4-FFF2-40B4-BE49-F238E27FC236}">
                <a16:creationId xmlns:a16="http://schemas.microsoft.com/office/drawing/2014/main" id="{CC05D079-A313-4430-BFAA-DED5F230EB4E}"/>
              </a:ext>
            </a:extLst>
          </p:cNvPr>
          <p:cNvGrpSpPr/>
          <p:nvPr userDrawn="1"/>
        </p:nvGrpSpPr>
        <p:grpSpPr>
          <a:xfrm>
            <a:off x="10855488" y="6628477"/>
            <a:ext cx="218951" cy="162658"/>
            <a:chOff x="10506075" y="6628477"/>
            <a:chExt cx="218951" cy="162658"/>
          </a:xfrm>
        </p:grpSpPr>
        <p:sp>
          <p:nvSpPr>
            <p:cNvPr id="135" name="Rectangle: Rounded Corners 134">
              <a:hlinkClick r:id="" action="ppaction://noaction"/>
              <a:extLst>
                <a:ext uri="{FF2B5EF4-FFF2-40B4-BE49-F238E27FC236}">
                  <a16:creationId xmlns:a16="http://schemas.microsoft.com/office/drawing/2014/main" id="{57609B63-AC18-4AA8-8574-5D5115A363B9}"/>
                </a:ext>
              </a:extLst>
            </p:cNvPr>
            <p:cNvSpPr/>
            <p:nvPr userDrawn="1"/>
          </p:nvSpPr>
          <p:spPr>
            <a:xfrm>
              <a:off x="10506075" y="6628477"/>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36" name="Rectangle: Rounded Corners 135">
              <a:hlinkClick r:id="" action="ppaction://noaction"/>
              <a:extLst>
                <a:ext uri="{FF2B5EF4-FFF2-40B4-BE49-F238E27FC236}">
                  <a16:creationId xmlns:a16="http://schemas.microsoft.com/office/drawing/2014/main" id="{338948C8-67E5-49AC-8542-7597A72E185D}"/>
                </a:ext>
              </a:extLst>
            </p:cNvPr>
            <p:cNvSpPr/>
            <p:nvPr userDrawn="1"/>
          </p:nvSpPr>
          <p:spPr>
            <a:xfrm>
              <a:off x="10506075" y="6691806"/>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37" name="Rectangle: Rounded Corners 136">
              <a:hlinkClick r:id="" action="ppaction://noaction"/>
              <a:extLst>
                <a:ext uri="{FF2B5EF4-FFF2-40B4-BE49-F238E27FC236}">
                  <a16:creationId xmlns:a16="http://schemas.microsoft.com/office/drawing/2014/main" id="{814E2F4B-6C59-461A-A6A9-6060F7C44C1D}"/>
                </a:ext>
              </a:extLst>
            </p:cNvPr>
            <p:cNvSpPr/>
            <p:nvPr userDrawn="1"/>
          </p:nvSpPr>
          <p:spPr>
            <a:xfrm>
              <a:off x="10506075" y="6755135"/>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grpSp>
      <p:sp>
        <p:nvSpPr>
          <p:cNvPr id="138" name="Rectangle 137">
            <a:hlinkClick r:id="" action="ppaction://noaction"/>
            <a:extLst>
              <a:ext uri="{FF2B5EF4-FFF2-40B4-BE49-F238E27FC236}">
                <a16:creationId xmlns:a16="http://schemas.microsoft.com/office/drawing/2014/main" id="{36F93FFF-3082-4A7F-AC2B-061FF8448E5C}"/>
              </a:ext>
            </a:extLst>
          </p:cNvPr>
          <p:cNvSpPr/>
          <p:nvPr userDrawn="1"/>
        </p:nvSpPr>
        <p:spPr>
          <a:xfrm>
            <a:off x="10760869" y="6579908"/>
            <a:ext cx="406177" cy="273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cxnSp>
        <p:nvCxnSpPr>
          <p:cNvPr id="139" name="Straight Connector 138">
            <a:extLst>
              <a:ext uri="{FF2B5EF4-FFF2-40B4-BE49-F238E27FC236}">
                <a16:creationId xmlns:a16="http://schemas.microsoft.com/office/drawing/2014/main" id="{97A56DE1-4383-41E8-9C17-0CC01339A534}"/>
              </a:ext>
            </a:extLst>
          </p:cNvPr>
          <p:cNvCxnSpPr/>
          <p:nvPr userDrawn="1"/>
        </p:nvCxnSpPr>
        <p:spPr>
          <a:xfrm>
            <a:off x="521472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40" name="Rectangle 139">
            <a:hlinkClick r:id="" action="ppaction://noaction"/>
            <a:hlinkHover r:id="" action="ppaction://noaction" highlightClick="1"/>
            <a:extLst>
              <a:ext uri="{FF2B5EF4-FFF2-40B4-BE49-F238E27FC236}">
                <a16:creationId xmlns:a16="http://schemas.microsoft.com/office/drawing/2014/main" id="{9FE73455-ABAA-4E4B-A005-96568A93CE2E}"/>
              </a:ext>
            </a:extLst>
          </p:cNvPr>
          <p:cNvSpPr/>
          <p:nvPr userDrawn="1"/>
        </p:nvSpPr>
        <p:spPr>
          <a:xfrm>
            <a:off x="9539162" y="6570000"/>
            <a:ext cx="1200924"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GB" sz="800" b="0" noProof="0">
                <a:solidFill>
                  <a:schemeClr val="bg1">
                    <a:alpha val="50000"/>
                  </a:schemeClr>
                </a:solidFill>
                <a:latin typeface="Leelawadee" panose="020B0502040204020203" pitchFamily="34" charset="-34"/>
                <a:cs typeface="Leelawadee" panose="020B0502040204020203" pitchFamily="34" charset="-34"/>
              </a:rPr>
              <a:t>Additional </a:t>
            </a:r>
            <a:br>
              <a:rPr lang="en-GB" sz="800" b="0" noProof="0">
                <a:solidFill>
                  <a:schemeClr val="bg1">
                    <a:alpha val="50000"/>
                  </a:schemeClr>
                </a:solidFill>
                <a:latin typeface="Leelawadee" panose="020B0502040204020203" pitchFamily="34" charset="-34"/>
                <a:cs typeface="Leelawadee" panose="020B0502040204020203" pitchFamily="34" charset="-34"/>
              </a:rPr>
            </a:br>
            <a:r>
              <a:rPr lang="en-GB" sz="800" b="0" noProof="0">
                <a:solidFill>
                  <a:schemeClr val="bg1">
                    <a:alpha val="50000"/>
                  </a:schemeClr>
                </a:solidFill>
                <a:latin typeface="Leelawadee" panose="020B0502040204020203" pitchFamily="34" charset="-34"/>
                <a:cs typeface="Leelawadee" panose="020B0502040204020203" pitchFamily="34" charset="-34"/>
              </a:rPr>
              <a:t>Supporting content</a:t>
            </a:r>
          </a:p>
        </p:txBody>
      </p:sp>
      <p:cxnSp>
        <p:nvCxnSpPr>
          <p:cNvPr id="141" name="Straight Connector 140">
            <a:extLst>
              <a:ext uri="{FF2B5EF4-FFF2-40B4-BE49-F238E27FC236}">
                <a16:creationId xmlns:a16="http://schemas.microsoft.com/office/drawing/2014/main" id="{769BAD0F-BFA3-431A-AFA0-2921F90D314A}"/>
              </a:ext>
            </a:extLst>
          </p:cNvPr>
          <p:cNvCxnSpPr/>
          <p:nvPr userDrawn="1"/>
        </p:nvCxnSpPr>
        <p:spPr>
          <a:xfrm>
            <a:off x="10737865"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42" name="TextBox 141">
            <a:extLst>
              <a:ext uri="{FF2B5EF4-FFF2-40B4-BE49-F238E27FC236}">
                <a16:creationId xmlns:a16="http://schemas.microsoft.com/office/drawing/2014/main" id="{9698A923-D4AC-4055-BC3C-37668151C016}"/>
              </a:ext>
            </a:extLst>
          </p:cNvPr>
          <p:cNvSpPr txBox="1"/>
          <p:nvPr userDrawn="1"/>
        </p:nvSpPr>
        <p:spPr>
          <a:xfrm>
            <a:off x="208348" y="6587078"/>
            <a:ext cx="428589" cy="261610"/>
          </a:xfrm>
          <a:prstGeom prst="rect">
            <a:avLst/>
          </a:prstGeom>
          <a:noFill/>
        </p:spPr>
        <p:txBody>
          <a:bodyPr wrap="square" rtlCol="0">
            <a:spAutoFit/>
          </a:bodyPr>
          <a:lstStyle/>
          <a:p>
            <a:fld id="{2AD15D81-AC1A-4BFA-95F9-38C1BF89B685}" type="slidenum">
              <a:rPr lang="pl-PL" sz="1050" smtClean="0">
                <a:solidFill>
                  <a:schemeClr val="bg1"/>
                </a:solidFill>
                <a:latin typeface="Leelawadee" panose="020B0502040204020203" pitchFamily="34" charset="-34"/>
                <a:cs typeface="Leelawadee" panose="020B0502040204020203" pitchFamily="34" charset="-34"/>
              </a:rPr>
              <a:t>‹#›</a:t>
            </a:fld>
            <a:endParaRPr lang="pl-PL" sz="1200">
              <a:solidFill>
                <a:schemeClr val="bg1"/>
              </a:solidFill>
              <a:latin typeface="Leelawadee" panose="020B0502040204020203" pitchFamily="34" charset="-34"/>
              <a:cs typeface="Leelawadee" panose="020B0502040204020203" pitchFamily="34" charset="-34"/>
            </a:endParaRPr>
          </a:p>
        </p:txBody>
      </p:sp>
    </p:spTree>
    <p:extLst>
      <p:ext uri="{BB962C8B-B14F-4D97-AF65-F5344CB8AC3E}">
        <p14:creationId xmlns:p14="http://schemas.microsoft.com/office/powerpoint/2010/main" val="184434882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ntent 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9653DDB-7827-4F40-9A08-6D07DBDB0D40}"/>
              </a:ext>
            </a:extLst>
          </p:cNvPr>
          <p:cNvGraphicFramePr>
            <a:graphicFrameLocks noChangeAspect="1"/>
          </p:cNvGraphicFramePr>
          <p:nvPr userDrawn="1">
            <p:custDataLst>
              <p:tags r:id="rId1"/>
            </p:custDataLst>
            <p:extLst>
              <p:ext uri="{D42A27DB-BD31-4B8C-83A1-F6EECF244321}">
                <p14:modId xmlns:p14="http://schemas.microsoft.com/office/powerpoint/2010/main" val="4196251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A9653DDB-7827-4F40-9A08-6D07DBDB0D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B4B387AC-BC5C-4C42-B302-D15C0CB7E4A3}"/>
              </a:ext>
            </a:extLst>
          </p:cNvPr>
          <p:cNvSpPr/>
          <p:nvPr userDrawn="1"/>
        </p:nvSpPr>
        <p:spPr>
          <a:xfrm>
            <a:off x="0" y="-213"/>
            <a:ext cx="12192000" cy="6608560"/>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11" name="Text Placeholder 3">
            <a:extLst>
              <a:ext uri="{FF2B5EF4-FFF2-40B4-BE49-F238E27FC236}">
                <a16:creationId xmlns:a16="http://schemas.microsoft.com/office/drawing/2014/main" id="{9D9A7910-8039-6449-B024-BB8DAE55BEA7}"/>
              </a:ext>
            </a:extLst>
          </p:cNvPr>
          <p:cNvSpPr>
            <a:spLocks noGrp="1"/>
          </p:cNvSpPr>
          <p:nvPr>
            <p:ph type="body" sz="quarter" idx="10"/>
          </p:nvPr>
        </p:nvSpPr>
        <p:spPr>
          <a:xfrm>
            <a:off x="735013" y="620713"/>
            <a:ext cx="8809037" cy="4886325"/>
          </a:xfrm>
        </p:spPr>
        <p:txBody>
          <a:bodyPr>
            <a:noAutofit/>
          </a:bodyPr>
          <a:lstStyle>
            <a:lvl1pPr rtl="0">
              <a:defRPr sz="4000" b="1" i="0">
                <a:solidFill>
                  <a:schemeClr val="bg1"/>
                </a:solidFill>
                <a:latin typeface="Calibri" panose="020F0502020204030204" pitchFamily="34" charset="0"/>
                <a:cs typeface="Calibri" panose="020F0502020204030204" pitchFamily="34" charset="0"/>
              </a:defRPr>
            </a:lvl1pPr>
            <a:lvl2pPr marL="685800" indent="-228600">
              <a:buFont typeface="Courier New" panose="02070309020205020404" pitchFamily="49" charset="0"/>
              <a:buChar char="o"/>
              <a:defRPr b="1" i="0">
                <a:solidFill>
                  <a:schemeClr val="accent5">
                    <a:lumMod val="75000"/>
                  </a:schemeClr>
                </a:solidFill>
                <a:latin typeface="Calibri" panose="020F0502020204030204" pitchFamily="34" charset="0"/>
                <a:cs typeface="Calibri" panose="020F0502020204030204" pitchFamily="34" charset="0"/>
              </a:defRPr>
            </a:lvl2pPr>
            <a:lvl3pPr marL="1090613" indent="-176213">
              <a:buFont typeface="Courier New" panose="02070309020205020404" pitchFamily="49" charset="0"/>
              <a:buChar char="o"/>
              <a:tabLst/>
              <a:defRPr b="1" i="0">
                <a:solidFill>
                  <a:schemeClr val="accent5">
                    <a:lumMod val="75000"/>
                  </a:schemeClr>
                </a:solidFill>
                <a:latin typeface="Calibri" panose="020F0502020204030204" pitchFamily="34" charset="0"/>
                <a:cs typeface="Calibri" panose="020F0502020204030204" pitchFamily="34" charset="0"/>
              </a:defRPr>
            </a:lvl3pPr>
            <a:lvl4pPr marL="1552575" indent="-180975">
              <a:buFont typeface="Courier New" panose="02070309020205020404" pitchFamily="49" charset="0"/>
              <a:buChar char="o"/>
              <a:tabLst/>
              <a:defRPr b="1" i="0">
                <a:solidFill>
                  <a:schemeClr val="accent5">
                    <a:lumMod val="75000"/>
                  </a:schemeClr>
                </a:solidFill>
                <a:latin typeface="Calibri" panose="020F0502020204030204" pitchFamily="34" charset="0"/>
                <a:cs typeface="Calibri" panose="020F0502020204030204" pitchFamily="34" charset="0"/>
              </a:defRPr>
            </a:lvl4pPr>
            <a:lvl5pPr marL="2003425" indent="-174625">
              <a:buFont typeface="Courier New" panose="02070309020205020404" pitchFamily="49" charset="0"/>
              <a:buChar char="o"/>
              <a:tabLst/>
              <a:defRPr b="1" i="0">
                <a:solidFill>
                  <a:schemeClr val="accent5">
                    <a:lumMod val="75000"/>
                  </a:schemeClr>
                </a:solidFill>
                <a:latin typeface="Calibri" panose="020F0502020204030204" pitchFamily="34" charset="0"/>
                <a:cs typeface="Calibri" panose="020F0502020204030204" pitchFamily="34" charset="0"/>
              </a:defRPr>
            </a:lvl5pPr>
          </a:lstStyle>
          <a:p>
            <a:pPr lvl="0"/>
            <a:r>
              <a:rPr lang="en-US" noProof="0"/>
              <a:t>Click to edit Master text styles</a:t>
            </a:r>
          </a:p>
          <a:p>
            <a:pPr lvl="0"/>
            <a:endParaRPr lang="en-US" noProof="0"/>
          </a:p>
        </p:txBody>
      </p:sp>
      <p:sp>
        <p:nvSpPr>
          <p:cNvPr id="76" name="Rectangle 75">
            <a:extLst>
              <a:ext uri="{FF2B5EF4-FFF2-40B4-BE49-F238E27FC236}">
                <a16:creationId xmlns:a16="http://schemas.microsoft.com/office/drawing/2014/main" id="{11FE3BDB-BF7A-416B-AC81-62A17B1B9880}"/>
              </a:ext>
            </a:extLst>
          </p:cNvPr>
          <p:cNvSpPr/>
          <p:nvPr userDrawn="1"/>
        </p:nvSpPr>
        <p:spPr>
          <a:xfrm>
            <a:off x="0" y="6570000"/>
            <a:ext cx="12192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100" noProof="0"/>
          </a:p>
        </p:txBody>
      </p:sp>
      <p:cxnSp>
        <p:nvCxnSpPr>
          <p:cNvPr id="77" name="Straight Connector 76">
            <a:extLst>
              <a:ext uri="{FF2B5EF4-FFF2-40B4-BE49-F238E27FC236}">
                <a16:creationId xmlns:a16="http://schemas.microsoft.com/office/drawing/2014/main" id="{D3AC5429-DA60-454B-AFBE-8226FC54EB31}"/>
              </a:ext>
            </a:extLst>
          </p:cNvPr>
          <p:cNvCxnSpPr/>
          <p:nvPr userDrawn="1"/>
        </p:nvCxnSpPr>
        <p:spPr>
          <a:xfrm>
            <a:off x="634587" y="6570000"/>
            <a:ext cx="0" cy="288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87F74C54-C623-457E-B33A-73E0EFF2B781}"/>
              </a:ext>
            </a:extLst>
          </p:cNvPr>
          <p:cNvSpPr txBox="1"/>
          <p:nvPr userDrawn="1"/>
        </p:nvSpPr>
        <p:spPr>
          <a:xfrm>
            <a:off x="806034" y="6650942"/>
            <a:ext cx="3896596" cy="123111"/>
          </a:xfrm>
          <a:prstGeom prst="rect">
            <a:avLst/>
          </a:prstGeom>
          <a:noFill/>
        </p:spPr>
        <p:txBody>
          <a:bodyPr wrap="square" lIns="0" tIns="0" rIns="0" bIns="0" rtlCol="0">
            <a:spAutoFit/>
          </a:bodyPr>
          <a:lstStyle/>
          <a:p>
            <a:pPr rtl="0"/>
            <a:r>
              <a:rPr lang="en-US" sz="800" spc="300" baseline="0" noProof="0">
                <a:solidFill>
                  <a:schemeClr val="bg1"/>
                </a:solidFill>
                <a:latin typeface="Leelawadee" panose="020B0502040204020203" pitchFamily="34" charset="-34"/>
                <a:cs typeface="Leelawadee" panose="020B0502040204020203" pitchFamily="34" charset="-34"/>
              </a:rPr>
              <a:t>CONFIDENTIAL &amp; PROPRIETARY</a:t>
            </a:r>
          </a:p>
        </p:txBody>
      </p:sp>
      <p:sp>
        <p:nvSpPr>
          <p:cNvPr id="79" name="Rectangle 78">
            <a:hlinkClick r:id="" action="ppaction://noaction"/>
            <a:extLst>
              <a:ext uri="{FF2B5EF4-FFF2-40B4-BE49-F238E27FC236}">
                <a16:creationId xmlns:a16="http://schemas.microsoft.com/office/drawing/2014/main" id="{64801AAA-1825-47AE-B843-A804F3844395}"/>
              </a:ext>
            </a:extLst>
          </p:cNvPr>
          <p:cNvSpPr/>
          <p:nvPr userDrawn="1"/>
        </p:nvSpPr>
        <p:spPr>
          <a:xfrm>
            <a:off x="5214721" y="6579908"/>
            <a:ext cx="1147937"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lnSpc>
                <a:spcPct val="90000"/>
              </a:lnSpc>
            </a:pPr>
            <a:r>
              <a:rPr lang="en-GB" sz="800" b="0">
                <a:solidFill>
                  <a:schemeClr val="bg1">
                    <a:alpha val="50000"/>
                  </a:schemeClr>
                </a:solidFill>
                <a:latin typeface="Leelawadee" panose="020B0502040204020203" pitchFamily="34" charset="-34"/>
                <a:cs typeface="Leelawadee" panose="020B0502040204020203" pitchFamily="34" charset="-34"/>
              </a:rPr>
              <a:t>Intro &amp; objectives</a:t>
            </a:r>
          </a:p>
        </p:txBody>
      </p:sp>
      <p:sp>
        <p:nvSpPr>
          <p:cNvPr id="80" name="Rectangle 79">
            <a:hlinkClick r:id="rId5" action="ppaction://hlinksldjump"/>
            <a:extLst>
              <a:ext uri="{FF2B5EF4-FFF2-40B4-BE49-F238E27FC236}">
                <a16:creationId xmlns:a16="http://schemas.microsoft.com/office/drawing/2014/main" id="{A63E843A-57E3-41DF-92FF-EE8F09391E11}"/>
              </a:ext>
            </a:extLst>
          </p:cNvPr>
          <p:cNvSpPr/>
          <p:nvPr userDrawn="1"/>
        </p:nvSpPr>
        <p:spPr>
          <a:xfrm>
            <a:off x="6367021" y="6579908"/>
            <a:ext cx="1126055"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US" sz="800" b="0" noProof="0">
                <a:solidFill>
                  <a:schemeClr val="bg1">
                    <a:alpha val="50000"/>
                  </a:schemeClr>
                </a:solidFill>
                <a:latin typeface="Leelawadee" panose="020B0502040204020203" pitchFamily="34" charset="-34"/>
                <a:cs typeface="Leelawadee" panose="020B0502040204020203" pitchFamily="34" charset="-34"/>
              </a:rPr>
              <a:t>Introducing pep+ </a:t>
            </a:r>
            <a:br>
              <a:rPr lang="en-US" sz="800" b="0" noProof="0">
                <a:solidFill>
                  <a:schemeClr val="bg1">
                    <a:alpha val="50000"/>
                  </a:schemeClr>
                </a:solidFill>
                <a:latin typeface="Leelawadee" panose="020B0502040204020203" pitchFamily="34" charset="-34"/>
                <a:cs typeface="Leelawadee" panose="020B0502040204020203" pitchFamily="34" charset="-34"/>
              </a:rPr>
            </a:br>
            <a:r>
              <a:rPr lang="en-US" sz="800" b="0" noProof="0">
                <a:solidFill>
                  <a:schemeClr val="bg1">
                    <a:alpha val="50000"/>
                  </a:schemeClr>
                </a:solidFill>
                <a:latin typeface="Leelawadee" panose="020B0502040204020203" pitchFamily="34" charset="-34"/>
                <a:cs typeface="Leelawadee" panose="020B0502040204020203" pitchFamily="34" charset="-34"/>
              </a:rPr>
              <a:t>to Customers</a:t>
            </a:r>
          </a:p>
        </p:txBody>
      </p:sp>
      <p:sp>
        <p:nvSpPr>
          <p:cNvPr id="81" name="Rectangle 80">
            <a:hlinkClick r:id="" action="ppaction://noaction"/>
            <a:extLst>
              <a:ext uri="{FF2B5EF4-FFF2-40B4-BE49-F238E27FC236}">
                <a16:creationId xmlns:a16="http://schemas.microsoft.com/office/drawing/2014/main" id="{8CD1FBBB-4635-45B2-BA82-E062606EEB3E}"/>
              </a:ext>
            </a:extLst>
          </p:cNvPr>
          <p:cNvSpPr/>
          <p:nvPr userDrawn="1"/>
        </p:nvSpPr>
        <p:spPr>
          <a:xfrm>
            <a:off x="7510981" y="6579908"/>
            <a:ext cx="967705"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US" sz="800" b="0" noProof="0">
                <a:solidFill>
                  <a:schemeClr val="bg1">
                    <a:alpha val="50000"/>
                  </a:schemeClr>
                </a:solidFill>
                <a:latin typeface="Leelawadee" panose="020B0502040204020203" pitchFamily="34" charset="-34"/>
                <a:cs typeface="Leelawadee" panose="020B0502040204020203" pitchFamily="34" charset="-34"/>
              </a:rPr>
              <a:t>Exploring </a:t>
            </a:r>
            <a:br>
              <a:rPr lang="en-US" sz="800" b="0" noProof="0">
                <a:solidFill>
                  <a:schemeClr val="bg1">
                    <a:alpha val="50000"/>
                  </a:schemeClr>
                </a:solidFill>
                <a:latin typeface="Leelawadee" panose="020B0502040204020203" pitchFamily="34" charset="-34"/>
                <a:cs typeface="Leelawadee" panose="020B0502040204020203" pitchFamily="34" charset="-34"/>
              </a:rPr>
            </a:br>
            <a:r>
              <a:rPr lang="en-US" sz="800" b="0" noProof="0">
                <a:solidFill>
                  <a:schemeClr val="bg1">
                    <a:alpha val="50000"/>
                  </a:schemeClr>
                </a:solidFill>
                <a:latin typeface="Leelawadee" panose="020B0502040204020203" pitchFamily="34" charset="-34"/>
                <a:cs typeface="Leelawadee" panose="020B0502040204020203" pitchFamily="34" charset="-34"/>
              </a:rPr>
              <a:t>pep+ areas</a:t>
            </a:r>
          </a:p>
        </p:txBody>
      </p:sp>
      <p:sp>
        <p:nvSpPr>
          <p:cNvPr id="82" name="Rectangle 81">
            <a:hlinkClick r:id="" action="ppaction://noaction"/>
            <a:hlinkHover r:id="" action="ppaction://noaction" highlightClick="1"/>
            <a:extLst>
              <a:ext uri="{FF2B5EF4-FFF2-40B4-BE49-F238E27FC236}">
                <a16:creationId xmlns:a16="http://schemas.microsoft.com/office/drawing/2014/main" id="{EB16F3B2-0B45-478C-9E76-F2C70BEAE802}"/>
              </a:ext>
            </a:extLst>
          </p:cNvPr>
          <p:cNvSpPr/>
          <p:nvPr userDrawn="1"/>
        </p:nvSpPr>
        <p:spPr>
          <a:xfrm>
            <a:off x="8544692" y="6579908"/>
            <a:ext cx="994577"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GB" sz="800" b="0" noProof="0">
                <a:solidFill>
                  <a:schemeClr val="bg1">
                    <a:alpha val="50000"/>
                  </a:schemeClr>
                </a:solidFill>
                <a:latin typeface="Leelawadee" panose="020B0502040204020203" pitchFamily="34" charset="-34"/>
                <a:cs typeface="Leelawadee" panose="020B0502040204020203" pitchFamily="34" charset="-34"/>
              </a:rPr>
              <a:t>pep+ Customer Engagement</a:t>
            </a:r>
          </a:p>
        </p:txBody>
      </p:sp>
      <p:cxnSp>
        <p:nvCxnSpPr>
          <p:cNvPr id="83" name="Straight Connector 82">
            <a:extLst>
              <a:ext uri="{FF2B5EF4-FFF2-40B4-BE49-F238E27FC236}">
                <a16:creationId xmlns:a16="http://schemas.microsoft.com/office/drawing/2014/main" id="{25AF0418-5892-4A08-9380-31ADB9F8F0A4}"/>
              </a:ext>
            </a:extLst>
          </p:cNvPr>
          <p:cNvCxnSpPr/>
          <p:nvPr userDrawn="1"/>
        </p:nvCxnSpPr>
        <p:spPr>
          <a:xfrm>
            <a:off x="9539270"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D03C9938-D868-4959-BD8A-9F898DDC1CF3}"/>
              </a:ext>
            </a:extLst>
          </p:cNvPr>
          <p:cNvCxnSpPr/>
          <p:nvPr userDrawn="1"/>
        </p:nvCxnSpPr>
        <p:spPr>
          <a:xfrm>
            <a:off x="848143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2E637CDE-EE28-4742-9C6D-34654F5108B6}"/>
              </a:ext>
            </a:extLst>
          </p:cNvPr>
          <p:cNvCxnSpPr/>
          <p:nvPr userDrawn="1"/>
        </p:nvCxnSpPr>
        <p:spPr>
          <a:xfrm>
            <a:off x="7493596"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F60B339B-F211-4436-B09B-AB58C5F8A1CB}"/>
              </a:ext>
            </a:extLst>
          </p:cNvPr>
          <p:cNvCxnSpPr/>
          <p:nvPr userDrawn="1"/>
        </p:nvCxnSpPr>
        <p:spPr>
          <a:xfrm>
            <a:off x="636702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FAAEE5E6-FDDA-4F59-95CF-C0D44310431B}"/>
              </a:ext>
            </a:extLst>
          </p:cNvPr>
          <p:cNvCxnSpPr/>
          <p:nvPr userDrawn="1"/>
        </p:nvCxnSpPr>
        <p:spPr>
          <a:xfrm>
            <a:off x="11186336"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91D8491E-4B56-4D4F-9C3E-0EC6868519FB}"/>
              </a:ext>
            </a:extLst>
          </p:cNvPr>
          <p:cNvGrpSpPr/>
          <p:nvPr userDrawn="1"/>
        </p:nvGrpSpPr>
        <p:grpSpPr>
          <a:xfrm>
            <a:off x="11393217" y="6628477"/>
            <a:ext cx="473369" cy="183554"/>
            <a:chOff x="11393217" y="6628477"/>
            <a:chExt cx="473369" cy="183554"/>
          </a:xfrm>
        </p:grpSpPr>
        <p:sp>
          <p:nvSpPr>
            <p:cNvPr id="89" name="Freeform: Shape 88">
              <a:extLst>
                <a:ext uri="{FF2B5EF4-FFF2-40B4-BE49-F238E27FC236}">
                  <a16:creationId xmlns:a16="http://schemas.microsoft.com/office/drawing/2014/main" id="{F3D7911A-ECB0-49DF-9C50-9FCFB7F67F30}"/>
                </a:ext>
              </a:extLst>
            </p:cNvPr>
            <p:cNvSpPr/>
            <p:nvPr/>
          </p:nvSpPr>
          <p:spPr>
            <a:xfrm>
              <a:off x="11432435" y="6628477"/>
              <a:ext cx="90651" cy="18332"/>
            </a:xfrm>
            <a:custGeom>
              <a:avLst/>
              <a:gdLst>
                <a:gd name="connsiteX0" fmla="*/ 11746 w 160635"/>
                <a:gd name="connsiteY0" fmla="*/ 19438 h 32484"/>
                <a:gd name="connsiteX1" fmla="*/ 53842 w 160635"/>
                <a:gd name="connsiteY1" fmla="*/ 32138 h 32484"/>
                <a:gd name="connsiteX2" fmla="*/ 96443 w 160635"/>
                <a:gd name="connsiteY2" fmla="*/ 19438 h 32484"/>
                <a:gd name="connsiteX3" fmla="*/ 138646 w 160635"/>
                <a:gd name="connsiteY3" fmla="*/ 32138 h 32484"/>
                <a:gd name="connsiteX4" fmla="*/ 161624 w 160635"/>
                <a:gd name="connsiteY4" fmla="*/ 25721 h 32484"/>
                <a:gd name="connsiteX5" fmla="*/ 78205 w 160635"/>
                <a:gd name="connsiteY5" fmla="*/ -345 h 32484"/>
                <a:gd name="connsiteX6" fmla="*/ 989 w 160635"/>
                <a:gd name="connsiteY6" fmla="*/ 21648 h 32484"/>
                <a:gd name="connsiteX7" fmla="*/ 11879 w 160635"/>
                <a:gd name="connsiteY7" fmla="*/ 19438 h 3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635" h="32484">
                  <a:moveTo>
                    <a:pt x="11746" y="19438"/>
                  </a:moveTo>
                  <a:cubicBezTo>
                    <a:pt x="29798" y="19438"/>
                    <a:pt x="34671" y="32138"/>
                    <a:pt x="53842" y="32138"/>
                  </a:cubicBezTo>
                  <a:cubicBezTo>
                    <a:pt x="73012" y="32138"/>
                    <a:pt x="77645" y="19438"/>
                    <a:pt x="96443" y="19438"/>
                  </a:cubicBezTo>
                  <a:cubicBezTo>
                    <a:pt x="113644" y="19438"/>
                    <a:pt x="120700" y="32138"/>
                    <a:pt x="138646" y="32138"/>
                  </a:cubicBezTo>
                  <a:cubicBezTo>
                    <a:pt x="146732" y="32029"/>
                    <a:pt x="154651" y="29819"/>
                    <a:pt x="161624" y="25721"/>
                  </a:cubicBezTo>
                  <a:cubicBezTo>
                    <a:pt x="137136" y="8707"/>
                    <a:pt x="108023" y="-388"/>
                    <a:pt x="78205" y="-345"/>
                  </a:cubicBezTo>
                  <a:cubicBezTo>
                    <a:pt x="50915" y="-377"/>
                    <a:pt x="24164" y="7240"/>
                    <a:pt x="989" y="21648"/>
                  </a:cubicBezTo>
                  <a:cubicBezTo>
                    <a:pt x="4440" y="20210"/>
                    <a:pt x="8140" y="19459"/>
                    <a:pt x="11879" y="19438"/>
                  </a:cubicBezTo>
                </a:path>
              </a:pathLst>
            </a:custGeom>
            <a:solidFill>
              <a:srgbClr val="4FE3F2"/>
            </a:solidFill>
            <a:ln w="2661" cap="flat">
              <a:noFill/>
              <a:prstDash val="solid"/>
              <a:miter/>
            </a:ln>
          </p:spPr>
          <p:txBody>
            <a:bodyPr rtlCol="0" anchor="ctr"/>
            <a:lstStyle/>
            <a:p>
              <a:endParaRPr lang="pl-PL"/>
            </a:p>
          </p:txBody>
        </p:sp>
        <p:sp>
          <p:nvSpPr>
            <p:cNvPr id="90" name="Freeform: Shape 89">
              <a:extLst>
                <a:ext uri="{FF2B5EF4-FFF2-40B4-BE49-F238E27FC236}">
                  <a16:creationId xmlns:a16="http://schemas.microsoft.com/office/drawing/2014/main" id="{7BF9A7ED-D834-473E-9F8A-CDF7508CAF3C}"/>
                </a:ext>
              </a:extLst>
            </p:cNvPr>
            <p:cNvSpPr/>
            <p:nvPr/>
          </p:nvSpPr>
          <p:spPr>
            <a:xfrm>
              <a:off x="11432374" y="6628522"/>
              <a:ext cx="90726" cy="18332"/>
            </a:xfrm>
            <a:custGeom>
              <a:avLst/>
              <a:gdLst>
                <a:gd name="connsiteX0" fmla="*/ 78205 w 160768"/>
                <a:gd name="connsiteY0" fmla="*/ -345 h 32484"/>
                <a:gd name="connsiteX1" fmla="*/ 989 w 160768"/>
                <a:gd name="connsiteY1" fmla="*/ 21648 h 32484"/>
                <a:gd name="connsiteX2" fmla="*/ 11879 w 160768"/>
                <a:gd name="connsiteY2" fmla="*/ 19438 h 32484"/>
                <a:gd name="connsiteX3" fmla="*/ 53975 w 160768"/>
                <a:gd name="connsiteY3" fmla="*/ 32138 h 32484"/>
                <a:gd name="connsiteX4" fmla="*/ 96577 w 160768"/>
                <a:gd name="connsiteY4" fmla="*/ 19438 h 32484"/>
                <a:gd name="connsiteX5" fmla="*/ 138806 w 160768"/>
                <a:gd name="connsiteY5" fmla="*/ 32138 h 32484"/>
                <a:gd name="connsiteX6" fmla="*/ 161757 w 160768"/>
                <a:gd name="connsiteY6" fmla="*/ 25722 h 32484"/>
                <a:gd name="connsiteX7" fmla="*/ 78338 w 160768"/>
                <a:gd name="connsiteY7" fmla="*/ -345 h 3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8" h="32484">
                  <a:moveTo>
                    <a:pt x="78205" y="-345"/>
                  </a:moveTo>
                  <a:cubicBezTo>
                    <a:pt x="50915" y="-377"/>
                    <a:pt x="24164" y="7240"/>
                    <a:pt x="989" y="21648"/>
                  </a:cubicBezTo>
                  <a:cubicBezTo>
                    <a:pt x="4439" y="20210"/>
                    <a:pt x="8140" y="19459"/>
                    <a:pt x="11879" y="19438"/>
                  </a:cubicBezTo>
                  <a:cubicBezTo>
                    <a:pt x="29931" y="19438"/>
                    <a:pt x="34804" y="32138"/>
                    <a:pt x="53975" y="32138"/>
                  </a:cubicBezTo>
                  <a:cubicBezTo>
                    <a:pt x="73146" y="32138"/>
                    <a:pt x="77778" y="19438"/>
                    <a:pt x="96577" y="19438"/>
                  </a:cubicBezTo>
                  <a:cubicBezTo>
                    <a:pt x="113777" y="19438"/>
                    <a:pt x="120833" y="32138"/>
                    <a:pt x="138806" y="32138"/>
                  </a:cubicBezTo>
                  <a:cubicBezTo>
                    <a:pt x="146884" y="32027"/>
                    <a:pt x="154792" y="29814"/>
                    <a:pt x="161757" y="25722"/>
                  </a:cubicBezTo>
                  <a:cubicBezTo>
                    <a:pt x="137269" y="8707"/>
                    <a:pt x="108156" y="-388"/>
                    <a:pt x="78338" y="-345"/>
                  </a:cubicBezTo>
                </a:path>
              </a:pathLst>
            </a:custGeom>
            <a:solidFill>
              <a:srgbClr val="BAF2FA"/>
            </a:solidFill>
            <a:ln w="2661" cap="flat">
              <a:noFill/>
              <a:prstDash val="solid"/>
              <a:miter/>
            </a:ln>
          </p:spPr>
          <p:txBody>
            <a:bodyPr rtlCol="0" anchor="ctr"/>
            <a:lstStyle/>
            <a:p>
              <a:endParaRPr lang="pl-PL"/>
            </a:p>
          </p:txBody>
        </p:sp>
        <p:sp>
          <p:nvSpPr>
            <p:cNvPr id="91" name="Freeform: Shape 90">
              <a:extLst>
                <a:ext uri="{FF2B5EF4-FFF2-40B4-BE49-F238E27FC236}">
                  <a16:creationId xmlns:a16="http://schemas.microsoft.com/office/drawing/2014/main" id="{4E31D11C-29C5-4174-BC08-4134660323C0}"/>
                </a:ext>
              </a:extLst>
            </p:cNvPr>
            <p:cNvSpPr/>
            <p:nvPr/>
          </p:nvSpPr>
          <p:spPr>
            <a:xfrm>
              <a:off x="11427415" y="6639597"/>
              <a:ext cx="108562" cy="21802"/>
            </a:xfrm>
            <a:custGeom>
              <a:avLst/>
              <a:gdLst>
                <a:gd name="connsiteX0" fmla="*/ 105230 w 192373"/>
                <a:gd name="connsiteY0" fmla="*/ -266 h 38634"/>
                <a:gd name="connsiteX1" fmla="*/ 62628 w 192373"/>
                <a:gd name="connsiteY1" fmla="*/ 12435 h 38634"/>
                <a:gd name="connsiteX2" fmla="*/ 20532 w 192373"/>
                <a:gd name="connsiteY2" fmla="*/ -266 h 38634"/>
                <a:gd name="connsiteX3" fmla="*/ 9642 w 192373"/>
                <a:gd name="connsiteY3" fmla="*/ 1944 h 38634"/>
                <a:gd name="connsiteX4" fmla="*/ 989 w 192373"/>
                <a:gd name="connsiteY4" fmla="*/ 7775 h 38634"/>
                <a:gd name="connsiteX5" fmla="*/ 21171 w 192373"/>
                <a:gd name="connsiteY5" fmla="*/ 25615 h 38634"/>
                <a:gd name="connsiteX6" fmla="*/ 62628 w 192373"/>
                <a:gd name="connsiteY6" fmla="*/ 38289 h 38634"/>
                <a:gd name="connsiteX7" fmla="*/ 105230 w 192373"/>
                <a:gd name="connsiteY7" fmla="*/ 25588 h 38634"/>
                <a:gd name="connsiteX8" fmla="*/ 147459 w 192373"/>
                <a:gd name="connsiteY8" fmla="*/ 38289 h 38634"/>
                <a:gd name="connsiteX9" fmla="*/ 190700 w 192373"/>
                <a:gd name="connsiteY9" fmla="*/ 25588 h 38634"/>
                <a:gd name="connsiteX10" fmla="*/ 193363 w 192373"/>
                <a:gd name="connsiteY10" fmla="*/ 25588 h 38634"/>
                <a:gd name="connsiteX11" fmla="*/ 170438 w 192373"/>
                <a:gd name="connsiteY11" fmla="*/ 5938 h 38634"/>
                <a:gd name="connsiteX12" fmla="*/ 147486 w 192373"/>
                <a:gd name="connsiteY12" fmla="*/ 12355 h 38634"/>
                <a:gd name="connsiteX13" fmla="*/ 105257 w 192373"/>
                <a:gd name="connsiteY13" fmla="*/ -346 h 38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2373" h="38634">
                  <a:moveTo>
                    <a:pt x="105230" y="-266"/>
                  </a:moveTo>
                  <a:cubicBezTo>
                    <a:pt x="86592" y="-266"/>
                    <a:pt x="81799" y="12435"/>
                    <a:pt x="62628" y="12435"/>
                  </a:cubicBezTo>
                  <a:cubicBezTo>
                    <a:pt x="43457" y="12435"/>
                    <a:pt x="38665" y="-266"/>
                    <a:pt x="20532" y="-266"/>
                  </a:cubicBezTo>
                  <a:cubicBezTo>
                    <a:pt x="16794" y="-244"/>
                    <a:pt x="13093" y="506"/>
                    <a:pt x="9642" y="1944"/>
                  </a:cubicBezTo>
                  <a:cubicBezTo>
                    <a:pt x="6687" y="3781"/>
                    <a:pt x="3785" y="5725"/>
                    <a:pt x="989" y="7775"/>
                  </a:cubicBezTo>
                  <a:cubicBezTo>
                    <a:pt x="8031" y="13356"/>
                    <a:pt x="14768" y="19312"/>
                    <a:pt x="21171" y="25615"/>
                  </a:cubicBezTo>
                  <a:cubicBezTo>
                    <a:pt x="38691" y="25908"/>
                    <a:pt x="43697" y="38289"/>
                    <a:pt x="62628" y="38289"/>
                  </a:cubicBezTo>
                  <a:cubicBezTo>
                    <a:pt x="81559" y="38289"/>
                    <a:pt x="86432" y="25588"/>
                    <a:pt x="105230" y="25588"/>
                  </a:cubicBezTo>
                  <a:cubicBezTo>
                    <a:pt x="122431" y="25588"/>
                    <a:pt x="129487" y="38289"/>
                    <a:pt x="147459" y="38289"/>
                  </a:cubicBezTo>
                  <a:cubicBezTo>
                    <a:pt x="167456" y="38289"/>
                    <a:pt x="173872" y="25588"/>
                    <a:pt x="190700" y="25588"/>
                  </a:cubicBezTo>
                  <a:cubicBezTo>
                    <a:pt x="191632" y="25588"/>
                    <a:pt x="192484" y="25588"/>
                    <a:pt x="193363" y="25588"/>
                  </a:cubicBezTo>
                  <a:cubicBezTo>
                    <a:pt x="186416" y="18269"/>
                    <a:pt x="178734" y="11684"/>
                    <a:pt x="170438" y="5938"/>
                  </a:cubicBezTo>
                  <a:cubicBezTo>
                    <a:pt x="163472" y="10031"/>
                    <a:pt x="155564" y="12243"/>
                    <a:pt x="147486" y="12355"/>
                  </a:cubicBezTo>
                  <a:cubicBezTo>
                    <a:pt x="129513" y="12355"/>
                    <a:pt x="122457" y="-346"/>
                    <a:pt x="105257" y="-346"/>
                  </a:cubicBezTo>
                </a:path>
              </a:pathLst>
            </a:custGeom>
            <a:solidFill>
              <a:srgbClr val="4FE3F2"/>
            </a:solidFill>
            <a:ln w="2661" cap="flat">
              <a:noFill/>
              <a:prstDash val="solid"/>
              <a:miter/>
            </a:ln>
          </p:spPr>
          <p:txBody>
            <a:bodyPr rtlCol="0" anchor="ctr"/>
            <a:lstStyle/>
            <a:p>
              <a:endParaRPr lang="pl-PL"/>
            </a:p>
          </p:txBody>
        </p:sp>
        <p:sp>
          <p:nvSpPr>
            <p:cNvPr id="92" name="Freeform: Shape 91">
              <a:extLst>
                <a:ext uri="{FF2B5EF4-FFF2-40B4-BE49-F238E27FC236}">
                  <a16:creationId xmlns:a16="http://schemas.microsoft.com/office/drawing/2014/main" id="{A40EBD2F-C83E-4619-A264-389E2E045B69}"/>
                </a:ext>
              </a:extLst>
            </p:cNvPr>
            <p:cNvSpPr/>
            <p:nvPr/>
          </p:nvSpPr>
          <p:spPr>
            <a:xfrm>
              <a:off x="11438745" y="6654277"/>
              <a:ext cx="111537" cy="22389"/>
            </a:xfrm>
            <a:custGeom>
              <a:avLst/>
              <a:gdLst>
                <a:gd name="connsiteX0" fmla="*/ 127250 w 197645"/>
                <a:gd name="connsiteY0" fmla="*/ 12355 h 39673"/>
                <a:gd name="connsiteX1" fmla="*/ 85048 w 197645"/>
                <a:gd name="connsiteY1" fmla="*/ -346 h 39673"/>
                <a:gd name="connsiteX2" fmla="*/ 42446 w 197645"/>
                <a:gd name="connsiteY2" fmla="*/ 12355 h 39673"/>
                <a:gd name="connsiteX3" fmla="*/ 989 w 197645"/>
                <a:gd name="connsiteY3" fmla="*/ -319 h 39673"/>
                <a:gd name="connsiteX4" fmla="*/ 24233 w 197645"/>
                <a:gd name="connsiteY4" fmla="*/ 25881 h 39673"/>
                <a:gd name="connsiteX5" fmla="*/ 33100 w 197645"/>
                <a:gd name="connsiteY5" fmla="*/ 38209 h 39673"/>
                <a:gd name="connsiteX6" fmla="*/ 42446 w 197645"/>
                <a:gd name="connsiteY6" fmla="*/ 39327 h 39673"/>
                <a:gd name="connsiteX7" fmla="*/ 85048 w 197645"/>
                <a:gd name="connsiteY7" fmla="*/ 26627 h 39673"/>
                <a:gd name="connsiteX8" fmla="*/ 127250 w 197645"/>
                <a:gd name="connsiteY8" fmla="*/ 39327 h 39673"/>
                <a:gd name="connsiteX9" fmla="*/ 170517 w 197645"/>
                <a:gd name="connsiteY9" fmla="*/ 26627 h 39673"/>
                <a:gd name="connsiteX10" fmla="*/ 198635 w 197645"/>
                <a:gd name="connsiteY10" fmla="*/ 36478 h 39673"/>
                <a:gd name="connsiteX11" fmla="*/ 173153 w 197645"/>
                <a:gd name="connsiteY11" fmla="*/ -266 h 39673"/>
                <a:gd name="connsiteX12" fmla="*/ 170491 w 197645"/>
                <a:gd name="connsiteY12" fmla="*/ -266 h 39673"/>
                <a:gd name="connsiteX13" fmla="*/ 127223 w 197645"/>
                <a:gd name="connsiteY13" fmla="*/ 12435 h 39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7645" h="39673">
                  <a:moveTo>
                    <a:pt x="127250" y="12355"/>
                  </a:moveTo>
                  <a:cubicBezTo>
                    <a:pt x="109304" y="12355"/>
                    <a:pt x="102248" y="-346"/>
                    <a:pt x="85048" y="-346"/>
                  </a:cubicBezTo>
                  <a:cubicBezTo>
                    <a:pt x="66409" y="-346"/>
                    <a:pt x="61616" y="12355"/>
                    <a:pt x="42446" y="12355"/>
                  </a:cubicBezTo>
                  <a:cubicBezTo>
                    <a:pt x="23275" y="12355"/>
                    <a:pt x="18482" y="-26"/>
                    <a:pt x="989" y="-319"/>
                  </a:cubicBezTo>
                  <a:cubicBezTo>
                    <a:pt x="9333" y="7866"/>
                    <a:pt x="17100" y="16621"/>
                    <a:pt x="24233" y="25881"/>
                  </a:cubicBezTo>
                  <a:cubicBezTo>
                    <a:pt x="27295" y="29902"/>
                    <a:pt x="30277" y="34002"/>
                    <a:pt x="33100" y="38209"/>
                  </a:cubicBezTo>
                  <a:cubicBezTo>
                    <a:pt x="36157" y="38971"/>
                    <a:pt x="39296" y="39346"/>
                    <a:pt x="42446" y="39327"/>
                  </a:cubicBezTo>
                  <a:cubicBezTo>
                    <a:pt x="61510" y="39327"/>
                    <a:pt x="66249" y="26627"/>
                    <a:pt x="85048" y="26627"/>
                  </a:cubicBezTo>
                  <a:cubicBezTo>
                    <a:pt x="102248" y="26627"/>
                    <a:pt x="109304" y="39327"/>
                    <a:pt x="127250" y="39327"/>
                  </a:cubicBezTo>
                  <a:cubicBezTo>
                    <a:pt x="147273" y="39327"/>
                    <a:pt x="153690" y="26627"/>
                    <a:pt x="170517" y="26627"/>
                  </a:cubicBezTo>
                  <a:cubicBezTo>
                    <a:pt x="184283" y="26627"/>
                    <a:pt x="189635" y="32245"/>
                    <a:pt x="198635" y="36478"/>
                  </a:cubicBezTo>
                  <a:cubicBezTo>
                    <a:pt x="192063" y="23003"/>
                    <a:pt x="183471" y="10611"/>
                    <a:pt x="173153" y="-266"/>
                  </a:cubicBezTo>
                  <a:cubicBezTo>
                    <a:pt x="172301" y="-266"/>
                    <a:pt x="171449" y="-266"/>
                    <a:pt x="170491" y="-266"/>
                  </a:cubicBezTo>
                  <a:cubicBezTo>
                    <a:pt x="153663" y="-266"/>
                    <a:pt x="147246" y="12435"/>
                    <a:pt x="127223" y="12435"/>
                  </a:cubicBezTo>
                </a:path>
              </a:pathLst>
            </a:custGeom>
            <a:solidFill>
              <a:srgbClr val="0066E5"/>
            </a:solidFill>
            <a:ln w="2661" cap="flat">
              <a:noFill/>
              <a:prstDash val="solid"/>
              <a:miter/>
            </a:ln>
          </p:spPr>
          <p:txBody>
            <a:bodyPr rtlCol="0" anchor="ctr"/>
            <a:lstStyle/>
            <a:p>
              <a:endParaRPr lang="pl-PL"/>
            </a:p>
          </p:txBody>
        </p:sp>
        <p:sp>
          <p:nvSpPr>
            <p:cNvPr id="93" name="Freeform: Shape 92">
              <a:extLst>
                <a:ext uri="{FF2B5EF4-FFF2-40B4-BE49-F238E27FC236}">
                  <a16:creationId xmlns:a16="http://schemas.microsoft.com/office/drawing/2014/main" id="{52D5F7BA-C27E-4B23-8426-19BEFD86D09C}"/>
                </a:ext>
              </a:extLst>
            </p:cNvPr>
            <p:cNvSpPr/>
            <p:nvPr/>
          </p:nvSpPr>
          <p:spPr>
            <a:xfrm>
              <a:off x="11456867" y="6669498"/>
              <a:ext cx="99186" cy="29390"/>
            </a:xfrm>
            <a:custGeom>
              <a:avLst/>
              <a:gdLst>
                <a:gd name="connsiteX0" fmla="*/ 95139 w 175759"/>
                <a:gd name="connsiteY0" fmla="*/ 12355 h 52080"/>
                <a:gd name="connsiteX1" fmla="*/ 52936 w 175759"/>
                <a:gd name="connsiteY1" fmla="*/ -346 h 52080"/>
                <a:gd name="connsiteX2" fmla="*/ 10335 w 175759"/>
                <a:gd name="connsiteY2" fmla="*/ 12355 h 52080"/>
                <a:gd name="connsiteX3" fmla="*/ 989 w 175759"/>
                <a:gd name="connsiteY3" fmla="*/ 11210 h 52080"/>
                <a:gd name="connsiteX4" fmla="*/ 23248 w 175759"/>
                <a:gd name="connsiteY4" fmla="*/ 51735 h 52080"/>
                <a:gd name="connsiteX5" fmla="*/ 22929 w 175759"/>
                <a:gd name="connsiteY5" fmla="*/ 50963 h 52080"/>
                <a:gd name="connsiteX6" fmla="*/ 110183 w 175759"/>
                <a:gd name="connsiteY6" fmla="*/ 22633 h 52080"/>
                <a:gd name="connsiteX7" fmla="*/ 176748 w 175759"/>
                <a:gd name="connsiteY7" fmla="*/ 38262 h 52080"/>
                <a:gd name="connsiteX8" fmla="*/ 166310 w 175759"/>
                <a:gd name="connsiteY8" fmla="*/ 9506 h 52080"/>
                <a:gd name="connsiteX9" fmla="*/ 138193 w 175759"/>
                <a:gd name="connsiteY9" fmla="*/ -346 h 52080"/>
                <a:gd name="connsiteX10" fmla="*/ 94926 w 175759"/>
                <a:gd name="connsiteY10" fmla="*/ 12355 h 52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5759" h="52080">
                  <a:moveTo>
                    <a:pt x="95139" y="12355"/>
                  </a:moveTo>
                  <a:cubicBezTo>
                    <a:pt x="77193" y="12355"/>
                    <a:pt x="70137" y="-346"/>
                    <a:pt x="52936" y="-346"/>
                  </a:cubicBezTo>
                  <a:cubicBezTo>
                    <a:pt x="34298" y="-346"/>
                    <a:pt x="29505" y="12355"/>
                    <a:pt x="10335" y="12355"/>
                  </a:cubicBezTo>
                  <a:cubicBezTo>
                    <a:pt x="7182" y="12379"/>
                    <a:pt x="4043" y="11993"/>
                    <a:pt x="989" y="11210"/>
                  </a:cubicBezTo>
                  <a:cubicBezTo>
                    <a:pt x="9634" y="24007"/>
                    <a:pt x="17087" y="37573"/>
                    <a:pt x="23248" y="51735"/>
                  </a:cubicBezTo>
                  <a:lnTo>
                    <a:pt x="22929" y="50963"/>
                  </a:lnTo>
                  <a:cubicBezTo>
                    <a:pt x="48205" y="32375"/>
                    <a:pt x="78806" y="22438"/>
                    <a:pt x="110183" y="22633"/>
                  </a:cubicBezTo>
                  <a:cubicBezTo>
                    <a:pt x="133286" y="22574"/>
                    <a:pt x="156083" y="27926"/>
                    <a:pt x="176748" y="38262"/>
                  </a:cubicBezTo>
                  <a:cubicBezTo>
                    <a:pt x="174298" y="28333"/>
                    <a:pt x="170800" y="18695"/>
                    <a:pt x="166310" y="9506"/>
                  </a:cubicBezTo>
                  <a:cubicBezTo>
                    <a:pt x="157311" y="5273"/>
                    <a:pt x="151959" y="-346"/>
                    <a:pt x="138193" y="-346"/>
                  </a:cubicBezTo>
                  <a:cubicBezTo>
                    <a:pt x="121365" y="-346"/>
                    <a:pt x="114949" y="12355"/>
                    <a:pt x="94926" y="12355"/>
                  </a:cubicBezTo>
                </a:path>
              </a:pathLst>
            </a:custGeom>
            <a:solidFill>
              <a:srgbClr val="143DCF"/>
            </a:solidFill>
            <a:ln w="2661" cap="flat">
              <a:noFill/>
              <a:prstDash val="solid"/>
              <a:miter/>
            </a:ln>
          </p:spPr>
          <p:txBody>
            <a:bodyPr rtlCol="0" anchor="ctr"/>
            <a:lstStyle/>
            <a:p>
              <a:endParaRPr lang="pl-PL"/>
            </a:p>
          </p:txBody>
        </p:sp>
        <p:sp>
          <p:nvSpPr>
            <p:cNvPr id="94" name="Freeform: Shape 93">
              <a:extLst>
                <a:ext uri="{FF2B5EF4-FFF2-40B4-BE49-F238E27FC236}">
                  <a16:creationId xmlns:a16="http://schemas.microsoft.com/office/drawing/2014/main" id="{70A8CDE4-530A-4B4E-BAAC-711F845176FA}"/>
                </a:ext>
              </a:extLst>
            </p:cNvPr>
            <p:cNvSpPr/>
            <p:nvPr/>
          </p:nvSpPr>
          <p:spPr>
            <a:xfrm>
              <a:off x="11469428" y="6682464"/>
              <a:ext cx="88352" cy="28821"/>
            </a:xfrm>
            <a:custGeom>
              <a:avLst/>
              <a:gdLst>
                <a:gd name="connsiteX0" fmla="*/ 154808 w 156561"/>
                <a:gd name="connsiteY0" fmla="*/ 15287 h 51071"/>
                <a:gd name="connsiteX1" fmla="*/ 88243 w 156561"/>
                <a:gd name="connsiteY1" fmla="*/ -343 h 51071"/>
                <a:gd name="connsiteX2" fmla="*/ 989 w 156561"/>
                <a:gd name="connsiteY2" fmla="*/ 27987 h 51071"/>
                <a:gd name="connsiteX3" fmla="*/ 1308 w 156561"/>
                <a:gd name="connsiteY3" fmla="*/ 28760 h 51071"/>
                <a:gd name="connsiteX4" fmla="*/ 2533 w 156561"/>
                <a:gd name="connsiteY4" fmla="*/ 31635 h 51071"/>
                <a:gd name="connsiteX5" fmla="*/ 3172 w 156561"/>
                <a:gd name="connsiteY5" fmla="*/ 33153 h 51071"/>
                <a:gd name="connsiteX6" fmla="*/ 5568 w 156561"/>
                <a:gd name="connsiteY6" fmla="*/ 39170 h 51071"/>
                <a:gd name="connsiteX7" fmla="*/ 5888 w 156561"/>
                <a:gd name="connsiteY7" fmla="*/ 40049 h 51071"/>
                <a:gd name="connsiteX8" fmla="*/ 6740 w 156561"/>
                <a:gd name="connsiteY8" fmla="*/ 42339 h 51071"/>
                <a:gd name="connsiteX9" fmla="*/ 7619 w 156561"/>
                <a:gd name="connsiteY9" fmla="*/ 44709 h 51071"/>
                <a:gd name="connsiteX10" fmla="*/ 8364 w 156561"/>
                <a:gd name="connsiteY10" fmla="*/ 46892 h 51071"/>
                <a:gd name="connsiteX11" fmla="*/ 9269 w 156561"/>
                <a:gd name="connsiteY11" fmla="*/ 49555 h 51071"/>
                <a:gd name="connsiteX12" fmla="*/ 9669 w 156561"/>
                <a:gd name="connsiteY12" fmla="*/ 50726 h 51071"/>
                <a:gd name="connsiteX13" fmla="*/ 88243 w 156561"/>
                <a:gd name="connsiteY13" fmla="*/ 28360 h 51071"/>
                <a:gd name="connsiteX14" fmla="*/ 109544 w 156561"/>
                <a:gd name="connsiteY14" fmla="*/ 29825 h 51071"/>
                <a:gd name="connsiteX15" fmla="*/ 112606 w 156561"/>
                <a:gd name="connsiteY15" fmla="*/ 30038 h 51071"/>
                <a:gd name="connsiteX16" fmla="*/ 112925 w 156561"/>
                <a:gd name="connsiteY16" fmla="*/ 30038 h 51071"/>
                <a:gd name="connsiteX17" fmla="*/ 113378 w 156561"/>
                <a:gd name="connsiteY17" fmla="*/ 30038 h 51071"/>
                <a:gd name="connsiteX18" fmla="*/ 116040 w 156561"/>
                <a:gd name="connsiteY18" fmla="*/ 30677 h 51071"/>
                <a:gd name="connsiteX19" fmla="*/ 116040 w 156561"/>
                <a:gd name="connsiteY19" fmla="*/ 30677 h 51071"/>
                <a:gd name="connsiteX20" fmla="*/ 123256 w 156561"/>
                <a:gd name="connsiteY20" fmla="*/ 18722 h 51071"/>
                <a:gd name="connsiteX21" fmla="*/ 139232 w 156561"/>
                <a:gd name="connsiteY21" fmla="*/ 15873 h 51071"/>
                <a:gd name="connsiteX22" fmla="*/ 139232 w 156561"/>
                <a:gd name="connsiteY22" fmla="*/ 15873 h 51071"/>
                <a:gd name="connsiteX23" fmla="*/ 140536 w 156561"/>
                <a:gd name="connsiteY23" fmla="*/ 37520 h 51071"/>
                <a:gd name="connsiteX24" fmla="*/ 150015 w 156561"/>
                <a:gd name="connsiteY24" fmla="*/ 29691 h 51071"/>
                <a:gd name="connsiteX25" fmla="*/ 157550 w 156561"/>
                <a:gd name="connsiteY25" fmla="*/ 29212 h 51071"/>
                <a:gd name="connsiteX26" fmla="*/ 154888 w 156561"/>
                <a:gd name="connsiteY26" fmla="*/ 15180 h 5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6561" h="51071">
                  <a:moveTo>
                    <a:pt x="154808" y="15287"/>
                  </a:moveTo>
                  <a:cubicBezTo>
                    <a:pt x="134143" y="4950"/>
                    <a:pt x="111346" y="-401"/>
                    <a:pt x="88243" y="-343"/>
                  </a:cubicBezTo>
                  <a:cubicBezTo>
                    <a:pt x="56866" y="-537"/>
                    <a:pt x="26265" y="9400"/>
                    <a:pt x="989" y="27987"/>
                  </a:cubicBezTo>
                  <a:lnTo>
                    <a:pt x="1308" y="28760"/>
                  </a:lnTo>
                  <a:cubicBezTo>
                    <a:pt x="1734" y="29718"/>
                    <a:pt x="2134" y="30677"/>
                    <a:pt x="2533" y="31635"/>
                  </a:cubicBezTo>
                  <a:lnTo>
                    <a:pt x="3172" y="33153"/>
                  </a:lnTo>
                  <a:cubicBezTo>
                    <a:pt x="3997" y="35150"/>
                    <a:pt x="4796" y="37147"/>
                    <a:pt x="5568" y="39170"/>
                  </a:cubicBezTo>
                  <a:lnTo>
                    <a:pt x="5888" y="40049"/>
                  </a:lnTo>
                  <a:cubicBezTo>
                    <a:pt x="6181" y="40821"/>
                    <a:pt x="6474" y="41593"/>
                    <a:pt x="6740" y="42339"/>
                  </a:cubicBezTo>
                  <a:lnTo>
                    <a:pt x="7619" y="44709"/>
                  </a:lnTo>
                  <a:cubicBezTo>
                    <a:pt x="7858" y="45454"/>
                    <a:pt x="8124" y="46173"/>
                    <a:pt x="8364" y="46892"/>
                  </a:cubicBezTo>
                  <a:cubicBezTo>
                    <a:pt x="8604" y="47611"/>
                    <a:pt x="8977" y="48649"/>
                    <a:pt x="9269" y="49555"/>
                  </a:cubicBezTo>
                  <a:lnTo>
                    <a:pt x="9669" y="50726"/>
                  </a:lnTo>
                  <a:cubicBezTo>
                    <a:pt x="33212" y="35978"/>
                    <a:pt x="60461" y="28222"/>
                    <a:pt x="88243" y="28360"/>
                  </a:cubicBezTo>
                  <a:cubicBezTo>
                    <a:pt x="95368" y="28358"/>
                    <a:pt x="102485" y="28847"/>
                    <a:pt x="109544" y="29825"/>
                  </a:cubicBezTo>
                  <a:cubicBezTo>
                    <a:pt x="110569" y="29835"/>
                    <a:pt x="111591" y="29907"/>
                    <a:pt x="112606" y="30038"/>
                  </a:cubicBezTo>
                  <a:lnTo>
                    <a:pt x="112925" y="30038"/>
                  </a:lnTo>
                  <a:lnTo>
                    <a:pt x="113378" y="30038"/>
                  </a:lnTo>
                  <a:cubicBezTo>
                    <a:pt x="114278" y="30189"/>
                    <a:pt x="115170" y="30402"/>
                    <a:pt x="116040" y="30677"/>
                  </a:cubicBezTo>
                  <a:lnTo>
                    <a:pt x="116040" y="30677"/>
                  </a:lnTo>
                  <a:cubicBezTo>
                    <a:pt x="116123" y="25684"/>
                    <a:pt x="118879" y="21121"/>
                    <a:pt x="123256" y="18722"/>
                  </a:cubicBezTo>
                  <a:cubicBezTo>
                    <a:pt x="129460" y="14994"/>
                    <a:pt x="139232" y="15873"/>
                    <a:pt x="139232" y="15873"/>
                  </a:cubicBezTo>
                  <a:lnTo>
                    <a:pt x="139232" y="15873"/>
                  </a:lnTo>
                  <a:cubicBezTo>
                    <a:pt x="140068" y="23059"/>
                    <a:pt x="140504" y="30285"/>
                    <a:pt x="140536" y="37520"/>
                  </a:cubicBezTo>
                  <a:cubicBezTo>
                    <a:pt x="142291" y="33566"/>
                    <a:pt x="145800" y="30666"/>
                    <a:pt x="150015" y="29691"/>
                  </a:cubicBezTo>
                  <a:cubicBezTo>
                    <a:pt x="152483" y="29124"/>
                    <a:pt x="155029" y="28962"/>
                    <a:pt x="157550" y="29212"/>
                  </a:cubicBezTo>
                  <a:cubicBezTo>
                    <a:pt x="156858" y="24446"/>
                    <a:pt x="155953" y="19787"/>
                    <a:pt x="154888" y="15180"/>
                  </a:cubicBezTo>
                </a:path>
              </a:pathLst>
            </a:custGeom>
            <a:solidFill>
              <a:srgbClr val="00A652"/>
            </a:solidFill>
            <a:ln w="2661" cap="flat">
              <a:noFill/>
              <a:prstDash val="solid"/>
              <a:miter/>
            </a:ln>
          </p:spPr>
          <p:txBody>
            <a:bodyPr rtlCol="0" anchor="ctr"/>
            <a:lstStyle/>
            <a:p>
              <a:endParaRPr lang="pl-PL"/>
            </a:p>
          </p:txBody>
        </p:sp>
        <p:sp>
          <p:nvSpPr>
            <p:cNvPr id="95" name="Freeform: Shape 94">
              <a:extLst>
                <a:ext uri="{FF2B5EF4-FFF2-40B4-BE49-F238E27FC236}">
                  <a16:creationId xmlns:a16="http://schemas.microsoft.com/office/drawing/2014/main" id="{AB2F1951-6219-4D94-B371-0D5CA166D34A}"/>
                </a:ext>
              </a:extLst>
            </p:cNvPr>
            <p:cNvSpPr/>
            <p:nvPr/>
          </p:nvSpPr>
          <p:spPr>
            <a:xfrm>
              <a:off x="11474267" y="6698648"/>
              <a:ext cx="56271" cy="28174"/>
            </a:xfrm>
            <a:custGeom>
              <a:avLst/>
              <a:gdLst>
                <a:gd name="connsiteX0" fmla="*/ 79563 w 99714"/>
                <a:gd name="connsiteY0" fmla="*/ -344 h 49925"/>
                <a:gd name="connsiteX1" fmla="*/ 989 w 99714"/>
                <a:gd name="connsiteY1" fmla="*/ 22022 h 49925"/>
                <a:gd name="connsiteX2" fmla="*/ 1228 w 99714"/>
                <a:gd name="connsiteY2" fmla="*/ 22821 h 49925"/>
                <a:gd name="connsiteX3" fmla="*/ 2373 w 99714"/>
                <a:gd name="connsiteY3" fmla="*/ 26442 h 49925"/>
                <a:gd name="connsiteX4" fmla="*/ 2773 w 99714"/>
                <a:gd name="connsiteY4" fmla="*/ 27694 h 49925"/>
                <a:gd name="connsiteX5" fmla="*/ 4184 w 99714"/>
                <a:gd name="connsiteY5" fmla="*/ 32540 h 49925"/>
                <a:gd name="connsiteX6" fmla="*/ 4610 w 99714"/>
                <a:gd name="connsiteY6" fmla="*/ 34137 h 49925"/>
                <a:gd name="connsiteX7" fmla="*/ 5515 w 99714"/>
                <a:gd name="connsiteY7" fmla="*/ 37545 h 49925"/>
                <a:gd name="connsiteX8" fmla="*/ 6021 w 99714"/>
                <a:gd name="connsiteY8" fmla="*/ 39542 h 49925"/>
                <a:gd name="connsiteX9" fmla="*/ 6767 w 99714"/>
                <a:gd name="connsiteY9" fmla="*/ 42658 h 49925"/>
                <a:gd name="connsiteX10" fmla="*/ 7246 w 99714"/>
                <a:gd name="connsiteY10" fmla="*/ 44708 h 49925"/>
                <a:gd name="connsiteX11" fmla="*/ 8231 w 99714"/>
                <a:gd name="connsiteY11" fmla="*/ 49128 h 49925"/>
                <a:gd name="connsiteX12" fmla="*/ 8231 w 99714"/>
                <a:gd name="connsiteY12" fmla="*/ 49580 h 49925"/>
                <a:gd name="connsiteX13" fmla="*/ 61936 w 99714"/>
                <a:gd name="connsiteY13" fmla="*/ 32566 h 49925"/>
                <a:gd name="connsiteX14" fmla="*/ 65877 w 99714"/>
                <a:gd name="connsiteY14" fmla="*/ 29904 h 49925"/>
                <a:gd name="connsiteX15" fmla="*/ 78125 w 99714"/>
                <a:gd name="connsiteY15" fmla="*/ 28732 h 49925"/>
                <a:gd name="connsiteX16" fmla="*/ 81373 w 99714"/>
                <a:gd name="connsiteY16" fmla="*/ 29478 h 49925"/>
                <a:gd name="connsiteX17" fmla="*/ 82278 w 99714"/>
                <a:gd name="connsiteY17" fmla="*/ 24339 h 49925"/>
                <a:gd name="connsiteX18" fmla="*/ 88509 w 99714"/>
                <a:gd name="connsiteY18" fmla="*/ 6579 h 49925"/>
                <a:gd name="connsiteX19" fmla="*/ 100704 w 99714"/>
                <a:gd name="connsiteY19" fmla="*/ 1254 h 49925"/>
                <a:gd name="connsiteX20" fmla="*/ 79403 w 99714"/>
                <a:gd name="connsiteY20" fmla="*/ -211 h 49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9714" h="49925">
                  <a:moveTo>
                    <a:pt x="79563" y="-344"/>
                  </a:moveTo>
                  <a:cubicBezTo>
                    <a:pt x="51781" y="-482"/>
                    <a:pt x="24532" y="7274"/>
                    <a:pt x="989" y="22022"/>
                  </a:cubicBezTo>
                  <a:lnTo>
                    <a:pt x="1228" y="22821"/>
                  </a:lnTo>
                  <a:cubicBezTo>
                    <a:pt x="1628" y="24019"/>
                    <a:pt x="2001" y="25244"/>
                    <a:pt x="2373" y="26442"/>
                  </a:cubicBezTo>
                  <a:lnTo>
                    <a:pt x="2773" y="27694"/>
                  </a:lnTo>
                  <a:cubicBezTo>
                    <a:pt x="3252" y="29318"/>
                    <a:pt x="3731" y="30915"/>
                    <a:pt x="4184" y="32540"/>
                  </a:cubicBezTo>
                  <a:cubicBezTo>
                    <a:pt x="4317" y="33072"/>
                    <a:pt x="4450" y="33605"/>
                    <a:pt x="4610" y="34137"/>
                  </a:cubicBezTo>
                  <a:cubicBezTo>
                    <a:pt x="4903" y="35282"/>
                    <a:pt x="5222" y="36400"/>
                    <a:pt x="5515" y="37545"/>
                  </a:cubicBezTo>
                  <a:cubicBezTo>
                    <a:pt x="5675" y="38211"/>
                    <a:pt x="5861" y="38877"/>
                    <a:pt x="6021" y="39542"/>
                  </a:cubicBezTo>
                  <a:cubicBezTo>
                    <a:pt x="6181" y="40208"/>
                    <a:pt x="6527" y="41619"/>
                    <a:pt x="6767" y="42658"/>
                  </a:cubicBezTo>
                  <a:lnTo>
                    <a:pt x="7246" y="44708"/>
                  </a:lnTo>
                  <a:cubicBezTo>
                    <a:pt x="7592" y="46172"/>
                    <a:pt x="7912" y="47663"/>
                    <a:pt x="8231" y="49128"/>
                  </a:cubicBezTo>
                  <a:lnTo>
                    <a:pt x="8231" y="49580"/>
                  </a:lnTo>
                  <a:cubicBezTo>
                    <a:pt x="24862" y="40482"/>
                    <a:pt x="43101" y="34704"/>
                    <a:pt x="61936" y="32566"/>
                  </a:cubicBezTo>
                  <a:cubicBezTo>
                    <a:pt x="63078" y="31451"/>
                    <a:pt x="64415" y="30548"/>
                    <a:pt x="65877" y="29904"/>
                  </a:cubicBezTo>
                  <a:cubicBezTo>
                    <a:pt x="69748" y="28287"/>
                    <a:pt x="74016" y="27880"/>
                    <a:pt x="78125" y="28732"/>
                  </a:cubicBezTo>
                  <a:cubicBezTo>
                    <a:pt x="79227" y="28892"/>
                    <a:pt x="80313" y="29139"/>
                    <a:pt x="81373" y="29478"/>
                  </a:cubicBezTo>
                  <a:cubicBezTo>
                    <a:pt x="81719" y="27773"/>
                    <a:pt x="82012" y="26069"/>
                    <a:pt x="82278" y="24339"/>
                  </a:cubicBezTo>
                  <a:cubicBezTo>
                    <a:pt x="82278" y="24339"/>
                    <a:pt x="84355" y="11558"/>
                    <a:pt x="88509" y="6579"/>
                  </a:cubicBezTo>
                  <a:cubicBezTo>
                    <a:pt x="91555" y="3043"/>
                    <a:pt x="96042" y="1086"/>
                    <a:pt x="100704" y="1254"/>
                  </a:cubicBezTo>
                  <a:cubicBezTo>
                    <a:pt x="93645" y="277"/>
                    <a:pt x="86528" y="-213"/>
                    <a:pt x="79403" y="-211"/>
                  </a:cubicBezTo>
                </a:path>
              </a:pathLst>
            </a:custGeom>
            <a:solidFill>
              <a:srgbClr val="8FD942"/>
            </a:solidFill>
            <a:ln w="2661" cap="flat">
              <a:noFill/>
              <a:prstDash val="solid"/>
              <a:miter/>
            </a:ln>
          </p:spPr>
          <p:txBody>
            <a:bodyPr rtlCol="0" anchor="ctr"/>
            <a:lstStyle/>
            <a:p>
              <a:endParaRPr lang="pl-PL"/>
            </a:p>
          </p:txBody>
        </p:sp>
        <p:sp>
          <p:nvSpPr>
            <p:cNvPr id="96" name="Freeform: Shape 95">
              <a:extLst>
                <a:ext uri="{FF2B5EF4-FFF2-40B4-BE49-F238E27FC236}">
                  <a16:creationId xmlns:a16="http://schemas.microsoft.com/office/drawing/2014/main" id="{38EAF87C-4D7E-4C64-9AB9-C82737DD0192}"/>
                </a:ext>
              </a:extLst>
            </p:cNvPr>
            <p:cNvSpPr/>
            <p:nvPr/>
          </p:nvSpPr>
          <p:spPr>
            <a:xfrm>
              <a:off x="11478444" y="6717190"/>
              <a:ext cx="30172" cy="26310"/>
            </a:xfrm>
            <a:custGeom>
              <a:avLst/>
              <a:gdLst>
                <a:gd name="connsiteX0" fmla="*/ 989 w 53465"/>
                <a:gd name="connsiteY0" fmla="*/ 16669 h 46622"/>
                <a:gd name="connsiteX1" fmla="*/ 1415 w 53465"/>
                <a:gd name="connsiteY1" fmla="*/ 18878 h 46622"/>
                <a:gd name="connsiteX2" fmla="*/ 1921 w 53465"/>
                <a:gd name="connsiteY2" fmla="*/ 21541 h 46622"/>
                <a:gd name="connsiteX3" fmla="*/ 2426 w 53465"/>
                <a:gd name="connsiteY3" fmla="*/ 24337 h 46622"/>
                <a:gd name="connsiteX4" fmla="*/ 2719 w 53465"/>
                <a:gd name="connsiteY4" fmla="*/ 26014 h 46622"/>
                <a:gd name="connsiteX5" fmla="*/ 2719 w 53465"/>
                <a:gd name="connsiteY5" fmla="*/ 26361 h 46622"/>
                <a:gd name="connsiteX6" fmla="*/ 2719 w 53465"/>
                <a:gd name="connsiteY6" fmla="*/ 26573 h 46622"/>
                <a:gd name="connsiteX7" fmla="*/ 3199 w 53465"/>
                <a:gd name="connsiteY7" fmla="*/ 29449 h 46622"/>
                <a:gd name="connsiteX8" fmla="*/ 3651 w 53465"/>
                <a:gd name="connsiteY8" fmla="*/ 32484 h 46622"/>
                <a:gd name="connsiteX9" fmla="*/ 3891 w 53465"/>
                <a:gd name="connsiteY9" fmla="*/ 34268 h 46622"/>
                <a:gd name="connsiteX10" fmla="*/ 4370 w 53465"/>
                <a:gd name="connsiteY10" fmla="*/ 38103 h 46622"/>
                <a:gd name="connsiteX11" fmla="*/ 4743 w 53465"/>
                <a:gd name="connsiteY11" fmla="*/ 41165 h 46622"/>
                <a:gd name="connsiteX12" fmla="*/ 4743 w 53465"/>
                <a:gd name="connsiteY12" fmla="*/ 41324 h 46622"/>
                <a:gd name="connsiteX13" fmla="*/ 4743 w 53465"/>
                <a:gd name="connsiteY13" fmla="*/ 41324 h 46622"/>
                <a:gd name="connsiteX14" fmla="*/ 4743 w 53465"/>
                <a:gd name="connsiteY14" fmla="*/ 41324 h 46622"/>
                <a:gd name="connsiteX15" fmla="*/ 4743 w 53465"/>
                <a:gd name="connsiteY15" fmla="*/ 41671 h 46622"/>
                <a:gd name="connsiteX16" fmla="*/ 4743 w 53465"/>
                <a:gd name="connsiteY16" fmla="*/ 42443 h 46622"/>
                <a:gd name="connsiteX17" fmla="*/ 4743 w 53465"/>
                <a:gd name="connsiteY17" fmla="*/ 42949 h 46622"/>
                <a:gd name="connsiteX18" fmla="*/ 5063 w 53465"/>
                <a:gd name="connsiteY18" fmla="*/ 46277 h 46622"/>
                <a:gd name="connsiteX19" fmla="*/ 5063 w 53465"/>
                <a:gd name="connsiteY19" fmla="*/ 46037 h 46622"/>
                <a:gd name="connsiteX20" fmla="*/ 24313 w 53465"/>
                <a:gd name="connsiteY20" fmla="*/ 38049 h 46622"/>
                <a:gd name="connsiteX21" fmla="*/ 36668 w 53465"/>
                <a:gd name="connsiteY21" fmla="*/ 34481 h 46622"/>
                <a:gd name="connsiteX22" fmla="*/ 44416 w 53465"/>
                <a:gd name="connsiteY22" fmla="*/ 21168 h 46622"/>
                <a:gd name="connsiteX23" fmla="*/ 50460 w 53465"/>
                <a:gd name="connsiteY23" fmla="*/ 6737 h 46622"/>
                <a:gd name="connsiteX24" fmla="*/ 50833 w 53465"/>
                <a:gd name="connsiteY24" fmla="*/ 5592 h 46622"/>
                <a:gd name="connsiteX25" fmla="*/ 54454 w 53465"/>
                <a:gd name="connsiteY25" fmla="*/ -346 h 46622"/>
                <a:gd name="connsiteX26" fmla="*/ 989 w 53465"/>
                <a:gd name="connsiteY26" fmla="*/ 16669 h 4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3465" h="46622">
                  <a:moveTo>
                    <a:pt x="989" y="16669"/>
                  </a:moveTo>
                  <a:cubicBezTo>
                    <a:pt x="1148" y="17414"/>
                    <a:pt x="1282" y="18160"/>
                    <a:pt x="1415" y="18878"/>
                  </a:cubicBezTo>
                  <a:cubicBezTo>
                    <a:pt x="1548" y="19597"/>
                    <a:pt x="1761" y="20609"/>
                    <a:pt x="1921" y="21541"/>
                  </a:cubicBezTo>
                  <a:cubicBezTo>
                    <a:pt x="2080" y="22473"/>
                    <a:pt x="2267" y="23405"/>
                    <a:pt x="2426" y="24337"/>
                  </a:cubicBezTo>
                  <a:cubicBezTo>
                    <a:pt x="2586" y="25269"/>
                    <a:pt x="2613" y="25455"/>
                    <a:pt x="2719" y="26014"/>
                  </a:cubicBezTo>
                  <a:cubicBezTo>
                    <a:pt x="2719" y="26147"/>
                    <a:pt x="2719" y="26254"/>
                    <a:pt x="2719" y="26361"/>
                  </a:cubicBezTo>
                  <a:lnTo>
                    <a:pt x="2719" y="26573"/>
                  </a:lnTo>
                  <a:lnTo>
                    <a:pt x="3199" y="29449"/>
                  </a:lnTo>
                  <a:cubicBezTo>
                    <a:pt x="3358" y="30461"/>
                    <a:pt x="3492" y="31473"/>
                    <a:pt x="3651" y="32484"/>
                  </a:cubicBezTo>
                  <a:lnTo>
                    <a:pt x="3891" y="34268"/>
                  </a:lnTo>
                  <a:cubicBezTo>
                    <a:pt x="4077" y="35546"/>
                    <a:pt x="4211" y="36931"/>
                    <a:pt x="4370" y="38103"/>
                  </a:cubicBezTo>
                  <a:cubicBezTo>
                    <a:pt x="4530" y="39274"/>
                    <a:pt x="4610" y="40153"/>
                    <a:pt x="4743" y="41165"/>
                  </a:cubicBezTo>
                  <a:lnTo>
                    <a:pt x="4743" y="41324"/>
                  </a:lnTo>
                  <a:lnTo>
                    <a:pt x="4743" y="41324"/>
                  </a:lnTo>
                  <a:lnTo>
                    <a:pt x="4743" y="41324"/>
                  </a:lnTo>
                  <a:cubicBezTo>
                    <a:pt x="4743" y="41324"/>
                    <a:pt x="4743" y="41564"/>
                    <a:pt x="4743" y="41671"/>
                  </a:cubicBezTo>
                  <a:lnTo>
                    <a:pt x="4743" y="42443"/>
                  </a:lnTo>
                  <a:cubicBezTo>
                    <a:pt x="4756" y="42610"/>
                    <a:pt x="4756" y="42781"/>
                    <a:pt x="4743" y="42949"/>
                  </a:cubicBezTo>
                  <a:cubicBezTo>
                    <a:pt x="4743" y="44067"/>
                    <a:pt x="4983" y="45185"/>
                    <a:pt x="5063" y="46277"/>
                  </a:cubicBezTo>
                  <a:lnTo>
                    <a:pt x="5063" y="46037"/>
                  </a:lnTo>
                  <a:cubicBezTo>
                    <a:pt x="11274" y="42906"/>
                    <a:pt x="17710" y="40235"/>
                    <a:pt x="24313" y="38049"/>
                  </a:cubicBezTo>
                  <a:cubicBezTo>
                    <a:pt x="28360" y="36691"/>
                    <a:pt x="32487" y="35387"/>
                    <a:pt x="36668" y="34481"/>
                  </a:cubicBezTo>
                  <a:cubicBezTo>
                    <a:pt x="39546" y="30224"/>
                    <a:pt x="42134" y="25775"/>
                    <a:pt x="44416" y="21168"/>
                  </a:cubicBezTo>
                  <a:cubicBezTo>
                    <a:pt x="46735" y="16493"/>
                    <a:pt x="48756" y="11671"/>
                    <a:pt x="50460" y="6737"/>
                  </a:cubicBezTo>
                  <a:cubicBezTo>
                    <a:pt x="50460" y="6338"/>
                    <a:pt x="50700" y="5965"/>
                    <a:pt x="50833" y="5592"/>
                  </a:cubicBezTo>
                  <a:cubicBezTo>
                    <a:pt x="51589" y="3371"/>
                    <a:pt x="52825" y="1343"/>
                    <a:pt x="54454" y="-346"/>
                  </a:cubicBezTo>
                  <a:cubicBezTo>
                    <a:pt x="35701" y="1822"/>
                    <a:pt x="17545" y="7600"/>
                    <a:pt x="989" y="16669"/>
                  </a:cubicBezTo>
                </a:path>
              </a:pathLst>
            </a:custGeom>
            <a:solidFill>
              <a:srgbClr val="00A652"/>
            </a:solidFill>
            <a:ln w="2661" cap="flat">
              <a:noFill/>
              <a:prstDash val="solid"/>
              <a:miter/>
            </a:ln>
          </p:spPr>
          <p:txBody>
            <a:bodyPr rtlCol="0" anchor="ctr"/>
            <a:lstStyle/>
            <a:p>
              <a:endParaRPr lang="pl-PL"/>
            </a:p>
          </p:txBody>
        </p:sp>
        <p:sp>
          <p:nvSpPr>
            <p:cNvPr id="97" name="Freeform: Shape 96">
              <a:extLst>
                <a:ext uri="{FF2B5EF4-FFF2-40B4-BE49-F238E27FC236}">
                  <a16:creationId xmlns:a16="http://schemas.microsoft.com/office/drawing/2014/main" id="{481B6D60-3288-49C9-BD33-ABB86C707123}"/>
                </a:ext>
              </a:extLst>
            </p:cNvPr>
            <p:cNvSpPr/>
            <p:nvPr/>
          </p:nvSpPr>
          <p:spPr>
            <a:xfrm>
              <a:off x="11480833" y="6736694"/>
              <a:ext cx="17385" cy="17249"/>
            </a:xfrm>
            <a:custGeom>
              <a:avLst/>
              <a:gdLst>
                <a:gd name="connsiteX0" fmla="*/ 20239 w 30806"/>
                <a:gd name="connsiteY0" fmla="*/ 3409 h 30566"/>
                <a:gd name="connsiteX1" fmla="*/ 989 w 30806"/>
                <a:gd name="connsiteY1" fmla="*/ 11397 h 30566"/>
                <a:gd name="connsiteX2" fmla="*/ 989 w 30806"/>
                <a:gd name="connsiteY2" fmla="*/ 11636 h 30566"/>
                <a:gd name="connsiteX3" fmla="*/ 989 w 30806"/>
                <a:gd name="connsiteY3" fmla="*/ 13154 h 30566"/>
                <a:gd name="connsiteX4" fmla="*/ 989 w 30806"/>
                <a:gd name="connsiteY4" fmla="*/ 13314 h 30566"/>
                <a:gd name="connsiteX5" fmla="*/ 1122 w 30806"/>
                <a:gd name="connsiteY5" fmla="*/ 15550 h 30566"/>
                <a:gd name="connsiteX6" fmla="*/ 1122 w 30806"/>
                <a:gd name="connsiteY6" fmla="*/ 16029 h 30566"/>
                <a:gd name="connsiteX7" fmla="*/ 1122 w 30806"/>
                <a:gd name="connsiteY7" fmla="*/ 16029 h 30566"/>
                <a:gd name="connsiteX8" fmla="*/ 1122 w 30806"/>
                <a:gd name="connsiteY8" fmla="*/ 16269 h 30566"/>
                <a:gd name="connsiteX9" fmla="*/ 1122 w 30806"/>
                <a:gd name="connsiteY9" fmla="*/ 18186 h 30566"/>
                <a:gd name="connsiteX10" fmla="*/ 1122 w 30806"/>
                <a:gd name="connsiteY10" fmla="*/ 19731 h 30566"/>
                <a:gd name="connsiteX11" fmla="*/ 1122 w 30806"/>
                <a:gd name="connsiteY11" fmla="*/ 19917 h 30566"/>
                <a:gd name="connsiteX12" fmla="*/ 1122 w 30806"/>
                <a:gd name="connsiteY12" fmla="*/ 21674 h 30566"/>
                <a:gd name="connsiteX13" fmla="*/ 1122 w 30806"/>
                <a:gd name="connsiteY13" fmla="*/ 23219 h 30566"/>
                <a:gd name="connsiteX14" fmla="*/ 1122 w 30806"/>
                <a:gd name="connsiteY14" fmla="*/ 23538 h 30566"/>
                <a:gd name="connsiteX15" fmla="*/ 1122 w 30806"/>
                <a:gd name="connsiteY15" fmla="*/ 23538 h 30566"/>
                <a:gd name="connsiteX16" fmla="*/ 1122 w 30806"/>
                <a:gd name="connsiteY16" fmla="*/ 24710 h 30566"/>
                <a:gd name="connsiteX17" fmla="*/ 1122 w 30806"/>
                <a:gd name="connsiteY17" fmla="*/ 26174 h 30566"/>
                <a:gd name="connsiteX18" fmla="*/ 1122 w 30806"/>
                <a:gd name="connsiteY18" fmla="*/ 26174 h 30566"/>
                <a:gd name="connsiteX19" fmla="*/ 1122 w 30806"/>
                <a:gd name="connsiteY19" fmla="*/ 26307 h 30566"/>
                <a:gd name="connsiteX20" fmla="*/ 1122 w 30806"/>
                <a:gd name="connsiteY20" fmla="*/ 27266 h 30566"/>
                <a:gd name="connsiteX21" fmla="*/ 1122 w 30806"/>
                <a:gd name="connsiteY21" fmla="*/ 29023 h 30566"/>
                <a:gd name="connsiteX22" fmla="*/ 1122 w 30806"/>
                <a:gd name="connsiteY22" fmla="*/ 30221 h 30566"/>
                <a:gd name="connsiteX23" fmla="*/ 1122 w 30806"/>
                <a:gd name="connsiteY23" fmla="*/ 30221 h 30566"/>
                <a:gd name="connsiteX24" fmla="*/ 2852 w 30806"/>
                <a:gd name="connsiteY24" fmla="*/ 29050 h 30566"/>
                <a:gd name="connsiteX25" fmla="*/ 12172 w 30806"/>
                <a:gd name="connsiteY25" fmla="*/ 22020 h 30566"/>
                <a:gd name="connsiteX26" fmla="*/ 27988 w 30806"/>
                <a:gd name="connsiteY26" fmla="*/ 5060 h 30566"/>
                <a:gd name="connsiteX27" fmla="*/ 29345 w 30806"/>
                <a:gd name="connsiteY27" fmla="*/ 3222 h 30566"/>
                <a:gd name="connsiteX28" fmla="*/ 31795 w 30806"/>
                <a:gd name="connsiteY28" fmla="*/ -346 h 30566"/>
                <a:gd name="connsiteX29" fmla="*/ 19441 w 30806"/>
                <a:gd name="connsiteY29" fmla="*/ 3222 h 30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0806" h="30566">
                  <a:moveTo>
                    <a:pt x="20239" y="3409"/>
                  </a:moveTo>
                  <a:cubicBezTo>
                    <a:pt x="13636" y="5600"/>
                    <a:pt x="7203" y="8268"/>
                    <a:pt x="989" y="11397"/>
                  </a:cubicBezTo>
                  <a:lnTo>
                    <a:pt x="989" y="11636"/>
                  </a:lnTo>
                  <a:cubicBezTo>
                    <a:pt x="989" y="12142"/>
                    <a:pt x="989" y="12648"/>
                    <a:pt x="989" y="13154"/>
                  </a:cubicBezTo>
                  <a:lnTo>
                    <a:pt x="989" y="13314"/>
                  </a:lnTo>
                  <a:cubicBezTo>
                    <a:pt x="989" y="14059"/>
                    <a:pt x="989" y="14805"/>
                    <a:pt x="1122" y="15550"/>
                  </a:cubicBezTo>
                  <a:lnTo>
                    <a:pt x="1122" y="16029"/>
                  </a:lnTo>
                  <a:lnTo>
                    <a:pt x="1122" y="16029"/>
                  </a:lnTo>
                  <a:lnTo>
                    <a:pt x="1122" y="16269"/>
                  </a:lnTo>
                  <a:cubicBezTo>
                    <a:pt x="1122" y="16908"/>
                    <a:pt x="1122" y="17547"/>
                    <a:pt x="1122" y="18186"/>
                  </a:cubicBezTo>
                  <a:cubicBezTo>
                    <a:pt x="1122" y="18825"/>
                    <a:pt x="1122" y="19225"/>
                    <a:pt x="1122" y="19731"/>
                  </a:cubicBezTo>
                  <a:lnTo>
                    <a:pt x="1122" y="19917"/>
                  </a:lnTo>
                  <a:lnTo>
                    <a:pt x="1122" y="21674"/>
                  </a:lnTo>
                  <a:cubicBezTo>
                    <a:pt x="1122" y="22207"/>
                    <a:pt x="1122" y="22713"/>
                    <a:pt x="1122" y="23219"/>
                  </a:cubicBezTo>
                  <a:cubicBezTo>
                    <a:pt x="1135" y="23325"/>
                    <a:pt x="1135" y="23432"/>
                    <a:pt x="1122" y="23538"/>
                  </a:cubicBezTo>
                  <a:lnTo>
                    <a:pt x="1122" y="23538"/>
                  </a:lnTo>
                  <a:cubicBezTo>
                    <a:pt x="1122" y="23937"/>
                    <a:pt x="1122" y="24310"/>
                    <a:pt x="1122" y="24710"/>
                  </a:cubicBezTo>
                  <a:cubicBezTo>
                    <a:pt x="1122" y="25109"/>
                    <a:pt x="1122" y="25695"/>
                    <a:pt x="1122" y="26174"/>
                  </a:cubicBezTo>
                  <a:lnTo>
                    <a:pt x="1122" y="26174"/>
                  </a:lnTo>
                  <a:lnTo>
                    <a:pt x="1122" y="26307"/>
                  </a:lnTo>
                  <a:cubicBezTo>
                    <a:pt x="1122" y="26627"/>
                    <a:pt x="1122" y="26946"/>
                    <a:pt x="1122" y="27266"/>
                  </a:cubicBezTo>
                  <a:cubicBezTo>
                    <a:pt x="1122" y="27585"/>
                    <a:pt x="1122" y="28437"/>
                    <a:pt x="1122" y="29023"/>
                  </a:cubicBezTo>
                  <a:cubicBezTo>
                    <a:pt x="1122" y="29609"/>
                    <a:pt x="1122" y="29822"/>
                    <a:pt x="1122" y="30221"/>
                  </a:cubicBezTo>
                  <a:lnTo>
                    <a:pt x="1122" y="30221"/>
                  </a:lnTo>
                  <a:lnTo>
                    <a:pt x="2852" y="29050"/>
                  </a:lnTo>
                  <a:cubicBezTo>
                    <a:pt x="6090" y="26888"/>
                    <a:pt x="9203" y="24539"/>
                    <a:pt x="12172" y="22020"/>
                  </a:cubicBezTo>
                  <a:cubicBezTo>
                    <a:pt x="18035" y="16948"/>
                    <a:pt x="23336" y="11263"/>
                    <a:pt x="27988" y="5060"/>
                  </a:cubicBezTo>
                  <a:lnTo>
                    <a:pt x="29345" y="3222"/>
                  </a:lnTo>
                  <a:cubicBezTo>
                    <a:pt x="30198" y="2024"/>
                    <a:pt x="31023" y="853"/>
                    <a:pt x="31795" y="-346"/>
                  </a:cubicBezTo>
                  <a:cubicBezTo>
                    <a:pt x="27615" y="666"/>
                    <a:pt x="23488" y="1864"/>
                    <a:pt x="19441" y="3222"/>
                  </a:cubicBezTo>
                </a:path>
              </a:pathLst>
            </a:custGeom>
            <a:solidFill>
              <a:srgbClr val="8FD942"/>
            </a:solidFill>
            <a:ln w="2661" cap="flat">
              <a:noFill/>
              <a:prstDash val="solid"/>
              <a:miter/>
            </a:ln>
          </p:spPr>
          <p:txBody>
            <a:bodyPr rtlCol="0" anchor="ctr"/>
            <a:lstStyle/>
            <a:p>
              <a:endParaRPr lang="pl-PL"/>
            </a:p>
          </p:txBody>
        </p:sp>
        <p:sp>
          <p:nvSpPr>
            <p:cNvPr id="98" name="Freeform: Shape 97">
              <a:extLst>
                <a:ext uri="{FF2B5EF4-FFF2-40B4-BE49-F238E27FC236}">
                  <a16:creationId xmlns:a16="http://schemas.microsoft.com/office/drawing/2014/main" id="{E483B469-E080-43CF-BD2E-EBCD2AEB996C}"/>
                </a:ext>
              </a:extLst>
            </p:cNvPr>
            <p:cNvSpPr/>
            <p:nvPr/>
          </p:nvSpPr>
          <p:spPr>
            <a:xfrm>
              <a:off x="11402788" y="6644225"/>
              <a:ext cx="49180" cy="59563"/>
            </a:xfrm>
            <a:custGeom>
              <a:avLst/>
              <a:gdLst>
                <a:gd name="connsiteX0" fmla="*/ 64918 w 87147"/>
                <a:gd name="connsiteY0" fmla="*/ 17494 h 105546"/>
                <a:gd name="connsiteX1" fmla="*/ 44735 w 87147"/>
                <a:gd name="connsiteY1" fmla="*/ -346 h 105546"/>
                <a:gd name="connsiteX2" fmla="*/ 14302 w 87147"/>
                <a:gd name="connsiteY2" fmla="*/ 29263 h 105546"/>
                <a:gd name="connsiteX3" fmla="*/ 989 w 87147"/>
                <a:gd name="connsiteY3" fmla="*/ 50111 h 105546"/>
                <a:gd name="connsiteX4" fmla="*/ 2160 w 87147"/>
                <a:gd name="connsiteY4" fmla="*/ 51602 h 105546"/>
                <a:gd name="connsiteX5" fmla="*/ 36774 w 87147"/>
                <a:gd name="connsiteY5" fmla="*/ 105200 h 105546"/>
                <a:gd name="connsiteX6" fmla="*/ 80015 w 87147"/>
                <a:gd name="connsiteY6" fmla="*/ 49286 h 105546"/>
                <a:gd name="connsiteX7" fmla="*/ 80894 w 87147"/>
                <a:gd name="connsiteY7" fmla="*/ 48647 h 105546"/>
                <a:gd name="connsiteX8" fmla="*/ 88136 w 87147"/>
                <a:gd name="connsiteY8" fmla="*/ 43641 h 105546"/>
                <a:gd name="connsiteX9" fmla="*/ 64891 w 87147"/>
                <a:gd name="connsiteY9" fmla="*/ 17441 h 105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147" h="105546">
                  <a:moveTo>
                    <a:pt x="64918" y="17494"/>
                  </a:moveTo>
                  <a:cubicBezTo>
                    <a:pt x="58514" y="11192"/>
                    <a:pt x="51778" y="5235"/>
                    <a:pt x="44735" y="-346"/>
                  </a:cubicBezTo>
                  <a:cubicBezTo>
                    <a:pt x="33206" y="7994"/>
                    <a:pt x="22955" y="17968"/>
                    <a:pt x="14302" y="29263"/>
                  </a:cubicBezTo>
                  <a:cubicBezTo>
                    <a:pt x="9269" y="35815"/>
                    <a:pt x="4815" y="42791"/>
                    <a:pt x="989" y="50111"/>
                  </a:cubicBezTo>
                  <a:cubicBezTo>
                    <a:pt x="1388" y="50590"/>
                    <a:pt x="1761" y="51096"/>
                    <a:pt x="2160" y="51602"/>
                  </a:cubicBezTo>
                  <a:cubicBezTo>
                    <a:pt x="15061" y="68552"/>
                    <a:pt x="26632" y="86472"/>
                    <a:pt x="36774" y="105200"/>
                  </a:cubicBezTo>
                  <a:cubicBezTo>
                    <a:pt x="45936" y="83034"/>
                    <a:pt x="60868" y="63728"/>
                    <a:pt x="80015" y="49286"/>
                  </a:cubicBezTo>
                  <a:lnTo>
                    <a:pt x="80894" y="48647"/>
                  </a:lnTo>
                  <a:cubicBezTo>
                    <a:pt x="83263" y="46916"/>
                    <a:pt x="85660" y="45238"/>
                    <a:pt x="88136" y="43641"/>
                  </a:cubicBezTo>
                  <a:cubicBezTo>
                    <a:pt x="81003" y="34380"/>
                    <a:pt x="73236" y="25626"/>
                    <a:pt x="64891" y="17441"/>
                  </a:cubicBezTo>
                </a:path>
              </a:pathLst>
            </a:custGeom>
            <a:solidFill>
              <a:srgbClr val="FAC200"/>
            </a:solidFill>
            <a:ln w="2661" cap="flat">
              <a:noFill/>
              <a:prstDash val="solid"/>
              <a:miter/>
            </a:ln>
          </p:spPr>
          <p:txBody>
            <a:bodyPr rtlCol="0" anchor="ctr"/>
            <a:lstStyle/>
            <a:p>
              <a:endParaRPr lang="pl-PL"/>
            </a:p>
          </p:txBody>
        </p:sp>
        <p:sp>
          <p:nvSpPr>
            <p:cNvPr id="99" name="Freeform: Shape 98">
              <a:extLst>
                <a:ext uri="{FF2B5EF4-FFF2-40B4-BE49-F238E27FC236}">
                  <a16:creationId xmlns:a16="http://schemas.microsoft.com/office/drawing/2014/main" id="{8BB529BC-A60D-42EA-8C4B-BE812A1B0B17}"/>
                </a:ext>
              </a:extLst>
            </p:cNvPr>
            <p:cNvSpPr/>
            <p:nvPr/>
          </p:nvSpPr>
          <p:spPr>
            <a:xfrm>
              <a:off x="11393217" y="6700272"/>
              <a:ext cx="51283" cy="56601"/>
            </a:xfrm>
            <a:custGeom>
              <a:avLst/>
              <a:gdLst>
                <a:gd name="connsiteX0" fmla="*/ 90133 w 90874"/>
                <a:gd name="connsiteY0" fmla="*/ 93882 h 100298"/>
                <a:gd name="connsiteX1" fmla="*/ 81613 w 90874"/>
                <a:gd name="connsiteY1" fmla="*/ 68055 h 100298"/>
                <a:gd name="connsiteX2" fmla="*/ 53762 w 90874"/>
                <a:gd name="connsiteY2" fmla="*/ 5909 h 100298"/>
                <a:gd name="connsiteX3" fmla="*/ 53762 w 90874"/>
                <a:gd name="connsiteY3" fmla="*/ 5909 h 100298"/>
                <a:gd name="connsiteX4" fmla="*/ 34165 w 90874"/>
                <a:gd name="connsiteY4" fmla="*/ 1276 h 100298"/>
                <a:gd name="connsiteX5" fmla="*/ 2213 w 90874"/>
                <a:gd name="connsiteY5" fmla="*/ 132 h 100298"/>
                <a:gd name="connsiteX6" fmla="*/ 989 w 90874"/>
                <a:gd name="connsiteY6" fmla="*/ 19089 h 100298"/>
                <a:gd name="connsiteX7" fmla="*/ 9376 w 90874"/>
                <a:gd name="connsiteY7" fmla="*/ 68081 h 100298"/>
                <a:gd name="connsiteX8" fmla="*/ 14888 w 90874"/>
                <a:gd name="connsiteY8" fmla="*/ 81395 h 100298"/>
                <a:gd name="connsiteX9" fmla="*/ 27854 w 90874"/>
                <a:gd name="connsiteY9" fmla="*/ 81182 h 100298"/>
                <a:gd name="connsiteX10" fmla="*/ 80388 w 90874"/>
                <a:gd name="connsiteY10" fmla="*/ 93829 h 100298"/>
                <a:gd name="connsiteX11" fmla="*/ 91864 w 90874"/>
                <a:gd name="connsiteY11" fmla="*/ 99953 h 100298"/>
                <a:gd name="connsiteX12" fmla="*/ 90080 w 90874"/>
                <a:gd name="connsiteY12" fmla="*/ 93829 h 10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874" h="100298">
                  <a:moveTo>
                    <a:pt x="90133" y="93882"/>
                  </a:moveTo>
                  <a:cubicBezTo>
                    <a:pt x="87470" y="85008"/>
                    <a:pt x="84629" y="76397"/>
                    <a:pt x="81613" y="68055"/>
                  </a:cubicBezTo>
                  <a:cubicBezTo>
                    <a:pt x="73918" y="46663"/>
                    <a:pt x="64607" y="25890"/>
                    <a:pt x="53762" y="5909"/>
                  </a:cubicBezTo>
                  <a:lnTo>
                    <a:pt x="53762" y="5909"/>
                  </a:lnTo>
                  <a:cubicBezTo>
                    <a:pt x="47353" y="3883"/>
                    <a:pt x="40803" y="2336"/>
                    <a:pt x="34165" y="1276"/>
                  </a:cubicBezTo>
                  <a:cubicBezTo>
                    <a:pt x="23600" y="-390"/>
                    <a:pt x="12872" y="-774"/>
                    <a:pt x="2213" y="132"/>
                  </a:cubicBezTo>
                  <a:cubicBezTo>
                    <a:pt x="1401" y="6418"/>
                    <a:pt x="991" y="12750"/>
                    <a:pt x="989" y="19089"/>
                  </a:cubicBezTo>
                  <a:cubicBezTo>
                    <a:pt x="973" y="35779"/>
                    <a:pt x="3808" y="52348"/>
                    <a:pt x="9376" y="68081"/>
                  </a:cubicBezTo>
                  <a:cubicBezTo>
                    <a:pt x="10992" y="72627"/>
                    <a:pt x="12829" y="77063"/>
                    <a:pt x="14888" y="81395"/>
                  </a:cubicBezTo>
                  <a:cubicBezTo>
                    <a:pt x="19174" y="81128"/>
                    <a:pt x="23488" y="81048"/>
                    <a:pt x="27854" y="81182"/>
                  </a:cubicBezTo>
                  <a:cubicBezTo>
                    <a:pt x="46046" y="81775"/>
                    <a:pt x="63920" y="86078"/>
                    <a:pt x="80388" y="93829"/>
                  </a:cubicBezTo>
                  <a:cubicBezTo>
                    <a:pt x="84329" y="95605"/>
                    <a:pt x="88155" y="97645"/>
                    <a:pt x="91864" y="99953"/>
                  </a:cubicBezTo>
                  <a:cubicBezTo>
                    <a:pt x="91278" y="97903"/>
                    <a:pt x="90692" y="95853"/>
                    <a:pt x="90080" y="93829"/>
                  </a:cubicBezTo>
                </a:path>
              </a:pathLst>
            </a:custGeom>
            <a:solidFill>
              <a:srgbClr val="FAC200"/>
            </a:solidFill>
            <a:ln w="2661" cap="flat">
              <a:noFill/>
              <a:prstDash val="solid"/>
              <a:miter/>
            </a:ln>
          </p:spPr>
          <p:txBody>
            <a:bodyPr rtlCol="0" anchor="ctr"/>
            <a:lstStyle/>
            <a:p>
              <a:endParaRPr lang="pl-PL"/>
            </a:p>
          </p:txBody>
        </p:sp>
        <p:sp>
          <p:nvSpPr>
            <p:cNvPr id="100" name="Freeform: Shape 99">
              <a:extLst>
                <a:ext uri="{FF2B5EF4-FFF2-40B4-BE49-F238E27FC236}">
                  <a16:creationId xmlns:a16="http://schemas.microsoft.com/office/drawing/2014/main" id="{237EBA6C-E2BD-4D6B-9AB3-FE5A47ACDB2B}"/>
                </a:ext>
              </a:extLst>
            </p:cNvPr>
            <p:cNvSpPr/>
            <p:nvPr/>
          </p:nvSpPr>
          <p:spPr>
            <a:xfrm>
              <a:off x="11444530" y="6711466"/>
              <a:ext cx="36834" cy="78871"/>
            </a:xfrm>
            <a:custGeom>
              <a:avLst/>
              <a:gdLst>
                <a:gd name="connsiteX0" fmla="*/ 64785 w 65270"/>
                <a:gd name="connsiteY0" fmla="*/ 76205 h 139760"/>
                <a:gd name="connsiteX1" fmla="*/ 66249 w 65270"/>
                <a:gd name="connsiteY1" fmla="*/ 75246 h 139760"/>
                <a:gd name="connsiteX2" fmla="*/ 66249 w 65270"/>
                <a:gd name="connsiteY2" fmla="*/ 74048 h 139760"/>
                <a:gd name="connsiteX3" fmla="*/ 66249 w 65270"/>
                <a:gd name="connsiteY3" fmla="*/ 72291 h 139760"/>
                <a:gd name="connsiteX4" fmla="*/ 66249 w 65270"/>
                <a:gd name="connsiteY4" fmla="*/ 71332 h 139760"/>
                <a:gd name="connsiteX5" fmla="*/ 66249 w 65270"/>
                <a:gd name="connsiteY5" fmla="*/ 71199 h 139760"/>
                <a:gd name="connsiteX6" fmla="*/ 66249 w 65270"/>
                <a:gd name="connsiteY6" fmla="*/ 71199 h 139760"/>
                <a:gd name="connsiteX7" fmla="*/ 66249 w 65270"/>
                <a:gd name="connsiteY7" fmla="*/ 69734 h 139760"/>
                <a:gd name="connsiteX8" fmla="*/ 66249 w 65270"/>
                <a:gd name="connsiteY8" fmla="*/ 68563 h 139760"/>
                <a:gd name="connsiteX9" fmla="*/ 66249 w 65270"/>
                <a:gd name="connsiteY9" fmla="*/ 68563 h 139760"/>
                <a:gd name="connsiteX10" fmla="*/ 66249 w 65270"/>
                <a:gd name="connsiteY10" fmla="*/ 68243 h 139760"/>
                <a:gd name="connsiteX11" fmla="*/ 66249 w 65270"/>
                <a:gd name="connsiteY11" fmla="*/ 66699 h 139760"/>
                <a:gd name="connsiteX12" fmla="*/ 66249 w 65270"/>
                <a:gd name="connsiteY12" fmla="*/ 64942 h 139760"/>
                <a:gd name="connsiteX13" fmla="*/ 66249 w 65270"/>
                <a:gd name="connsiteY13" fmla="*/ 64755 h 139760"/>
                <a:gd name="connsiteX14" fmla="*/ 66249 w 65270"/>
                <a:gd name="connsiteY14" fmla="*/ 63211 h 139760"/>
                <a:gd name="connsiteX15" fmla="*/ 66249 w 65270"/>
                <a:gd name="connsiteY15" fmla="*/ 61294 h 139760"/>
                <a:gd name="connsiteX16" fmla="*/ 66249 w 65270"/>
                <a:gd name="connsiteY16" fmla="*/ 61054 h 139760"/>
                <a:gd name="connsiteX17" fmla="*/ 66249 w 65270"/>
                <a:gd name="connsiteY17" fmla="*/ 61054 h 139760"/>
                <a:gd name="connsiteX18" fmla="*/ 66249 w 65270"/>
                <a:gd name="connsiteY18" fmla="*/ 60575 h 139760"/>
                <a:gd name="connsiteX19" fmla="*/ 66116 w 65270"/>
                <a:gd name="connsiteY19" fmla="*/ 58338 h 139760"/>
                <a:gd name="connsiteX20" fmla="*/ 66116 w 65270"/>
                <a:gd name="connsiteY20" fmla="*/ 58179 h 139760"/>
                <a:gd name="connsiteX21" fmla="*/ 66116 w 65270"/>
                <a:gd name="connsiteY21" fmla="*/ 56661 h 139760"/>
                <a:gd name="connsiteX22" fmla="*/ 65797 w 65270"/>
                <a:gd name="connsiteY22" fmla="*/ 53333 h 139760"/>
                <a:gd name="connsiteX23" fmla="*/ 65797 w 65270"/>
                <a:gd name="connsiteY23" fmla="*/ 52827 h 139760"/>
                <a:gd name="connsiteX24" fmla="*/ 65797 w 65270"/>
                <a:gd name="connsiteY24" fmla="*/ 51868 h 139760"/>
                <a:gd name="connsiteX25" fmla="*/ 65797 w 65270"/>
                <a:gd name="connsiteY25" fmla="*/ 51442 h 139760"/>
                <a:gd name="connsiteX26" fmla="*/ 65424 w 65270"/>
                <a:gd name="connsiteY26" fmla="*/ 48380 h 139760"/>
                <a:gd name="connsiteX27" fmla="*/ 64971 w 65270"/>
                <a:gd name="connsiteY27" fmla="*/ 44546 h 139760"/>
                <a:gd name="connsiteX28" fmla="*/ 64705 w 65270"/>
                <a:gd name="connsiteY28" fmla="*/ 42762 h 139760"/>
                <a:gd name="connsiteX29" fmla="*/ 64705 w 65270"/>
                <a:gd name="connsiteY29" fmla="*/ 41830 h 139760"/>
                <a:gd name="connsiteX30" fmla="*/ 64386 w 65270"/>
                <a:gd name="connsiteY30" fmla="*/ 39753 h 139760"/>
                <a:gd name="connsiteX31" fmla="*/ 64386 w 65270"/>
                <a:gd name="connsiteY31" fmla="*/ 39753 h 139760"/>
                <a:gd name="connsiteX32" fmla="*/ 63906 w 65270"/>
                <a:gd name="connsiteY32" fmla="*/ 36878 h 139760"/>
                <a:gd name="connsiteX33" fmla="*/ 63906 w 65270"/>
                <a:gd name="connsiteY33" fmla="*/ 36665 h 139760"/>
                <a:gd name="connsiteX34" fmla="*/ 63640 w 65270"/>
                <a:gd name="connsiteY34" fmla="*/ 35094 h 139760"/>
                <a:gd name="connsiteX35" fmla="*/ 63640 w 65270"/>
                <a:gd name="connsiteY35" fmla="*/ 34641 h 139760"/>
                <a:gd name="connsiteX36" fmla="*/ 63640 w 65270"/>
                <a:gd name="connsiteY36" fmla="*/ 33816 h 139760"/>
                <a:gd name="connsiteX37" fmla="*/ 63294 w 65270"/>
                <a:gd name="connsiteY37" fmla="*/ 31979 h 139760"/>
                <a:gd name="connsiteX38" fmla="*/ 63294 w 65270"/>
                <a:gd name="connsiteY38" fmla="*/ 31845 h 139760"/>
                <a:gd name="connsiteX39" fmla="*/ 62815 w 65270"/>
                <a:gd name="connsiteY39" fmla="*/ 29183 h 139760"/>
                <a:gd name="connsiteX40" fmla="*/ 62362 w 65270"/>
                <a:gd name="connsiteY40" fmla="*/ 26973 h 139760"/>
                <a:gd name="connsiteX41" fmla="*/ 62362 w 65270"/>
                <a:gd name="connsiteY41" fmla="*/ 26520 h 139760"/>
                <a:gd name="connsiteX42" fmla="*/ 61377 w 65270"/>
                <a:gd name="connsiteY42" fmla="*/ 22100 h 139760"/>
                <a:gd name="connsiteX43" fmla="*/ 61377 w 65270"/>
                <a:gd name="connsiteY43" fmla="*/ 22100 h 139760"/>
                <a:gd name="connsiteX44" fmla="*/ 60951 w 65270"/>
                <a:gd name="connsiteY44" fmla="*/ 20316 h 139760"/>
                <a:gd name="connsiteX45" fmla="*/ 60951 w 65270"/>
                <a:gd name="connsiteY45" fmla="*/ 20130 h 139760"/>
                <a:gd name="connsiteX46" fmla="*/ 60205 w 65270"/>
                <a:gd name="connsiteY46" fmla="*/ 17015 h 139760"/>
                <a:gd name="connsiteX47" fmla="*/ 60205 w 65270"/>
                <a:gd name="connsiteY47" fmla="*/ 17015 h 139760"/>
                <a:gd name="connsiteX48" fmla="*/ 59753 w 65270"/>
                <a:gd name="connsiteY48" fmla="*/ 15177 h 139760"/>
                <a:gd name="connsiteX49" fmla="*/ 59753 w 65270"/>
                <a:gd name="connsiteY49" fmla="*/ 15177 h 139760"/>
                <a:gd name="connsiteX50" fmla="*/ 58847 w 65270"/>
                <a:gd name="connsiteY50" fmla="*/ 11769 h 139760"/>
                <a:gd name="connsiteX51" fmla="*/ 58421 w 65270"/>
                <a:gd name="connsiteY51" fmla="*/ 10172 h 139760"/>
                <a:gd name="connsiteX52" fmla="*/ 57010 w 65270"/>
                <a:gd name="connsiteY52" fmla="*/ 5326 h 139760"/>
                <a:gd name="connsiteX53" fmla="*/ 57010 w 65270"/>
                <a:gd name="connsiteY53" fmla="*/ 5166 h 139760"/>
                <a:gd name="connsiteX54" fmla="*/ 56691 w 65270"/>
                <a:gd name="connsiteY54" fmla="*/ 4208 h 139760"/>
                <a:gd name="connsiteX55" fmla="*/ 56691 w 65270"/>
                <a:gd name="connsiteY55" fmla="*/ 4074 h 139760"/>
                <a:gd name="connsiteX56" fmla="*/ 55546 w 65270"/>
                <a:gd name="connsiteY56" fmla="*/ 453 h 139760"/>
                <a:gd name="connsiteX57" fmla="*/ 55306 w 65270"/>
                <a:gd name="connsiteY57" fmla="*/ -346 h 139760"/>
                <a:gd name="connsiteX58" fmla="*/ 55306 w 65270"/>
                <a:gd name="connsiteY58" fmla="*/ -346 h 139760"/>
                <a:gd name="connsiteX59" fmla="*/ 32141 w 65270"/>
                <a:gd name="connsiteY59" fmla="*/ 19597 h 139760"/>
                <a:gd name="connsiteX60" fmla="*/ 11293 w 65270"/>
                <a:gd name="connsiteY60" fmla="*/ 48114 h 139760"/>
                <a:gd name="connsiteX61" fmla="*/ 2320 w 65270"/>
                <a:gd name="connsiteY61" fmla="*/ 73941 h 139760"/>
                <a:gd name="connsiteX62" fmla="*/ 989 w 65270"/>
                <a:gd name="connsiteY62" fmla="*/ 80065 h 139760"/>
                <a:gd name="connsiteX63" fmla="*/ 5355 w 65270"/>
                <a:gd name="connsiteY63" fmla="*/ 96467 h 139760"/>
                <a:gd name="connsiteX64" fmla="*/ 6447 w 65270"/>
                <a:gd name="connsiteY64" fmla="*/ 100940 h 139760"/>
                <a:gd name="connsiteX65" fmla="*/ 14142 w 65270"/>
                <a:gd name="connsiteY65" fmla="*/ 139415 h 139760"/>
                <a:gd name="connsiteX66" fmla="*/ 35443 w 65270"/>
                <a:gd name="connsiteY66" fmla="*/ 100940 h 139760"/>
                <a:gd name="connsiteX67" fmla="*/ 64732 w 65270"/>
                <a:gd name="connsiteY67" fmla="*/ 76098 h 13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5270" h="139760">
                  <a:moveTo>
                    <a:pt x="64785" y="76205"/>
                  </a:moveTo>
                  <a:lnTo>
                    <a:pt x="66249" y="75246"/>
                  </a:lnTo>
                  <a:cubicBezTo>
                    <a:pt x="66249" y="74847"/>
                    <a:pt x="66249" y="74447"/>
                    <a:pt x="66249" y="74048"/>
                  </a:cubicBezTo>
                  <a:cubicBezTo>
                    <a:pt x="66249" y="73648"/>
                    <a:pt x="66249" y="72876"/>
                    <a:pt x="66249" y="72291"/>
                  </a:cubicBezTo>
                  <a:cubicBezTo>
                    <a:pt x="66249" y="71705"/>
                    <a:pt x="66249" y="71652"/>
                    <a:pt x="66249" y="71332"/>
                  </a:cubicBezTo>
                  <a:lnTo>
                    <a:pt x="66249" y="71199"/>
                  </a:lnTo>
                  <a:lnTo>
                    <a:pt x="66249" y="71199"/>
                  </a:lnTo>
                  <a:cubicBezTo>
                    <a:pt x="66249" y="70720"/>
                    <a:pt x="66249" y="70214"/>
                    <a:pt x="66249" y="69734"/>
                  </a:cubicBezTo>
                  <a:cubicBezTo>
                    <a:pt x="66249" y="69255"/>
                    <a:pt x="66249" y="68962"/>
                    <a:pt x="66249" y="68563"/>
                  </a:cubicBezTo>
                  <a:lnTo>
                    <a:pt x="66249" y="68563"/>
                  </a:lnTo>
                  <a:cubicBezTo>
                    <a:pt x="66263" y="68456"/>
                    <a:pt x="66263" y="68350"/>
                    <a:pt x="66249" y="68243"/>
                  </a:cubicBezTo>
                  <a:cubicBezTo>
                    <a:pt x="66249" y="67737"/>
                    <a:pt x="66249" y="67232"/>
                    <a:pt x="66249" y="66699"/>
                  </a:cubicBezTo>
                  <a:lnTo>
                    <a:pt x="66249" y="64942"/>
                  </a:lnTo>
                  <a:lnTo>
                    <a:pt x="66249" y="64755"/>
                  </a:lnTo>
                  <a:cubicBezTo>
                    <a:pt x="66249" y="64249"/>
                    <a:pt x="66249" y="63744"/>
                    <a:pt x="66249" y="63211"/>
                  </a:cubicBezTo>
                  <a:cubicBezTo>
                    <a:pt x="66249" y="62679"/>
                    <a:pt x="66249" y="61933"/>
                    <a:pt x="66249" y="61294"/>
                  </a:cubicBezTo>
                  <a:lnTo>
                    <a:pt x="66249" y="61054"/>
                  </a:lnTo>
                  <a:lnTo>
                    <a:pt x="66249" y="61054"/>
                  </a:lnTo>
                  <a:lnTo>
                    <a:pt x="66249" y="60575"/>
                  </a:lnTo>
                  <a:cubicBezTo>
                    <a:pt x="66249" y="59830"/>
                    <a:pt x="66249" y="59084"/>
                    <a:pt x="66116" y="58338"/>
                  </a:cubicBezTo>
                  <a:lnTo>
                    <a:pt x="66116" y="58179"/>
                  </a:lnTo>
                  <a:cubicBezTo>
                    <a:pt x="66116" y="57673"/>
                    <a:pt x="66116" y="57167"/>
                    <a:pt x="66116" y="56661"/>
                  </a:cubicBezTo>
                  <a:cubicBezTo>
                    <a:pt x="66116" y="55543"/>
                    <a:pt x="65930" y="54451"/>
                    <a:pt x="65797" y="53333"/>
                  </a:cubicBezTo>
                  <a:cubicBezTo>
                    <a:pt x="65797" y="53146"/>
                    <a:pt x="65797" y="52987"/>
                    <a:pt x="65797" y="52827"/>
                  </a:cubicBezTo>
                  <a:cubicBezTo>
                    <a:pt x="65797" y="52667"/>
                    <a:pt x="65797" y="52188"/>
                    <a:pt x="65797" y="51868"/>
                  </a:cubicBezTo>
                  <a:lnTo>
                    <a:pt x="65797" y="51442"/>
                  </a:lnTo>
                  <a:cubicBezTo>
                    <a:pt x="65797" y="50430"/>
                    <a:pt x="65557" y="49392"/>
                    <a:pt x="65424" y="48380"/>
                  </a:cubicBezTo>
                  <a:cubicBezTo>
                    <a:pt x="65291" y="47368"/>
                    <a:pt x="65131" y="45718"/>
                    <a:pt x="64971" y="44546"/>
                  </a:cubicBezTo>
                  <a:cubicBezTo>
                    <a:pt x="64971" y="43960"/>
                    <a:pt x="64785" y="43348"/>
                    <a:pt x="64705" y="42762"/>
                  </a:cubicBezTo>
                  <a:cubicBezTo>
                    <a:pt x="64625" y="42176"/>
                    <a:pt x="64705" y="42150"/>
                    <a:pt x="64705" y="41830"/>
                  </a:cubicBezTo>
                  <a:lnTo>
                    <a:pt x="64386" y="39753"/>
                  </a:lnTo>
                  <a:lnTo>
                    <a:pt x="64386" y="39753"/>
                  </a:lnTo>
                  <a:lnTo>
                    <a:pt x="63906" y="36878"/>
                  </a:lnTo>
                  <a:lnTo>
                    <a:pt x="63906" y="36665"/>
                  </a:lnTo>
                  <a:cubicBezTo>
                    <a:pt x="63906" y="36132"/>
                    <a:pt x="63720" y="35600"/>
                    <a:pt x="63640" y="35094"/>
                  </a:cubicBezTo>
                  <a:lnTo>
                    <a:pt x="63640" y="34641"/>
                  </a:lnTo>
                  <a:cubicBezTo>
                    <a:pt x="63640" y="34348"/>
                    <a:pt x="63640" y="34082"/>
                    <a:pt x="63640" y="33816"/>
                  </a:cubicBezTo>
                  <a:cubicBezTo>
                    <a:pt x="63640" y="33550"/>
                    <a:pt x="63400" y="32591"/>
                    <a:pt x="63294" y="31979"/>
                  </a:cubicBezTo>
                  <a:lnTo>
                    <a:pt x="63294" y="31845"/>
                  </a:lnTo>
                  <a:lnTo>
                    <a:pt x="62815" y="29183"/>
                  </a:lnTo>
                  <a:cubicBezTo>
                    <a:pt x="62655" y="28437"/>
                    <a:pt x="62522" y="27718"/>
                    <a:pt x="62362" y="26973"/>
                  </a:cubicBezTo>
                  <a:lnTo>
                    <a:pt x="62362" y="26520"/>
                  </a:lnTo>
                  <a:cubicBezTo>
                    <a:pt x="62042" y="25056"/>
                    <a:pt x="61723" y="23565"/>
                    <a:pt x="61377" y="22100"/>
                  </a:cubicBezTo>
                  <a:lnTo>
                    <a:pt x="61377" y="22100"/>
                  </a:lnTo>
                  <a:cubicBezTo>
                    <a:pt x="61244" y="21515"/>
                    <a:pt x="61084" y="20902"/>
                    <a:pt x="60951" y="20316"/>
                  </a:cubicBezTo>
                  <a:lnTo>
                    <a:pt x="60951" y="20130"/>
                  </a:lnTo>
                  <a:cubicBezTo>
                    <a:pt x="60711" y="19092"/>
                    <a:pt x="60472" y="18053"/>
                    <a:pt x="60205" y="17015"/>
                  </a:cubicBezTo>
                  <a:lnTo>
                    <a:pt x="60205" y="17015"/>
                  </a:lnTo>
                  <a:cubicBezTo>
                    <a:pt x="60046" y="16402"/>
                    <a:pt x="59912" y="15790"/>
                    <a:pt x="59753" y="15177"/>
                  </a:cubicBezTo>
                  <a:lnTo>
                    <a:pt x="59753" y="15177"/>
                  </a:lnTo>
                  <a:cubicBezTo>
                    <a:pt x="59460" y="14033"/>
                    <a:pt x="59140" y="12914"/>
                    <a:pt x="58847" y="11769"/>
                  </a:cubicBezTo>
                  <a:cubicBezTo>
                    <a:pt x="58688" y="11237"/>
                    <a:pt x="58554" y="10704"/>
                    <a:pt x="58421" y="10172"/>
                  </a:cubicBezTo>
                  <a:cubicBezTo>
                    <a:pt x="57969" y="8548"/>
                    <a:pt x="57489" y="6950"/>
                    <a:pt x="57010" y="5326"/>
                  </a:cubicBezTo>
                  <a:lnTo>
                    <a:pt x="57010" y="5166"/>
                  </a:lnTo>
                  <a:lnTo>
                    <a:pt x="56691" y="4208"/>
                  </a:lnTo>
                  <a:lnTo>
                    <a:pt x="56691" y="4074"/>
                  </a:lnTo>
                  <a:cubicBezTo>
                    <a:pt x="56318" y="2876"/>
                    <a:pt x="55945" y="1651"/>
                    <a:pt x="55546" y="453"/>
                  </a:cubicBezTo>
                  <a:lnTo>
                    <a:pt x="55306" y="-346"/>
                  </a:lnTo>
                  <a:lnTo>
                    <a:pt x="55306" y="-346"/>
                  </a:lnTo>
                  <a:cubicBezTo>
                    <a:pt x="46772" y="5297"/>
                    <a:pt x="38990" y="11998"/>
                    <a:pt x="32141" y="19597"/>
                  </a:cubicBezTo>
                  <a:cubicBezTo>
                    <a:pt x="23791" y="27995"/>
                    <a:pt x="16762" y="37610"/>
                    <a:pt x="11293" y="48114"/>
                  </a:cubicBezTo>
                  <a:cubicBezTo>
                    <a:pt x="7430" y="56395"/>
                    <a:pt x="4423" y="65048"/>
                    <a:pt x="2320" y="73941"/>
                  </a:cubicBezTo>
                  <a:cubicBezTo>
                    <a:pt x="1814" y="76071"/>
                    <a:pt x="1362" y="78122"/>
                    <a:pt x="989" y="80065"/>
                  </a:cubicBezTo>
                  <a:cubicBezTo>
                    <a:pt x="2533" y="85391"/>
                    <a:pt x="3971" y="90876"/>
                    <a:pt x="5355" y="96467"/>
                  </a:cubicBezTo>
                  <a:cubicBezTo>
                    <a:pt x="5728" y="97932"/>
                    <a:pt x="6101" y="99449"/>
                    <a:pt x="6447" y="100940"/>
                  </a:cubicBezTo>
                  <a:cubicBezTo>
                    <a:pt x="9376" y="113215"/>
                    <a:pt x="11985" y="126022"/>
                    <a:pt x="14142" y="139415"/>
                  </a:cubicBezTo>
                  <a:cubicBezTo>
                    <a:pt x="18559" y="125279"/>
                    <a:pt x="25807" y="112187"/>
                    <a:pt x="35443" y="100940"/>
                  </a:cubicBezTo>
                  <a:cubicBezTo>
                    <a:pt x="44062" y="91398"/>
                    <a:pt x="53911" y="83045"/>
                    <a:pt x="64732" y="76098"/>
                  </a:cubicBezTo>
                </a:path>
              </a:pathLst>
            </a:custGeom>
            <a:solidFill>
              <a:srgbClr val="FAC200"/>
            </a:solidFill>
            <a:ln w="2661" cap="flat">
              <a:noFill/>
              <a:prstDash val="solid"/>
              <a:miter/>
            </a:ln>
          </p:spPr>
          <p:txBody>
            <a:bodyPr rtlCol="0" anchor="ctr"/>
            <a:lstStyle/>
            <a:p>
              <a:endParaRPr lang="pl-PL"/>
            </a:p>
          </p:txBody>
        </p:sp>
        <p:sp>
          <p:nvSpPr>
            <p:cNvPr id="101" name="Freeform: Shape 100">
              <a:extLst>
                <a:ext uri="{FF2B5EF4-FFF2-40B4-BE49-F238E27FC236}">
                  <a16:creationId xmlns:a16="http://schemas.microsoft.com/office/drawing/2014/main" id="{3D57BAE8-BECA-45AA-8CA4-FC08FC334398}"/>
                </a:ext>
              </a:extLst>
            </p:cNvPr>
            <p:cNvSpPr/>
            <p:nvPr/>
          </p:nvSpPr>
          <p:spPr>
            <a:xfrm>
              <a:off x="11422998" y="6669063"/>
              <a:ext cx="51268" cy="87781"/>
            </a:xfrm>
            <a:custGeom>
              <a:avLst/>
              <a:gdLst>
                <a:gd name="connsiteX0" fmla="*/ 91837 w 90848"/>
                <a:gd name="connsiteY0" fmla="*/ 74447 h 155549"/>
                <a:gd name="connsiteX1" fmla="*/ 91438 w 90848"/>
                <a:gd name="connsiteY1" fmla="*/ 73276 h 155549"/>
                <a:gd name="connsiteX2" fmla="*/ 90532 w 90848"/>
                <a:gd name="connsiteY2" fmla="*/ 70613 h 155549"/>
                <a:gd name="connsiteX3" fmla="*/ 89787 w 90848"/>
                <a:gd name="connsiteY3" fmla="*/ 68430 h 155549"/>
                <a:gd name="connsiteX4" fmla="*/ 88908 w 90848"/>
                <a:gd name="connsiteY4" fmla="*/ 66060 h 155549"/>
                <a:gd name="connsiteX5" fmla="*/ 88056 w 90848"/>
                <a:gd name="connsiteY5" fmla="*/ 63770 h 155549"/>
                <a:gd name="connsiteX6" fmla="*/ 87737 w 90848"/>
                <a:gd name="connsiteY6" fmla="*/ 62892 h 155549"/>
                <a:gd name="connsiteX7" fmla="*/ 85341 w 90848"/>
                <a:gd name="connsiteY7" fmla="*/ 56874 h 155549"/>
                <a:gd name="connsiteX8" fmla="*/ 84701 w 90848"/>
                <a:gd name="connsiteY8" fmla="*/ 55356 h 155549"/>
                <a:gd name="connsiteX9" fmla="*/ 83477 w 90848"/>
                <a:gd name="connsiteY9" fmla="*/ 52481 h 155549"/>
                <a:gd name="connsiteX10" fmla="*/ 61217 w 90848"/>
                <a:gd name="connsiteY10" fmla="*/ 11956 h 155549"/>
                <a:gd name="connsiteX11" fmla="*/ 52351 w 90848"/>
                <a:gd name="connsiteY11" fmla="*/ -346 h 155549"/>
                <a:gd name="connsiteX12" fmla="*/ 45108 w 90848"/>
                <a:gd name="connsiteY12" fmla="*/ 4660 h 155549"/>
                <a:gd name="connsiteX13" fmla="*/ 44230 w 90848"/>
                <a:gd name="connsiteY13" fmla="*/ 5299 h 155549"/>
                <a:gd name="connsiteX14" fmla="*/ 989 w 90848"/>
                <a:gd name="connsiteY14" fmla="*/ 61214 h 155549"/>
                <a:gd name="connsiteX15" fmla="*/ 989 w 90848"/>
                <a:gd name="connsiteY15" fmla="*/ 61214 h 155549"/>
                <a:gd name="connsiteX16" fmla="*/ 28840 w 90848"/>
                <a:gd name="connsiteY16" fmla="*/ 123253 h 155549"/>
                <a:gd name="connsiteX17" fmla="*/ 37360 w 90848"/>
                <a:gd name="connsiteY17" fmla="*/ 149080 h 155549"/>
                <a:gd name="connsiteX18" fmla="*/ 39144 w 90848"/>
                <a:gd name="connsiteY18" fmla="*/ 155204 h 155549"/>
                <a:gd name="connsiteX19" fmla="*/ 40475 w 90848"/>
                <a:gd name="connsiteY19" fmla="*/ 149080 h 155549"/>
                <a:gd name="connsiteX20" fmla="*/ 49448 w 90848"/>
                <a:gd name="connsiteY20" fmla="*/ 123253 h 155549"/>
                <a:gd name="connsiteX21" fmla="*/ 68646 w 90848"/>
                <a:gd name="connsiteY21" fmla="*/ 94284 h 155549"/>
                <a:gd name="connsiteX22" fmla="*/ 91811 w 90848"/>
                <a:gd name="connsiteY22" fmla="*/ 74341 h 155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0848" h="155549">
                  <a:moveTo>
                    <a:pt x="91837" y="74447"/>
                  </a:moveTo>
                  <a:lnTo>
                    <a:pt x="91438" y="73276"/>
                  </a:lnTo>
                  <a:cubicBezTo>
                    <a:pt x="91145" y="72397"/>
                    <a:pt x="90852" y="71518"/>
                    <a:pt x="90532" y="70613"/>
                  </a:cubicBezTo>
                  <a:lnTo>
                    <a:pt x="89787" y="68430"/>
                  </a:lnTo>
                  <a:lnTo>
                    <a:pt x="88908" y="66060"/>
                  </a:lnTo>
                  <a:cubicBezTo>
                    <a:pt x="88642" y="65288"/>
                    <a:pt x="88349" y="64516"/>
                    <a:pt x="88056" y="63770"/>
                  </a:cubicBezTo>
                  <a:lnTo>
                    <a:pt x="87737" y="62892"/>
                  </a:lnTo>
                  <a:cubicBezTo>
                    <a:pt x="86965" y="60868"/>
                    <a:pt x="86166" y="58871"/>
                    <a:pt x="85341" y="56874"/>
                  </a:cubicBezTo>
                  <a:lnTo>
                    <a:pt x="84701" y="55356"/>
                  </a:lnTo>
                  <a:cubicBezTo>
                    <a:pt x="84302" y="54398"/>
                    <a:pt x="83903" y="53439"/>
                    <a:pt x="83477" y="52481"/>
                  </a:cubicBezTo>
                  <a:cubicBezTo>
                    <a:pt x="77315" y="38318"/>
                    <a:pt x="69863" y="24752"/>
                    <a:pt x="61217" y="11956"/>
                  </a:cubicBezTo>
                  <a:cubicBezTo>
                    <a:pt x="58395" y="7775"/>
                    <a:pt x="55413" y="3675"/>
                    <a:pt x="52351" y="-346"/>
                  </a:cubicBezTo>
                  <a:cubicBezTo>
                    <a:pt x="49874" y="1252"/>
                    <a:pt x="47478" y="2929"/>
                    <a:pt x="45108" y="4660"/>
                  </a:cubicBezTo>
                  <a:lnTo>
                    <a:pt x="44230" y="5299"/>
                  </a:lnTo>
                  <a:cubicBezTo>
                    <a:pt x="25083" y="19741"/>
                    <a:pt x="10151" y="39048"/>
                    <a:pt x="989" y="61214"/>
                  </a:cubicBezTo>
                  <a:lnTo>
                    <a:pt x="989" y="61214"/>
                  </a:lnTo>
                  <a:cubicBezTo>
                    <a:pt x="11823" y="81162"/>
                    <a:pt x="21134" y="101901"/>
                    <a:pt x="28840" y="123253"/>
                  </a:cubicBezTo>
                  <a:cubicBezTo>
                    <a:pt x="31822" y="131534"/>
                    <a:pt x="34698" y="140134"/>
                    <a:pt x="37360" y="149080"/>
                  </a:cubicBezTo>
                  <a:cubicBezTo>
                    <a:pt x="37972" y="151104"/>
                    <a:pt x="38558" y="153154"/>
                    <a:pt x="39144" y="155204"/>
                  </a:cubicBezTo>
                  <a:cubicBezTo>
                    <a:pt x="39517" y="153261"/>
                    <a:pt x="39969" y="151210"/>
                    <a:pt x="40475" y="149080"/>
                  </a:cubicBezTo>
                  <a:cubicBezTo>
                    <a:pt x="42579" y="140187"/>
                    <a:pt x="45585" y="131534"/>
                    <a:pt x="49448" y="123253"/>
                  </a:cubicBezTo>
                  <a:cubicBezTo>
                    <a:pt x="54372" y="112696"/>
                    <a:pt x="60842" y="102932"/>
                    <a:pt x="68646" y="94284"/>
                  </a:cubicBezTo>
                  <a:cubicBezTo>
                    <a:pt x="75494" y="86685"/>
                    <a:pt x="83277" y="79983"/>
                    <a:pt x="91811" y="74341"/>
                  </a:cubicBezTo>
                  <a:close/>
                </a:path>
              </a:pathLst>
            </a:custGeom>
            <a:solidFill>
              <a:srgbClr val="E09C00"/>
            </a:solidFill>
            <a:ln w="2661" cap="flat">
              <a:noFill/>
              <a:prstDash val="solid"/>
              <a:miter/>
            </a:ln>
          </p:spPr>
          <p:txBody>
            <a:bodyPr rtlCol="0" anchor="ctr"/>
            <a:lstStyle/>
            <a:p>
              <a:endParaRPr lang="pl-PL"/>
            </a:p>
          </p:txBody>
        </p:sp>
        <p:sp>
          <p:nvSpPr>
            <p:cNvPr id="102" name="Freeform: Shape 101">
              <a:extLst>
                <a:ext uri="{FF2B5EF4-FFF2-40B4-BE49-F238E27FC236}">
                  <a16:creationId xmlns:a16="http://schemas.microsoft.com/office/drawing/2014/main" id="{F750946A-CE1A-4520-B00D-CCAC7B5FFCDA}"/>
                </a:ext>
              </a:extLst>
            </p:cNvPr>
            <p:cNvSpPr/>
            <p:nvPr/>
          </p:nvSpPr>
          <p:spPr>
            <a:xfrm>
              <a:off x="11393940" y="6672699"/>
              <a:ext cx="29090" cy="31088"/>
            </a:xfrm>
            <a:custGeom>
              <a:avLst/>
              <a:gdLst>
                <a:gd name="connsiteX0" fmla="*/ 17790 w 51548"/>
                <a:gd name="connsiteY0" fmla="*/ 1145 h 55089"/>
                <a:gd name="connsiteX1" fmla="*/ 16618 w 51548"/>
                <a:gd name="connsiteY1" fmla="*/ -346 h 55089"/>
                <a:gd name="connsiteX2" fmla="*/ 16272 w 51548"/>
                <a:gd name="connsiteY2" fmla="*/ 293 h 55089"/>
                <a:gd name="connsiteX3" fmla="*/ 989 w 51548"/>
                <a:gd name="connsiteY3" fmla="*/ 48939 h 55089"/>
                <a:gd name="connsiteX4" fmla="*/ 32940 w 51548"/>
                <a:gd name="connsiteY4" fmla="*/ 50111 h 55089"/>
                <a:gd name="connsiteX5" fmla="*/ 52537 w 51548"/>
                <a:gd name="connsiteY5" fmla="*/ 54744 h 55089"/>
                <a:gd name="connsiteX6" fmla="*/ 17923 w 51548"/>
                <a:gd name="connsiteY6" fmla="*/ 1145 h 55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48" h="55089">
                  <a:moveTo>
                    <a:pt x="17790" y="1145"/>
                  </a:moveTo>
                  <a:cubicBezTo>
                    <a:pt x="17390" y="640"/>
                    <a:pt x="17018" y="134"/>
                    <a:pt x="16618" y="-346"/>
                  </a:cubicBezTo>
                  <a:cubicBezTo>
                    <a:pt x="16618" y="-133"/>
                    <a:pt x="16405" y="80"/>
                    <a:pt x="16272" y="293"/>
                  </a:cubicBezTo>
                  <a:cubicBezTo>
                    <a:pt x="8353" y="15484"/>
                    <a:pt x="3180" y="31952"/>
                    <a:pt x="989" y="48939"/>
                  </a:cubicBezTo>
                  <a:cubicBezTo>
                    <a:pt x="11647" y="48055"/>
                    <a:pt x="22375" y="48449"/>
                    <a:pt x="32940" y="50111"/>
                  </a:cubicBezTo>
                  <a:cubicBezTo>
                    <a:pt x="39578" y="51171"/>
                    <a:pt x="46128" y="52718"/>
                    <a:pt x="52537" y="54744"/>
                  </a:cubicBezTo>
                  <a:cubicBezTo>
                    <a:pt x="42395" y="36015"/>
                    <a:pt x="30823" y="18096"/>
                    <a:pt x="17923" y="1145"/>
                  </a:cubicBezTo>
                </a:path>
              </a:pathLst>
            </a:custGeom>
            <a:solidFill>
              <a:srgbClr val="E09C00"/>
            </a:solidFill>
            <a:ln w="2661" cap="flat">
              <a:noFill/>
              <a:prstDash val="solid"/>
              <a:miter/>
            </a:ln>
          </p:spPr>
          <p:txBody>
            <a:bodyPr rtlCol="0" anchor="ctr"/>
            <a:lstStyle/>
            <a:p>
              <a:endParaRPr lang="pl-PL"/>
            </a:p>
          </p:txBody>
        </p:sp>
        <p:sp>
          <p:nvSpPr>
            <p:cNvPr id="103" name="Freeform: Shape 102">
              <a:extLst>
                <a:ext uri="{FF2B5EF4-FFF2-40B4-BE49-F238E27FC236}">
                  <a16:creationId xmlns:a16="http://schemas.microsoft.com/office/drawing/2014/main" id="{518BD4F5-48E2-4B2D-9C94-279E9B4072E4}"/>
                </a:ext>
              </a:extLst>
            </p:cNvPr>
            <p:cNvSpPr/>
            <p:nvPr/>
          </p:nvSpPr>
          <p:spPr>
            <a:xfrm>
              <a:off x="11401092" y="6746296"/>
              <a:ext cx="50862" cy="44116"/>
            </a:xfrm>
            <a:custGeom>
              <a:avLst/>
              <a:gdLst>
                <a:gd name="connsiteX0" fmla="*/ 83423 w 90129"/>
                <a:gd name="connsiteY0" fmla="*/ 39327 h 78174"/>
                <a:gd name="connsiteX1" fmla="*/ 82332 w 90129"/>
                <a:gd name="connsiteY1" fmla="*/ 34854 h 78174"/>
                <a:gd name="connsiteX2" fmla="*/ 77965 w 90129"/>
                <a:gd name="connsiteY2" fmla="*/ 18453 h 78174"/>
                <a:gd name="connsiteX3" fmla="*/ 66489 w 90129"/>
                <a:gd name="connsiteY3" fmla="*/ 12328 h 78174"/>
                <a:gd name="connsiteX4" fmla="*/ 13956 w 90129"/>
                <a:gd name="connsiteY4" fmla="*/ -292 h 78174"/>
                <a:gd name="connsiteX5" fmla="*/ 989 w 90129"/>
                <a:gd name="connsiteY5" fmla="*/ -79 h 78174"/>
                <a:gd name="connsiteX6" fmla="*/ 7619 w 90129"/>
                <a:gd name="connsiteY6" fmla="*/ 12355 h 78174"/>
                <a:gd name="connsiteX7" fmla="*/ 28227 w 90129"/>
                <a:gd name="connsiteY7" fmla="*/ 39354 h 78174"/>
                <a:gd name="connsiteX8" fmla="*/ 91118 w 90129"/>
                <a:gd name="connsiteY8" fmla="*/ 77829 h 78174"/>
                <a:gd name="connsiteX9" fmla="*/ 83423 w 90129"/>
                <a:gd name="connsiteY9" fmla="*/ 39354 h 78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129" h="78174">
                  <a:moveTo>
                    <a:pt x="83423" y="39327"/>
                  </a:moveTo>
                  <a:cubicBezTo>
                    <a:pt x="83077" y="37836"/>
                    <a:pt x="82704" y="36319"/>
                    <a:pt x="82332" y="34854"/>
                  </a:cubicBezTo>
                  <a:cubicBezTo>
                    <a:pt x="80947" y="29263"/>
                    <a:pt x="79509" y="23804"/>
                    <a:pt x="77965" y="18453"/>
                  </a:cubicBezTo>
                  <a:cubicBezTo>
                    <a:pt x="74272" y="16235"/>
                    <a:pt x="70448" y="14192"/>
                    <a:pt x="66489" y="12328"/>
                  </a:cubicBezTo>
                  <a:cubicBezTo>
                    <a:pt x="50021" y="4588"/>
                    <a:pt x="32144" y="293"/>
                    <a:pt x="13956" y="-292"/>
                  </a:cubicBezTo>
                  <a:cubicBezTo>
                    <a:pt x="9589" y="-425"/>
                    <a:pt x="5275" y="-292"/>
                    <a:pt x="989" y="-79"/>
                  </a:cubicBezTo>
                  <a:cubicBezTo>
                    <a:pt x="3012" y="4181"/>
                    <a:pt x="5222" y="8327"/>
                    <a:pt x="7619" y="12355"/>
                  </a:cubicBezTo>
                  <a:cubicBezTo>
                    <a:pt x="13418" y="22122"/>
                    <a:pt x="20335" y="31182"/>
                    <a:pt x="28227" y="39354"/>
                  </a:cubicBezTo>
                  <a:cubicBezTo>
                    <a:pt x="45566" y="57332"/>
                    <a:pt x="67216" y="70576"/>
                    <a:pt x="91118" y="77829"/>
                  </a:cubicBezTo>
                  <a:cubicBezTo>
                    <a:pt x="88961" y="64516"/>
                    <a:pt x="86352" y="51629"/>
                    <a:pt x="83423" y="39354"/>
                  </a:cubicBezTo>
                </a:path>
              </a:pathLst>
            </a:custGeom>
            <a:solidFill>
              <a:srgbClr val="E09C00"/>
            </a:solidFill>
            <a:ln w="2661" cap="flat">
              <a:noFill/>
              <a:prstDash val="solid"/>
              <a:miter/>
            </a:ln>
          </p:spPr>
          <p:txBody>
            <a:bodyPr rtlCol="0" anchor="ctr"/>
            <a:lstStyle/>
            <a:p>
              <a:endParaRPr lang="pl-PL"/>
            </a:p>
          </p:txBody>
        </p:sp>
        <p:sp>
          <p:nvSpPr>
            <p:cNvPr id="104" name="Freeform: Shape 103">
              <a:extLst>
                <a:ext uri="{FF2B5EF4-FFF2-40B4-BE49-F238E27FC236}">
                  <a16:creationId xmlns:a16="http://schemas.microsoft.com/office/drawing/2014/main" id="{B707EB44-ECA8-4844-9D78-AD546A0BC3EA}"/>
                </a:ext>
              </a:extLst>
            </p:cNvPr>
            <p:cNvSpPr/>
            <p:nvPr/>
          </p:nvSpPr>
          <p:spPr>
            <a:xfrm>
              <a:off x="11451983" y="6691629"/>
              <a:ext cx="106699" cy="102254"/>
            </a:xfrm>
            <a:custGeom>
              <a:avLst/>
              <a:gdLst>
                <a:gd name="connsiteX0" fmla="*/ 189954 w 189072"/>
                <a:gd name="connsiteY0" fmla="*/ 30014 h 181196"/>
                <a:gd name="connsiteX1" fmla="*/ 188463 w 189072"/>
                <a:gd name="connsiteY1" fmla="*/ 13159 h 181196"/>
                <a:gd name="connsiteX2" fmla="*/ 180928 w 189072"/>
                <a:gd name="connsiteY2" fmla="*/ 13639 h 181196"/>
                <a:gd name="connsiteX3" fmla="*/ 171449 w 189072"/>
                <a:gd name="connsiteY3" fmla="*/ 21467 h 181196"/>
                <a:gd name="connsiteX4" fmla="*/ 171449 w 189072"/>
                <a:gd name="connsiteY4" fmla="*/ 21467 h 181196"/>
                <a:gd name="connsiteX5" fmla="*/ 171449 w 189072"/>
                <a:gd name="connsiteY5" fmla="*/ 21467 h 181196"/>
                <a:gd name="connsiteX6" fmla="*/ 169080 w 189072"/>
                <a:gd name="connsiteY6" fmla="*/ 52513 h 181196"/>
                <a:gd name="connsiteX7" fmla="*/ 162370 w 189072"/>
                <a:gd name="connsiteY7" fmla="*/ 81988 h 181196"/>
                <a:gd name="connsiteX8" fmla="*/ 161944 w 189072"/>
                <a:gd name="connsiteY8" fmla="*/ 83373 h 181196"/>
                <a:gd name="connsiteX9" fmla="*/ 151773 w 189072"/>
                <a:gd name="connsiteY9" fmla="*/ 109200 h 181196"/>
                <a:gd name="connsiteX10" fmla="*/ 145169 w 189072"/>
                <a:gd name="connsiteY10" fmla="*/ 120649 h 181196"/>
                <a:gd name="connsiteX11" fmla="*/ 143785 w 189072"/>
                <a:gd name="connsiteY11" fmla="*/ 121395 h 181196"/>
                <a:gd name="connsiteX12" fmla="*/ 142853 w 189072"/>
                <a:gd name="connsiteY12" fmla="*/ 121102 h 181196"/>
                <a:gd name="connsiteX13" fmla="*/ 142400 w 189072"/>
                <a:gd name="connsiteY13" fmla="*/ 118785 h 181196"/>
                <a:gd name="connsiteX14" fmla="*/ 147992 w 189072"/>
                <a:gd name="connsiteY14" fmla="*/ 109200 h 181196"/>
                <a:gd name="connsiteX15" fmla="*/ 158323 w 189072"/>
                <a:gd name="connsiteY15" fmla="*/ 83373 h 181196"/>
                <a:gd name="connsiteX16" fmla="*/ 159042 w 189072"/>
                <a:gd name="connsiteY16" fmla="*/ 81030 h 181196"/>
                <a:gd name="connsiteX17" fmla="*/ 165725 w 189072"/>
                <a:gd name="connsiteY17" fmla="*/ 51315 h 181196"/>
                <a:gd name="connsiteX18" fmla="*/ 168121 w 189072"/>
                <a:gd name="connsiteY18" fmla="*/ 20215 h 181196"/>
                <a:gd name="connsiteX19" fmla="*/ 166763 w 189072"/>
                <a:gd name="connsiteY19" fmla="*/ -340 h 181196"/>
                <a:gd name="connsiteX20" fmla="*/ 166763 w 189072"/>
                <a:gd name="connsiteY20" fmla="*/ -340 h 181196"/>
                <a:gd name="connsiteX21" fmla="*/ 166763 w 189072"/>
                <a:gd name="connsiteY21" fmla="*/ -340 h 181196"/>
                <a:gd name="connsiteX22" fmla="*/ 154062 w 189072"/>
                <a:gd name="connsiteY22" fmla="*/ 2589 h 181196"/>
                <a:gd name="connsiteX23" fmla="*/ 146847 w 189072"/>
                <a:gd name="connsiteY23" fmla="*/ 14544 h 181196"/>
                <a:gd name="connsiteX24" fmla="*/ 146847 w 189072"/>
                <a:gd name="connsiteY24" fmla="*/ 14544 h 181196"/>
                <a:gd name="connsiteX25" fmla="*/ 144371 w 189072"/>
                <a:gd name="connsiteY25" fmla="*/ 46016 h 181196"/>
                <a:gd name="connsiteX26" fmla="*/ 137181 w 189072"/>
                <a:gd name="connsiteY26" fmla="*/ 76636 h 181196"/>
                <a:gd name="connsiteX27" fmla="*/ 134972 w 189072"/>
                <a:gd name="connsiteY27" fmla="*/ 83293 h 181196"/>
                <a:gd name="connsiteX28" fmla="*/ 123070 w 189072"/>
                <a:gd name="connsiteY28" fmla="*/ 109120 h 181196"/>
                <a:gd name="connsiteX29" fmla="*/ 120167 w 189072"/>
                <a:gd name="connsiteY29" fmla="*/ 113700 h 181196"/>
                <a:gd name="connsiteX30" fmla="*/ 118783 w 189072"/>
                <a:gd name="connsiteY30" fmla="*/ 114445 h 181196"/>
                <a:gd name="connsiteX31" fmla="*/ 117851 w 189072"/>
                <a:gd name="connsiteY31" fmla="*/ 114152 h 181196"/>
                <a:gd name="connsiteX32" fmla="*/ 117409 w 189072"/>
                <a:gd name="connsiteY32" fmla="*/ 111860 h 181196"/>
                <a:gd name="connsiteX33" fmla="*/ 117425 w 189072"/>
                <a:gd name="connsiteY33" fmla="*/ 111836 h 181196"/>
                <a:gd name="connsiteX34" fmla="*/ 119156 w 189072"/>
                <a:gd name="connsiteY34" fmla="*/ 109173 h 181196"/>
                <a:gd name="connsiteX35" fmla="*/ 131430 w 189072"/>
                <a:gd name="connsiteY35" fmla="*/ 83346 h 181196"/>
                <a:gd name="connsiteX36" fmla="*/ 133827 w 189072"/>
                <a:gd name="connsiteY36" fmla="*/ 76343 h 181196"/>
                <a:gd name="connsiteX37" fmla="*/ 141069 w 189072"/>
                <a:gd name="connsiteY37" fmla="*/ 45590 h 181196"/>
                <a:gd name="connsiteX38" fmla="*/ 143465 w 189072"/>
                <a:gd name="connsiteY38" fmla="*/ 14038 h 181196"/>
                <a:gd name="connsiteX39" fmla="*/ 143465 w 189072"/>
                <a:gd name="connsiteY39" fmla="*/ 13798 h 181196"/>
                <a:gd name="connsiteX40" fmla="*/ 143465 w 189072"/>
                <a:gd name="connsiteY40" fmla="*/ 13798 h 181196"/>
                <a:gd name="connsiteX41" fmla="*/ 140403 w 189072"/>
                <a:gd name="connsiteY41" fmla="*/ 13585 h 181196"/>
                <a:gd name="connsiteX42" fmla="*/ 128208 w 189072"/>
                <a:gd name="connsiteY42" fmla="*/ 18911 h 181196"/>
                <a:gd name="connsiteX43" fmla="*/ 121978 w 189072"/>
                <a:gd name="connsiteY43" fmla="*/ 36670 h 181196"/>
                <a:gd name="connsiteX44" fmla="*/ 121073 w 189072"/>
                <a:gd name="connsiteY44" fmla="*/ 41809 h 181196"/>
                <a:gd name="connsiteX45" fmla="*/ 120673 w 189072"/>
                <a:gd name="connsiteY45" fmla="*/ 43993 h 181196"/>
                <a:gd name="connsiteX46" fmla="*/ 110901 w 189072"/>
                <a:gd name="connsiteY46" fmla="*/ 75944 h 181196"/>
                <a:gd name="connsiteX47" fmla="*/ 107546 w 189072"/>
                <a:gd name="connsiteY47" fmla="*/ 83453 h 181196"/>
                <a:gd name="connsiteX48" fmla="*/ 93807 w 189072"/>
                <a:gd name="connsiteY48" fmla="*/ 106218 h 181196"/>
                <a:gd name="connsiteX49" fmla="*/ 92476 w 189072"/>
                <a:gd name="connsiteY49" fmla="*/ 106883 h 181196"/>
                <a:gd name="connsiteX50" fmla="*/ 91464 w 189072"/>
                <a:gd name="connsiteY50" fmla="*/ 106564 h 181196"/>
                <a:gd name="connsiteX51" fmla="*/ 91118 w 189072"/>
                <a:gd name="connsiteY51" fmla="*/ 104221 h 181196"/>
                <a:gd name="connsiteX52" fmla="*/ 103792 w 189072"/>
                <a:gd name="connsiteY52" fmla="*/ 83266 h 181196"/>
                <a:gd name="connsiteX53" fmla="*/ 107147 w 189072"/>
                <a:gd name="connsiteY53" fmla="*/ 76024 h 181196"/>
                <a:gd name="connsiteX54" fmla="*/ 117105 w 189072"/>
                <a:gd name="connsiteY54" fmla="*/ 44019 h 181196"/>
                <a:gd name="connsiteX55" fmla="*/ 117691 w 189072"/>
                <a:gd name="connsiteY55" fmla="*/ 41064 h 181196"/>
                <a:gd name="connsiteX56" fmla="*/ 105470 w 189072"/>
                <a:gd name="connsiteY56" fmla="*/ 42235 h 181196"/>
                <a:gd name="connsiteX57" fmla="*/ 101502 w 189072"/>
                <a:gd name="connsiteY57" fmla="*/ 44898 h 181196"/>
                <a:gd name="connsiteX58" fmla="*/ 97881 w 189072"/>
                <a:gd name="connsiteY58" fmla="*/ 50835 h 181196"/>
                <a:gd name="connsiteX59" fmla="*/ 97509 w 189072"/>
                <a:gd name="connsiteY59" fmla="*/ 51980 h 181196"/>
                <a:gd name="connsiteX60" fmla="*/ 91491 w 189072"/>
                <a:gd name="connsiteY60" fmla="*/ 66412 h 181196"/>
                <a:gd name="connsiteX61" fmla="*/ 83716 w 189072"/>
                <a:gd name="connsiteY61" fmla="*/ 79725 h 181196"/>
                <a:gd name="connsiteX62" fmla="*/ 81266 w 189072"/>
                <a:gd name="connsiteY62" fmla="*/ 83293 h 181196"/>
                <a:gd name="connsiteX63" fmla="*/ 79909 w 189072"/>
                <a:gd name="connsiteY63" fmla="*/ 85130 h 181196"/>
                <a:gd name="connsiteX64" fmla="*/ 64093 w 189072"/>
                <a:gd name="connsiteY64" fmla="*/ 102091 h 181196"/>
                <a:gd name="connsiteX65" fmla="*/ 54774 w 189072"/>
                <a:gd name="connsiteY65" fmla="*/ 109120 h 181196"/>
                <a:gd name="connsiteX66" fmla="*/ 53043 w 189072"/>
                <a:gd name="connsiteY66" fmla="*/ 110292 h 181196"/>
                <a:gd name="connsiteX67" fmla="*/ 53043 w 189072"/>
                <a:gd name="connsiteY67" fmla="*/ 110292 h 181196"/>
                <a:gd name="connsiteX68" fmla="*/ 51578 w 189072"/>
                <a:gd name="connsiteY68" fmla="*/ 111250 h 181196"/>
                <a:gd name="connsiteX69" fmla="*/ 22290 w 189072"/>
                <a:gd name="connsiteY69" fmla="*/ 136092 h 181196"/>
                <a:gd name="connsiteX70" fmla="*/ 989 w 189072"/>
                <a:gd name="connsiteY70" fmla="*/ 174567 h 181196"/>
                <a:gd name="connsiteX71" fmla="*/ 1468 w 189072"/>
                <a:gd name="connsiteY71" fmla="*/ 174700 h 181196"/>
                <a:gd name="connsiteX72" fmla="*/ 21065 w 189072"/>
                <a:gd name="connsiteY72" fmla="*/ 179120 h 181196"/>
                <a:gd name="connsiteX73" fmla="*/ 43511 w 189072"/>
                <a:gd name="connsiteY73" fmla="*/ 180851 h 181196"/>
                <a:gd name="connsiteX74" fmla="*/ 43910 w 189072"/>
                <a:gd name="connsiteY74" fmla="*/ 180851 h 181196"/>
                <a:gd name="connsiteX75" fmla="*/ 148924 w 189072"/>
                <a:gd name="connsiteY75" fmla="*/ 136119 h 181196"/>
                <a:gd name="connsiteX76" fmla="*/ 169559 w 189072"/>
                <a:gd name="connsiteY76" fmla="*/ 109120 h 181196"/>
                <a:gd name="connsiteX77" fmla="*/ 179783 w 189072"/>
                <a:gd name="connsiteY77" fmla="*/ 88325 h 181196"/>
                <a:gd name="connsiteX78" fmla="*/ 181674 w 189072"/>
                <a:gd name="connsiteY78" fmla="*/ 83293 h 181196"/>
                <a:gd name="connsiteX79" fmla="*/ 187718 w 189072"/>
                <a:gd name="connsiteY79" fmla="*/ 60527 h 181196"/>
                <a:gd name="connsiteX80" fmla="*/ 190061 w 189072"/>
                <a:gd name="connsiteY80" fmla="*/ 34301 h 181196"/>
                <a:gd name="connsiteX81" fmla="*/ 190061 w 189072"/>
                <a:gd name="connsiteY81" fmla="*/ 29854 h 181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89072" h="181196">
                  <a:moveTo>
                    <a:pt x="189954" y="30014"/>
                  </a:moveTo>
                  <a:cubicBezTo>
                    <a:pt x="189784" y="24372"/>
                    <a:pt x="189286" y="18743"/>
                    <a:pt x="188463" y="13159"/>
                  </a:cubicBezTo>
                  <a:cubicBezTo>
                    <a:pt x="185942" y="12909"/>
                    <a:pt x="183396" y="13072"/>
                    <a:pt x="180928" y="13639"/>
                  </a:cubicBezTo>
                  <a:cubicBezTo>
                    <a:pt x="176713" y="14613"/>
                    <a:pt x="173204" y="17513"/>
                    <a:pt x="171449" y="21467"/>
                  </a:cubicBezTo>
                  <a:lnTo>
                    <a:pt x="171449" y="21467"/>
                  </a:lnTo>
                  <a:lnTo>
                    <a:pt x="171449" y="21467"/>
                  </a:lnTo>
                  <a:cubicBezTo>
                    <a:pt x="171487" y="31862"/>
                    <a:pt x="170693" y="42243"/>
                    <a:pt x="169080" y="52513"/>
                  </a:cubicBezTo>
                  <a:cubicBezTo>
                    <a:pt x="167522" y="62479"/>
                    <a:pt x="165280" y="72328"/>
                    <a:pt x="162370" y="81988"/>
                  </a:cubicBezTo>
                  <a:cubicBezTo>
                    <a:pt x="162210" y="82441"/>
                    <a:pt x="162077" y="82893"/>
                    <a:pt x="161944" y="83373"/>
                  </a:cubicBezTo>
                  <a:cubicBezTo>
                    <a:pt x="159260" y="92244"/>
                    <a:pt x="155860" y="100882"/>
                    <a:pt x="151773" y="109200"/>
                  </a:cubicBezTo>
                  <a:cubicBezTo>
                    <a:pt x="149821" y="113154"/>
                    <a:pt x="147614" y="116980"/>
                    <a:pt x="145169" y="120649"/>
                  </a:cubicBezTo>
                  <a:cubicBezTo>
                    <a:pt x="144860" y="121112"/>
                    <a:pt x="144341" y="121392"/>
                    <a:pt x="143785" y="121395"/>
                  </a:cubicBezTo>
                  <a:cubicBezTo>
                    <a:pt x="143452" y="121387"/>
                    <a:pt x="143130" y="121286"/>
                    <a:pt x="142853" y="121102"/>
                  </a:cubicBezTo>
                  <a:cubicBezTo>
                    <a:pt x="142091" y="120585"/>
                    <a:pt x="141892" y="119552"/>
                    <a:pt x="142400" y="118785"/>
                  </a:cubicBezTo>
                  <a:cubicBezTo>
                    <a:pt x="144458" y="115707"/>
                    <a:pt x="146325" y="112507"/>
                    <a:pt x="147992" y="109200"/>
                  </a:cubicBezTo>
                  <a:cubicBezTo>
                    <a:pt x="152161" y="100898"/>
                    <a:pt x="155617" y="92258"/>
                    <a:pt x="158323" y="83373"/>
                  </a:cubicBezTo>
                  <a:lnTo>
                    <a:pt x="159042" y="81030"/>
                  </a:lnTo>
                  <a:cubicBezTo>
                    <a:pt x="161944" y="71290"/>
                    <a:pt x="164178" y="61361"/>
                    <a:pt x="165725" y="51315"/>
                  </a:cubicBezTo>
                  <a:cubicBezTo>
                    <a:pt x="167306" y="41024"/>
                    <a:pt x="168108" y="30626"/>
                    <a:pt x="168121" y="20215"/>
                  </a:cubicBezTo>
                  <a:cubicBezTo>
                    <a:pt x="168116" y="13341"/>
                    <a:pt x="167663" y="6474"/>
                    <a:pt x="166763" y="-340"/>
                  </a:cubicBezTo>
                  <a:lnTo>
                    <a:pt x="166763" y="-340"/>
                  </a:lnTo>
                  <a:lnTo>
                    <a:pt x="166763" y="-340"/>
                  </a:lnTo>
                  <a:cubicBezTo>
                    <a:pt x="162351" y="-431"/>
                    <a:pt x="157987" y="576"/>
                    <a:pt x="154062" y="2589"/>
                  </a:cubicBezTo>
                  <a:cubicBezTo>
                    <a:pt x="149685" y="4988"/>
                    <a:pt x="146929" y="9552"/>
                    <a:pt x="146847" y="14544"/>
                  </a:cubicBezTo>
                  <a:lnTo>
                    <a:pt x="146847" y="14544"/>
                  </a:lnTo>
                  <a:cubicBezTo>
                    <a:pt x="146868" y="25085"/>
                    <a:pt x="146040" y="35608"/>
                    <a:pt x="144371" y="46016"/>
                  </a:cubicBezTo>
                  <a:cubicBezTo>
                    <a:pt x="142752" y="56390"/>
                    <a:pt x="140347" y="66625"/>
                    <a:pt x="137181" y="76636"/>
                  </a:cubicBezTo>
                  <a:cubicBezTo>
                    <a:pt x="136489" y="78899"/>
                    <a:pt x="135744" y="81109"/>
                    <a:pt x="134972" y="83293"/>
                  </a:cubicBezTo>
                  <a:cubicBezTo>
                    <a:pt x="131840" y="92263"/>
                    <a:pt x="127854" y="100911"/>
                    <a:pt x="123070" y="109120"/>
                  </a:cubicBezTo>
                  <a:cubicBezTo>
                    <a:pt x="122111" y="110744"/>
                    <a:pt x="121153" y="112262"/>
                    <a:pt x="120167" y="113700"/>
                  </a:cubicBezTo>
                  <a:cubicBezTo>
                    <a:pt x="119861" y="114166"/>
                    <a:pt x="119342" y="114448"/>
                    <a:pt x="118783" y="114445"/>
                  </a:cubicBezTo>
                  <a:cubicBezTo>
                    <a:pt x="118450" y="114437"/>
                    <a:pt x="118128" y="114336"/>
                    <a:pt x="117851" y="114152"/>
                  </a:cubicBezTo>
                  <a:cubicBezTo>
                    <a:pt x="117095" y="113641"/>
                    <a:pt x="116898" y="112616"/>
                    <a:pt x="117409" y="111860"/>
                  </a:cubicBezTo>
                  <a:cubicBezTo>
                    <a:pt x="117414" y="111852"/>
                    <a:pt x="117419" y="111844"/>
                    <a:pt x="117425" y="111836"/>
                  </a:cubicBezTo>
                  <a:cubicBezTo>
                    <a:pt x="118011" y="110957"/>
                    <a:pt x="118570" y="110052"/>
                    <a:pt x="119156" y="109173"/>
                  </a:cubicBezTo>
                  <a:cubicBezTo>
                    <a:pt x="124127" y="101010"/>
                    <a:pt x="128240" y="92356"/>
                    <a:pt x="131430" y="83346"/>
                  </a:cubicBezTo>
                  <a:cubicBezTo>
                    <a:pt x="132256" y="81056"/>
                    <a:pt x="133054" y="78713"/>
                    <a:pt x="133827" y="76343"/>
                  </a:cubicBezTo>
                  <a:cubicBezTo>
                    <a:pt x="137027" y="66292"/>
                    <a:pt x="139447" y="56012"/>
                    <a:pt x="141069" y="45590"/>
                  </a:cubicBezTo>
                  <a:cubicBezTo>
                    <a:pt x="142738" y="35158"/>
                    <a:pt x="143540" y="24603"/>
                    <a:pt x="143465" y="14038"/>
                  </a:cubicBezTo>
                  <a:lnTo>
                    <a:pt x="143465" y="13798"/>
                  </a:lnTo>
                  <a:lnTo>
                    <a:pt x="143465" y="13798"/>
                  </a:lnTo>
                  <a:cubicBezTo>
                    <a:pt x="142451" y="13655"/>
                    <a:pt x="141428" y="13583"/>
                    <a:pt x="140403" y="13585"/>
                  </a:cubicBezTo>
                  <a:cubicBezTo>
                    <a:pt x="135741" y="13418"/>
                    <a:pt x="131255" y="15375"/>
                    <a:pt x="128208" y="18911"/>
                  </a:cubicBezTo>
                  <a:cubicBezTo>
                    <a:pt x="124055" y="23890"/>
                    <a:pt x="121978" y="36670"/>
                    <a:pt x="121978" y="36670"/>
                  </a:cubicBezTo>
                  <a:cubicBezTo>
                    <a:pt x="121712" y="38401"/>
                    <a:pt x="121419" y="40105"/>
                    <a:pt x="121073" y="41809"/>
                  </a:cubicBezTo>
                  <a:cubicBezTo>
                    <a:pt x="121073" y="41809"/>
                    <a:pt x="121073" y="42608"/>
                    <a:pt x="120673" y="43993"/>
                  </a:cubicBezTo>
                  <a:cubicBezTo>
                    <a:pt x="118469" y="54936"/>
                    <a:pt x="115196" y="65640"/>
                    <a:pt x="110901" y="75944"/>
                  </a:cubicBezTo>
                  <a:cubicBezTo>
                    <a:pt x="109871" y="78394"/>
                    <a:pt x="108753" y="80896"/>
                    <a:pt x="107546" y="83453"/>
                  </a:cubicBezTo>
                  <a:cubicBezTo>
                    <a:pt x="103744" y="91483"/>
                    <a:pt x="99141" y="99111"/>
                    <a:pt x="93807" y="106218"/>
                  </a:cubicBezTo>
                  <a:cubicBezTo>
                    <a:pt x="93488" y="106633"/>
                    <a:pt x="92998" y="106878"/>
                    <a:pt x="92476" y="106883"/>
                  </a:cubicBezTo>
                  <a:cubicBezTo>
                    <a:pt x="92114" y="106886"/>
                    <a:pt x="91760" y="106774"/>
                    <a:pt x="91464" y="106564"/>
                  </a:cubicBezTo>
                  <a:cubicBezTo>
                    <a:pt x="90724" y="106013"/>
                    <a:pt x="90567" y="104964"/>
                    <a:pt x="91118" y="104221"/>
                  </a:cubicBezTo>
                  <a:cubicBezTo>
                    <a:pt x="95956" y="97626"/>
                    <a:pt x="100198" y="90615"/>
                    <a:pt x="103792" y="83266"/>
                  </a:cubicBezTo>
                  <a:cubicBezTo>
                    <a:pt x="104964" y="80896"/>
                    <a:pt x="106082" y="78473"/>
                    <a:pt x="107147" y="76024"/>
                  </a:cubicBezTo>
                  <a:cubicBezTo>
                    <a:pt x="111572" y="65733"/>
                    <a:pt x="114911" y="55005"/>
                    <a:pt x="117105" y="44019"/>
                  </a:cubicBezTo>
                  <a:cubicBezTo>
                    <a:pt x="117318" y="43034"/>
                    <a:pt x="117505" y="42049"/>
                    <a:pt x="117691" y="41064"/>
                  </a:cubicBezTo>
                  <a:cubicBezTo>
                    <a:pt x="113593" y="40212"/>
                    <a:pt x="109333" y="40619"/>
                    <a:pt x="105470" y="42235"/>
                  </a:cubicBezTo>
                  <a:cubicBezTo>
                    <a:pt x="103995" y="42872"/>
                    <a:pt x="102650" y="43774"/>
                    <a:pt x="101502" y="44898"/>
                  </a:cubicBezTo>
                  <a:cubicBezTo>
                    <a:pt x="99868" y="46583"/>
                    <a:pt x="98632" y="48612"/>
                    <a:pt x="97881" y="50835"/>
                  </a:cubicBezTo>
                  <a:cubicBezTo>
                    <a:pt x="97881" y="51208"/>
                    <a:pt x="97615" y="51581"/>
                    <a:pt x="97509" y="51980"/>
                  </a:cubicBezTo>
                  <a:cubicBezTo>
                    <a:pt x="95812" y="56914"/>
                    <a:pt x="93802" y="61734"/>
                    <a:pt x="91491" y="66412"/>
                  </a:cubicBezTo>
                  <a:cubicBezTo>
                    <a:pt x="89190" y="71013"/>
                    <a:pt x="86594" y="75459"/>
                    <a:pt x="83716" y="79725"/>
                  </a:cubicBezTo>
                  <a:cubicBezTo>
                    <a:pt x="82944" y="80923"/>
                    <a:pt x="82119" y="82095"/>
                    <a:pt x="81266" y="83293"/>
                  </a:cubicBezTo>
                  <a:lnTo>
                    <a:pt x="79909" y="85130"/>
                  </a:lnTo>
                  <a:cubicBezTo>
                    <a:pt x="75257" y="91334"/>
                    <a:pt x="69956" y="97019"/>
                    <a:pt x="64093" y="102091"/>
                  </a:cubicBezTo>
                  <a:cubicBezTo>
                    <a:pt x="61124" y="104610"/>
                    <a:pt x="58011" y="106958"/>
                    <a:pt x="54774" y="109120"/>
                  </a:cubicBezTo>
                  <a:lnTo>
                    <a:pt x="53043" y="110292"/>
                  </a:lnTo>
                  <a:lnTo>
                    <a:pt x="53043" y="110292"/>
                  </a:lnTo>
                  <a:lnTo>
                    <a:pt x="51578" y="111250"/>
                  </a:lnTo>
                  <a:cubicBezTo>
                    <a:pt x="40757" y="118197"/>
                    <a:pt x="30909" y="126550"/>
                    <a:pt x="22290" y="136092"/>
                  </a:cubicBezTo>
                  <a:cubicBezTo>
                    <a:pt x="12654" y="147339"/>
                    <a:pt x="5406" y="160429"/>
                    <a:pt x="989" y="174567"/>
                  </a:cubicBezTo>
                  <a:lnTo>
                    <a:pt x="1468" y="174700"/>
                  </a:lnTo>
                  <a:cubicBezTo>
                    <a:pt x="7888" y="176636"/>
                    <a:pt x="14435" y="178114"/>
                    <a:pt x="21065" y="179120"/>
                  </a:cubicBezTo>
                  <a:cubicBezTo>
                    <a:pt x="28491" y="180278"/>
                    <a:pt x="35994" y="180856"/>
                    <a:pt x="43511" y="180851"/>
                  </a:cubicBezTo>
                  <a:lnTo>
                    <a:pt x="43910" y="180851"/>
                  </a:lnTo>
                  <a:cubicBezTo>
                    <a:pt x="83532" y="180798"/>
                    <a:pt x="121432" y="164652"/>
                    <a:pt x="148924" y="136119"/>
                  </a:cubicBezTo>
                  <a:cubicBezTo>
                    <a:pt x="156824" y="127947"/>
                    <a:pt x="163749" y="118889"/>
                    <a:pt x="169559" y="109120"/>
                  </a:cubicBezTo>
                  <a:cubicBezTo>
                    <a:pt x="173507" y="102466"/>
                    <a:pt x="176926" y="95514"/>
                    <a:pt x="179783" y="88325"/>
                  </a:cubicBezTo>
                  <a:cubicBezTo>
                    <a:pt x="180449" y="86674"/>
                    <a:pt x="181088" y="84970"/>
                    <a:pt x="181674" y="83293"/>
                  </a:cubicBezTo>
                  <a:cubicBezTo>
                    <a:pt x="184304" y="75880"/>
                    <a:pt x="186325" y="68268"/>
                    <a:pt x="187718" y="60527"/>
                  </a:cubicBezTo>
                  <a:cubicBezTo>
                    <a:pt x="189283" y="51874"/>
                    <a:pt x="190066" y="43095"/>
                    <a:pt x="190061" y="34301"/>
                  </a:cubicBezTo>
                  <a:cubicBezTo>
                    <a:pt x="190061" y="32810"/>
                    <a:pt x="190061" y="31318"/>
                    <a:pt x="190061" y="29854"/>
                  </a:cubicBezTo>
                </a:path>
              </a:pathLst>
            </a:custGeom>
            <a:solidFill>
              <a:srgbClr val="143DCF"/>
            </a:solidFill>
            <a:ln w="2661" cap="flat">
              <a:noFill/>
              <a:prstDash val="solid"/>
              <a:miter/>
            </a:ln>
          </p:spPr>
          <p:txBody>
            <a:bodyPr rtlCol="0" anchor="ctr"/>
            <a:lstStyle/>
            <a:p>
              <a:endParaRPr lang="pl-PL"/>
            </a:p>
          </p:txBody>
        </p:sp>
        <p:sp>
          <p:nvSpPr>
            <p:cNvPr id="105" name="Freeform: Shape 104">
              <a:extLst>
                <a:ext uri="{FF2B5EF4-FFF2-40B4-BE49-F238E27FC236}">
                  <a16:creationId xmlns:a16="http://schemas.microsoft.com/office/drawing/2014/main" id="{DED968D6-60C1-4169-BECC-AEF6DE217145}"/>
                </a:ext>
              </a:extLst>
            </p:cNvPr>
            <p:cNvSpPr/>
            <p:nvPr/>
          </p:nvSpPr>
          <p:spPr>
            <a:xfrm>
              <a:off x="11502581" y="6714997"/>
              <a:ext cx="17090" cy="37099"/>
            </a:xfrm>
            <a:custGeom>
              <a:avLst/>
              <a:gdLst>
                <a:gd name="connsiteX0" fmla="*/ 31273 w 30283"/>
                <a:gd name="connsiteY0" fmla="*/ 400 h 65740"/>
                <a:gd name="connsiteX1" fmla="*/ 28024 w 30283"/>
                <a:gd name="connsiteY1" fmla="*/ -346 h 65740"/>
                <a:gd name="connsiteX2" fmla="*/ 27438 w 30283"/>
                <a:gd name="connsiteY2" fmla="*/ 2610 h 65740"/>
                <a:gd name="connsiteX3" fmla="*/ 17374 w 30283"/>
                <a:gd name="connsiteY3" fmla="*/ 34721 h 65740"/>
                <a:gd name="connsiteX4" fmla="*/ 13992 w 30283"/>
                <a:gd name="connsiteY4" fmla="*/ 41963 h 65740"/>
                <a:gd name="connsiteX5" fmla="*/ 1318 w 30283"/>
                <a:gd name="connsiteY5" fmla="*/ 62732 h 65740"/>
                <a:gd name="connsiteX6" fmla="*/ 1664 w 30283"/>
                <a:gd name="connsiteY6" fmla="*/ 65075 h 65740"/>
                <a:gd name="connsiteX7" fmla="*/ 2650 w 30283"/>
                <a:gd name="connsiteY7" fmla="*/ 65394 h 65740"/>
                <a:gd name="connsiteX8" fmla="*/ 4007 w 30283"/>
                <a:gd name="connsiteY8" fmla="*/ 64729 h 65740"/>
                <a:gd name="connsiteX9" fmla="*/ 17747 w 30283"/>
                <a:gd name="connsiteY9" fmla="*/ 41963 h 65740"/>
                <a:gd name="connsiteX10" fmla="*/ 21101 w 30283"/>
                <a:gd name="connsiteY10" fmla="*/ 34481 h 65740"/>
                <a:gd name="connsiteX11" fmla="*/ 30873 w 30283"/>
                <a:gd name="connsiteY11" fmla="*/ 2530 h 65740"/>
                <a:gd name="connsiteX12" fmla="*/ 31273 w 30283"/>
                <a:gd name="connsiteY12" fmla="*/ 347 h 6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283" h="65740">
                  <a:moveTo>
                    <a:pt x="31273" y="400"/>
                  </a:moveTo>
                  <a:cubicBezTo>
                    <a:pt x="30213" y="62"/>
                    <a:pt x="29126" y="-186"/>
                    <a:pt x="28024" y="-346"/>
                  </a:cubicBezTo>
                  <a:cubicBezTo>
                    <a:pt x="27838" y="640"/>
                    <a:pt x="27652" y="1625"/>
                    <a:pt x="27438" y="2610"/>
                  </a:cubicBezTo>
                  <a:cubicBezTo>
                    <a:pt x="25218" y="13636"/>
                    <a:pt x="21844" y="24398"/>
                    <a:pt x="17374" y="34721"/>
                  </a:cubicBezTo>
                  <a:cubicBezTo>
                    <a:pt x="16309" y="37171"/>
                    <a:pt x="15190" y="39594"/>
                    <a:pt x="13992" y="41963"/>
                  </a:cubicBezTo>
                  <a:cubicBezTo>
                    <a:pt x="10400" y="49254"/>
                    <a:pt x="6159" y="56203"/>
                    <a:pt x="1318" y="62732"/>
                  </a:cubicBezTo>
                  <a:cubicBezTo>
                    <a:pt x="767" y="63475"/>
                    <a:pt x="924" y="64524"/>
                    <a:pt x="1664" y="65075"/>
                  </a:cubicBezTo>
                  <a:cubicBezTo>
                    <a:pt x="1952" y="65283"/>
                    <a:pt x="2295" y="65394"/>
                    <a:pt x="2650" y="65394"/>
                  </a:cubicBezTo>
                  <a:cubicBezTo>
                    <a:pt x="3182" y="65405"/>
                    <a:pt x="3688" y="65157"/>
                    <a:pt x="4007" y="64729"/>
                  </a:cubicBezTo>
                  <a:cubicBezTo>
                    <a:pt x="9341" y="57622"/>
                    <a:pt x="13944" y="49994"/>
                    <a:pt x="17747" y="41963"/>
                  </a:cubicBezTo>
                  <a:cubicBezTo>
                    <a:pt x="18945" y="39301"/>
                    <a:pt x="20063" y="36931"/>
                    <a:pt x="21101" y="34481"/>
                  </a:cubicBezTo>
                  <a:cubicBezTo>
                    <a:pt x="25380" y="24172"/>
                    <a:pt x="28653" y="13471"/>
                    <a:pt x="30873" y="2530"/>
                  </a:cubicBezTo>
                  <a:cubicBezTo>
                    <a:pt x="31140" y="1145"/>
                    <a:pt x="31273" y="347"/>
                    <a:pt x="31273" y="347"/>
                  </a:cubicBezTo>
                </a:path>
              </a:pathLst>
            </a:custGeom>
            <a:solidFill>
              <a:srgbClr val="8FD942"/>
            </a:solidFill>
            <a:ln w="2661" cap="flat">
              <a:noFill/>
              <a:prstDash val="solid"/>
              <a:miter/>
            </a:ln>
          </p:spPr>
          <p:txBody>
            <a:bodyPr rtlCol="0" anchor="ctr"/>
            <a:lstStyle/>
            <a:p>
              <a:endParaRPr lang="pl-PL"/>
            </a:p>
          </p:txBody>
        </p:sp>
        <p:sp>
          <p:nvSpPr>
            <p:cNvPr id="106" name="Freeform: Shape 105">
              <a:extLst>
                <a:ext uri="{FF2B5EF4-FFF2-40B4-BE49-F238E27FC236}">
                  <a16:creationId xmlns:a16="http://schemas.microsoft.com/office/drawing/2014/main" id="{8FE93203-9CDC-44B6-8D04-DA5A894B541E}"/>
                </a:ext>
              </a:extLst>
            </p:cNvPr>
            <p:cNvSpPr/>
            <p:nvPr/>
          </p:nvSpPr>
          <p:spPr>
            <a:xfrm>
              <a:off x="11517500" y="6699685"/>
              <a:ext cx="16773" cy="56738"/>
            </a:xfrm>
            <a:custGeom>
              <a:avLst/>
              <a:gdLst>
                <a:gd name="connsiteX0" fmla="*/ 27995 w 29722"/>
                <a:gd name="connsiteY0" fmla="*/ -239 h 100540"/>
                <a:gd name="connsiteX1" fmla="*/ 27542 w 29722"/>
                <a:gd name="connsiteY1" fmla="*/ -239 h 100540"/>
                <a:gd name="connsiteX2" fmla="*/ 27356 w 29722"/>
                <a:gd name="connsiteY2" fmla="*/ -239 h 100540"/>
                <a:gd name="connsiteX3" fmla="*/ 27356 w 29722"/>
                <a:gd name="connsiteY3" fmla="*/ -239 h 100540"/>
                <a:gd name="connsiteX4" fmla="*/ 24959 w 29722"/>
                <a:gd name="connsiteY4" fmla="*/ 31313 h 100540"/>
                <a:gd name="connsiteX5" fmla="*/ 17691 w 29722"/>
                <a:gd name="connsiteY5" fmla="*/ 62093 h 100540"/>
                <a:gd name="connsiteX6" fmla="*/ 15294 w 29722"/>
                <a:gd name="connsiteY6" fmla="*/ 69095 h 100540"/>
                <a:gd name="connsiteX7" fmla="*/ 3020 w 29722"/>
                <a:gd name="connsiteY7" fmla="*/ 94923 h 100540"/>
                <a:gd name="connsiteX8" fmla="*/ 1289 w 29722"/>
                <a:gd name="connsiteY8" fmla="*/ 97585 h 100540"/>
                <a:gd name="connsiteX9" fmla="*/ 1691 w 29722"/>
                <a:gd name="connsiteY9" fmla="*/ 99886 h 100540"/>
                <a:gd name="connsiteX10" fmla="*/ 1715 w 29722"/>
                <a:gd name="connsiteY10" fmla="*/ 99902 h 100540"/>
                <a:gd name="connsiteX11" fmla="*/ 2647 w 29722"/>
                <a:gd name="connsiteY11" fmla="*/ 100195 h 100540"/>
                <a:gd name="connsiteX12" fmla="*/ 4031 w 29722"/>
                <a:gd name="connsiteY12" fmla="*/ 99449 h 100540"/>
                <a:gd name="connsiteX13" fmla="*/ 6933 w 29722"/>
                <a:gd name="connsiteY13" fmla="*/ 94870 h 100540"/>
                <a:gd name="connsiteX14" fmla="*/ 18835 w 29722"/>
                <a:gd name="connsiteY14" fmla="*/ 69042 h 100540"/>
                <a:gd name="connsiteX15" fmla="*/ 21045 w 29722"/>
                <a:gd name="connsiteY15" fmla="*/ 62386 h 100540"/>
                <a:gd name="connsiteX16" fmla="*/ 28234 w 29722"/>
                <a:gd name="connsiteY16" fmla="*/ 31766 h 100540"/>
                <a:gd name="connsiteX17" fmla="*/ 30711 w 29722"/>
                <a:gd name="connsiteY17" fmla="*/ 293 h 100540"/>
                <a:gd name="connsiteX18" fmla="*/ 30711 w 29722"/>
                <a:gd name="connsiteY18" fmla="*/ 293 h 100540"/>
                <a:gd name="connsiteX19" fmla="*/ 30711 w 29722"/>
                <a:gd name="connsiteY19" fmla="*/ 293 h 100540"/>
                <a:gd name="connsiteX20" fmla="*/ 28048 w 29722"/>
                <a:gd name="connsiteY20" fmla="*/ -346 h 100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722" h="100540">
                  <a:moveTo>
                    <a:pt x="27995" y="-239"/>
                  </a:moveTo>
                  <a:lnTo>
                    <a:pt x="27542" y="-239"/>
                  </a:lnTo>
                  <a:lnTo>
                    <a:pt x="27356" y="-239"/>
                  </a:lnTo>
                  <a:lnTo>
                    <a:pt x="27356" y="-239"/>
                  </a:lnTo>
                  <a:cubicBezTo>
                    <a:pt x="27430" y="10326"/>
                    <a:pt x="26629" y="20881"/>
                    <a:pt x="24959" y="31313"/>
                  </a:cubicBezTo>
                  <a:cubicBezTo>
                    <a:pt x="23330" y="41745"/>
                    <a:pt x="20899" y="52033"/>
                    <a:pt x="17691" y="62093"/>
                  </a:cubicBezTo>
                  <a:cubicBezTo>
                    <a:pt x="16918" y="64462"/>
                    <a:pt x="16120" y="66806"/>
                    <a:pt x="15294" y="69095"/>
                  </a:cubicBezTo>
                  <a:cubicBezTo>
                    <a:pt x="12104" y="78106"/>
                    <a:pt x="7991" y="86759"/>
                    <a:pt x="3020" y="94923"/>
                  </a:cubicBezTo>
                  <a:cubicBezTo>
                    <a:pt x="2434" y="95855"/>
                    <a:pt x="1875" y="96760"/>
                    <a:pt x="1289" y="97585"/>
                  </a:cubicBezTo>
                  <a:cubicBezTo>
                    <a:pt x="764" y="98331"/>
                    <a:pt x="945" y="99361"/>
                    <a:pt x="1691" y="99886"/>
                  </a:cubicBezTo>
                  <a:cubicBezTo>
                    <a:pt x="1699" y="99891"/>
                    <a:pt x="1707" y="99897"/>
                    <a:pt x="1715" y="99902"/>
                  </a:cubicBezTo>
                  <a:cubicBezTo>
                    <a:pt x="1992" y="100086"/>
                    <a:pt x="2314" y="100187"/>
                    <a:pt x="2647" y="100195"/>
                  </a:cubicBezTo>
                  <a:cubicBezTo>
                    <a:pt x="3203" y="100195"/>
                    <a:pt x="3725" y="99915"/>
                    <a:pt x="4031" y="99449"/>
                  </a:cubicBezTo>
                  <a:cubicBezTo>
                    <a:pt x="5016" y="98011"/>
                    <a:pt x="5975" y="96494"/>
                    <a:pt x="6933" y="94870"/>
                  </a:cubicBezTo>
                  <a:cubicBezTo>
                    <a:pt x="11718" y="86661"/>
                    <a:pt x="15704" y="78013"/>
                    <a:pt x="18835" y="69042"/>
                  </a:cubicBezTo>
                  <a:cubicBezTo>
                    <a:pt x="19608" y="66859"/>
                    <a:pt x="20327" y="64649"/>
                    <a:pt x="21045" y="62386"/>
                  </a:cubicBezTo>
                  <a:cubicBezTo>
                    <a:pt x="24211" y="52374"/>
                    <a:pt x="26616" y="42139"/>
                    <a:pt x="28234" y="31766"/>
                  </a:cubicBezTo>
                  <a:cubicBezTo>
                    <a:pt x="29904" y="21357"/>
                    <a:pt x="30732" y="10835"/>
                    <a:pt x="30711" y="293"/>
                  </a:cubicBezTo>
                  <a:lnTo>
                    <a:pt x="30711" y="293"/>
                  </a:lnTo>
                  <a:lnTo>
                    <a:pt x="30711" y="293"/>
                  </a:lnTo>
                  <a:cubicBezTo>
                    <a:pt x="29840" y="19"/>
                    <a:pt x="28948" y="-194"/>
                    <a:pt x="28048" y="-346"/>
                  </a:cubicBezTo>
                </a:path>
              </a:pathLst>
            </a:custGeom>
            <a:solidFill>
              <a:srgbClr val="8FD942"/>
            </a:solidFill>
            <a:ln w="2661" cap="flat">
              <a:noFill/>
              <a:prstDash val="solid"/>
              <a:miter/>
            </a:ln>
          </p:spPr>
          <p:txBody>
            <a:bodyPr rtlCol="0" anchor="ctr"/>
            <a:lstStyle/>
            <a:p>
              <a:endParaRPr lang="pl-PL"/>
            </a:p>
          </p:txBody>
        </p:sp>
        <p:sp>
          <p:nvSpPr>
            <p:cNvPr id="107" name="Freeform: Shape 106">
              <a:extLst>
                <a:ext uri="{FF2B5EF4-FFF2-40B4-BE49-F238E27FC236}">
                  <a16:creationId xmlns:a16="http://schemas.microsoft.com/office/drawing/2014/main" id="{C3E02F5D-B7EC-4252-AD8D-DA53E025E2F2}"/>
                </a:ext>
              </a:extLst>
            </p:cNvPr>
            <p:cNvSpPr/>
            <p:nvPr/>
          </p:nvSpPr>
          <p:spPr>
            <a:xfrm>
              <a:off x="11531661" y="6691648"/>
              <a:ext cx="16507" cy="68726"/>
            </a:xfrm>
            <a:custGeom>
              <a:avLst/>
              <a:gdLst>
                <a:gd name="connsiteX0" fmla="*/ 30239 w 29251"/>
                <a:gd name="connsiteY0" fmla="*/ 21351 h 121784"/>
                <a:gd name="connsiteX1" fmla="*/ 28934 w 29251"/>
                <a:gd name="connsiteY1" fmla="*/ -296 h 121784"/>
                <a:gd name="connsiteX2" fmla="*/ 25526 w 29251"/>
                <a:gd name="connsiteY2" fmla="*/ -296 h 121784"/>
                <a:gd name="connsiteX3" fmla="*/ 26911 w 29251"/>
                <a:gd name="connsiteY3" fmla="*/ 20313 h 121784"/>
                <a:gd name="connsiteX4" fmla="*/ 24514 w 29251"/>
                <a:gd name="connsiteY4" fmla="*/ 51412 h 121784"/>
                <a:gd name="connsiteX5" fmla="*/ 17911 w 29251"/>
                <a:gd name="connsiteY5" fmla="*/ 81074 h 121784"/>
                <a:gd name="connsiteX6" fmla="*/ 17192 w 29251"/>
                <a:gd name="connsiteY6" fmla="*/ 83417 h 121784"/>
                <a:gd name="connsiteX7" fmla="*/ 6861 w 29251"/>
                <a:gd name="connsiteY7" fmla="*/ 109244 h 121784"/>
                <a:gd name="connsiteX8" fmla="*/ 1270 w 29251"/>
                <a:gd name="connsiteY8" fmla="*/ 118830 h 121784"/>
                <a:gd name="connsiteX9" fmla="*/ 1722 w 29251"/>
                <a:gd name="connsiteY9" fmla="*/ 121146 h 121784"/>
                <a:gd name="connsiteX10" fmla="*/ 2654 w 29251"/>
                <a:gd name="connsiteY10" fmla="*/ 121439 h 121784"/>
                <a:gd name="connsiteX11" fmla="*/ 4039 w 29251"/>
                <a:gd name="connsiteY11" fmla="*/ 120694 h 121784"/>
                <a:gd name="connsiteX12" fmla="*/ 10642 w 29251"/>
                <a:gd name="connsiteY12" fmla="*/ 109244 h 121784"/>
                <a:gd name="connsiteX13" fmla="*/ 20813 w 29251"/>
                <a:gd name="connsiteY13" fmla="*/ 83417 h 121784"/>
                <a:gd name="connsiteX14" fmla="*/ 21239 w 29251"/>
                <a:gd name="connsiteY14" fmla="*/ 82032 h 121784"/>
                <a:gd name="connsiteX15" fmla="*/ 27869 w 29251"/>
                <a:gd name="connsiteY15" fmla="*/ 52557 h 121784"/>
                <a:gd name="connsiteX16" fmla="*/ 30239 w 29251"/>
                <a:gd name="connsiteY16" fmla="*/ 21511 h 121784"/>
                <a:gd name="connsiteX17" fmla="*/ 30239 w 29251"/>
                <a:gd name="connsiteY17" fmla="*/ 21511 h 121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251" h="121784">
                  <a:moveTo>
                    <a:pt x="30239" y="21351"/>
                  </a:moveTo>
                  <a:cubicBezTo>
                    <a:pt x="30207" y="14117"/>
                    <a:pt x="29770" y="6891"/>
                    <a:pt x="28934" y="-296"/>
                  </a:cubicBezTo>
                  <a:cubicBezTo>
                    <a:pt x="27800" y="-362"/>
                    <a:pt x="26660" y="-362"/>
                    <a:pt x="25526" y="-296"/>
                  </a:cubicBezTo>
                  <a:cubicBezTo>
                    <a:pt x="26448" y="6534"/>
                    <a:pt x="26911" y="13419"/>
                    <a:pt x="26911" y="20313"/>
                  </a:cubicBezTo>
                  <a:cubicBezTo>
                    <a:pt x="26898" y="30724"/>
                    <a:pt x="26096" y="41121"/>
                    <a:pt x="24514" y="51412"/>
                  </a:cubicBezTo>
                  <a:cubicBezTo>
                    <a:pt x="22991" y="61437"/>
                    <a:pt x="20784" y="71347"/>
                    <a:pt x="17911" y="81074"/>
                  </a:cubicBezTo>
                  <a:lnTo>
                    <a:pt x="17192" y="83417"/>
                  </a:lnTo>
                  <a:cubicBezTo>
                    <a:pt x="14487" y="92302"/>
                    <a:pt x="11031" y="100942"/>
                    <a:pt x="6861" y="109244"/>
                  </a:cubicBezTo>
                  <a:cubicBezTo>
                    <a:pt x="5189" y="112549"/>
                    <a:pt x="3323" y="115749"/>
                    <a:pt x="1270" y="118830"/>
                  </a:cubicBezTo>
                  <a:cubicBezTo>
                    <a:pt x="761" y="119596"/>
                    <a:pt x="961" y="120630"/>
                    <a:pt x="1722" y="121146"/>
                  </a:cubicBezTo>
                  <a:cubicBezTo>
                    <a:pt x="1999" y="121330"/>
                    <a:pt x="2321" y="121431"/>
                    <a:pt x="2654" y="121439"/>
                  </a:cubicBezTo>
                  <a:cubicBezTo>
                    <a:pt x="3211" y="121436"/>
                    <a:pt x="3730" y="121157"/>
                    <a:pt x="4039" y="120694"/>
                  </a:cubicBezTo>
                  <a:cubicBezTo>
                    <a:pt x="6483" y="117024"/>
                    <a:pt x="8691" y="113198"/>
                    <a:pt x="10642" y="109244"/>
                  </a:cubicBezTo>
                  <a:cubicBezTo>
                    <a:pt x="14729" y="100926"/>
                    <a:pt x="18129" y="92289"/>
                    <a:pt x="20813" y="83417"/>
                  </a:cubicBezTo>
                  <a:cubicBezTo>
                    <a:pt x="20813" y="82938"/>
                    <a:pt x="21080" y="82485"/>
                    <a:pt x="21239" y="82032"/>
                  </a:cubicBezTo>
                  <a:cubicBezTo>
                    <a:pt x="24123" y="72370"/>
                    <a:pt x="26338" y="62523"/>
                    <a:pt x="27869" y="52557"/>
                  </a:cubicBezTo>
                  <a:cubicBezTo>
                    <a:pt x="29483" y="42287"/>
                    <a:pt x="30276" y="31906"/>
                    <a:pt x="30239" y="21511"/>
                  </a:cubicBezTo>
                  <a:lnTo>
                    <a:pt x="30239" y="21511"/>
                  </a:lnTo>
                  <a:close/>
                </a:path>
              </a:pathLst>
            </a:custGeom>
            <a:solidFill>
              <a:srgbClr val="8FD942"/>
            </a:solidFill>
            <a:ln w="2661" cap="flat">
              <a:noFill/>
              <a:prstDash val="solid"/>
              <a:miter/>
            </a:ln>
          </p:spPr>
          <p:txBody>
            <a:bodyPr rtlCol="0" anchor="ctr"/>
            <a:lstStyle/>
            <a:p>
              <a:endParaRPr lang="pl-PL"/>
            </a:p>
          </p:txBody>
        </p:sp>
        <p:sp>
          <p:nvSpPr>
            <p:cNvPr id="108" name="Freeform: Shape 107">
              <a:extLst>
                <a:ext uri="{FF2B5EF4-FFF2-40B4-BE49-F238E27FC236}">
                  <a16:creationId xmlns:a16="http://schemas.microsoft.com/office/drawing/2014/main" id="{C3248DD2-5ADF-4385-97C5-3F7E5A35ED49}"/>
                </a:ext>
              </a:extLst>
            </p:cNvPr>
            <p:cNvSpPr/>
            <p:nvPr/>
          </p:nvSpPr>
          <p:spPr>
            <a:xfrm>
              <a:off x="11646242" y="6644465"/>
              <a:ext cx="64654" cy="65032"/>
            </a:xfrm>
            <a:custGeom>
              <a:avLst/>
              <a:gdLst>
                <a:gd name="connsiteX0" fmla="*/ 989 w 114568"/>
                <a:gd name="connsiteY0" fmla="*/ 56475 h 115237"/>
                <a:gd name="connsiteX1" fmla="*/ 60738 w 114568"/>
                <a:gd name="connsiteY1" fmla="*/ 114892 h 115237"/>
                <a:gd name="connsiteX2" fmla="*/ 112233 w 114568"/>
                <a:gd name="connsiteY2" fmla="*/ 83340 h 115237"/>
                <a:gd name="connsiteX3" fmla="*/ 105550 w 114568"/>
                <a:gd name="connsiteY3" fmla="*/ 75219 h 115237"/>
                <a:gd name="connsiteX4" fmla="*/ 87870 w 114568"/>
                <a:gd name="connsiteY4" fmla="*/ 75219 h 115237"/>
                <a:gd name="connsiteX5" fmla="*/ 79057 w 114568"/>
                <a:gd name="connsiteY5" fmla="*/ 80545 h 115237"/>
                <a:gd name="connsiteX6" fmla="*/ 59833 w 114568"/>
                <a:gd name="connsiteY6" fmla="*/ 87361 h 115237"/>
                <a:gd name="connsiteX7" fmla="*/ 37440 w 114568"/>
                <a:gd name="connsiteY7" fmla="*/ 72850 h 115237"/>
                <a:gd name="connsiteX8" fmla="*/ 35523 w 114568"/>
                <a:gd name="connsiteY8" fmla="*/ 66646 h 115237"/>
                <a:gd name="connsiteX9" fmla="*/ 109011 w 114568"/>
                <a:gd name="connsiteY9" fmla="*/ 66646 h 115237"/>
                <a:gd name="connsiteX10" fmla="*/ 115447 w 114568"/>
                <a:gd name="connsiteY10" fmla="*/ 61488 h 115237"/>
                <a:gd name="connsiteX11" fmla="*/ 115481 w 114568"/>
                <a:gd name="connsiteY11" fmla="*/ 60895 h 115237"/>
                <a:gd name="connsiteX12" fmla="*/ 60685 w 114568"/>
                <a:gd name="connsiteY12" fmla="*/ -346 h 115237"/>
                <a:gd name="connsiteX13" fmla="*/ 989 w 114568"/>
                <a:gd name="connsiteY13" fmla="*/ 56368 h 115237"/>
                <a:gd name="connsiteX14" fmla="*/ 59380 w 114568"/>
                <a:gd name="connsiteY14" fmla="*/ 26946 h 115237"/>
                <a:gd name="connsiteX15" fmla="*/ 81533 w 114568"/>
                <a:gd name="connsiteY15" fmla="*/ 46303 h 115237"/>
                <a:gd name="connsiteX16" fmla="*/ 42605 w 114568"/>
                <a:gd name="connsiteY16" fmla="*/ 46303 h 115237"/>
                <a:gd name="connsiteX17" fmla="*/ 35683 w 114568"/>
                <a:gd name="connsiteY17" fmla="*/ 46303 h 115237"/>
                <a:gd name="connsiteX18" fmla="*/ 59380 w 114568"/>
                <a:gd name="connsiteY18" fmla="*/ 26973 h 11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4568" h="115237">
                  <a:moveTo>
                    <a:pt x="989" y="56475"/>
                  </a:moveTo>
                  <a:cubicBezTo>
                    <a:pt x="989" y="91089"/>
                    <a:pt x="27322" y="114892"/>
                    <a:pt x="60738" y="114892"/>
                  </a:cubicBezTo>
                  <a:cubicBezTo>
                    <a:pt x="87364" y="114892"/>
                    <a:pt x="105789" y="101446"/>
                    <a:pt x="112233" y="83340"/>
                  </a:cubicBezTo>
                  <a:cubicBezTo>
                    <a:pt x="113963" y="78415"/>
                    <a:pt x="110742" y="75219"/>
                    <a:pt x="105550" y="75219"/>
                  </a:cubicBezTo>
                  <a:lnTo>
                    <a:pt x="87870" y="75219"/>
                  </a:lnTo>
                  <a:cubicBezTo>
                    <a:pt x="83796" y="75219"/>
                    <a:pt x="81639" y="77350"/>
                    <a:pt x="79057" y="80545"/>
                  </a:cubicBezTo>
                  <a:cubicBezTo>
                    <a:pt x="75808" y="84379"/>
                    <a:pt x="69098" y="87361"/>
                    <a:pt x="59833" y="87361"/>
                  </a:cubicBezTo>
                  <a:cubicBezTo>
                    <a:pt x="50034" y="87806"/>
                    <a:pt x="41037" y="81975"/>
                    <a:pt x="37440" y="72850"/>
                  </a:cubicBezTo>
                  <a:cubicBezTo>
                    <a:pt x="36641" y="70834"/>
                    <a:pt x="35999" y="68760"/>
                    <a:pt x="35523" y="66646"/>
                  </a:cubicBezTo>
                  <a:lnTo>
                    <a:pt x="109011" y="66646"/>
                  </a:lnTo>
                  <a:cubicBezTo>
                    <a:pt x="112212" y="67000"/>
                    <a:pt x="115092" y="64689"/>
                    <a:pt x="115447" y="61488"/>
                  </a:cubicBezTo>
                  <a:cubicBezTo>
                    <a:pt x="115468" y="61291"/>
                    <a:pt x="115479" y="61094"/>
                    <a:pt x="115481" y="60895"/>
                  </a:cubicBezTo>
                  <a:cubicBezTo>
                    <a:pt x="117185" y="22926"/>
                    <a:pt x="89787" y="-346"/>
                    <a:pt x="60685" y="-346"/>
                  </a:cubicBezTo>
                  <a:cubicBezTo>
                    <a:pt x="26070" y="-346"/>
                    <a:pt x="989" y="22233"/>
                    <a:pt x="989" y="56368"/>
                  </a:cubicBezTo>
                  <a:moveTo>
                    <a:pt x="59380" y="26946"/>
                  </a:moveTo>
                  <a:cubicBezTo>
                    <a:pt x="79616" y="26946"/>
                    <a:pt x="81533" y="46303"/>
                    <a:pt x="81533" y="46303"/>
                  </a:cubicBezTo>
                  <a:lnTo>
                    <a:pt x="42605" y="46303"/>
                  </a:lnTo>
                  <a:lnTo>
                    <a:pt x="35683" y="46303"/>
                  </a:lnTo>
                  <a:cubicBezTo>
                    <a:pt x="35683" y="46303"/>
                    <a:pt x="39171" y="26973"/>
                    <a:pt x="59380" y="26973"/>
                  </a:cubicBezTo>
                </a:path>
              </a:pathLst>
            </a:custGeom>
            <a:solidFill>
              <a:srgbClr val="FFFFFF"/>
            </a:solidFill>
            <a:ln w="2661" cap="flat">
              <a:noFill/>
              <a:prstDash val="solid"/>
              <a:miter/>
            </a:ln>
          </p:spPr>
          <p:txBody>
            <a:bodyPr rtlCol="0" anchor="ctr"/>
            <a:lstStyle/>
            <a:p>
              <a:endParaRPr lang="pl-PL"/>
            </a:p>
          </p:txBody>
        </p:sp>
        <p:sp>
          <p:nvSpPr>
            <p:cNvPr id="109" name="Freeform: Shape 108">
              <a:extLst>
                <a:ext uri="{FF2B5EF4-FFF2-40B4-BE49-F238E27FC236}">
                  <a16:creationId xmlns:a16="http://schemas.microsoft.com/office/drawing/2014/main" id="{835E8868-8080-4A3B-A07A-F8F88FA4805D}"/>
                </a:ext>
              </a:extLst>
            </p:cNvPr>
            <p:cNvSpPr/>
            <p:nvPr/>
          </p:nvSpPr>
          <p:spPr>
            <a:xfrm>
              <a:off x="11719462" y="6644495"/>
              <a:ext cx="64897" cy="89810"/>
            </a:xfrm>
            <a:custGeom>
              <a:avLst/>
              <a:gdLst>
                <a:gd name="connsiteX0" fmla="*/ 115987 w 114998"/>
                <a:gd name="connsiteY0" fmla="*/ 57140 h 159144"/>
                <a:gd name="connsiteX1" fmla="*/ 58501 w 114998"/>
                <a:gd name="connsiteY1" fmla="*/ -346 h 159144"/>
                <a:gd name="connsiteX2" fmla="*/ 58475 w 114998"/>
                <a:gd name="connsiteY2" fmla="*/ -346 h 159144"/>
                <a:gd name="connsiteX3" fmla="*/ 29958 w 114998"/>
                <a:gd name="connsiteY3" fmla="*/ 7269 h 159144"/>
                <a:gd name="connsiteX4" fmla="*/ 23142 w 114998"/>
                <a:gd name="connsiteY4" fmla="*/ 1784 h 159144"/>
                <a:gd name="connsiteX5" fmla="*/ 8178 w 114998"/>
                <a:gd name="connsiteY5" fmla="*/ 1784 h 159144"/>
                <a:gd name="connsiteX6" fmla="*/ 989 w 114998"/>
                <a:gd name="connsiteY6" fmla="*/ 8947 h 159144"/>
                <a:gd name="connsiteX7" fmla="*/ 989 w 114998"/>
                <a:gd name="connsiteY7" fmla="*/ 57114 h 159144"/>
                <a:gd name="connsiteX8" fmla="*/ 989 w 114998"/>
                <a:gd name="connsiteY8" fmla="*/ 57114 h 159144"/>
                <a:gd name="connsiteX9" fmla="*/ 989 w 114998"/>
                <a:gd name="connsiteY9" fmla="*/ 151610 h 159144"/>
                <a:gd name="connsiteX10" fmla="*/ 8178 w 114998"/>
                <a:gd name="connsiteY10" fmla="*/ 158799 h 159144"/>
                <a:gd name="connsiteX11" fmla="*/ 23142 w 114998"/>
                <a:gd name="connsiteY11" fmla="*/ 158799 h 159144"/>
                <a:gd name="connsiteX12" fmla="*/ 30304 w 114998"/>
                <a:gd name="connsiteY12" fmla="*/ 151610 h 159144"/>
                <a:gd name="connsiteX13" fmla="*/ 30304 w 114998"/>
                <a:gd name="connsiteY13" fmla="*/ 107197 h 159144"/>
                <a:gd name="connsiteX14" fmla="*/ 58475 w 114998"/>
                <a:gd name="connsiteY14" fmla="*/ 114599 h 159144"/>
                <a:gd name="connsiteX15" fmla="*/ 115934 w 114998"/>
                <a:gd name="connsiteY15" fmla="*/ 57140 h 159144"/>
                <a:gd name="connsiteX16" fmla="*/ 86432 w 114998"/>
                <a:gd name="connsiteY16" fmla="*/ 57140 h 159144"/>
                <a:gd name="connsiteX17" fmla="*/ 58475 w 114998"/>
                <a:gd name="connsiteY17" fmla="*/ 85098 h 159144"/>
                <a:gd name="connsiteX18" fmla="*/ 30491 w 114998"/>
                <a:gd name="connsiteY18" fmla="*/ 57140 h 159144"/>
                <a:gd name="connsiteX19" fmla="*/ 58475 w 114998"/>
                <a:gd name="connsiteY19" fmla="*/ 29156 h 159144"/>
                <a:gd name="connsiteX20" fmla="*/ 86432 w 114998"/>
                <a:gd name="connsiteY20" fmla="*/ 57140 h 159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998" h="159144">
                  <a:moveTo>
                    <a:pt x="115987" y="57140"/>
                  </a:moveTo>
                  <a:cubicBezTo>
                    <a:pt x="115987" y="25391"/>
                    <a:pt x="90250" y="-346"/>
                    <a:pt x="58501" y="-346"/>
                  </a:cubicBezTo>
                  <a:cubicBezTo>
                    <a:pt x="58493" y="-346"/>
                    <a:pt x="58483" y="-346"/>
                    <a:pt x="58475" y="-346"/>
                  </a:cubicBezTo>
                  <a:cubicBezTo>
                    <a:pt x="48466" y="-346"/>
                    <a:pt x="38633" y="2280"/>
                    <a:pt x="29958" y="7269"/>
                  </a:cubicBezTo>
                  <a:cubicBezTo>
                    <a:pt x="29220" y="4088"/>
                    <a:pt x="26406" y="1824"/>
                    <a:pt x="23142" y="1784"/>
                  </a:cubicBezTo>
                  <a:lnTo>
                    <a:pt x="8178" y="1784"/>
                  </a:lnTo>
                  <a:cubicBezTo>
                    <a:pt x="4224" y="1798"/>
                    <a:pt x="1018" y="4993"/>
                    <a:pt x="989" y="8947"/>
                  </a:cubicBezTo>
                  <a:lnTo>
                    <a:pt x="989" y="57114"/>
                  </a:lnTo>
                  <a:lnTo>
                    <a:pt x="989" y="57114"/>
                  </a:lnTo>
                  <a:lnTo>
                    <a:pt x="989" y="151610"/>
                  </a:lnTo>
                  <a:cubicBezTo>
                    <a:pt x="1002" y="155574"/>
                    <a:pt x="4213" y="158786"/>
                    <a:pt x="8178" y="158799"/>
                  </a:cubicBezTo>
                  <a:lnTo>
                    <a:pt x="23142" y="158799"/>
                  </a:lnTo>
                  <a:cubicBezTo>
                    <a:pt x="27096" y="158770"/>
                    <a:pt x="30291" y="155564"/>
                    <a:pt x="30304" y="151610"/>
                  </a:cubicBezTo>
                  <a:lnTo>
                    <a:pt x="30304" y="107197"/>
                  </a:lnTo>
                  <a:cubicBezTo>
                    <a:pt x="38899" y="112051"/>
                    <a:pt x="48604" y="114602"/>
                    <a:pt x="58475" y="114599"/>
                  </a:cubicBezTo>
                  <a:cubicBezTo>
                    <a:pt x="90208" y="114599"/>
                    <a:pt x="115934" y="88873"/>
                    <a:pt x="115934" y="57140"/>
                  </a:cubicBezTo>
                  <a:moveTo>
                    <a:pt x="86432" y="57140"/>
                  </a:moveTo>
                  <a:cubicBezTo>
                    <a:pt x="86432" y="72581"/>
                    <a:pt x="73915" y="85098"/>
                    <a:pt x="58475" y="85098"/>
                  </a:cubicBezTo>
                  <a:cubicBezTo>
                    <a:pt x="43029" y="85098"/>
                    <a:pt x="30506" y="72586"/>
                    <a:pt x="30491" y="57140"/>
                  </a:cubicBezTo>
                  <a:cubicBezTo>
                    <a:pt x="30504" y="41692"/>
                    <a:pt x="43026" y="29172"/>
                    <a:pt x="58475" y="29156"/>
                  </a:cubicBezTo>
                  <a:cubicBezTo>
                    <a:pt x="73921" y="29172"/>
                    <a:pt x="86432" y="41694"/>
                    <a:pt x="86432" y="57140"/>
                  </a:cubicBezTo>
                </a:path>
              </a:pathLst>
            </a:custGeom>
            <a:solidFill>
              <a:srgbClr val="FFFFFF"/>
            </a:solidFill>
            <a:ln w="2661" cap="flat">
              <a:noFill/>
              <a:prstDash val="solid"/>
              <a:miter/>
            </a:ln>
          </p:spPr>
          <p:txBody>
            <a:bodyPr rtlCol="0" anchor="ctr"/>
            <a:lstStyle/>
            <a:p>
              <a:endParaRPr lang="pl-PL"/>
            </a:p>
          </p:txBody>
        </p:sp>
        <p:sp>
          <p:nvSpPr>
            <p:cNvPr id="110" name="Freeform: Shape 109">
              <a:extLst>
                <a:ext uri="{FF2B5EF4-FFF2-40B4-BE49-F238E27FC236}">
                  <a16:creationId xmlns:a16="http://schemas.microsoft.com/office/drawing/2014/main" id="{4192326D-FCF4-4AB2-80FD-E7324A20D20A}"/>
                </a:ext>
              </a:extLst>
            </p:cNvPr>
            <p:cNvSpPr/>
            <p:nvPr/>
          </p:nvSpPr>
          <p:spPr>
            <a:xfrm>
              <a:off x="11792669" y="6644495"/>
              <a:ext cx="64867" cy="64867"/>
            </a:xfrm>
            <a:custGeom>
              <a:avLst/>
              <a:gdLst>
                <a:gd name="connsiteX0" fmla="*/ 115934 w 114945"/>
                <a:gd name="connsiteY0" fmla="*/ 64596 h 114945"/>
                <a:gd name="connsiteX1" fmla="*/ 115934 w 114945"/>
                <a:gd name="connsiteY1" fmla="*/ 49632 h 114945"/>
                <a:gd name="connsiteX2" fmla="*/ 108745 w 114945"/>
                <a:gd name="connsiteY2" fmla="*/ 42443 h 114945"/>
                <a:gd name="connsiteX3" fmla="*/ 73119 w 114945"/>
                <a:gd name="connsiteY3" fmla="*/ 42443 h 114945"/>
                <a:gd name="connsiteX4" fmla="*/ 73119 w 114945"/>
                <a:gd name="connsiteY4" fmla="*/ 6843 h 114945"/>
                <a:gd name="connsiteX5" fmla="*/ 65930 w 114945"/>
                <a:gd name="connsiteY5" fmla="*/ -346 h 114945"/>
                <a:gd name="connsiteX6" fmla="*/ 50993 w 114945"/>
                <a:gd name="connsiteY6" fmla="*/ -346 h 114945"/>
                <a:gd name="connsiteX7" fmla="*/ 43804 w 114945"/>
                <a:gd name="connsiteY7" fmla="*/ 6843 h 114945"/>
                <a:gd name="connsiteX8" fmla="*/ 43804 w 114945"/>
                <a:gd name="connsiteY8" fmla="*/ 42469 h 114945"/>
                <a:gd name="connsiteX9" fmla="*/ 8178 w 114945"/>
                <a:gd name="connsiteY9" fmla="*/ 42469 h 114945"/>
                <a:gd name="connsiteX10" fmla="*/ 989 w 114945"/>
                <a:gd name="connsiteY10" fmla="*/ 49658 h 114945"/>
                <a:gd name="connsiteX11" fmla="*/ 989 w 114945"/>
                <a:gd name="connsiteY11" fmla="*/ 64596 h 114945"/>
                <a:gd name="connsiteX12" fmla="*/ 8178 w 114945"/>
                <a:gd name="connsiteY12" fmla="*/ 71785 h 114945"/>
                <a:gd name="connsiteX13" fmla="*/ 43804 w 114945"/>
                <a:gd name="connsiteY13" fmla="*/ 71785 h 114945"/>
                <a:gd name="connsiteX14" fmla="*/ 43804 w 114945"/>
                <a:gd name="connsiteY14" fmla="*/ 107410 h 114945"/>
                <a:gd name="connsiteX15" fmla="*/ 50993 w 114945"/>
                <a:gd name="connsiteY15" fmla="*/ 114599 h 114945"/>
                <a:gd name="connsiteX16" fmla="*/ 65930 w 114945"/>
                <a:gd name="connsiteY16" fmla="*/ 114599 h 114945"/>
                <a:gd name="connsiteX17" fmla="*/ 73119 w 114945"/>
                <a:gd name="connsiteY17" fmla="*/ 107410 h 114945"/>
                <a:gd name="connsiteX18" fmla="*/ 73119 w 114945"/>
                <a:gd name="connsiteY18" fmla="*/ 71785 h 114945"/>
                <a:gd name="connsiteX19" fmla="*/ 108745 w 114945"/>
                <a:gd name="connsiteY19" fmla="*/ 71785 h 114945"/>
                <a:gd name="connsiteX20" fmla="*/ 115934 w 114945"/>
                <a:gd name="connsiteY20" fmla="*/ 64596 h 114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945" h="114945">
                  <a:moveTo>
                    <a:pt x="115934" y="64596"/>
                  </a:moveTo>
                  <a:lnTo>
                    <a:pt x="115934" y="49632"/>
                  </a:lnTo>
                  <a:cubicBezTo>
                    <a:pt x="115918" y="45667"/>
                    <a:pt x="112709" y="42456"/>
                    <a:pt x="108745" y="42443"/>
                  </a:cubicBezTo>
                  <a:lnTo>
                    <a:pt x="73119" y="42443"/>
                  </a:lnTo>
                  <a:lnTo>
                    <a:pt x="73119" y="6843"/>
                  </a:lnTo>
                  <a:cubicBezTo>
                    <a:pt x="73103" y="2879"/>
                    <a:pt x="69894" y="-332"/>
                    <a:pt x="65930" y="-346"/>
                  </a:cubicBezTo>
                  <a:lnTo>
                    <a:pt x="50993" y="-346"/>
                  </a:lnTo>
                  <a:cubicBezTo>
                    <a:pt x="47028" y="-330"/>
                    <a:pt x="43817" y="2879"/>
                    <a:pt x="43804" y="6843"/>
                  </a:cubicBezTo>
                  <a:lnTo>
                    <a:pt x="43804" y="42469"/>
                  </a:lnTo>
                  <a:lnTo>
                    <a:pt x="8178" y="42469"/>
                  </a:lnTo>
                  <a:cubicBezTo>
                    <a:pt x="4213" y="42483"/>
                    <a:pt x="1002" y="45694"/>
                    <a:pt x="989" y="49658"/>
                  </a:cubicBezTo>
                  <a:lnTo>
                    <a:pt x="989" y="64596"/>
                  </a:lnTo>
                  <a:cubicBezTo>
                    <a:pt x="1002" y="68560"/>
                    <a:pt x="4213" y="71771"/>
                    <a:pt x="8178" y="71785"/>
                  </a:cubicBezTo>
                  <a:lnTo>
                    <a:pt x="43804" y="71785"/>
                  </a:lnTo>
                  <a:lnTo>
                    <a:pt x="43804" y="107410"/>
                  </a:lnTo>
                  <a:cubicBezTo>
                    <a:pt x="43820" y="111375"/>
                    <a:pt x="47028" y="114586"/>
                    <a:pt x="50993" y="114599"/>
                  </a:cubicBezTo>
                  <a:lnTo>
                    <a:pt x="65930" y="114599"/>
                  </a:lnTo>
                  <a:cubicBezTo>
                    <a:pt x="69900" y="114599"/>
                    <a:pt x="73119" y="111380"/>
                    <a:pt x="73119" y="107410"/>
                  </a:cubicBezTo>
                  <a:lnTo>
                    <a:pt x="73119" y="71785"/>
                  </a:lnTo>
                  <a:lnTo>
                    <a:pt x="108745" y="71785"/>
                  </a:lnTo>
                  <a:cubicBezTo>
                    <a:pt x="112709" y="71771"/>
                    <a:pt x="115918" y="68560"/>
                    <a:pt x="115934" y="64596"/>
                  </a:cubicBezTo>
                </a:path>
              </a:pathLst>
            </a:custGeom>
            <a:solidFill>
              <a:srgbClr val="8FDB42"/>
            </a:solidFill>
            <a:ln w="2661" cap="flat">
              <a:noFill/>
              <a:prstDash val="solid"/>
              <a:miter/>
            </a:ln>
          </p:spPr>
          <p:txBody>
            <a:bodyPr rtlCol="0" anchor="ctr"/>
            <a:lstStyle/>
            <a:p>
              <a:endParaRPr lang="pl-PL"/>
            </a:p>
          </p:txBody>
        </p:sp>
        <p:sp>
          <p:nvSpPr>
            <p:cNvPr id="111" name="Freeform: Shape 110">
              <a:extLst>
                <a:ext uri="{FF2B5EF4-FFF2-40B4-BE49-F238E27FC236}">
                  <a16:creationId xmlns:a16="http://schemas.microsoft.com/office/drawing/2014/main" id="{6293EB64-4747-40A2-8ED6-F4FB08FC8A46}"/>
                </a:ext>
              </a:extLst>
            </p:cNvPr>
            <p:cNvSpPr/>
            <p:nvPr/>
          </p:nvSpPr>
          <p:spPr>
            <a:xfrm>
              <a:off x="11574954" y="6644781"/>
              <a:ext cx="64867" cy="89524"/>
            </a:xfrm>
            <a:custGeom>
              <a:avLst/>
              <a:gdLst>
                <a:gd name="connsiteX0" fmla="*/ 115934 w 114945"/>
                <a:gd name="connsiteY0" fmla="*/ 57114 h 158638"/>
                <a:gd name="connsiteX1" fmla="*/ 58475 w 114945"/>
                <a:gd name="connsiteY1" fmla="*/ -346 h 158638"/>
                <a:gd name="connsiteX2" fmla="*/ 29905 w 114945"/>
                <a:gd name="connsiteY2" fmla="*/ 7296 h 158638"/>
                <a:gd name="connsiteX3" fmla="*/ 23115 w 114945"/>
                <a:gd name="connsiteY3" fmla="*/ 2131 h 158638"/>
                <a:gd name="connsiteX4" fmla="*/ 8178 w 114945"/>
                <a:gd name="connsiteY4" fmla="*/ 2131 h 158638"/>
                <a:gd name="connsiteX5" fmla="*/ 989 w 114945"/>
                <a:gd name="connsiteY5" fmla="*/ 9320 h 158638"/>
                <a:gd name="connsiteX6" fmla="*/ 989 w 114945"/>
                <a:gd name="connsiteY6" fmla="*/ 57114 h 158638"/>
                <a:gd name="connsiteX7" fmla="*/ 989 w 114945"/>
                <a:gd name="connsiteY7" fmla="*/ 57114 h 158638"/>
                <a:gd name="connsiteX8" fmla="*/ 989 w 114945"/>
                <a:gd name="connsiteY8" fmla="*/ 151104 h 158638"/>
                <a:gd name="connsiteX9" fmla="*/ 8178 w 114945"/>
                <a:gd name="connsiteY9" fmla="*/ 158293 h 158638"/>
                <a:gd name="connsiteX10" fmla="*/ 23115 w 114945"/>
                <a:gd name="connsiteY10" fmla="*/ 158293 h 158638"/>
                <a:gd name="connsiteX11" fmla="*/ 30304 w 114945"/>
                <a:gd name="connsiteY11" fmla="*/ 151104 h 158638"/>
                <a:gd name="connsiteX12" fmla="*/ 30304 w 114945"/>
                <a:gd name="connsiteY12" fmla="*/ 107171 h 158638"/>
                <a:gd name="connsiteX13" fmla="*/ 58475 w 114945"/>
                <a:gd name="connsiteY13" fmla="*/ 114573 h 158638"/>
                <a:gd name="connsiteX14" fmla="*/ 115934 w 114945"/>
                <a:gd name="connsiteY14" fmla="*/ 57114 h 158638"/>
                <a:gd name="connsiteX15" fmla="*/ 86432 w 114945"/>
                <a:gd name="connsiteY15" fmla="*/ 57114 h 158638"/>
                <a:gd name="connsiteX16" fmla="*/ 58475 w 114945"/>
                <a:gd name="connsiteY16" fmla="*/ 85098 h 158638"/>
                <a:gd name="connsiteX17" fmla="*/ 30491 w 114945"/>
                <a:gd name="connsiteY17" fmla="*/ 57114 h 158638"/>
                <a:gd name="connsiteX18" fmla="*/ 58475 w 114945"/>
                <a:gd name="connsiteY18" fmla="*/ 29156 h 158638"/>
                <a:gd name="connsiteX19" fmla="*/ 86432 w 114945"/>
                <a:gd name="connsiteY19" fmla="*/ 57114 h 158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4945" h="158638">
                  <a:moveTo>
                    <a:pt x="115934" y="57114"/>
                  </a:moveTo>
                  <a:cubicBezTo>
                    <a:pt x="115934" y="25381"/>
                    <a:pt x="90208" y="-346"/>
                    <a:pt x="58475" y="-346"/>
                  </a:cubicBezTo>
                  <a:cubicBezTo>
                    <a:pt x="48447" y="-340"/>
                    <a:pt x="38596" y="2293"/>
                    <a:pt x="29905" y="7296"/>
                  </a:cubicBezTo>
                  <a:cubicBezTo>
                    <a:pt x="29034" y="4261"/>
                    <a:pt x="26273" y="2160"/>
                    <a:pt x="23115" y="2131"/>
                  </a:cubicBezTo>
                  <a:lnTo>
                    <a:pt x="8178" y="2131"/>
                  </a:lnTo>
                  <a:cubicBezTo>
                    <a:pt x="4213" y="2144"/>
                    <a:pt x="1002" y="5355"/>
                    <a:pt x="989" y="9320"/>
                  </a:cubicBezTo>
                  <a:lnTo>
                    <a:pt x="989" y="57114"/>
                  </a:lnTo>
                  <a:lnTo>
                    <a:pt x="989" y="57114"/>
                  </a:lnTo>
                  <a:lnTo>
                    <a:pt x="989" y="151104"/>
                  </a:lnTo>
                  <a:cubicBezTo>
                    <a:pt x="1002" y="155069"/>
                    <a:pt x="4213" y="158280"/>
                    <a:pt x="8178" y="158293"/>
                  </a:cubicBezTo>
                  <a:lnTo>
                    <a:pt x="23115" y="158293"/>
                  </a:lnTo>
                  <a:cubicBezTo>
                    <a:pt x="27080" y="158280"/>
                    <a:pt x="30291" y="155069"/>
                    <a:pt x="30304" y="151104"/>
                  </a:cubicBezTo>
                  <a:lnTo>
                    <a:pt x="30304" y="107171"/>
                  </a:lnTo>
                  <a:cubicBezTo>
                    <a:pt x="38899" y="112025"/>
                    <a:pt x="48604" y="114575"/>
                    <a:pt x="58475" y="114573"/>
                  </a:cubicBezTo>
                  <a:cubicBezTo>
                    <a:pt x="90202" y="114557"/>
                    <a:pt x="115918" y="88841"/>
                    <a:pt x="115934" y="57114"/>
                  </a:cubicBezTo>
                  <a:moveTo>
                    <a:pt x="86432" y="57114"/>
                  </a:moveTo>
                  <a:cubicBezTo>
                    <a:pt x="86432" y="72559"/>
                    <a:pt x="73920" y="85082"/>
                    <a:pt x="58475" y="85098"/>
                  </a:cubicBezTo>
                  <a:cubicBezTo>
                    <a:pt x="43026" y="85082"/>
                    <a:pt x="30506" y="72562"/>
                    <a:pt x="30491" y="57114"/>
                  </a:cubicBezTo>
                  <a:cubicBezTo>
                    <a:pt x="30506" y="41668"/>
                    <a:pt x="43029" y="29156"/>
                    <a:pt x="58475" y="29156"/>
                  </a:cubicBezTo>
                  <a:cubicBezTo>
                    <a:pt x="73915" y="29156"/>
                    <a:pt x="86432" y="41673"/>
                    <a:pt x="86432" y="57114"/>
                  </a:cubicBezTo>
                </a:path>
              </a:pathLst>
            </a:custGeom>
            <a:solidFill>
              <a:srgbClr val="FFFFFF"/>
            </a:solidFill>
            <a:ln w="2661" cap="flat">
              <a:noFill/>
              <a:prstDash val="solid"/>
              <a:miter/>
            </a:ln>
          </p:spPr>
          <p:txBody>
            <a:bodyPr rtlCol="0" anchor="ctr"/>
            <a:lstStyle/>
            <a:p>
              <a:endParaRPr lang="pl-PL"/>
            </a:p>
          </p:txBody>
        </p:sp>
        <p:sp>
          <p:nvSpPr>
            <p:cNvPr id="112" name="Freeform: Shape 111">
              <a:extLst>
                <a:ext uri="{FF2B5EF4-FFF2-40B4-BE49-F238E27FC236}">
                  <a16:creationId xmlns:a16="http://schemas.microsoft.com/office/drawing/2014/main" id="{042CB500-1A51-4242-B656-54417ACB65D6}"/>
                </a:ext>
              </a:extLst>
            </p:cNvPr>
            <p:cNvSpPr/>
            <p:nvPr/>
          </p:nvSpPr>
          <p:spPr>
            <a:xfrm>
              <a:off x="11574969" y="6750860"/>
              <a:ext cx="19691" cy="26558"/>
            </a:xfrm>
            <a:custGeom>
              <a:avLst/>
              <a:gdLst>
                <a:gd name="connsiteX0" fmla="*/ 1103 w 34893"/>
                <a:gd name="connsiteY0" fmla="*/ 44632 h 47062"/>
                <a:gd name="connsiteX1" fmla="*/ 1103 w 34893"/>
                <a:gd name="connsiteY1" fmla="*/ 2270 h 47062"/>
                <a:gd name="connsiteX2" fmla="*/ 2765 w 34893"/>
                <a:gd name="connsiteY2" fmla="*/ 273 h 47062"/>
                <a:gd name="connsiteX3" fmla="*/ 3100 w 34893"/>
                <a:gd name="connsiteY3" fmla="*/ 273 h 47062"/>
                <a:gd name="connsiteX4" fmla="*/ 5124 w 34893"/>
                <a:gd name="connsiteY4" fmla="*/ 273 h 47062"/>
                <a:gd name="connsiteX5" fmla="*/ 7387 w 34893"/>
                <a:gd name="connsiteY5" fmla="*/ 1897 h 47062"/>
                <a:gd name="connsiteX6" fmla="*/ 9704 w 34893"/>
                <a:gd name="connsiteY6" fmla="*/ 2589 h 47062"/>
                <a:gd name="connsiteX7" fmla="*/ 19316 w 34893"/>
                <a:gd name="connsiteY7" fmla="*/ -339 h 47062"/>
                <a:gd name="connsiteX8" fmla="*/ 35880 w 34893"/>
                <a:gd name="connsiteY8" fmla="*/ 16060 h 47062"/>
                <a:gd name="connsiteX9" fmla="*/ 35877 w 34893"/>
                <a:gd name="connsiteY9" fmla="*/ 16462 h 47062"/>
                <a:gd name="connsiteX10" fmla="*/ 19667 w 34893"/>
                <a:gd name="connsiteY10" fmla="*/ 33524 h 47062"/>
                <a:gd name="connsiteX11" fmla="*/ 19182 w 34893"/>
                <a:gd name="connsiteY11" fmla="*/ 33529 h 47062"/>
                <a:gd name="connsiteX12" fmla="*/ 11195 w 34893"/>
                <a:gd name="connsiteY12" fmla="*/ 31585 h 47062"/>
                <a:gd name="connsiteX13" fmla="*/ 9118 w 34893"/>
                <a:gd name="connsiteY13" fmla="*/ 32597 h 47062"/>
                <a:gd name="connsiteX14" fmla="*/ 9118 w 34893"/>
                <a:gd name="connsiteY14" fmla="*/ 44712 h 47062"/>
                <a:gd name="connsiteX15" fmla="*/ 7456 w 34893"/>
                <a:gd name="connsiteY15" fmla="*/ 46709 h 47062"/>
                <a:gd name="connsiteX16" fmla="*/ 7121 w 34893"/>
                <a:gd name="connsiteY16" fmla="*/ 46709 h 47062"/>
                <a:gd name="connsiteX17" fmla="*/ 2994 w 34893"/>
                <a:gd name="connsiteY17" fmla="*/ 46709 h 47062"/>
                <a:gd name="connsiteX18" fmla="*/ 997 w 34893"/>
                <a:gd name="connsiteY18" fmla="*/ 45048 h 47062"/>
                <a:gd name="connsiteX19" fmla="*/ 997 w 34893"/>
                <a:gd name="connsiteY19" fmla="*/ 44712 h 47062"/>
                <a:gd name="connsiteX20" fmla="*/ 10236 w 34893"/>
                <a:gd name="connsiteY20" fmla="*/ 22106 h 47062"/>
                <a:gd name="connsiteX21" fmla="*/ 18224 w 34893"/>
                <a:gd name="connsiteY21" fmla="*/ 26127 h 47062"/>
                <a:gd name="connsiteX22" fmla="*/ 26968 w 34893"/>
                <a:gd name="connsiteY22" fmla="*/ 16571 h 47062"/>
                <a:gd name="connsiteX23" fmla="*/ 26957 w 34893"/>
                <a:gd name="connsiteY23" fmla="*/ 16382 h 47062"/>
                <a:gd name="connsiteX24" fmla="*/ 18250 w 34893"/>
                <a:gd name="connsiteY24" fmla="*/ 6983 h 47062"/>
                <a:gd name="connsiteX25" fmla="*/ 10263 w 34893"/>
                <a:gd name="connsiteY25" fmla="*/ 10977 h 47062"/>
                <a:gd name="connsiteX26" fmla="*/ 9677 w 34893"/>
                <a:gd name="connsiteY26" fmla="*/ 13133 h 47062"/>
                <a:gd name="connsiteX27" fmla="*/ 9677 w 34893"/>
                <a:gd name="connsiteY27" fmla="*/ 19896 h 47062"/>
                <a:gd name="connsiteX28" fmla="*/ 10263 w 34893"/>
                <a:gd name="connsiteY28" fmla="*/ 22027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893" h="47062">
                  <a:moveTo>
                    <a:pt x="1103" y="44632"/>
                  </a:moveTo>
                  <a:lnTo>
                    <a:pt x="1103" y="2270"/>
                  </a:lnTo>
                  <a:cubicBezTo>
                    <a:pt x="1010" y="1261"/>
                    <a:pt x="1756" y="366"/>
                    <a:pt x="2765" y="273"/>
                  </a:cubicBezTo>
                  <a:cubicBezTo>
                    <a:pt x="2877" y="262"/>
                    <a:pt x="2988" y="262"/>
                    <a:pt x="3100" y="273"/>
                  </a:cubicBezTo>
                  <a:lnTo>
                    <a:pt x="5124" y="273"/>
                  </a:lnTo>
                  <a:cubicBezTo>
                    <a:pt x="6170" y="201"/>
                    <a:pt x="7121" y="883"/>
                    <a:pt x="7387" y="1897"/>
                  </a:cubicBezTo>
                  <a:cubicBezTo>
                    <a:pt x="7707" y="3228"/>
                    <a:pt x="8638" y="3415"/>
                    <a:pt x="9704" y="2589"/>
                  </a:cubicBezTo>
                  <a:cubicBezTo>
                    <a:pt x="12502" y="592"/>
                    <a:pt x="15878" y="-435"/>
                    <a:pt x="19316" y="-339"/>
                  </a:cubicBezTo>
                  <a:cubicBezTo>
                    <a:pt x="28419" y="-385"/>
                    <a:pt x="35834" y="6956"/>
                    <a:pt x="35880" y="16060"/>
                  </a:cubicBezTo>
                  <a:cubicBezTo>
                    <a:pt x="35880" y="16193"/>
                    <a:pt x="35880" y="16329"/>
                    <a:pt x="35877" y="16462"/>
                  </a:cubicBezTo>
                  <a:cubicBezTo>
                    <a:pt x="36111" y="25650"/>
                    <a:pt x="28856" y="33289"/>
                    <a:pt x="19667" y="33524"/>
                  </a:cubicBezTo>
                  <a:cubicBezTo>
                    <a:pt x="19505" y="33529"/>
                    <a:pt x="19345" y="33529"/>
                    <a:pt x="19182" y="33529"/>
                  </a:cubicBezTo>
                  <a:cubicBezTo>
                    <a:pt x="16397" y="33582"/>
                    <a:pt x="13644" y="32914"/>
                    <a:pt x="11195" y="31585"/>
                  </a:cubicBezTo>
                  <a:cubicBezTo>
                    <a:pt x="9943" y="30840"/>
                    <a:pt x="9118" y="31213"/>
                    <a:pt x="9118" y="32597"/>
                  </a:cubicBezTo>
                  <a:lnTo>
                    <a:pt x="9118" y="44712"/>
                  </a:lnTo>
                  <a:cubicBezTo>
                    <a:pt x="9211" y="45721"/>
                    <a:pt x="8465" y="46616"/>
                    <a:pt x="7456" y="46709"/>
                  </a:cubicBezTo>
                  <a:cubicBezTo>
                    <a:pt x="7344" y="46720"/>
                    <a:pt x="7233" y="46720"/>
                    <a:pt x="7121" y="46709"/>
                  </a:cubicBezTo>
                  <a:lnTo>
                    <a:pt x="2994" y="46709"/>
                  </a:lnTo>
                  <a:cubicBezTo>
                    <a:pt x="1982" y="46802"/>
                    <a:pt x="1090" y="46057"/>
                    <a:pt x="997" y="45048"/>
                  </a:cubicBezTo>
                  <a:cubicBezTo>
                    <a:pt x="986" y="44936"/>
                    <a:pt x="986" y="44824"/>
                    <a:pt x="997" y="44712"/>
                  </a:cubicBezTo>
                  <a:moveTo>
                    <a:pt x="10236" y="22106"/>
                  </a:moveTo>
                  <a:cubicBezTo>
                    <a:pt x="12039" y="24721"/>
                    <a:pt x="15050" y="26236"/>
                    <a:pt x="18224" y="26127"/>
                  </a:cubicBezTo>
                  <a:cubicBezTo>
                    <a:pt x="23277" y="25903"/>
                    <a:pt x="27192" y="21625"/>
                    <a:pt x="26968" y="16571"/>
                  </a:cubicBezTo>
                  <a:cubicBezTo>
                    <a:pt x="26965" y="16507"/>
                    <a:pt x="26963" y="16446"/>
                    <a:pt x="26957" y="16382"/>
                  </a:cubicBezTo>
                  <a:cubicBezTo>
                    <a:pt x="27122" y="11392"/>
                    <a:pt x="23238" y="7198"/>
                    <a:pt x="18250" y="6983"/>
                  </a:cubicBezTo>
                  <a:cubicBezTo>
                    <a:pt x="15085" y="6884"/>
                    <a:pt x="12081" y="8386"/>
                    <a:pt x="10263" y="10977"/>
                  </a:cubicBezTo>
                  <a:cubicBezTo>
                    <a:pt x="9837" y="11613"/>
                    <a:pt x="9632" y="12369"/>
                    <a:pt x="9677" y="13133"/>
                  </a:cubicBezTo>
                  <a:lnTo>
                    <a:pt x="9677" y="19896"/>
                  </a:lnTo>
                  <a:cubicBezTo>
                    <a:pt x="9650" y="20650"/>
                    <a:pt x="9855" y="21393"/>
                    <a:pt x="10263" y="22027"/>
                  </a:cubicBezTo>
                </a:path>
              </a:pathLst>
            </a:custGeom>
            <a:solidFill>
              <a:srgbClr val="FFFFFF"/>
            </a:solidFill>
            <a:ln w="2661" cap="flat">
              <a:noFill/>
              <a:prstDash val="solid"/>
              <a:miter/>
            </a:ln>
          </p:spPr>
          <p:txBody>
            <a:bodyPr rtlCol="0" anchor="ctr"/>
            <a:lstStyle/>
            <a:p>
              <a:endParaRPr lang="pl-PL"/>
            </a:p>
          </p:txBody>
        </p:sp>
        <p:sp>
          <p:nvSpPr>
            <p:cNvPr id="113" name="Freeform: Shape 112">
              <a:extLst>
                <a:ext uri="{FF2B5EF4-FFF2-40B4-BE49-F238E27FC236}">
                  <a16:creationId xmlns:a16="http://schemas.microsoft.com/office/drawing/2014/main" id="{541AD578-56B6-4E04-8348-C800F7F96064}"/>
                </a:ext>
              </a:extLst>
            </p:cNvPr>
            <p:cNvSpPr/>
            <p:nvPr/>
          </p:nvSpPr>
          <p:spPr>
            <a:xfrm>
              <a:off x="11597252" y="6750822"/>
              <a:ext cx="18514" cy="19157"/>
            </a:xfrm>
            <a:custGeom>
              <a:avLst/>
              <a:gdLst>
                <a:gd name="connsiteX0" fmla="*/ 18038 w 32808"/>
                <a:gd name="connsiteY0" fmla="*/ -324 h 33946"/>
                <a:gd name="connsiteX1" fmla="*/ 33795 w 32808"/>
                <a:gd name="connsiteY1" fmla="*/ 15867 h 33946"/>
                <a:gd name="connsiteX2" fmla="*/ 33721 w 32808"/>
                <a:gd name="connsiteY2" fmla="*/ 17196 h 33946"/>
                <a:gd name="connsiteX3" fmla="*/ 31915 w 32808"/>
                <a:gd name="connsiteY3" fmla="*/ 19012 h 33946"/>
                <a:gd name="connsiteX4" fmla="*/ 31777 w 32808"/>
                <a:gd name="connsiteY4" fmla="*/ 19006 h 33946"/>
                <a:gd name="connsiteX5" fmla="*/ 11568 w 32808"/>
                <a:gd name="connsiteY5" fmla="*/ 19006 h 33946"/>
                <a:gd name="connsiteX6" fmla="*/ 10130 w 32808"/>
                <a:gd name="connsiteY6" fmla="*/ 20950 h 33946"/>
                <a:gd name="connsiteX7" fmla="*/ 18118 w 32808"/>
                <a:gd name="connsiteY7" fmla="*/ 26488 h 33946"/>
                <a:gd name="connsiteX8" fmla="*/ 24455 w 32808"/>
                <a:gd name="connsiteY8" fmla="*/ 23613 h 33946"/>
                <a:gd name="connsiteX9" fmla="*/ 26771 w 32808"/>
                <a:gd name="connsiteY9" fmla="*/ 22148 h 33946"/>
                <a:gd name="connsiteX10" fmla="*/ 31058 w 32808"/>
                <a:gd name="connsiteY10" fmla="*/ 22148 h 33946"/>
                <a:gd name="connsiteX11" fmla="*/ 32815 w 32808"/>
                <a:gd name="connsiteY11" fmla="*/ 24358 h 33946"/>
                <a:gd name="connsiteX12" fmla="*/ 18118 w 32808"/>
                <a:gd name="connsiteY12" fmla="*/ 33571 h 33946"/>
                <a:gd name="connsiteX13" fmla="*/ 994 w 32808"/>
                <a:gd name="connsiteY13" fmla="*/ 17371 h 33946"/>
                <a:gd name="connsiteX14" fmla="*/ 997 w 32808"/>
                <a:gd name="connsiteY14" fmla="*/ 16370 h 33946"/>
                <a:gd name="connsiteX15" fmla="*/ 16866 w 32808"/>
                <a:gd name="connsiteY15" fmla="*/ -340 h 33946"/>
                <a:gd name="connsiteX16" fmla="*/ 18118 w 32808"/>
                <a:gd name="connsiteY16" fmla="*/ -324 h 33946"/>
                <a:gd name="connsiteX17" fmla="*/ 12020 w 32808"/>
                <a:gd name="connsiteY17" fmla="*/ 13362 h 33946"/>
                <a:gd name="connsiteX18" fmla="*/ 23257 w 32808"/>
                <a:gd name="connsiteY18" fmla="*/ 13362 h 33946"/>
                <a:gd name="connsiteX19" fmla="*/ 24774 w 32808"/>
                <a:gd name="connsiteY19" fmla="*/ 11365 h 33946"/>
                <a:gd name="connsiteX20" fmla="*/ 17985 w 32808"/>
                <a:gd name="connsiteY20" fmla="*/ 6705 h 33946"/>
                <a:gd name="connsiteX21" fmla="*/ 10582 w 32808"/>
                <a:gd name="connsiteY21" fmla="*/ 11285 h 33946"/>
                <a:gd name="connsiteX22" fmla="*/ 12020 w 32808"/>
                <a:gd name="connsiteY22" fmla="*/ 13362 h 3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808" h="33946">
                  <a:moveTo>
                    <a:pt x="18038" y="-324"/>
                  </a:moveTo>
                  <a:cubicBezTo>
                    <a:pt x="26859" y="-204"/>
                    <a:pt x="33915" y="7046"/>
                    <a:pt x="33795" y="15867"/>
                  </a:cubicBezTo>
                  <a:cubicBezTo>
                    <a:pt x="33787" y="16312"/>
                    <a:pt x="33763" y="16754"/>
                    <a:pt x="33721" y="17196"/>
                  </a:cubicBezTo>
                  <a:cubicBezTo>
                    <a:pt x="33723" y="18197"/>
                    <a:pt x="32914" y="19009"/>
                    <a:pt x="31915" y="19012"/>
                  </a:cubicBezTo>
                  <a:cubicBezTo>
                    <a:pt x="31870" y="19012"/>
                    <a:pt x="31822" y="19009"/>
                    <a:pt x="31777" y="19006"/>
                  </a:cubicBezTo>
                  <a:lnTo>
                    <a:pt x="11568" y="19006"/>
                  </a:lnTo>
                  <a:cubicBezTo>
                    <a:pt x="10396" y="19006"/>
                    <a:pt x="9624" y="19778"/>
                    <a:pt x="10130" y="20950"/>
                  </a:cubicBezTo>
                  <a:cubicBezTo>
                    <a:pt x="11272" y="24361"/>
                    <a:pt x="14523" y="26616"/>
                    <a:pt x="18118" y="26488"/>
                  </a:cubicBezTo>
                  <a:cubicBezTo>
                    <a:pt x="20589" y="26709"/>
                    <a:pt x="22996" y="25618"/>
                    <a:pt x="24455" y="23613"/>
                  </a:cubicBezTo>
                  <a:cubicBezTo>
                    <a:pt x="24897" y="22734"/>
                    <a:pt x="25789" y="22172"/>
                    <a:pt x="26771" y="22148"/>
                  </a:cubicBezTo>
                  <a:lnTo>
                    <a:pt x="31058" y="22148"/>
                  </a:lnTo>
                  <a:cubicBezTo>
                    <a:pt x="32443" y="22148"/>
                    <a:pt x="33295" y="23027"/>
                    <a:pt x="32815" y="24358"/>
                  </a:cubicBezTo>
                  <a:cubicBezTo>
                    <a:pt x="30403" y="30267"/>
                    <a:pt x="24487" y="33975"/>
                    <a:pt x="18118" y="33571"/>
                  </a:cubicBezTo>
                  <a:cubicBezTo>
                    <a:pt x="8916" y="33826"/>
                    <a:pt x="1250" y="26573"/>
                    <a:pt x="994" y="17371"/>
                  </a:cubicBezTo>
                  <a:cubicBezTo>
                    <a:pt x="986" y="17036"/>
                    <a:pt x="986" y="16703"/>
                    <a:pt x="997" y="16370"/>
                  </a:cubicBezTo>
                  <a:cubicBezTo>
                    <a:pt x="765" y="7373"/>
                    <a:pt x="7869" y="-109"/>
                    <a:pt x="16866" y="-340"/>
                  </a:cubicBezTo>
                  <a:cubicBezTo>
                    <a:pt x="17284" y="-351"/>
                    <a:pt x="17702" y="-346"/>
                    <a:pt x="18118" y="-324"/>
                  </a:cubicBezTo>
                  <a:moveTo>
                    <a:pt x="12020" y="13362"/>
                  </a:moveTo>
                  <a:lnTo>
                    <a:pt x="23257" y="13362"/>
                  </a:lnTo>
                  <a:cubicBezTo>
                    <a:pt x="24508" y="13362"/>
                    <a:pt x="25280" y="12616"/>
                    <a:pt x="24774" y="11365"/>
                  </a:cubicBezTo>
                  <a:cubicBezTo>
                    <a:pt x="23707" y="8545"/>
                    <a:pt x="20999" y="6686"/>
                    <a:pt x="17985" y="6705"/>
                  </a:cubicBezTo>
                  <a:cubicBezTo>
                    <a:pt x="14859" y="6737"/>
                    <a:pt x="12007" y="8502"/>
                    <a:pt x="10582" y="11285"/>
                  </a:cubicBezTo>
                  <a:cubicBezTo>
                    <a:pt x="10023" y="12483"/>
                    <a:pt x="10716" y="13362"/>
                    <a:pt x="12020" y="13362"/>
                  </a:cubicBezTo>
                </a:path>
              </a:pathLst>
            </a:custGeom>
            <a:solidFill>
              <a:srgbClr val="FFFFFF"/>
            </a:solidFill>
            <a:ln w="2661" cap="flat">
              <a:noFill/>
              <a:prstDash val="solid"/>
              <a:miter/>
            </a:ln>
          </p:spPr>
          <p:txBody>
            <a:bodyPr rtlCol="0" anchor="ctr"/>
            <a:lstStyle/>
            <a:p>
              <a:endParaRPr lang="pl-PL"/>
            </a:p>
          </p:txBody>
        </p:sp>
        <p:sp>
          <p:nvSpPr>
            <p:cNvPr id="114" name="Freeform: Shape 113">
              <a:extLst>
                <a:ext uri="{FF2B5EF4-FFF2-40B4-BE49-F238E27FC236}">
                  <a16:creationId xmlns:a16="http://schemas.microsoft.com/office/drawing/2014/main" id="{D5E9AE0B-DA08-4BE4-94C7-6365319E757C}"/>
                </a:ext>
              </a:extLst>
            </p:cNvPr>
            <p:cNvSpPr/>
            <p:nvPr/>
          </p:nvSpPr>
          <p:spPr>
            <a:xfrm>
              <a:off x="11619475" y="6750860"/>
              <a:ext cx="19631" cy="26558"/>
            </a:xfrm>
            <a:custGeom>
              <a:avLst/>
              <a:gdLst>
                <a:gd name="connsiteX0" fmla="*/ 997 w 34787"/>
                <a:gd name="connsiteY0" fmla="*/ 44632 h 47062"/>
                <a:gd name="connsiteX1" fmla="*/ 997 w 34787"/>
                <a:gd name="connsiteY1" fmla="*/ 2270 h 47062"/>
                <a:gd name="connsiteX2" fmla="*/ 2658 w 34787"/>
                <a:gd name="connsiteY2" fmla="*/ 273 h 47062"/>
                <a:gd name="connsiteX3" fmla="*/ 2994 w 34787"/>
                <a:gd name="connsiteY3" fmla="*/ 273 h 47062"/>
                <a:gd name="connsiteX4" fmla="*/ 5017 w 34787"/>
                <a:gd name="connsiteY4" fmla="*/ 273 h 47062"/>
                <a:gd name="connsiteX5" fmla="*/ 7280 w 34787"/>
                <a:gd name="connsiteY5" fmla="*/ 1897 h 47062"/>
                <a:gd name="connsiteX6" fmla="*/ 9597 w 34787"/>
                <a:gd name="connsiteY6" fmla="*/ 2589 h 47062"/>
                <a:gd name="connsiteX7" fmla="*/ 19209 w 34787"/>
                <a:gd name="connsiteY7" fmla="*/ -339 h 47062"/>
                <a:gd name="connsiteX8" fmla="*/ 35773 w 34787"/>
                <a:gd name="connsiteY8" fmla="*/ 16060 h 47062"/>
                <a:gd name="connsiteX9" fmla="*/ 35770 w 34787"/>
                <a:gd name="connsiteY9" fmla="*/ 16462 h 47062"/>
                <a:gd name="connsiteX10" fmla="*/ 19560 w 34787"/>
                <a:gd name="connsiteY10" fmla="*/ 33524 h 47062"/>
                <a:gd name="connsiteX11" fmla="*/ 19076 w 34787"/>
                <a:gd name="connsiteY11" fmla="*/ 33529 h 47062"/>
                <a:gd name="connsiteX12" fmla="*/ 11088 w 34787"/>
                <a:gd name="connsiteY12" fmla="*/ 31585 h 47062"/>
                <a:gd name="connsiteX13" fmla="*/ 9011 w 34787"/>
                <a:gd name="connsiteY13" fmla="*/ 32597 h 47062"/>
                <a:gd name="connsiteX14" fmla="*/ 9011 w 34787"/>
                <a:gd name="connsiteY14" fmla="*/ 44712 h 47062"/>
                <a:gd name="connsiteX15" fmla="*/ 7350 w 34787"/>
                <a:gd name="connsiteY15" fmla="*/ 46709 h 47062"/>
                <a:gd name="connsiteX16" fmla="*/ 7014 w 34787"/>
                <a:gd name="connsiteY16" fmla="*/ 46709 h 47062"/>
                <a:gd name="connsiteX17" fmla="*/ 3100 w 34787"/>
                <a:gd name="connsiteY17" fmla="*/ 46709 h 47062"/>
                <a:gd name="connsiteX18" fmla="*/ 1103 w 34787"/>
                <a:gd name="connsiteY18" fmla="*/ 45048 h 47062"/>
                <a:gd name="connsiteX19" fmla="*/ 1103 w 34787"/>
                <a:gd name="connsiteY19" fmla="*/ 44712 h 47062"/>
                <a:gd name="connsiteX20" fmla="*/ 10342 w 34787"/>
                <a:gd name="connsiteY20" fmla="*/ 22106 h 47062"/>
                <a:gd name="connsiteX21" fmla="*/ 18330 w 34787"/>
                <a:gd name="connsiteY21" fmla="*/ 26127 h 47062"/>
                <a:gd name="connsiteX22" fmla="*/ 27042 w 34787"/>
                <a:gd name="connsiteY22" fmla="*/ 16539 h 47062"/>
                <a:gd name="connsiteX23" fmla="*/ 27037 w 34787"/>
                <a:gd name="connsiteY23" fmla="*/ 16462 h 47062"/>
                <a:gd name="connsiteX24" fmla="*/ 18330 w 34787"/>
                <a:gd name="connsiteY24" fmla="*/ 7063 h 47062"/>
                <a:gd name="connsiteX25" fmla="*/ 10342 w 34787"/>
                <a:gd name="connsiteY25" fmla="*/ 11057 h 47062"/>
                <a:gd name="connsiteX26" fmla="*/ 9757 w 34787"/>
                <a:gd name="connsiteY26" fmla="*/ 13213 h 47062"/>
                <a:gd name="connsiteX27" fmla="*/ 9757 w 34787"/>
                <a:gd name="connsiteY27" fmla="*/ 19976 h 47062"/>
                <a:gd name="connsiteX28" fmla="*/ 10342 w 34787"/>
                <a:gd name="connsiteY28" fmla="*/ 22106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787" h="47062">
                  <a:moveTo>
                    <a:pt x="997" y="44632"/>
                  </a:moveTo>
                  <a:lnTo>
                    <a:pt x="997" y="2270"/>
                  </a:lnTo>
                  <a:cubicBezTo>
                    <a:pt x="903" y="1261"/>
                    <a:pt x="1649" y="366"/>
                    <a:pt x="2658" y="273"/>
                  </a:cubicBezTo>
                  <a:cubicBezTo>
                    <a:pt x="2770" y="262"/>
                    <a:pt x="2882" y="262"/>
                    <a:pt x="2994" y="273"/>
                  </a:cubicBezTo>
                  <a:lnTo>
                    <a:pt x="5017" y="273"/>
                  </a:lnTo>
                  <a:cubicBezTo>
                    <a:pt x="6064" y="201"/>
                    <a:pt x="7014" y="883"/>
                    <a:pt x="7280" y="1897"/>
                  </a:cubicBezTo>
                  <a:cubicBezTo>
                    <a:pt x="7600" y="3228"/>
                    <a:pt x="8532" y="3415"/>
                    <a:pt x="9597" y="2589"/>
                  </a:cubicBezTo>
                  <a:cubicBezTo>
                    <a:pt x="12395" y="592"/>
                    <a:pt x="15771" y="-435"/>
                    <a:pt x="19209" y="-339"/>
                  </a:cubicBezTo>
                  <a:cubicBezTo>
                    <a:pt x="28312" y="-385"/>
                    <a:pt x="35728" y="6956"/>
                    <a:pt x="35773" y="16060"/>
                  </a:cubicBezTo>
                  <a:cubicBezTo>
                    <a:pt x="35773" y="16193"/>
                    <a:pt x="35773" y="16329"/>
                    <a:pt x="35770" y="16462"/>
                  </a:cubicBezTo>
                  <a:cubicBezTo>
                    <a:pt x="36005" y="25650"/>
                    <a:pt x="28749" y="33289"/>
                    <a:pt x="19560" y="33524"/>
                  </a:cubicBezTo>
                  <a:cubicBezTo>
                    <a:pt x="19398" y="33529"/>
                    <a:pt x="19238" y="33529"/>
                    <a:pt x="19076" y="33529"/>
                  </a:cubicBezTo>
                  <a:cubicBezTo>
                    <a:pt x="16291" y="33582"/>
                    <a:pt x="13538" y="32914"/>
                    <a:pt x="11088" y="31585"/>
                  </a:cubicBezTo>
                  <a:cubicBezTo>
                    <a:pt x="9836" y="30840"/>
                    <a:pt x="9011" y="31213"/>
                    <a:pt x="9011" y="32597"/>
                  </a:cubicBezTo>
                  <a:lnTo>
                    <a:pt x="9011" y="44712"/>
                  </a:lnTo>
                  <a:cubicBezTo>
                    <a:pt x="9104" y="45721"/>
                    <a:pt x="8359" y="46616"/>
                    <a:pt x="7350" y="46709"/>
                  </a:cubicBezTo>
                  <a:cubicBezTo>
                    <a:pt x="7238" y="46720"/>
                    <a:pt x="7126" y="46720"/>
                    <a:pt x="7014" y="46709"/>
                  </a:cubicBezTo>
                  <a:lnTo>
                    <a:pt x="3100" y="46709"/>
                  </a:lnTo>
                  <a:cubicBezTo>
                    <a:pt x="2088" y="46802"/>
                    <a:pt x="1196" y="46057"/>
                    <a:pt x="1103" y="45048"/>
                  </a:cubicBezTo>
                  <a:cubicBezTo>
                    <a:pt x="1092" y="44936"/>
                    <a:pt x="1092" y="44824"/>
                    <a:pt x="1103" y="44712"/>
                  </a:cubicBezTo>
                  <a:moveTo>
                    <a:pt x="10342" y="22106"/>
                  </a:moveTo>
                  <a:cubicBezTo>
                    <a:pt x="12145" y="24721"/>
                    <a:pt x="15156" y="26236"/>
                    <a:pt x="18330" y="26127"/>
                  </a:cubicBezTo>
                  <a:cubicBezTo>
                    <a:pt x="23384" y="25885"/>
                    <a:pt x="27282" y="21592"/>
                    <a:pt x="27042" y="16539"/>
                  </a:cubicBezTo>
                  <a:cubicBezTo>
                    <a:pt x="27040" y="16515"/>
                    <a:pt x="27040" y="16488"/>
                    <a:pt x="27037" y="16462"/>
                  </a:cubicBezTo>
                  <a:cubicBezTo>
                    <a:pt x="27202" y="11472"/>
                    <a:pt x="23317" y="7278"/>
                    <a:pt x="18330" y="7063"/>
                  </a:cubicBezTo>
                  <a:cubicBezTo>
                    <a:pt x="15164" y="6964"/>
                    <a:pt x="12161" y="8466"/>
                    <a:pt x="10342" y="11057"/>
                  </a:cubicBezTo>
                  <a:cubicBezTo>
                    <a:pt x="9919" y="11693"/>
                    <a:pt x="9711" y="12449"/>
                    <a:pt x="9757" y="13213"/>
                  </a:cubicBezTo>
                  <a:lnTo>
                    <a:pt x="9757" y="19976"/>
                  </a:lnTo>
                  <a:cubicBezTo>
                    <a:pt x="9730" y="20730"/>
                    <a:pt x="9935" y="21473"/>
                    <a:pt x="10342" y="22106"/>
                  </a:cubicBezTo>
                </a:path>
              </a:pathLst>
            </a:custGeom>
            <a:solidFill>
              <a:srgbClr val="FFFFFF"/>
            </a:solidFill>
            <a:ln w="2661" cap="flat">
              <a:noFill/>
              <a:prstDash val="solid"/>
              <a:miter/>
            </a:ln>
          </p:spPr>
          <p:txBody>
            <a:bodyPr rtlCol="0" anchor="ctr"/>
            <a:lstStyle/>
            <a:p>
              <a:endParaRPr lang="pl-PL"/>
            </a:p>
          </p:txBody>
        </p:sp>
        <p:sp>
          <p:nvSpPr>
            <p:cNvPr id="115" name="Freeform: Shape 114">
              <a:extLst>
                <a:ext uri="{FF2B5EF4-FFF2-40B4-BE49-F238E27FC236}">
                  <a16:creationId xmlns:a16="http://schemas.microsoft.com/office/drawing/2014/main" id="{149912CA-FF0B-4FD2-AA8F-BC6B2D4EA04C}"/>
                </a:ext>
              </a:extLst>
            </p:cNvPr>
            <p:cNvSpPr/>
            <p:nvPr/>
          </p:nvSpPr>
          <p:spPr>
            <a:xfrm>
              <a:off x="11641544" y="6750833"/>
              <a:ext cx="16868" cy="19128"/>
            </a:xfrm>
            <a:custGeom>
              <a:avLst/>
              <a:gdLst>
                <a:gd name="connsiteX0" fmla="*/ 16181 w 29890"/>
                <a:gd name="connsiteY0" fmla="*/ -346 h 33895"/>
                <a:gd name="connsiteX1" fmla="*/ 30186 w 29890"/>
                <a:gd name="connsiteY1" fmla="*/ 9400 h 33895"/>
                <a:gd name="connsiteX2" fmla="*/ 28296 w 29890"/>
                <a:gd name="connsiteY2" fmla="*/ 11476 h 33895"/>
                <a:gd name="connsiteX3" fmla="*/ 24275 w 29890"/>
                <a:gd name="connsiteY3" fmla="*/ 11476 h 33895"/>
                <a:gd name="connsiteX4" fmla="*/ 22092 w 29890"/>
                <a:gd name="connsiteY4" fmla="*/ 9719 h 33895"/>
                <a:gd name="connsiteX5" fmla="*/ 16048 w 29890"/>
                <a:gd name="connsiteY5" fmla="*/ 6444 h 33895"/>
                <a:gd name="connsiteX6" fmla="*/ 10723 w 29890"/>
                <a:gd name="connsiteY6" fmla="*/ 9266 h 33895"/>
                <a:gd name="connsiteX7" fmla="*/ 30879 w 29890"/>
                <a:gd name="connsiteY7" fmla="*/ 23591 h 33895"/>
                <a:gd name="connsiteX8" fmla="*/ 16687 w 29890"/>
                <a:gd name="connsiteY8" fmla="*/ 33550 h 33895"/>
                <a:gd name="connsiteX9" fmla="*/ 1057 w 29890"/>
                <a:gd name="connsiteY9" fmla="*/ 23511 h 33895"/>
                <a:gd name="connsiteX10" fmla="*/ 2895 w 29890"/>
                <a:gd name="connsiteY10" fmla="*/ 21381 h 33895"/>
                <a:gd name="connsiteX11" fmla="*/ 7155 w 29890"/>
                <a:gd name="connsiteY11" fmla="*/ 21381 h 33895"/>
                <a:gd name="connsiteX12" fmla="*/ 9338 w 29890"/>
                <a:gd name="connsiteY12" fmla="*/ 23006 h 33895"/>
                <a:gd name="connsiteX13" fmla="*/ 16873 w 29890"/>
                <a:gd name="connsiteY13" fmla="*/ 26786 h 33895"/>
                <a:gd name="connsiteX14" fmla="*/ 22411 w 29890"/>
                <a:gd name="connsiteY14" fmla="*/ 23645 h 33895"/>
                <a:gd name="connsiteX15" fmla="*/ 2256 w 29890"/>
                <a:gd name="connsiteY15" fmla="*/ 9453 h 33895"/>
                <a:gd name="connsiteX16" fmla="*/ 16128 w 29890"/>
                <a:gd name="connsiteY16" fmla="*/ -346 h 3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890" h="33895">
                  <a:moveTo>
                    <a:pt x="16181" y="-346"/>
                  </a:moveTo>
                  <a:cubicBezTo>
                    <a:pt x="24169" y="-346"/>
                    <a:pt x="28855" y="3622"/>
                    <a:pt x="30186" y="9400"/>
                  </a:cubicBezTo>
                  <a:cubicBezTo>
                    <a:pt x="30479" y="10704"/>
                    <a:pt x="29681" y="11476"/>
                    <a:pt x="28296" y="11476"/>
                  </a:cubicBezTo>
                  <a:lnTo>
                    <a:pt x="24275" y="11476"/>
                  </a:lnTo>
                  <a:cubicBezTo>
                    <a:pt x="23077" y="11476"/>
                    <a:pt x="22518" y="10837"/>
                    <a:pt x="22092" y="9719"/>
                  </a:cubicBezTo>
                  <a:cubicBezTo>
                    <a:pt x="21320" y="7642"/>
                    <a:pt x="19429" y="6444"/>
                    <a:pt x="16048" y="6444"/>
                  </a:cubicBezTo>
                  <a:cubicBezTo>
                    <a:pt x="12666" y="6444"/>
                    <a:pt x="10723" y="7562"/>
                    <a:pt x="10723" y="9266"/>
                  </a:cubicBezTo>
                  <a:cubicBezTo>
                    <a:pt x="10723" y="15364"/>
                    <a:pt x="30879" y="10971"/>
                    <a:pt x="30879" y="23591"/>
                  </a:cubicBezTo>
                  <a:cubicBezTo>
                    <a:pt x="30879" y="29982"/>
                    <a:pt x="25048" y="33550"/>
                    <a:pt x="16687" y="33550"/>
                  </a:cubicBezTo>
                  <a:cubicBezTo>
                    <a:pt x="8326" y="33550"/>
                    <a:pt x="2389" y="29928"/>
                    <a:pt x="1057" y="23511"/>
                  </a:cubicBezTo>
                  <a:cubicBezTo>
                    <a:pt x="738" y="22127"/>
                    <a:pt x="1563" y="21381"/>
                    <a:pt x="2895" y="21381"/>
                  </a:cubicBezTo>
                  <a:lnTo>
                    <a:pt x="7155" y="21381"/>
                  </a:lnTo>
                  <a:cubicBezTo>
                    <a:pt x="8172" y="21347"/>
                    <a:pt x="9077" y="22020"/>
                    <a:pt x="9338" y="23006"/>
                  </a:cubicBezTo>
                  <a:cubicBezTo>
                    <a:pt x="10858" y="25668"/>
                    <a:pt x="13830" y="27159"/>
                    <a:pt x="16873" y="26786"/>
                  </a:cubicBezTo>
                  <a:cubicBezTo>
                    <a:pt x="20281" y="26786"/>
                    <a:pt x="22411" y="25721"/>
                    <a:pt x="22411" y="23645"/>
                  </a:cubicBezTo>
                  <a:cubicBezTo>
                    <a:pt x="22411" y="17494"/>
                    <a:pt x="2256" y="22127"/>
                    <a:pt x="2256" y="9453"/>
                  </a:cubicBezTo>
                  <a:cubicBezTo>
                    <a:pt x="2256" y="3808"/>
                    <a:pt x="7101" y="-346"/>
                    <a:pt x="16128" y="-346"/>
                  </a:cubicBezTo>
                </a:path>
              </a:pathLst>
            </a:custGeom>
            <a:solidFill>
              <a:srgbClr val="FFFFFF"/>
            </a:solidFill>
            <a:ln w="2661" cap="flat">
              <a:noFill/>
              <a:prstDash val="solid"/>
              <a:miter/>
            </a:ln>
          </p:spPr>
          <p:txBody>
            <a:bodyPr rtlCol="0" anchor="ctr"/>
            <a:lstStyle/>
            <a:p>
              <a:endParaRPr lang="pl-PL"/>
            </a:p>
          </p:txBody>
        </p:sp>
        <p:sp>
          <p:nvSpPr>
            <p:cNvPr id="116" name="Freeform: Shape 115">
              <a:extLst>
                <a:ext uri="{FF2B5EF4-FFF2-40B4-BE49-F238E27FC236}">
                  <a16:creationId xmlns:a16="http://schemas.microsoft.com/office/drawing/2014/main" id="{CBF10406-BB2B-4E75-AE61-54FAB62B8238}"/>
                </a:ext>
              </a:extLst>
            </p:cNvPr>
            <p:cNvSpPr/>
            <p:nvPr/>
          </p:nvSpPr>
          <p:spPr>
            <a:xfrm>
              <a:off x="11661657" y="6742209"/>
              <a:ext cx="6551" cy="27381"/>
            </a:xfrm>
            <a:custGeom>
              <a:avLst/>
              <a:gdLst>
                <a:gd name="connsiteX0" fmla="*/ 989 w 11609"/>
                <a:gd name="connsiteY0" fmla="*/ 5352 h 48520"/>
                <a:gd name="connsiteX1" fmla="*/ 6687 w 11609"/>
                <a:gd name="connsiteY1" fmla="*/ -346 h 48520"/>
                <a:gd name="connsiteX2" fmla="*/ 6767 w 11609"/>
                <a:gd name="connsiteY2" fmla="*/ -346 h 48520"/>
                <a:gd name="connsiteX3" fmla="*/ 12598 w 11609"/>
                <a:gd name="connsiteY3" fmla="*/ 5352 h 48520"/>
                <a:gd name="connsiteX4" fmla="*/ 6767 w 11609"/>
                <a:gd name="connsiteY4" fmla="*/ 11263 h 48520"/>
                <a:gd name="connsiteX5" fmla="*/ 989 w 11609"/>
                <a:gd name="connsiteY5" fmla="*/ 5432 h 48520"/>
                <a:gd name="connsiteX6" fmla="*/ 989 w 11609"/>
                <a:gd name="connsiteY6" fmla="*/ 5352 h 48520"/>
                <a:gd name="connsiteX7" fmla="*/ 10734 w 11609"/>
                <a:gd name="connsiteY7" fmla="*/ 17521 h 48520"/>
                <a:gd name="connsiteX8" fmla="*/ 10734 w 11609"/>
                <a:gd name="connsiteY8" fmla="*/ 46144 h 48520"/>
                <a:gd name="connsiteX9" fmla="*/ 9046 w 11609"/>
                <a:gd name="connsiteY9" fmla="*/ 48167 h 48520"/>
                <a:gd name="connsiteX10" fmla="*/ 8710 w 11609"/>
                <a:gd name="connsiteY10" fmla="*/ 48167 h 48520"/>
                <a:gd name="connsiteX11" fmla="*/ 3998 w 11609"/>
                <a:gd name="connsiteY11" fmla="*/ 48167 h 48520"/>
                <a:gd name="connsiteX12" fmla="*/ 1998 w 11609"/>
                <a:gd name="connsiteY12" fmla="*/ 46450 h 48520"/>
                <a:gd name="connsiteX13" fmla="*/ 2001 w 11609"/>
                <a:gd name="connsiteY13" fmla="*/ 46144 h 48520"/>
                <a:gd name="connsiteX14" fmla="*/ 2001 w 11609"/>
                <a:gd name="connsiteY14" fmla="*/ 17600 h 48520"/>
                <a:gd name="connsiteX15" fmla="*/ 3662 w 11609"/>
                <a:gd name="connsiteY15" fmla="*/ 15603 h 48520"/>
                <a:gd name="connsiteX16" fmla="*/ 3998 w 11609"/>
                <a:gd name="connsiteY16" fmla="*/ 15603 h 48520"/>
                <a:gd name="connsiteX17" fmla="*/ 8710 w 11609"/>
                <a:gd name="connsiteY17" fmla="*/ 15603 h 48520"/>
                <a:gd name="connsiteX18" fmla="*/ 10731 w 11609"/>
                <a:gd name="connsiteY18" fmla="*/ 17294 h 48520"/>
                <a:gd name="connsiteX19" fmla="*/ 10734 w 11609"/>
                <a:gd name="connsiteY19" fmla="*/ 17600 h 48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09" h="48520">
                  <a:moveTo>
                    <a:pt x="989" y="5352"/>
                  </a:moveTo>
                  <a:cubicBezTo>
                    <a:pt x="989" y="2205"/>
                    <a:pt x="3540" y="-346"/>
                    <a:pt x="6687" y="-346"/>
                  </a:cubicBezTo>
                  <a:cubicBezTo>
                    <a:pt x="6713" y="-346"/>
                    <a:pt x="6740" y="-346"/>
                    <a:pt x="6767" y="-346"/>
                  </a:cubicBezTo>
                  <a:cubicBezTo>
                    <a:pt x="9935" y="-346"/>
                    <a:pt x="12526" y="2184"/>
                    <a:pt x="12598" y="5352"/>
                  </a:cubicBezTo>
                  <a:cubicBezTo>
                    <a:pt x="12598" y="8585"/>
                    <a:pt x="9999" y="11221"/>
                    <a:pt x="6767" y="11263"/>
                  </a:cubicBezTo>
                  <a:cubicBezTo>
                    <a:pt x="3561" y="11250"/>
                    <a:pt x="973" y="8638"/>
                    <a:pt x="989" y="5432"/>
                  </a:cubicBezTo>
                  <a:cubicBezTo>
                    <a:pt x="989" y="5406"/>
                    <a:pt x="989" y="5379"/>
                    <a:pt x="989" y="5352"/>
                  </a:cubicBezTo>
                  <a:moveTo>
                    <a:pt x="10734" y="17521"/>
                  </a:moveTo>
                  <a:lnTo>
                    <a:pt x="10734" y="46144"/>
                  </a:lnTo>
                  <a:cubicBezTo>
                    <a:pt x="10827" y="47169"/>
                    <a:pt x="10071" y="48074"/>
                    <a:pt x="9046" y="48167"/>
                  </a:cubicBezTo>
                  <a:cubicBezTo>
                    <a:pt x="8934" y="48178"/>
                    <a:pt x="8822" y="48178"/>
                    <a:pt x="8710" y="48167"/>
                  </a:cubicBezTo>
                  <a:lnTo>
                    <a:pt x="3998" y="48167"/>
                  </a:lnTo>
                  <a:cubicBezTo>
                    <a:pt x="2972" y="48244"/>
                    <a:pt x="2075" y="47475"/>
                    <a:pt x="1998" y="46450"/>
                  </a:cubicBezTo>
                  <a:cubicBezTo>
                    <a:pt x="1990" y="46349"/>
                    <a:pt x="1993" y="46245"/>
                    <a:pt x="2001" y="46144"/>
                  </a:cubicBezTo>
                  <a:lnTo>
                    <a:pt x="2001" y="17600"/>
                  </a:lnTo>
                  <a:cubicBezTo>
                    <a:pt x="1907" y="16591"/>
                    <a:pt x="2653" y="15697"/>
                    <a:pt x="3662" y="15603"/>
                  </a:cubicBezTo>
                  <a:cubicBezTo>
                    <a:pt x="3774" y="15593"/>
                    <a:pt x="3886" y="15593"/>
                    <a:pt x="3998" y="15603"/>
                  </a:cubicBezTo>
                  <a:lnTo>
                    <a:pt x="8710" y="15603"/>
                  </a:lnTo>
                  <a:cubicBezTo>
                    <a:pt x="9735" y="15513"/>
                    <a:pt x="10641" y="16269"/>
                    <a:pt x="10731" y="17294"/>
                  </a:cubicBezTo>
                  <a:cubicBezTo>
                    <a:pt x="10742" y="17395"/>
                    <a:pt x="10742" y="17499"/>
                    <a:pt x="10734" y="17600"/>
                  </a:cubicBezTo>
                </a:path>
              </a:pathLst>
            </a:custGeom>
            <a:solidFill>
              <a:srgbClr val="FFFFFF"/>
            </a:solidFill>
            <a:ln w="2661" cap="flat">
              <a:noFill/>
              <a:prstDash val="solid"/>
              <a:miter/>
            </a:ln>
          </p:spPr>
          <p:txBody>
            <a:bodyPr rtlCol="0" anchor="ctr"/>
            <a:lstStyle/>
            <a:p>
              <a:endParaRPr lang="pl-PL"/>
            </a:p>
          </p:txBody>
        </p:sp>
        <p:sp>
          <p:nvSpPr>
            <p:cNvPr id="117" name="Freeform: Shape 116">
              <a:extLst>
                <a:ext uri="{FF2B5EF4-FFF2-40B4-BE49-F238E27FC236}">
                  <a16:creationId xmlns:a16="http://schemas.microsoft.com/office/drawing/2014/main" id="{4CF9B7C0-41BC-4709-8BE4-41E44B6993B4}"/>
                </a:ext>
              </a:extLst>
            </p:cNvPr>
            <p:cNvSpPr/>
            <p:nvPr/>
          </p:nvSpPr>
          <p:spPr>
            <a:xfrm>
              <a:off x="11670912" y="6750850"/>
              <a:ext cx="18928" cy="19154"/>
            </a:xfrm>
            <a:custGeom>
              <a:avLst/>
              <a:gdLst>
                <a:gd name="connsiteX0" fmla="*/ 25781 w 33540"/>
                <a:gd name="connsiteY0" fmla="*/ 11128 h 33942"/>
                <a:gd name="connsiteX1" fmla="*/ 18672 w 33540"/>
                <a:gd name="connsiteY1" fmla="*/ 7001 h 33942"/>
                <a:gd name="connsiteX2" fmla="*/ 9850 w 33540"/>
                <a:gd name="connsiteY2" fmla="*/ 15699 h 33942"/>
                <a:gd name="connsiteX3" fmla="*/ 9885 w 33540"/>
                <a:gd name="connsiteY3" fmla="*/ 16533 h 33942"/>
                <a:gd name="connsiteX4" fmla="*/ 17838 w 33540"/>
                <a:gd name="connsiteY4" fmla="*/ 26030 h 33942"/>
                <a:gd name="connsiteX5" fmla="*/ 18618 w 33540"/>
                <a:gd name="connsiteY5" fmla="*/ 26065 h 33942"/>
                <a:gd name="connsiteX6" fmla="*/ 25514 w 33540"/>
                <a:gd name="connsiteY6" fmla="*/ 22364 h 33942"/>
                <a:gd name="connsiteX7" fmla="*/ 27778 w 33540"/>
                <a:gd name="connsiteY7" fmla="*/ 20793 h 33942"/>
                <a:gd name="connsiteX8" fmla="*/ 32411 w 33540"/>
                <a:gd name="connsiteY8" fmla="*/ 20793 h 33942"/>
                <a:gd name="connsiteX9" fmla="*/ 34301 w 33540"/>
                <a:gd name="connsiteY9" fmla="*/ 22923 h 33942"/>
                <a:gd name="connsiteX10" fmla="*/ 18805 w 33540"/>
                <a:gd name="connsiteY10" fmla="*/ 33573 h 33942"/>
                <a:gd name="connsiteX11" fmla="*/ 1013 w 33540"/>
                <a:gd name="connsiteY11" fmla="*/ 17545 h 33942"/>
                <a:gd name="connsiteX12" fmla="*/ 992 w 33540"/>
                <a:gd name="connsiteY12" fmla="*/ 16373 h 33942"/>
                <a:gd name="connsiteX13" fmla="*/ 17503 w 33540"/>
                <a:gd name="connsiteY13" fmla="*/ -346 h 33942"/>
                <a:gd name="connsiteX14" fmla="*/ 18485 w 33540"/>
                <a:gd name="connsiteY14" fmla="*/ -322 h 33942"/>
                <a:gd name="connsiteX15" fmla="*/ 34461 w 33540"/>
                <a:gd name="connsiteY15" fmla="*/ 10728 h 33942"/>
                <a:gd name="connsiteX16" fmla="*/ 33324 w 33540"/>
                <a:gd name="connsiteY16" fmla="*/ 12810 h 33942"/>
                <a:gd name="connsiteX17" fmla="*/ 32597 w 33540"/>
                <a:gd name="connsiteY17" fmla="*/ 12858 h 33942"/>
                <a:gd name="connsiteX18" fmla="*/ 28124 w 33540"/>
                <a:gd name="connsiteY18" fmla="*/ 12858 h 33942"/>
                <a:gd name="connsiteX19" fmla="*/ 25887 w 33540"/>
                <a:gd name="connsiteY19" fmla="*/ 11234 h 33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3540" h="33942">
                  <a:moveTo>
                    <a:pt x="25781" y="11128"/>
                  </a:moveTo>
                  <a:cubicBezTo>
                    <a:pt x="24463" y="8441"/>
                    <a:pt x="21656" y="6814"/>
                    <a:pt x="18672" y="7001"/>
                  </a:cubicBezTo>
                  <a:cubicBezTo>
                    <a:pt x="13834" y="6966"/>
                    <a:pt x="9885" y="10861"/>
                    <a:pt x="9850" y="15699"/>
                  </a:cubicBezTo>
                  <a:cubicBezTo>
                    <a:pt x="9850" y="15979"/>
                    <a:pt x="9861" y="16256"/>
                    <a:pt x="9885" y="16533"/>
                  </a:cubicBezTo>
                  <a:cubicBezTo>
                    <a:pt x="9459" y="21352"/>
                    <a:pt x="13019" y="25604"/>
                    <a:pt x="17838" y="26030"/>
                  </a:cubicBezTo>
                  <a:cubicBezTo>
                    <a:pt x="18099" y="26054"/>
                    <a:pt x="18357" y="26065"/>
                    <a:pt x="18618" y="26065"/>
                  </a:cubicBezTo>
                  <a:cubicBezTo>
                    <a:pt x="21441" y="26281"/>
                    <a:pt x="24133" y="24835"/>
                    <a:pt x="25514" y="22364"/>
                  </a:cubicBezTo>
                  <a:cubicBezTo>
                    <a:pt x="25869" y="21421"/>
                    <a:pt x="26771" y="20796"/>
                    <a:pt x="27778" y="20793"/>
                  </a:cubicBezTo>
                  <a:lnTo>
                    <a:pt x="32411" y="20793"/>
                  </a:lnTo>
                  <a:cubicBezTo>
                    <a:pt x="33742" y="20793"/>
                    <a:pt x="34621" y="21618"/>
                    <a:pt x="34301" y="22923"/>
                  </a:cubicBezTo>
                  <a:cubicBezTo>
                    <a:pt x="32810" y="29340"/>
                    <a:pt x="26313" y="33573"/>
                    <a:pt x="18805" y="33573"/>
                  </a:cubicBezTo>
                  <a:cubicBezTo>
                    <a:pt x="9464" y="34061"/>
                    <a:pt x="1498" y="26882"/>
                    <a:pt x="1013" y="17545"/>
                  </a:cubicBezTo>
                  <a:cubicBezTo>
                    <a:pt x="992" y="17153"/>
                    <a:pt x="984" y="16764"/>
                    <a:pt x="992" y="16373"/>
                  </a:cubicBezTo>
                  <a:cubicBezTo>
                    <a:pt x="936" y="7198"/>
                    <a:pt x="8327" y="-287"/>
                    <a:pt x="17503" y="-346"/>
                  </a:cubicBezTo>
                  <a:cubicBezTo>
                    <a:pt x="17830" y="-346"/>
                    <a:pt x="18158" y="-340"/>
                    <a:pt x="18485" y="-322"/>
                  </a:cubicBezTo>
                  <a:cubicBezTo>
                    <a:pt x="27724" y="-322"/>
                    <a:pt x="32996" y="4578"/>
                    <a:pt x="34461" y="10728"/>
                  </a:cubicBezTo>
                  <a:cubicBezTo>
                    <a:pt x="34722" y="11618"/>
                    <a:pt x="34213" y="12549"/>
                    <a:pt x="33324" y="12810"/>
                  </a:cubicBezTo>
                  <a:cubicBezTo>
                    <a:pt x="33087" y="12880"/>
                    <a:pt x="32839" y="12896"/>
                    <a:pt x="32597" y="12858"/>
                  </a:cubicBezTo>
                  <a:lnTo>
                    <a:pt x="28124" y="12858"/>
                  </a:lnTo>
                  <a:cubicBezTo>
                    <a:pt x="27006" y="12858"/>
                    <a:pt x="26446" y="12299"/>
                    <a:pt x="25887" y="11234"/>
                  </a:cubicBezTo>
                </a:path>
              </a:pathLst>
            </a:custGeom>
            <a:solidFill>
              <a:srgbClr val="FFFFFF"/>
            </a:solidFill>
            <a:ln w="2661" cap="flat">
              <a:noFill/>
              <a:prstDash val="solid"/>
              <a:miter/>
            </a:ln>
          </p:spPr>
          <p:txBody>
            <a:bodyPr rtlCol="0" anchor="ctr"/>
            <a:lstStyle/>
            <a:p>
              <a:endParaRPr lang="pl-PL"/>
            </a:p>
          </p:txBody>
        </p:sp>
        <p:sp>
          <p:nvSpPr>
            <p:cNvPr id="118" name="Freeform: Shape 117">
              <a:extLst>
                <a:ext uri="{FF2B5EF4-FFF2-40B4-BE49-F238E27FC236}">
                  <a16:creationId xmlns:a16="http://schemas.microsoft.com/office/drawing/2014/main" id="{85CAE3C2-E86F-4D25-8550-4DA349EBB515}"/>
                </a:ext>
              </a:extLst>
            </p:cNvPr>
            <p:cNvSpPr/>
            <p:nvPr/>
          </p:nvSpPr>
          <p:spPr>
            <a:xfrm>
              <a:off x="11692340" y="6750833"/>
              <a:ext cx="20150" cy="19139"/>
            </a:xfrm>
            <a:custGeom>
              <a:avLst/>
              <a:gdLst>
                <a:gd name="connsiteX0" fmla="*/ 18856 w 35707"/>
                <a:gd name="connsiteY0" fmla="*/ -346 h 33914"/>
                <a:gd name="connsiteX1" fmla="*/ 36695 w 35707"/>
                <a:gd name="connsiteY1" fmla="*/ 16349 h 33914"/>
                <a:gd name="connsiteX2" fmla="*/ 19833 w 35707"/>
                <a:gd name="connsiteY2" fmla="*/ 33568 h 33914"/>
                <a:gd name="connsiteX3" fmla="*/ 18856 w 35707"/>
                <a:gd name="connsiteY3" fmla="*/ 33550 h 33914"/>
                <a:gd name="connsiteX4" fmla="*/ 1008 w 35707"/>
                <a:gd name="connsiteY4" fmla="*/ 17300 h 33914"/>
                <a:gd name="connsiteX5" fmla="*/ 989 w 35707"/>
                <a:gd name="connsiteY5" fmla="*/ 16349 h 33914"/>
                <a:gd name="connsiteX6" fmla="*/ 18856 w 35707"/>
                <a:gd name="connsiteY6" fmla="*/ -346 h 33914"/>
                <a:gd name="connsiteX7" fmla="*/ 18856 w 35707"/>
                <a:gd name="connsiteY7" fmla="*/ 26147 h 33914"/>
                <a:gd name="connsiteX8" fmla="*/ 28028 w 35707"/>
                <a:gd name="connsiteY8" fmla="*/ 17214 h 33914"/>
                <a:gd name="connsiteX9" fmla="*/ 28015 w 35707"/>
                <a:gd name="connsiteY9" fmla="*/ 16615 h 33914"/>
                <a:gd name="connsiteX10" fmla="*/ 19455 w 35707"/>
                <a:gd name="connsiteY10" fmla="*/ 7096 h 33914"/>
                <a:gd name="connsiteX11" fmla="*/ 18856 w 35707"/>
                <a:gd name="connsiteY11" fmla="*/ 7083 h 33914"/>
                <a:gd name="connsiteX12" fmla="*/ 9683 w 35707"/>
                <a:gd name="connsiteY12" fmla="*/ 15960 h 33914"/>
                <a:gd name="connsiteX13" fmla="*/ 9696 w 35707"/>
                <a:gd name="connsiteY13" fmla="*/ 16615 h 33914"/>
                <a:gd name="connsiteX14" fmla="*/ 18200 w 35707"/>
                <a:gd name="connsiteY14" fmla="*/ 26134 h 33914"/>
                <a:gd name="connsiteX15" fmla="*/ 18856 w 35707"/>
                <a:gd name="connsiteY15" fmla="*/ 26147 h 33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07" h="33914">
                  <a:moveTo>
                    <a:pt x="18856" y="-346"/>
                  </a:moveTo>
                  <a:cubicBezTo>
                    <a:pt x="29346" y="-346"/>
                    <a:pt x="36695" y="7003"/>
                    <a:pt x="36695" y="16349"/>
                  </a:cubicBezTo>
                  <a:cubicBezTo>
                    <a:pt x="36794" y="25759"/>
                    <a:pt x="29245" y="33470"/>
                    <a:pt x="19833" y="33568"/>
                  </a:cubicBezTo>
                  <a:cubicBezTo>
                    <a:pt x="19508" y="33571"/>
                    <a:pt x="19180" y="33565"/>
                    <a:pt x="18856" y="33550"/>
                  </a:cubicBezTo>
                  <a:cubicBezTo>
                    <a:pt x="9440" y="33991"/>
                    <a:pt x="1450" y="26717"/>
                    <a:pt x="1008" y="17300"/>
                  </a:cubicBezTo>
                  <a:cubicBezTo>
                    <a:pt x="992" y="16983"/>
                    <a:pt x="987" y="16666"/>
                    <a:pt x="989" y="16349"/>
                  </a:cubicBezTo>
                  <a:cubicBezTo>
                    <a:pt x="989" y="7003"/>
                    <a:pt x="8391" y="-346"/>
                    <a:pt x="18856" y="-346"/>
                  </a:cubicBezTo>
                  <a:moveTo>
                    <a:pt x="18856" y="26147"/>
                  </a:moveTo>
                  <a:cubicBezTo>
                    <a:pt x="23856" y="26214"/>
                    <a:pt x="27962" y="22215"/>
                    <a:pt x="28028" y="17214"/>
                  </a:cubicBezTo>
                  <a:cubicBezTo>
                    <a:pt x="28031" y="17015"/>
                    <a:pt x="28026" y="16815"/>
                    <a:pt x="28015" y="16615"/>
                  </a:cubicBezTo>
                  <a:cubicBezTo>
                    <a:pt x="28281" y="11623"/>
                    <a:pt x="24447" y="7360"/>
                    <a:pt x="19455" y="7096"/>
                  </a:cubicBezTo>
                  <a:cubicBezTo>
                    <a:pt x="19255" y="7086"/>
                    <a:pt x="19055" y="7080"/>
                    <a:pt x="18856" y="7083"/>
                  </a:cubicBezTo>
                  <a:cubicBezTo>
                    <a:pt x="13871" y="7001"/>
                    <a:pt x="9765" y="10976"/>
                    <a:pt x="9683" y="15960"/>
                  </a:cubicBezTo>
                  <a:cubicBezTo>
                    <a:pt x="9680" y="16179"/>
                    <a:pt x="9683" y="16397"/>
                    <a:pt x="9696" y="16615"/>
                  </a:cubicBezTo>
                  <a:cubicBezTo>
                    <a:pt x="9417" y="21592"/>
                    <a:pt x="13224" y="25855"/>
                    <a:pt x="18200" y="26134"/>
                  </a:cubicBezTo>
                  <a:cubicBezTo>
                    <a:pt x="18419" y="26147"/>
                    <a:pt x="18637" y="26150"/>
                    <a:pt x="18856" y="26147"/>
                  </a:cubicBezTo>
                </a:path>
              </a:pathLst>
            </a:custGeom>
            <a:solidFill>
              <a:srgbClr val="FFFFFF"/>
            </a:solidFill>
            <a:ln w="2661" cap="flat">
              <a:noFill/>
              <a:prstDash val="solid"/>
              <a:miter/>
            </a:ln>
          </p:spPr>
          <p:txBody>
            <a:bodyPr rtlCol="0" anchor="ctr"/>
            <a:lstStyle/>
            <a:p>
              <a:endParaRPr lang="pl-PL"/>
            </a:p>
          </p:txBody>
        </p:sp>
        <p:sp>
          <p:nvSpPr>
            <p:cNvPr id="119" name="Freeform: Shape 118">
              <a:extLst>
                <a:ext uri="{FF2B5EF4-FFF2-40B4-BE49-F238E27FC236}">
                  <a16:creationId xmlns:a16="http://schemas.microsoft.com/office/drawing/2014/main" id="{5DB0B2F9-C7DC-40D4-A6A0-D391E0CBD5EE}"/>
                </a:ext>
              </a:extLst>
            </p:cNvPr>
            <p:cNvSpPr/>
            <p:nvPr/>
          </p:nvSpPr>
          <p:spPr>
            <a:xfrm>
              <a:off x="11719549" y="6750860"/>
              <a:ext cx="19630" cy="26558"/>
            </a:xfrm>
            <a:custGeom>
              <a:avLst/>
              <a:gdLst>
                <a:gd name="connsiteX0" fmla="*/ 994 w 34784"/>
                <a:gd name="connsiteY0" fmla="*/ 44632 h 47062"/>
                <a:gd name="connsiteX1" fmla="*/ 994 w 34784"/>
                <a:gd name="connsiteY1" fmla="*/ 2270 h 47062"/>
                <a:gd name="connsiteX2" fmla="*/ 2711 w 34784"/>
                <a:gd name="connsiteY2" fmla="*/ 270 h 47062"/>
                <a:gd name="connsiteX3" fmla="*/ 3018 w 34784"/>
                <a:gd name="connsiteY3" fmla="*/ 273 h 47062"/>
                <a:gd name="connsiteX4" fmla="*/ 5015 w 34784"/>
                <a:gd name="connsiteY4" fmla="*/ 273 h 47062"/>
                <a:gd name="connsiteX5" fmla="*/ 7278 w 34784"/>
                <a:gd name="connsiteY5" fmla="*/ 1897 h 47062"/>
                <a:gd name="connsiteX6" fmla="*/ 9594 w 34784"/>
                <a:gd name="connsiteY6" fmla="*/ 2589 h 47062"/>
                <a:gd name="connsiteX7" fmla="*/ 19206 w 34784"/>
                <a:gd name="connsiteY7" fmla="*/ -339 h 47062"/>
                <a:gd name="connsiteX8" fmla="*/ 35771 w 34784"/>
                <a:gd name="connsiteY8" fmla="*/ 16060 h 47062"/>
                <a:gd name="connsiteX9" fmla="*/ 35768 w 34784"/>
                <a:gd name="connsiteY9" fmla="*/ 16462 h 47062"/>
                <a:gd name="connsiteX10" fmla="*/ 19558 w 34784"/>
                <a:gd name="connsiteY10" fmla="*/ 33524 h 47062"/>
                <a:gd name="connsiteX11" fmla="*/ 19073 w 34784"/>
                <a:gd name="connsiteY11" fmla="*/ 33529 h 47062"/>
                <a:gd name="connsiteX12" fmla="*/ 11085 w 34784"/>
                <a:gd name="connsiteY12" fmla="*/ 31585 h 47062"/>
                <a:gd name="connsiteX13" fmla="*/ 9009 w 34784"/>
                <a:gd name="connsiteY13" fmla="*/ 32597 h 47062"/>
                <a:gd name="connsiteX14" fmla="*/ 9009 w 34784"/>
                <a:gd name="connsiteY14" fmla="*/ 44712 h 47062"/>
                <a:gd name="connsiteX15" fmla="*/ 7347 w 34784"/>
                <a:gd name="connsiteY15" fmla="*/ 46709 h 47062"/>
                <a:gd name="connsiteX16" fmla="*/ 7012 w 34784"/>
                <a:gd name="connsiteY16" fmla="*/ 46709 h 47062"/>
                <a:gd name="connsiteX17" fmla="*/ 3124 w 34784"/>
                <a:gd name="connsiteY17" fmla="*/ 46709 h 47062"/>
                <a:gd name="connsiteX18" fmla="*/ 1103 w 34784"/>
                <a:gd name="connsiteY18" fmla="*/ 45018 h 47062"/>
                <a:gd name="connsiteX19" fmla="*/ 1101 w 34784"/>
                <a:gd name="connsiteY19" fmla="*/ 44712 h 47062"/>
                <a:gd name="connsiteX20" fmla="*/ 10340 w 34784"/>
                <a:gd name="connsiteY20" fmla="*/ 22106 h 47062"/>
                <a:gd name="connsiteX21" fmla="*/ 18328 w 34784"/>
                <a:gd name="connsiteY21" fmla="*/ 26127 h 47062"/>
                <a:gd name="connsiteX22" fmla="*/ 27064 w 34784"/>
                <a:gd name="connsiteY22" fmla="*/ 16512 h 47062"/>
                <a:gd name="connsiteX23" fmla="*/ 27061 w 34784"/>
                <a:gd name="connsiteY23" fmla="*/ 16462 h 47062"/>
                <a:gd name="connsiteX24" fmla="*/ 18328 w 34784"/>
                <a:gd name="connsiteY24" fmla="*/ 7063 h 47062"/>
                <a:gd name="connsiteX25" fmla="*/ 10340 w 34784"/>
                <a:gd name="connsiteY25" fmla="*/ 11057 h 47062"/>
                <a:gd name="connsiteX26" fmla="*/ 9781 w 34784"/>
                <a:gd name="connsiteY26" fmla="*/ 13213 h 47062"/>
                <a:gd name="connsiteX27" fmla="*/ 9781 w 34784"/>
                <a:gd name="connsiteY27" fmla="*/ 19976 h 47062"/>
                <a:gd name="connsiteX28" fmla="*/ 10340 w 34784"/>
                <a:gd name="connsiteY28" fmla="*/ 22106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784" h="47062">
                  <a:moveTo>
                    <a:pt x="994" y="44632"/>
                  </a:moveTo>
                  <a:lnTo>
                    <a:pt x="994" y="2270"/>
                  </a:lnTo>
                  <a:cubicBezTo>
                    <a:pt x="917" y="1245"/>
                    <a:pt x="1686" y="348"/>
                    <a:pt x="2711" y="270"/>
                  </a:cubicBezTo>
                  <a:cubicBezTo>
                    <a:pt x="2813" y="262"/>
                    <a:pt x="2917" y="265"/>
                    <a:pt x="3018" y="273"/>
                  </a:cubicBezTo>
                  <a:lnTo>
                    <a:pt x="5015" y="273"/>
                  </a:lnTo>
                  <a:cubicBezTo>
                    <a:pt x="6064" y="190"/>
                    <a:pt x="7022" y="875"/>
                    <a:pt x="7278" y="1897"/>
                  </a:cubicBezTo>
                  <a:cubicBezTo>
                    <a:pt x="7597" y="3228"/>
                    <a:pt x="8529" y="3415"/>
                    <a:pt x="9594" y="2589"/>
                  </a:cubicBezTo>
                  <a:cubicBezTo>
                    <a:pt x="12393" y="592"/>
                    <a:pt x="15769" y="-435"/>
                    <a:pt x="19206" y="-339"/>
                  </a:cubicBezTo>
                  <a:cubicBezTo>
                    <a:pt x="28310" y="-385"/>
                    <a:pt x="35725" y="6956"/>
                    <a:pt x="35771" y="16060"/>
                  </a:cubicBezTo>
                  <a:cubicBezTo>
                    <a:pt x="35771" y="16193"/>
                    <a:pt x="35771" y="16329"/>
                    <a:pt x="35768" y="16462"/>
                  </a:cubicBezTo>
                  <a:cubicBezTo>
                    <a:pt x="36002" y="25650"/>
                    <a:pt x="28747" y="33289"/>
                    <a:pt x="19558" y="33524"/>
                  </a:cubicBezTo>
                  <a:cubicBezTo>
                    <a:pt x="19395" y="33529"/>
                    <a:pt x="19236" y="33529"/>
                    <a:pt x="19073" y="33529"/>
                  </a:cubicBezTo>
                  <a:cubicBezTo>
                    <a:pt x="16288" y="33580"/>
                    <a:pt x="13538" y="32909"/>
                    <a:pt x="11085" y="31585"/>
                  </a:cubicBezTo>
                  <a:cubicBezTo>
                    <a:pt x="9834" y="30840"/>
                    <a:pt x="9009" y="31213"/>
                    <a:pt x="9009" y="32597"/>
                  </a:cubicBezTo>
                  <a:lnTo>
                    <a:pt x="9009" y="44712"/>
                  </a:lnTo>
                  <a:cubicBezTo>
                    <a:pt x="9102" y="45721"/>
                    <a:pt x="8356" y="46616"/>
                    <a:pt x="7347" y="46709"/>
                  </a:cubicBezTo>
                  <a:cubicBezTo>
                    <a:pt x="7235" y="46720"/>
                    <a:pt x="7123" y="46720"/>
                    <a:pt x="7012" y="46709"/>
                  </a:cubicBezTo>
                  <a:lnTo>
                    <a:pt x="3124" y="46709"/>
                  </a:lnTo>
                  <a:cubicBezTo>
                    <a:pt x="2099" y="46799"/>
                    <a:pt x="1194" y="46043"/>
                    <a:pt x="1103" y="45018"/>
                  </a:cubicBezTo>
                  <a:cubicBezTo>
                    <a:pt x="1093" y="44917"/>
                    <a:pt x="1093" y="44813"/>
                    <a:pt x="1101" y="44712"/>
                  </a:cubicBezTo>
                  <a:moveTo>
                    <a:pt x="10340" y="22106"/>
                  </a:moveTo>
                  <a:cubicBezTo>
                    <a:pt x="12148" y="24716"/>
                    <a:pt x="15154" y="26231"/>
                    <a:pt x="18328" y="26127"/>
                  </a:cubicBezTo>
                  <a:cubicBezTo>
                    <a:pt x="23395" y="25885"/>
                    <a:pt x="27306" y="21579"/>
                    <a:pt x="27064" y="16512"/>
                  </a:cubicBezTo>
                  <a:cubicBezTo>
                    <a:pt x="27064" y="16496"/>
                    <a:pt x="27061" y="16478"/>
                    <a:pt x="27061" y="16462"/>
                  </a:cubicBezTo>
                  <a:cubicBezTo>
                    <a:pt x="27210" y="11467"/>
                    <a:pt x="23320" y="7278"/>
                    <a:pt x="18328" y="7063"/>
                  </a:cubicBezTo>
                  <a:cubicBezTo>
                    <a:pt x="15165" y="6972"/>
                    <a:pt x="12166" y="8471"/>
                    <a:pt x="10340" y="11057"/>
                  </a:cubicBezTo>
                  <a:cubicBezTo>
                    <a:pt x="9924" y="11696"/>
                    <a:pt x="9727" y="12452"/>
                    <a:pt x="9781" y="13213"/>
                  </a:cubicBezTo>
                  <a:lnTo>
                    <a:pt x="9781" y="19976"/>
                  </a:lnTo>
                  <a:cubicBezTo>
                    <a:pt x="9746" y="20727"/>
                    <a:pt x="9941" y="21470"/>
                    <a:pt x="10340" y="22106"/>
                  </a:cubicBezTo>
                </a:path>
              </a:pathLst>
            </a:custGeom>
            <a:solidFill>
              <a:srgbClr val="8FDB42"/>
            </a:solidFill>
            <a:ln w="2661" cap="flat">
              <a:noFill/>
              <a:prstDash val="solid"/>
              <a:miter/>
            </a:ln>
          </p:spPr>
          <p:txBody>
            <a:bodyPr rtlCol="0" anchor="ctr"/>
            <a:lstStyle/>
            <a:p>
              <a:endParaRPr lang="pl-PL"/>
            </a:p>
          </p:txBody>
        </p:sp>
        <p:sp>
          <p:nvSpPr>
            <p:cNvPr id="120" name="Freeform: Shape 119">
              <a:extLst>
                <a:ext uri="{FF2B5EF4-FFF2-40B4-BE49-F238E27FC236}">
                  <a16:creationId xmlns:a16="http://schemas.microsoft.com/office/drawing/2014/main" id="{D352B5CB-191A-4A7C-A46E-18D86E4C32EE}"/>
                </a:ext>
              </a:extLst>
            </p:cNvPr>
            <p:cNvSpPr/>
            <p:nvPr/>
          </p:nvSpPr>
          <p:spPr>
            <a:xfrm>
              <a:off x="11741806" y="6750833"/>
              <a:ext cx="20150" cy="19139"/>
            </a:xfrm>
            <a:custGeom>
              <a:avLst/>
              <a:gdLst>
                <a:gd name="connsiteX0" fmla="*/ 18882 w 35707"/>
                <a:gd name="connsiteY0" fmla="*/ -346 h 33914"/>
                <a:gd name="connsiteX1" fmla="*/ 36695 w 35707"/>
                <a:gd name="connsiteY1" fmla="*/ 16349 h 33914"/>
                <a:gd name="connsiteX2" fmla="*/ 19833 w 35707"/>
                <a:gd name="connsiteY2" fmla="*/ 33565 h 33914"/>
                <a:gd name="connsiteX3" fmla="*/ 18882 w 35707"/>
                <a:gd name="connsiteY3" fmla="*/ 33550 h 33914"/>
                <a:gd name="connsiteX4" fmla="*/ 1008 w 35707"/>
                <a:gd name="connsiteY4" fmla="*/ 17273 h 33914"/>
                <a:gd name="connsiteX5" fmla="*/ 989 w 35707"/>
                <a:gd name="connsiteY5" fmla="*/ 16349 h 33914"/>
                <a:gd name="connsiteX6" fmla="*/ 18882 w 35707"/>
                <a:gd name="connsiteY6" fmla="*/ -346 h 33914"/>
                <a:gd name="connsiteX7" fmla="*/ 18882 w 35707"/>
                <a:gd name="connsiteY7" fmla="*/ 26147 h 33914"/>
                <a:gd name="connsiteX8" fmla="*/ 28052 w 35707"/>
                <a:gd name="connsiteY8" fmla="*/ 17158 h 33914"/>
                <a:gd name="connsiteX9" fmla="*/ 28041 w 35707"/>
                <a:gd name="connsiteY9" fmla="*/ 16615 h 33914"/>
                <a:gd name="connsiteX10" fmla="*/ 19425 w 35707"/>
                <a:gd name="connsiteY10" fmla="*/ 7094 h 33914"/>
                <a:gd name="connsiteX11" fmla="*/ 18882 w 35707"/>
                <a:gd name="connsiteY11" fmla="*/ 7083 h 33914"/>
                <a:gd name="connsiteX12" fmla="*/ 9709 w 35707"/>
                <a:gd name="connsiteY12" fmla="*/ 15960 h 33914"/>
                <a:gd name="connsiteX13" fmla="*/ 9723 w 35707"/>
                <a:gd name="connsiteY13" fmla="*/ 16615 h 33914"/>
                <a:gd name="connsiteX14" fmla="*/ 18227 w 35707"/>
                <a:gd name="connsiteY14" fmla="*/ 26134 h 33914"/>
                <a:gd name="connsiteX15" fmla="*/ 18882 w 35707"/>
                <a:gd name="connsiteY15" fmla="*/ 26147 h 33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07" h="33914">
                  <a:moveTo>
                    <a:pt x="18882" y="-346"/>
                  </a:moveTo>
                  <a:cubicBezTo>
                    <a:pt x="29346" y="-346"/>
                    <a:pt x="36695" y="7003"/>
                    <a:pt x="36695" y="16349"/>
                  </a:cubicBezTo>
                  <a:cubicBezTo>
                    <a:pt x="36793" y="25759"/>
                    <a:pt x="29242" y="33467"/>
                    <a:pt x="19833" y="33565"/>
                  </a:cubicBezTo>
                  <a:cubicBezTo>
                    <a:pt x="19516" y="33568"/>
                    <a:pt x="19199" y="33563"/>
                    <a:pt x="18882" y="33550"/>
                  </a:cubicBezTo>
                  <a:cubicBezTo>
                    <a:pt x="9451" y="33991"/>
                    <a:pt x="1450" y="26704"/>
                    <a:pt x="1008" y="17273"/>
                  </a:cubicBezTo>
                  <a:cubicBezTo>
                    <a:pt x="992" y="16967"/>
                    <a:pt x="987" y="16658"/>
                    <a:pt x="989" y="16349"/>
                  </a:cubicBezTo>
                  <a:cubicBezTo>
                    <a:pt x="989" y="7003"/>
                    <a:pt x="8391" y="-346"/>
                    <a:pt x="18882" y="-346"/>
                  </a:cubicBezTo>
                  <a:moveTo>
                    <a:pt x="18882" y="26147"/>
                  </a:moveTo>
                  <a:cubicBezTo>
                    <a:pt x="23896" y="26198"/>
                    <a:pt x="28002" y="22175"/>
                    <a:pt x="28052" y="17158"/>
                  </a:cubicBezTo>
                  <a:cubicBezTo>
                    <a:pt x="28055" y="16977"/>
                    <a:pt x="28049" y="16796"/>
                    <a:pt x="28041" y="16615"/>
                  </a:cubicBezTo>
                  <a:cubicBezTo>
                    <a:pt x="28292" y="11607"/>
                    <a:pt x="24434" y="7344"/>
                    <a:pt x="19425" y="7094"/>
                  </a:cubicBezTo>
                  <a:cubicBezTo>
                    <a:pt x="19244" y="7086"/>
                    <a:pt x="19063" y="7080"/>
                    <a:pt x="18882" y="7083"/>
                  </a:cubicBezTo>
                  <a:cubicBezTo>
                    <a:pt x="13898" y="7001"/>
                    <a:pt x="9792" y="10976"/>
                    <a:pt x="9709" y="15960"/>
                  </a:cubicBezTo>
                  <a:cubicBezTo>
                    <a:pt x="9707" y="16179"/>
                    <a:pt x="9709" y="16397"/>
                    <a:pt x="9723" y="16615"/>
                  </a:cubicBezTo>
                  <a:cubicBezTo>
                    <a:pt x="9443" y="21592"/>
                    <a:pt x="13251" y="25855"/>
                    <a:pt x="18227" y="26134"/>
                  </a:cubicBezTo>
                  <a:cubicBezTo>
                    <a:pt x="18445" y="26147"/>
                    <a:pt x="18664" y="26150"/>
                    <a:pt x="18882" y="26147"/>
                  </a:cubicBezTo>
                </a:path>
              </a:pathLst>
            </a:custGeom>
            <a:solidFill>
              <a:srgbClr val="8FDB42"/>
            </a:solidFill>
            <a:ln w="2661" cap="flat">
              <a:noFill/>
              <a:prstDash val="solid"/>
              <a:miter/>
            </a:ln>
          </p:spPr>
          <p:txBody>
            <a:bodyPr rtlCol="0" anchor="ctr"/>
            <a:lstStyle/>
            <a:p>
              <a:endParaRPr lang="pl-PL"/>
            </a:p>
          </p:txBody>
        </p:sp>
        <p:sp>
          <p:nvSpPr>
            <p:cNvPr id="121" name="Freeform: Shape 120">
              <a:extLst>
                <a:ext uri="{FF2B5EF4-FFF2-40B4-BE49-F238E27FC236}">
                  <a16:creationId xmlns:a16="http://schemas.microsoft.com/office/drawing/2014/main" id="{D5E1B9EF-2FAC-49FF-9A92-E17A36A530B9}"/>
                </a:ext>
              </a:extLst>
            </p:cNvPr>
            <p:cNvSpPr/>
            <p:nvPr/>
          </p:nvSpPr>
          <p:spPr>
            <a:xfrm>
              <a:off x="11764305" y="6750833"/>
              <a:ext cx="16853" cy="19128"/>
            </a:xfrm>
            <a:custGeom>
              <a:avLst/>
              <a:gdLst>
                <a:gd name="connsiteX0" fmla="*/ 16288 w 29863"/>
                <a:gd name="connsiteY0" fmla="*/ -346 h 33895"/>
                <a:gd name="connsiteX1" fmla="*/ 30266 w 29863"/>
                <a:gd name="connsiteY1" fmla="*/ 9400 h 33895"/>
                <a:gd name="connsiteX2" fmla="*/ 28376 w 29863"/>
                <a:gd name="connsiteY2" fmla="*/ 11476 h 33895"/>
                <a:gd name="connsiteX3" fmla="*/ 24275 w 29863"/>
                <a:gd name="connsiteY3" fmla="*/ 11476 h 33895"/>
                <a:gd name="connsiteX4" fmla="*/ 22065 w 29863"/>
                <a:gd name="connsiteY4" fmla="*/ 9719 h 33895"/>
                <a:gd name="connsiteX5" fmla="*/ 16048 w 29863"/>
                <a:gd name="connsiteY5" fmla="*/ 6444 h 33895"/>
                <a:gd name="connsiteX6" fmla="*/ 10723 w 29863"/>
                <a:gd name="connsiteY6" fmla="*/ 9266 h 33895"/>
                <a:gd name="connsiteX7" fmla="*/ 30852 w 29863"/>
                <a:gd name="connsiteY7" fmla="*/ 23591 h 33895"/>
                <a:gd name="connsiteX8" fmla="*/ 16687 w 29863"/>
                <a:gd name="connsiteY8" fmla="*/ 33550 h 33895"/>
                <a:gd name="connsiteX9" fmla="*/ 1058 w 29863"/>
                <a:gd name="connsiteY9" fmla="*/ 23511 h 33895"/>
                <a:gd name="connsiteX10" fmla="*/ 2868 w 29863"/>
                <a:gd name="connsiteY10" fmla="*/ 21381 h 33895"/>
                <a:gd name="connsiteX11" fmla="*/ 7128 w 29863"/>
                <a:gd name="connsiteY11" fmla="*/ 21381 h 33895"/>
                <a:gd name="connsiteX12" fmla="*/ 9338 w 29863"/>
                <a:gd name="connsiteY12" fmla="*/ 23006 h 33895"/>
                <a:gd name="connsiteX13" fmla="*/ 16873 w 29863"/>
                <a:gd name="connsiteY13" fmla="*/ 26786 h 33895"/>
                <a:gd name="connsiteX14" fmla="*/ 22385 w 29863"/>
                <a:gd name="connsiteY14" fmla="*/ 23645 h 33895"/>
                <a:gd name="connsiteX15" fmla="*/ 2256 w 29863"/>
                <a:gd name="connsiteY15" fmla="*/ 9453 h 33895"/>
                <a:gd name="connsiteX16" fmla="*/ 16128 w 29863"/>
                <a:gd name="connsiteY16" fmla="*/ -346 h 3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863" h="33895">
                  <a:moveTo>
                    <a:pt x="16288" y="-346"/>
                  </a:moveTo>
                  <a:cubicBezTo>
                    <a:pt x="24275" y="-346"/>
                    <a:pt x="28962" y="3622"/>
                    <a:pt x="30266" y="9400"/>
                  </a:cubicBezTo>
                  <a:cubicBezTo>
                    <a:pt x="30586" y="10704"/>
                    <a:pt x="29760" y="11476"/>
                    <a:pt x="28376" y="11476"/>
                  </a:cubicBezTo>
                  <a:lnTo>
                    <a:pt x="24275" y="11476"/>
                  </a:lnTo>
                  <a:cubicBezTo>
                    <a:pt x="23077" y="11476"/>
                    <a:pt x="22518" y="10837"/>
                    <a:pt x="22065" y="9719"/>
                  </a:cubicBezTo>
                  <a:cubicBezTo>
                    <a:pt x="21320" y="7642"/>
                    <a:pt x="19403" y="6444"/>
                    <a:pt x="16048" y="6444"/>
                  </a:cubicBezTo>
                  <a:cubicBezTo>
                    <a:pt x="12693" y="6444"/>
                    <a:pt x="10723" y="7562"/>
                    <a:pt x="10723" y="9266"/>
                  </a:cubicBezTo>
                  <a:cubicBezTo>
                    <a:pt x="10723" y="15364"/>
                    <a:pt x="30852" y="10971"/>
                    <a:pt x="30852" y="23591"/>
                  </a:cubicBezTo>
                  <a:cubicBezTo>
                    <a:pt x="30852" y="29982"/>
                    <a:pt x="25021" y="33550"/>
                    <a:pt x="16687" y="33550"/>
                  </a:cubicBezTo>
                  <a:cubicBezTo>
                    <a:pt x="8353" y="33550"/>
                    <a:pt x="2362" y="29928"/>
                    <a:pt x="1058" y="23511"/>
                  </a:cubicBezTo>
                  <a:cubicBezTo>
                    <a:pt x="738" y="22127"/>
                    <a:pt x="1563" y="21381"/>
                    <a:pt x="2868" y="21381"/>
                  </a:cubicBezTo>
                  <a:lnTo>
                    <a:pt x="7128" y="21381"/>
                  </a:lnTo>
                  <a:cubicBezTo>
                    <a:pt x="8153" y="21344"/>
                    <a:pt x="9067" y="22018"/>
                    <a:pt x="9338" y="23006"/>
                  </a:cubicBezTo>
                  <a:cubicBezTo>
                    <a:pt x="10853" y="25673"/>
                    <a:pt x="13827" y="27165"/>
                    <a:pt x="16873" y="26786"/>
                  </a:cubicBezTo>
                  <a:cubicBezTo>
                    <a:pt x="20255" y="26786"/>
                    <a:pt x="22385" y="25721"/>
                    <a:pt x="22385" y="23645"/>
                  </a:cubicBezTo>
                  <a:cubicBezTo>
                    <a:pt x="22385" y="17494"/>
                    <a:pt x="2256" y="22127"/>
                    <a:pt x="2256" y="9453"/>
                  </a:cubicBezTo>
                  <a:cubicBezTo>
                    <a:pt x="2256" y="3808"/>
                    <a:pt x="7075" y="-346"/>
                    <a:pt x="16128" y="-346"/>
                  </a:cubicBezTo>
                </a:path>
              </a:pathLst>
            </a:custGeom>
            <a:solidFill>
              <a:srgbClr val="8FDB42"/>
            </a:solidFill>
            <a:ln w="2661" cap="flat">
              <a:noFill/>
              <a:prstDash val="solid"/>
              <a:miter/>
            </a:ln>
          </p:spPr>
          <p:txBody>
            <a:bodyPr rtlCol="0" anchor="ctr"/>
            <a:lstStyle/>
            <a:p>
              <a:endParaRPr lang="pl-PL"/>
            </a:p>
          </p:txBody>
        </p:sp>
        <p:sp>
          <p:nvSpPr>
            <p:cNvPr id="122" name="Freeform: Shape 121">
              <a:extLst>
                <a:ext uri="{FF2B5EF4-FFF2-40B4-BE49-F238E27FC236}">
                  <a16:creationId xmlns:a16="http://schemas.microsoft.com/office/drawing/2014/main" id="{2A425777-4F61-4C55-BAFD-D34C07BDC306}"/>
                </a:ext>
              </a:extLst>
            </p:cNvPr>
            <p:cNvSpPr/>
            <p:nvPr/>
          </p:nvSpPr>
          <p:spPr>
            <a:xfrm>
              <a:off x="11784416" y="6742209"/>
              <a:ext cx="6552" cy="27380"/>
            </a:xfrm>
            <a:custGeom>
              <a:avLst/>
              <a:gdLst>
                <a:gd name="connsiteX0" fmla="*/ 1098 w 11611"/>
                <a:gd name="connsiteY0" fmla="*/ 5352 h 48518"/>
                <a:gd name="connsiteX1" fmla="*/ 6796 w 11611"/>
                <a:gd name="connsiteY1" fmla="*/ -346 h 48518"/>
                <a:gd name="connsiteX2" fmla="*/ 6876 w 11611"/>
                <a:gd name="connsiteY2" fmla="*/ -346 h 48518"/>
                <a:gd name="connsiteX3" fmla="*/ 12600 w 11611"/>
                <a:gd name="connsiteY3" fmla="*/ 5352 h 48518"/>
                <a:gd name="connsiteX4" fmla="*/ 6769 w 11611"/>
                <a:gd name="connsiteY4" fmla="*/ 11263 h 48518"/>
                <a:gd name="connsiteX5" fmla="*/ 989 w 11611"/>
                <a:gd name="connsiteY5" fmla="*/ 5488 h 48518"/>
                <a:gd name="connsiteX6" fmla="*/ 991 w 11611"/>
                <a:gd name="connsiteY6" fmla="*/ 5352 h 48518"/>
                <a:gd name="connsiteX7" fmla="*/ 10710 w 11611"/>
                <a:gd name="connsiteY7" fmla="*/ 17521 h 48518"/>
                <a:gd name="connsiteX8" fmla="*/ 10710 w 11611"/>
                <a:gd name="connsiteY8" fmla="*/ 46144 h 48518"/>
                <a:gd name="connsiteX9" fmla="*/ 9019 w 11611"/>
                <a:gd name="connsiteY9" fmla="*/ 48165 h 48518"/>
                <a:gd name="connsiteX10" fmla="*/ 8713 w 11611"/>
                <a:gd name="connsiteY10" fmla="*/ 48167 h 48518"/>
                <a:gd name="connsiteX11" fmla="*/ 4000 w 11611"/>
                <a:gd name="connsiteY11" fmla="*/ 48167 h 48518"/>
                <a:gd name="connsiteX12" fmla="*/ 2001 w 11611"/>
                <a:gd name="connsiteY12" fmla="*/ 46450 h 48518"/>
                <a:gd name="connsiteX13" fmla="*/ 2003 w 11611"/>
                <a:gd name="connsiteY13" fmla="*/ 46144 h 48518"/>
                <a:gd name="connsiteX14" fmla="*/ 2003 w 11611"/>
                <a:gd name="connsiteY14" fmla="*/ 17600 h 48518"/>
                <a:gd name="connsiteX15" fmla="*/ 3665 w 11611"/>
                <a:gd name="connsiteY15" fmla="*/ 15603 h 48518"/>
                <a:gd name="connsiteX16" fmla="*/ 4000 w 11611"/>
                <a:gd name="connsiteY16" fmla="*/ 15603 h 48518"/>
                <a:gd name="connsiteX17" fmla="*/ 8713 w 11611"/>
                <a:gd name="connsiteY17" fmla="*/ 15603 h 48518"/>
                <a:gd name="connsiteX18" fmla="*/ 10710 w 11611"/>
                <a:gd name="connsiteY18" fmla="*/ 17265 h 48518"/>
                <a:gd name="connsiteX19" fmla="*/ 10710 w 11611"/>
                <a:gd name="connsiteY19" fmla="*/ 17600 h 48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11" h="48518">
                  <a:moveTo>
                    <a:pt x="1098" y="5352"/>
                  </a:moveTo>
                  <a:cubicBezTo>
                    <a:pt x="1098" y="2205"/>
                    <a:pt x="3649" y="-346"/>
                    <a:pt x="6796" y="-346"/>
                  </a:cubicBezTo>
                  <a:cubicBezTo>
                    <a:pt x="6823" y="-346"/>
                    <a:pt x="6849" y="-346"/>
                    <a:pt x="6876" y="-346"/>
                  </a:cubicBezTo>
                  <a:cubicBezTo>
                    <a:pt x="10004" y="-290"/>
                    <a:pt x="12529" y="2224"/>
                    <a:pt x="12600" y="5352"/>
                  </a:cubicBezTo>
                  <a:cubicBezTo>
                    <a:pt x="12600" y="8585"/>
                    <a:pt x="10002" y="11221"/>
                    <a:pt x="6769" y="11263"/>
                  </a:cubicBezTo>
                  <a:cubicBezTo>
                    <a:pt x="3579" y="11263"/>
                    <a:pt x="991" y="8678"/>
                    <a:pt x="989" y="5488"/>
                  </a:cubicBezTo>
                  <a:cubicBezTo>
                    <a:pt x="989" y="5443"/>
                    <a:pt x="991" y="5398"/>
                    <a:pt x="991" y="5352"/>
                  </a:cubicBezTo>
                  <a:moveTo>
                    <a:pt x="10710" y="17521"/>
                  </a:moveTo>
                  <a:lnTo>
                    <a:pt x="10710" y="46144"/>
                  </a:lnTo>
                  <a:cubicBezTo>
                    <a:pt x="10800" y="47169"/>
                    <a:pt x="10044" y="48074"/>
                    <a:pt x="9019" y="48165"/>
                  </a:cubicBezTo>
                  <a:cubicBezTo>
                    <a:pt x="8918" y="48175"/>
                    <a:pt x="8814" y="48175"/>
                    <a:pt x="8713" y="48167"/>
                  </a:cubicBezTo>
                  <a:lnTo>
                    <a:pt x="4000" y="48167"/>
                  </a:lnTo>
                  <a:cubicBezTo>
                    <a:pt x="2975" y="48244"/>
                    <a:pt x="2078" y="47475"/>
                    <a:pt x="2001" y="46450"/>
                  </a:cubicBezTo>
                  <a:cubicBezTo>
                    <a:pt x="1993" y="46349"/>
                    <a:pt x="1995" y="46245"/>
                    <a:pt x="2003" y="46144"/>
                  </a:cubicBezTo>
                  <a:lnTo>
                    <a:pt x="2003" y="17600"/>
                  </a:lnTo>
                  <a:cubicBezTo>
                    <a:pt x="1910" y="16591"/>
                    <a:pt x="2656" y="15697"/>
                    <a:pt x="3665" y="15603"/>
                  </a:cubicBezTo>
                  <a:cubicBezTo>
                    <a:pt x="3776" y="15593"/>
                    <a:pt x="3888" y="15593"/>
                    <a:pt x="4000" y="15603"/>
                  </a:cubicBezTo>
                  <a:lnTo>
                    <a:pt x="8713" y="15603"/>
                  </a:lnTo>
                  <a:cubicBezTo>
                    <a:pt x="9722" y="15510"/>
                    <a:pt x="10617" y="16256"/>
                    <a:pt x="10710" y="17265"/>
                  </a:cubicBezTo>
                  <a:cubicBezTo>
                    <a:pt x="10721" y="17377"/>
                    <a:pt x="10721" y="17489"/>
                    <a:pt x="10710" y="17600"/>
                  </a:cubicBezTo>
                </a:path>
              </a:pathLst>
            </a:custGeom>
            <a:solidFill>
              <a:srgbClr val="8FDB42"/>
            </a:solidFill>
            <a:ln w="2661" cap="flat">
              <a:noFill/>
              <a:prstDash val="solid"/>
              <a:miter/>
            </a:ln>
          </p:spPr>
          <p:txBody>
            <a:bodyPr rtlCol="0" anchor="ctr"/>
            <a:lstStyle/>
            <a:p>
              <a:endParaRPr lang="pl-PL"/>
            </a:p>
          </p:txBody>
        </p:sp>
        <p:sp>
          <p:nvSpPr>
            <p:cNvPr id="123" name="Freeform: Shape 122">
              <a:extLst>
                <a:ext uri="{FF2B5EF4-FFF2-40B4-BE49-F238E27FC236}">
                  <a16:creationId xmlns:a16="http://schemas.microsoft.com/office/drawing/2014/main" id="{1A961FD6-92FF-4666-B507-C006D4C167B9}"/>
                </a:ext>
              </a:extLst>
            </p:cNvPr>
            <p:cNvSpPr/>
            <p:nvPr/>
          </p:nvSpPr>
          <p:spPr>
            <a:xfrm>
              <a:off x="11793381" y="6746197"/>
              <a:ext cx="13675" cy="23794"/>
            </a:xfrm>
            <a:custGeom>
              <a:avLst/>
              <a:gdLst>
                <a:gd name="connsiteX0" fmla="*/ 1029 w 24233"/>
                <a:gd name="connsiteY0" fmla="*/ 13782 h 42164"/>
                <a:gd name="connsiteX1" fmla="*/ 1029 w 24233"/>
                <a:gd name="connsiteY1" fmla="*/ 10533 h 42164"/>
                <a:gd name="connsiteX2" fmla="*/ 2608 w 24233"/>
                <a:gd name="connsiteY2" fmla="*/ 8518 h 42164"/>
                <a:gd name="connsiteX3" fmla="*/ 2972 w 24233"/>
                <a:gd name="connsiteY3" fmla="*/ 8510 h 42164"/>
                <a:gd name="connsiteX4" fmla="*/ 5049 w 24233"/>
                <a:gd name="connsiteY4" fmla="*/ 8510 h 42164"/>
                <a:gd name="connsiteX5" fmla="*/ 5741 w 24233"/>
                <a:gd name="connsiteY5" fmla="*/ 7817 h 42164"/>
                <a:gd name="connsiteX6" fmla="*/ 5741 w 24233"/>
                <a:gd name="connsiteY6" fmla="*/ 3105 h 42164"/>
                <a:gd name="connsiteX7" fmla="*/ 7419 w 24233"/>
                <a:gd name="connsiteY7" fmla="*/ 921 h 42164"/>
                <a:gd name="connsiteX8" fmla="*/ 11892 w 24233"/>
                <a:gd name="connsiteY8" fmla="*/ -224 h 42164"/>
                <a:gd name="connsiteX9" fmla="*/ 14043 w 24233"/>
                <a:gd name="connsiteY9" fmla="*/ 684 h 42164"/>
                <a:gd name="connsiteX10" fmla="*/ 14155 w 24233"/>
                <a:gd name="connsiteY10" fmla="*/ 1480 h 42164"/>
                <a:gd name="connsiteX11" fmla="*/ 14155 w 24233"/>
                <a:gd name="connsiteY11" fmla="*/ 7871 h 42164"/>
                <a:gd name="connsiteX12" fmla="*/ 14794 w 24233"/>
                <a:gd name="connsiteY12" fmla="*/ 8563 h 42164"/>
                <a:gd name="connsiteX13" fmla="*/ 14848 w 24233"/>
                <a:gd name="connsiteY13" fmla="*/ 8563 h 42164"/>
                <a:gd name="connsiteX14" fmla="*/ 22835 w 24233"/>
                <a:gd name="connsiteY14" fmla="*/ 8563 h 42164"/>
                <a:gd name="connsiteX15" fmla="*/ 24859 w 24233"/>
                <a:gd name="connsiteY15" fmla="*/ 10251 h 42164"/>
                <a:gd name="connsiteX16" fmla="*/ 24859 w 24233"/>
                <a:gd name="connsiteY16" fmla="*/ 10587 h 42164"/>
                <a:gd name="connsiteX17" fmla="*/ 24859 w 24233"/>
                <a:gd name="connsiteY17" fmla="*/ 13888 h 42164"/>
                <a:gd name="connsiteX18" fmla="*/ 23171 w 24233"/>
                <a:gd name="connsiteY18" fmla="*/ 15912 h 42164"/>
                <a:gd name="connsiteX19" fmla="*/ 22835 w 24233"/>
                <a:gd name="connsiteY19" fmla="*/ 15912 h 42164"/>
                <a:gd name="connsiteX20" fmla="*/ 14848 w 24233"/>
                <a:gd name="connsiteY20" fmla="*/ 15912 h 42164"/>
                <a:gd name="connsiteX21" fmla="*/ 14150 w 24233"/>
                <a:gd name="connsiteY21" fmla="*/ 16545 h 42164"/>
                <a:gd name="connsiteX22" fmla="*/ 14155 w 24233"/>
                <a:gd name="connsiteY22" fmla="*/ 16657 h 42164"/>
                <a:gd name="connsiteX23" fmla="*/ 14155 w 24233"/>
                <a:gd name="connsiteY23" fmla="*/ 30157 h 42164"/>
                <a:gd name="connsiteX24" fmla="*/ 17590 w 24233"/>
                <a:gd name="connsiteY24" fmla="*/ 34177 h 42164"/>
                <a:gd name="connsiteX25" fmla="*/ 22436 w 24233"/>
                <a:gd name="connsiteY25" fmla="*/ 33485 h 42164"/>
                <a:gd name="connsiteX26" fmla="*/ 24683 w 24233"/>
                <a:gd name="connsiteY26" fmla="*/ 34454 h 42164"/>
                <a:gd name="connsiteX27" fmla="*/ 24806 w 24233"/>
                <a:gd name="connsiteY27" fmla="*/ 35109 h 42164"/>
                <a:gd name="connsiteX28" fmla="*/ 25178 w 24233"/>
                <a:gd name="connsiteY28" fmla="*/ 38384 h 42164"/>
                <a:gd name="connsiteX29" fmla="*/ 23639 w 24233"/>
                <a:gd name="connsiteY29" fmla="*/ 40754 h 42164"/>
                <a:gd name="connsiteX30" fmla="*/ 23634 w 24233"/>
                <a:gd name="connsiteY30" fmla="*/ 40754 h 42164"/>
                <a:gd name="connsiteX31" fmla="*/ 15966 w 24233"/>
                <a:gd name="connsiteY31" fmla="*/ 41819 h 42164"/>
                <a:gd name="connsiteX32" fmla="*/ 5315 w 24233"/>
                <a:gd name="connsiteY32" fmla="*/ 30343 h 42164"/>
                <a:gd name="connsiteX33" fmla="*/ 5315 w 24233"/>
                <a:gd name="connsiteY33" fmla="*/ 16657 h 42164"/>
                <a:gd name="connsiteX34" fmla="*/ 4703 w 24233"/>
                <a:gd name="connsiteY34" fmla="*/ 15859 h 42164"/>
                <a:gd name="connsiteX35" fmla="*/ 2946 w 24233"/>
                <a:gd name="connsiteY35" fmla="*/ 15859 h 42164"/>
                <a:gd name="connsiteX36" fmla="*/ 994 w 24233"/>
                <a:gd name="connsiteY36" fmla="*/ 14200 h 42164"/>
                <a:gd name="connsiteX37" fmla="*/ 1002 w 24233"/>
                <a:gd name="connsiteY37" fmla="*/ 13835 h 42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233" h="42164">
                  <a:moveTo>
                    <a:pt x="1029" y="13782"/>
                  </a:moveTo>
                  <a:lnTo>
                    <a:pt x="1029" y="10533"/>
                  </a:lnTo>
                  <a:cubicBezTo>
                    <a:pt x="909" y="9540"/>
                    <a:pt x="1614" y="8637"/>
                    <a:pt x="2608" y="8518"/>
                  </a:cubicBezTo>
                  <a:cubicBezTo>
                    <a:pt x="2727" y="8502"/>
                    <a:pt x="2850" y="8499"/>
                    <a:pt x="2972" y="8510"/>
                  </a:cubicBezTo>
                  <a:lnTo>
                    <a:pt x="5049" y="8510"/>
                  </a:lnTo>
                  <a:cubicBezTo>
                    <a:pt x="5432" y="8510"/>
                    <a:pt x="5741" y="8201"/>
                    <a:pt x="5741" y="7817"/>
                  </a:cubicBezTo>
                  <a:lnTo>
                    <a:pt x="5741" y="3105"/>
                  </a:lnTo>
                  <a:cubicBezTo>
                    <a:pt x="5630" y="2045"/>
                    <a:pt x="6367" y="1086"/>
                    <a:pt x="7419" y="921"/>
                  </a:cubicBezTo>
                  <a:lnTo>
                    <a:pt x="11892" y="-224"/>
                  </a:lnTo>
                  <a:cubicBezTo>
                    <a:pt x="12736" y="-567"/>
                    <a:pt x="13700" y="-160"/>
                    <a:pt x="14043" y="684"/>
                  </a:cubicBezTo>
                  <a:cubicBezTo>
                    <a:pt x="14145" y="937"/>
                    <a:pt x="14184" y="1209"/>
                    <a:pt x="14155" y="1480"/>
                  </a:cubicBezTo>
                  <a:lnTo>
                    <a:pt x="14155" y="7871"/>
                  </a:lnTo>
                  <a:cubicBezTo>
                    <a:pt x="14139" y="8238"/>
                    <a:pt x="14427" y="8547"/>
                    <a:pt x="14794" y="8563"/>
                  </a:cubicBezTo>
                  <a:cubicBezTo>
                    <a:pt x="14810" y="8563"/>
                    <a:pt x="14829" y="8563"/>
                    <a:pt x="14848" y="8563"/>
                  </a:cubicBezTo>
                  <a:lnTo>
                    <a:pt x="22835" y="8563"/>
                  </a:lnTo>
                  <a:cubicBezTo>
                    <a:pt x="23861" y="8470"/>
                    <a:pt x="24766" y="9226"/>
                    <a:pt x="24859" y="10251"/>
                  </a:cubicBezTo>
                  <a:cubicBezTo>
                    <a:pt x="24870" y="10363"/>
                    <a:pt x="24870" y="10475"/>
                    <a:pt x="24859" y="10587"/>
                  </a:cubicBezTo>
                  <a:lnTo>
                    <a:pt x="24859" y="13888"/>
                  </a:lnTo>
                  <a:cubicBezTo>
                    <a:pt x="24952" y="14913"/>
                    <a:pt x="24196" y="15819"/>
                    <a:pt x="23171" y="15912"/>
                  </a:cubicBezTo>
                  <a:cubicBezTo>
                    <a:pt x="23059" y="15922"/>
                    <a:pt x="22947" y="15922"/>
                    <a:pt x="22835" y="15912"/>
                  </a:cubicBezTo>
                  <a:lnTo>
                    <a:pt x="14848" y="15912"/>
                  </a:lnTo>
                  <a:cubicBezTo>
                    <a:pt x="14480" y="15893"/>
                    <a:pt x="14169" y="16178"/>
                    <a:pt x="14150" y="16545"/>
                  </a:cubicBezTo>
                  <a:cubicBezTo>
                    <a:pt x="14150" y="16583"/>
                    <a:pt x="14150" y="16620"/>
                    <a:pt x="14155" y="16657"/>
                  </a:cubicBezTo>
                  <a:lnTo>
                    <a:pt x="14155" y="30157"/>
                  </a:lnTo>
                  <a:cubicBezTo>
                    <a:pt x="14155" y="32819"/>
                    <a:pt x="15034" y="34177"/>
                    <a:pt x="17590" y="34177"/>
                  </a:cubicBezTo>
                  <a:cubicBezTo>
                    <a:pt x="19230" y="34175"/>
                    <a:pt x="20860" y="33940"/>
                    <a:pt x="22436" y="33485"/>
                  </a:cubicBezTo>
                  <a:cubicBezTo>
                    <a:pt x="23325" y="33131"/>
                    <a:pt x="24332" y="33565"/>
                    <a:pt x="24683" y="34454"/>
                  </a:cubicBezTo>
                  <a:cubicBezTo>
                    <a:pt x="24766" y="34662"/>
                    <a:pt x="24808" y="34886"/>
                    <a:pt x="24806" y="35109"/>
                  </a:cubicBezTo>
                  <a:lnTo>
                    <a:pt x="25178" y="38384"/>
                  </a:lnTo>
                  <a:cubicBezTo>
                    <a:pt x="25407" y="39463"/>
                    <a:pt x="24718" y="40522"/>
                    <a:pt x="23639" y="40754"/>
                  </a:cubicBezTo>
                  <a:cubicBezTo>
                    <a:pt x="23639" y="40754"/>
                    <a:pt x="23637" y="40754"/>
                    <a:pt x="23634" y="40754"/>
                  </a:cubicBezTo>
                  <a:cubicBezTo>
                    <a:pt x="21139" y="41462"/>
                    <a:pt x="18559" y="41822"/>
                    <a:pt x="15966" y="41819"/>
                  </a:cubicBezTo>
                  <a:cubicBezTo>
                    <a:pt x="10241" y="41819"/>
                    <a:pt x="5315" y="38943"/>
                    <a:pt x="5315" y="30343"/>
                  </a:cubicBezTo>
                  <a:lnTo>
                    <a:pt x="5315" y="16657"/>
                  </a:lnTo>
                  <a:cubicBezTo>
                    <a:pt x="5363" y="16269"/>
                    <a:pt x="5092" y="15914"/>
                    <a:pt x="4703" y="15859"/>
                  </a:cubicBezTo>
                  <a:lnTo>
                    <a:pt x="2946" y="15859"/>
                  </a:lnTo>
                  <a:cubicBezTo>
                    <a:pt x="1950" y="15938"/>
                    <a:pt x="1076" y="15198"/>
                    <a:pt x="994" y="14200"/>
                  </a:cubicBezTo>
                  <a:cubicBezTo>
                    <a:pt x="986" y="14080"/>
                    <a:pt x="986" y="13957"/>
                    <a:pt x="1002" y="13835"/>
                  </a:cubicBezTo>
                </a:path>
              </a:pathLst>
            </a:custGeom>
            <a:solidFill>
              <a:srgbClr val="8FDB42"/>
            </a:solidFill>
            <a:ln w="2661" cap="flat">
              <a:noFill/>
              <a:prstDash val="solid"/>
              <a:miter/>
            </a:ln>
          </p:spPr>
          <p:txBody>
            <a:bodyPr rtlCol="0" anchor="ctr"/>
            <a:lstStyle/>
            <a:p>
              <a:endParaRPr lang="pl-PL"/>
            </a:p>
          </p:txBody>
        </p:sp>
        <p:sp>
          <p:nvSpPr>
            <p:cNvPr id="124" name="Freeform: Shape 123">
              <a:extLst>
                <a:ext uri="{FF2B5EF4-FFF2-40B4-BE49-F238E27FC236}">
                  <a16:creationId xmlns:a16="http://schemas.microsoft.com/office/drawing/2014/main" id="{8147429B-1E42-4063-AF2B-BE3D1D10FDD0}"/>
                </a:ext>
              </a:extLst>
            </p:cNvPr>
            <p:cNvSpPr/>
            <p:nvPr/>
          </p:nvSpPr>
          <p:spPr>
            <a:xfrm>
              <a:off x="11809766" y="6742209"/>
              <a:ext cx="6552" cy="27380"/>
            </a:xfrm>
            <a:custGeom>
              <a:avLst/>
              <a:gdLst>
                <a:gd name="connsiteX0" fmla="*/ 991 w 11611"/>
                <a:gd name="connsiteY0" fmla="*/ 5352 h 48518"/>
                <a:gd name="connsiteX1" fmla="*/ 6689 w 11611"/>
                <a:gd name="connsiteY1" fmla="*/ -346 h 48518"/>
                <a:gd name="connsiteX2" fmla="*/ 6769 w 11611"/>
                <a:gd name="connsiteY2" fmla="*/ -346 h 48518"/>
                <a:gd name="connsiteX3" fmla="*/ 12600 w 11611"/>
                <a:gd name="connsiteY3" fmla="*/ 5352 h 48518"/>
                <a:gd name="connsiteX4" fmla="*/ 6769 w 11611"/>
                <a:gd name="connsiteY4" fmla="*/ 11263 h 48518"/>
                <a:gd name="connsiteX5" fmla="*/ 989 w 11611"/>
                <a:gd name="connsiteY5" fmla="*/ 5488 h 48518"/>
                <a:gd name="connsiteX6" fmla="*/ 991 w 11611"/>
                <a:gd name="connsiteY6" fmla="*/ 5352 h 48518"/>
                <a:gd name="connsiteX7" fmla="*/ 10710 w 11611"/>
                <a:gd name="connsiteY7" fmla="*/ 17521 h 48518"/>
                <a:gd name="connsiteX8" fmla="*/ 10710 w 11611"/>
                <a:gd name="connsiteY8" fmla="*/ 46144 h 48518"/>
                <a:gd name="connsiteX9" fmla="*/ 9019 w 11611"/>
                <a:gd name="connsiteY9" fmla="*/ 48165 h 48518"/>
                <a:gd name="connsiteX10" fmla="*/ 8713 w 11611"/>
                <a:gd name="connsiteY10" fmla="*/ 48167 h 48518"/>
                <a:gd name="connsiteX11" fmla="*/ 4000 w 11611"/>
                <a:gd name="connsiteY11" fmla="*/ 48167 h 48518"/>
                <a:gd name="connsiteX12" fmla="*/ 2001 w 11611"/>
                <a:gd name="connsiteY12" fmla="*/ 46450 h 48518"/>
                <a:gd name="connsiteX13" fmla="*/ 2003 w 11611"/>
                <a:gd name="connsiteY13" fmla="*/ 46144 h 48518"/>
                <a:gd name="connsiteX14" fmla="*/ 2003 w 11611"/>
                <a:gd name="connsiteY14" fmla="*/ 17600 h 48518"/>
                <a:gd name="connsiteX15" fmla="*/ 3665 w 11611"/>
                <a:gd name="connsiteY15" fmla="*/ 15603 h 48518"/>
                <a:gd name="connsiteX16" fmla="*/ 4000 w 11611"/>
                <a:gd name="connsiteY16" fmla="*/ 15603 h 48518"/>
                <a:gd name="connsiteX17" fmla="*/ 8713 w 11611"/>
                <a:gd name="connsiteY17" fmla="*/ 15603 h 48518"/>
                <a:gd name="connsiteX18" fmla="*/ 10710 w 11611"/>
                <a:gd name="connsiteY18" fmla="*/ 17265 h 48518"/>
                <a:gd name="connsiteX19" fmla="*/ 10710 w 11611"/>
                <a:gd name="connsiteY19" fmla="*/ 17600 h 48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11" h="48518">
                  <a:moveTo>
                    <a:pt x="991" y="5352"/>
                  </a:moveTo>
                  <a:cubicBezTo>
                    <a:pt x="991" y="2205"/>
                    <a:pt x="3542" y="-346"/>
                    <a:pt x="6689" y="-346"/>
                  </a:cubicBezTo>
                  <a:cubicBezTo>
                    <a:pt x="6716" y="-346"/>
                    <a:pt x="6743" y="-346"/>
                    <a:pt x="6769" y="-346"/>
                  </a:cubicBezTo>
                  <a:cubicBezTo>
                    <a:pt x="9938" y="-346"/>
                    <a:pt x="12529" y="2184"/>
                    <a:pt x="12600" y="5352"/>
                  </a:cubicBezTo>
                  <a:cubicBezTo>
                    <a:pt x="12600" y="8585"/>
                    <a:pt x="10002" y="11221"/>
                    <a:pt x="6769" y="11263"/>
                  </a:cubicBezTo>
                  <a:cubicBezTo>
                    <a:pt x="3579" y="11263"/>
                    <a:pt x="991" y="8678"/>
                    <a:pt x="989" y="5488"/>
                  </a:cubicBezTo>
                  <a:cubicBezTo>
                    <a:pt x="989" y="5443"/>
                    <a:pt x="991" y="5398"/>
                    <a:pt x="991" y="5352"/>
                  </a:cubicBezTo>
                  <a:moveTo>
                    <a:pt x="10710" y="17521"/>
                  </a:moveTo>
                  <a:lnTo>
                    <a:pt x="10710" y="46144"/>
                  </a:lnTo>
                  <a:cubicBezTo>
                    <a:pt x="10800" y="47169"/>
                    <a:pt x="10044" y="48074"/>
                    <a:pt x="9019" y="48165"/>
                  </a:cubicBezTo>
                  <a:cubicBezTo>
                    <a:pt x="8918" y="48175"/>
                    <a:pt x="8814" y="48175"/>
                    <a:pt x="8713" y="48167"/>
                  </a:cubicBezTo>
                  <a:lnTo>
                    <a:pt x="4000" y="48167"/>
                  </a:lnTo>
                  <a:cubicBezTo>
                    <a:pt x="2975" y="48244"/>
                    <a:pt x="2078" y="47475"/>
                    <a:pt x="2001" y="46450"/>
                  </a:cubicBezTo>
                  <a:cubicBezTo>
                    <a:pt x="1993" y="46349"/>
                    <a:pt x="1995" y="46245"/>
                    <a:pt x="2003" y="46144"/>
                  </a:cubicBezTo>
                  <a:lnTo>
                    <a:pt x="2003" y="17600"/>
                  </a:lnTo>
                  <a:cubicBezTo>
                    <a:pt x="1910" y="16591"/>
                    <a:pt x="2656" y="15697"/>
                    <a:pt x="3665" y="15603"/>
                  </a:cubicBezTo>
                  <a:cubicBezTo>
                    <a:pt x="3777" y="15593"/>
                    <a:pt x="3888" y="15593"/>
                    <a:pt x="4000" y="15603"/>
                  </a:cubicBezTo>
                  <a:lnTo>
                    <a:pt x="8713" y="15603"/>
                  </a:lnTo>
                  <a:cubicBezTo>
                    <a:pt x="9722" y="15510"/>
                    <a:pt x="10617" y="16256"/>
                    <a:pt x="10710" y="17265"/>
                  </a:cubicBezTo>
                  <a:cubicBezTo>
                    <a:pt x="10721" y="17377"/>
                    <a:pt x="10721" y="17489"/>
                    <a:pt x="10710" y="17600"/>
                  </a:cubicBezTo>
                </a:path>
              </a:pathLst>
            </a:custGeom>
            <a:solidFill>
              <a:srgbClr val="8FDB42"/>
            </a:solidFill>
            <a:ln w="2661" cap="flat">
              <a:noFill/>
              <a:prstDash val="solid"/>
              <a:miter/>
            </a:ln>
          </p:spPr>
          <p:txBody>
            <a:bodyPr rtlCol="0" anchor="ctr"/>
            <a:lstStyle/>
            <a:p>
              <a:endParaRPr lang="pl-PL"/>
            </a:p>
          </p:txBody>
        </p:sp>
        <p:sp>
          <p:nvSpPr>
            <p:cNvPr id="125" name="Freeform: Shape 124">
              <a:extLst>
                <a:ext uri="{FF2B5EF4-FFF2-40B4-BE49-F238E27FC236}">
                  <a16:creationId xmlns:a16="http://schemas.microsoft.com/office/drawing/2014/main" id="{B8E44F35-B46B-45AA-99A1-3DE05B1DB8C6}"/>
                </a:ext>
              </a:extLst>
            </p:cNvPr>
            <p:cNvSpPr/>
            <p:nvPr/>
          </p:nvSpPr>
          <p:spPr>
            <a:xfrm>
              <a:off x="11818135" y="6751161"/>
              <a:ext cx="19391" cy="18427"/>
            </a:xfrm>
            <a:custGeom>
              <a:avLst/>
              <a:gdLst>
                <a:gd name="connsiteX0" fmla="*/ 3041 w 34361"/>
                <a:gd name="connsiteY0" fmla="*/ -340 h 32653"/>
                <a:gd name="connsiteX1" fmla="*/ 8766 w 34361"/>
                <a:gd name="connsiteY1" fmla="*/ -340 h 32653"/>
                <a:gd name="connsiteX2" fmla="*/ 11029 w 34361"/>
                <a:gd name="connsiteY2" fmla="*/ 1364 h 32653"/>
                <a:gd name="connsiteX3" fmla="*/ 17606 w 34361"/>
                <a:gd name="connsiteY3" fmla="*/ 22665 h 32653"/>
                <a:gd name="connsiteX4" fmla="*/ 19257 w 34361"/>
                <a:gd name="connsiteY4" fmla="*/ 22665 h 32653"/>
                <a:gd name="connsiteX5" fmla="*/ 26020 w 34361"/>
                <a:gd name="connsiteY5" fmla="*/ 1364 h 32653"/>
                <a:gd name="connsiteX6" fmla="*/ 28230 w 34361"/>
                <a:gd name="connsiteY6" fmla="*/ -340 h 32653"/>
                <a:gd name="connsiteX7" fmla="*/ 33555 w 34361"/>
                <a:gd name="connsiteY7" fmla="*/ -340 h 32653"/>
                <a:gd name="connsiteX8" fmla="*/ 35179 w 34361"/>
                <a:gd name="connsiteY8" fmla="*/ 1976 h 32653"/>
                <a:gd name="connsiteX9" fmla="*/ 23623 w 34361"/>
                <a:gd name="connsiteY9" fmla="*/ 30546 h 32653"/>
                <a:gd name="connsiteX10" fmla="*/ 20961 w 34361"/>
                <a:gd name="connsiteY10" fmla="*/ 32304 h 32653"/>
                <a:gd name="connsiteX11" fmla="*/ 15130 w 34361"/>
                <a:gd name="connsiteY11" fmla="*/ 32304 h 32653"/>
                <a:gd name="connsiteX12" fmla="*/ 12467 w 34361"/>
                <a:gd name="connsiteY12" fmla="*/ 30546 h 32653"/>
                <a:gd name="connsiteX13" fmla="*/ 1178 w 34361"/>
                <a:gd name="connsiteY13" fmla="*/ 1923 h 32653"/>
                <a:gd name="connsiteX14" fmla="*/ 2748 w 34361"/>
                <a:gd name="connsiteY14" fmla="*/ -340 h 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361" h="32653">
                  <a:moveTo>
                    <a:pt x="3041" y="-340"/>
                  </a:moveTo>
                  <a:lnTo>
                    <a:pt x="8766" y="-340"/>
                  </a:lnTo>
                  <a:cubicBezTo>
                    <a:pt x="9839" y="-417"/>
                    <a:pt x="10806" y="310"/>
                    <a:pt x="11029" y="1364"/>
                  </a:cubicBezTo>
                  <a:lnTo>
                    <a:pt x="17606" y="22665"/>
                  </a:lnTo>
                  <a:cubicBezTo>
                    <a:pt x="18005" y="23757"/>
                    <a:pt x="18884" y="23757"/>
                    <a:pt x="19257" y="22665"/>
                  </a:cubicBezTo>
                  <a:lnTo>
                    <a:pt x="26020" y="1364"/>
                  </a:lnTo>
                  <a:cubicBezTo>
                    <a:pt x="26230" y="326"/>
                    <a:pt x="27173" y="-401"/>
                    <a:pt x="28230" y="-340"/>
                  </a:cubicBezTo>
                  <a:lnTo>
                    <a:pt x="33555" y="-340"/>
                  </a:lnTo>
                  <a:cubicBezTo>
                    <a:pt x="35046" y="-340"/>
                    <a:pt x="35685" y="592"/>
                    <a:pt x="35179" y="1976"/>
                  </a:cubicBezTo>
                  <a:lnTo>
                    <a:pt x="23623" y="30546"/>
                  </a:lnTo>
                  <a:cubicBezTo>
                    <a:pt x="23224" y="31657"/>
                    <a:pt x="22140" y="32373"/>
                    <a:pt x="20961" y="32304"/>
                  </a:cubicBezTo>
                  <a:lnTo>
                    <a:pt x="15130" y="32304"/>
                  </a:lnTo>
                  <a:cubicBezTo>
                    <a:pt x="13950" y="32373"/>
                    <a:pt x="12866" y="31657"/>
                    <a:pt x="12467" y="30546"/>
                  </a:cubicBezTo>
                  <a:lnTo>
                    <a:pt x="1178" y="1923"/>
                  </a:lnTo>
                  <a:cubicBezTo>
                    <a:pt x="672" y="592"/>
                    <a:pt x="1178" y="-340"/>
                    <a:pt x="2748" y="-340"/>
                  </a:cubicBezTo>
                </a:path>
              </a:pathLst>
            </a:custGeom>
            <a:solidFill>
              <a:srgbClr val="8FDB42"/>
            </a:solidFill>
            <a:ln w="2661" cap="flat">
              <a:noFill/>
              <a:prstDash val="solid"/>
              <a:miter/>
            </a:ln>
          </p:spPr>
          <p:txBody>
            <a:bodyPr rtlCol="0" anchor="ctr"/>
            <a:lstStyle/>
            <a:p>
              <a:endParaRPr lang="pl-PL"/>
            </a:p>
          </p:txBody>
        </p:sp>
        <p:sp>
          <p:nvSpPr>
            <p:cNvPr id="126" name="Freeform: Shape 125">
              <a:extLst>
                <a:ext uri="{FF2B5EF4-FFF2-40B4-BE49-F238E27FC236}">
                  <a16:creationId xmlns:a16="http://schemas.microsoft.com/office/drawing/2014/main" id="{FD0AD04B-6D3F-436B-A87D-921F06084882}"/>
                </a:ext>
              </a:extLst>
            </p:cNvPr>
            <p:cNvSpPr/>
            <p:nvPr/>
          </p:nvSpPr>
          <p:spPr>
            <a:xfrm>
              <a:off x="11839093" y="6750822"/>
              <a:ext cx="18454" cy="19157"/>
            </a:xfrm>
            <a:custGeom>
              <a:avLst/>
              <a:gdLst>
                <a:gd name="connsiteX0" fmla="*/ 17931 w 32701"/>
                <a:gd name="connsiteY0" fmla="*/ -324 h 33946"/>
                <a:gd name="connsiteX1" fmla="*/ 33689 w 32701"/>
                <a:gd name="connsiteY1" fmla="*/ 15867 h 33946"/>
                <a:gd name="connsiteX2" fmla="*/ 33614 w 32701"/>
                <a:gd name="connsiteY2" fmla="*/ 17196 h 33946"/>
                <a:gd name="connsiteX3" fmla="*/ 31809 w 32701"/>
                <a:gd name="connsiteY3" fmla="*/ 19012 h 33946"/>
                <a:gd name="connsiteX4" fmla="*/ 31670 w 32701"/>
                <a:gd name="connsiteY4" fmla="*/ 19006 h 33946"/>
                <a:gd name="connsiteX5" fmla="*/ 11568 w 32701"/>
                <a:gd name="connsiteY5" fmla="*/ 19006 h 33946"/>
                <a:gd name="connsiteX6" fmla="*/ 10130 w 32701"/>
                <a:gd name="connsiteY6" fmla="*/ 20950 h 33946"/>
                <a:gd name="connsiteX7" fmla="*/ 18118 w 32701"/>
                <a:gd name="connsiteY7" fmla="*/ 26488 h 33946"/>
                <a:gd name="connsiteX8" fmla="*/ 24455 w 32701"/>
                <a:gd name="connsiteY8" fmla="*/ 23613 h 33946"/>
                <a:gd name="connsiteX9" fmla="*/ 26771 w 32701"/>
                <a:gd name="connsiteY9" fmla="*/ 22148 h 33946"/>
                <a:gd name="connsiteX10" fmla="*/ 31058 w 32701"/>
                <a:gd name="connsiteY10" fmla="*/ 22148 h 33946"/>
                <a:gd name="connsiteX11" fmla="*/ 32789 w 32701"/>
                <a:gd name="connsiteY11" fmla="*/ 24358 h 33946"/>
                <a:gd name="connsiteX12" fmla="*/ 18118 w 32701"/>
                <a:gd name="connsiteY12" fmla="*/ 33571 h 33946"/>
                <a:gd name="connsiteX13" fmla="*/ 994 w 32701"/>
                <a:gd name="connsiteY13" fmla="*/ 17371 h 33946"/>
                <a:gd name="connsiteX14" fmla="*/ 997 w 32701"/>
                <a:gd name="connsiteY14" fmla="*/ 16370 h 33946"/>
                <a:gd name="connsiteX15" fmla="*/ 16866 w 32701"/>
                <a:gd name="connsiteY15" fmla="*/ -340 h 33946"/>
                <a:gd name="connsiteX16" fmla="*/ 18118 w 32701"/>
                <a:gd name="connsiteY16" fmla="*/ -324 h 33946"/>
                <a:gd name="connsiteX17" fmla="*/ 12020 w 32701"/>
                <a:gd name="connsiteY17" fmla="*/ 13362 h 33946"/>
                <a:gd name="connsiteX18" fmla="*/ 23257 w 32701"/>
                <a:gd name="connsiteY18" fmla="*/ 13362 h 33946"/>
                <a:gd name="connsiteX19" fmla="*/ 24774 w 32701"/>
                <a:gd name="connsiteY19" fmla="*/ 11365 h 33946"/>
                <a:gd name="connsiteX20" fmla="*/ 17984 w 32701"/>
                <a:gd name="connsiteY20" fmla="*/ 6705 h 33946"/>
                <a:gd name="connsiteX21" fmla="*/ 10582 w 32701"/>
                <a:gd name="connsiteY21" fmla="*/ 11285 h 33946"/>
                <a:gd name="connsiteX22" fmla="*/ 12020 w 32701"/>
                <a:gd name="connsiteY22" fmla="*/ 13362 h 3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701" h="33946">
                  <a:moveTo>
                    <a:pt x="17931" y="-324"/>
                  </a:moveTo>
                  <a:cubicBezTo>
                    <a:pt x="26753" y="-204"/>
                    <a:pt x="33809" y="7046"/>
                    <a:pt x="33689" y="15867"/>
                  </a:cubicBezTo>
                  <a:cubicBezTo>
                    <a:pt x="33681" y="16312"/>
                    <a:pt x="33657" y="16754"/>
                    <a:pt x="33614" y="17196"/>
                  </a:cubicBezTo>
                  <a:cubicBezTo>
                    <a:pt x="33617" y="18197"/>
                    <a:pt x="32807" y="19009"/>
                    <a:pt x="31809" y="19012"/>
                  </a:cubicBezTo>
                  <a:cubicBezTo>
                    <a:pt x="31764" y="19012"/>
                    <a:pt x="31716" y="19009"/>
                    <a:pt x="31670" y="19006"/>
                  </a:cubicBezTo>
                  <a:lnTo>
                    <a:pt x="11568" y="19006"/>
                  </a:lnTo>
                  <a:cubicBezTo>
                    <a:pt x="10369" y="19006"/>
                    <a:pt x="9624" y="19778"/>
                    <a:pt x="10130" y="20950"/>
                  </a:cubicBezTo>
                  <a:cubicBezTo>
                    <a:pt x="11272" y="24361"/>
                    <a:pt x="14523" y="26616"/>
                    <a:pt x="18118" y="26488"/>
                  </a:cubicBezTo>
                  <a:cubicBezTo>
                    <a:pt x="20589" y="26709"/>
                    <a:pt x="22996" y="25618"/>
                    <a:pt x="24455" y="23613"/>
                  </a:cubicBezTo>
                  <a:cubicBezTo>
                    <a:pt x="24897" y="22734"/>
                    <a:pt x="25789" y="22172"/>
                    <a:pt x="26771" y="22148"/>
                  </a:cubicBezTo>
                  <a:lnTo>
                    <a:pt x="31058" y="22148"/>
                  </a:lnTo>
                  <a:cubicBezTo>
                    <a:pt x="32416" y="22148"/>
                    <a:pt x="33295" y="23027"/>
                    <a:pt x="32789" y="24358"/>
                  </a:cubicBezTo>
                  <a:cubicBezTo>
                    <a:pt x="30387" y="30264"/>
                    <a:pt x="24479" y="33973"/>
                    <a:pt x="18118" y="33571"/>
                  </a:cubicBezTo>
                  <a:cubicBezTo>
                    <a:pt x="8916" y="33826"/>
                    <a:pt x="1250" y="26573"/>
                    <a:pt x="994" y="17371"/>
                  </a:cubicBezTo>
                  <a:cubicBezTo>
                    <a:pt x="986" y="17036"/>
                    <a:pt x="986" y="16703"/>
                    <a:pt x="997" y="16370"/>
                  </a:cubicBezTo>
                  <a:cubicBezTo>
                    <a:pt x="765" y="7373"/>
                    <a:pt x="7869" y="-109"/>
                    <a:pt x="16866" y="-340"/>
                  </a:cubicBezTo>
                  <a:cubicBezTo>
                    <a:pt x="17284" y="-351"/>
                    <a:pt x="17700" y="-346"/>
                    <a:pt x="18118" y="-324"/>
                  </a:cubicBezTo>
                  <a:moveTo>
                    <a:pt x="12020" y="13362"/>
                  </a:moveTo>
                  <a:lnTo>
                    <a:pt x="23257" y="13362"/>
                  </a:lnTo>
                  <a:cubicBezTo>
                    <a:pt x="24508" y="13362"/>
                    <a:pt x="25280" y="12616"/>
                    <a:pt x="24774" y="11365"/>
                  </a:cubicBezTo>
                  <a:cubicBezTo>
                    <a:pt x="23707" y="8545"/>
                    <a:pt x="20999" y="6686"/>
                    <a:pt x="17984" y="6705"/>
                  </a:cubicBezTo>
                  <a:cubicBezTo>
                    <a:pt x="14859" y="6737"/>
                    <a:pt x="12007" y="8502"/>
                    <a:pt x="10582" y="11285"/>
                  </a:cubicBezTo>
                  <a:cubicBezTo>
                    <a:pt x="10023" y="12483"/>
                    <a:pt x="10716" y="13362"/>
                    <a:pt x="12020" y="13362"/>
                  </a:cubicBezTo>
                </a:path>
              </a:pathLst>
            </a:custGeom>
            <a:solidFill>
              <a:srgbClr val="8FDB42"/>
            </a:solidFill>
            <a:ln w="2661" cap="flat">
              <a:noFill/>
              <a:prstDash val="solid"/>
              <a:miter/>
            </a:ln>
          </p:spPr>
          <p:txBody>
            <a:bodyPr rtlCol="0" anchor="ctr"/>
            <a:lstStyle/>
            <a:p>
              <a:endParaRPr lang="pl-PL"/>
            </a:p>
          </p:txBody>
        </p:sp>
        <p:sp>
          <p:nvSpPr>
            <p:cNvPr id="127" name="Freeform: Shape 126">
              <a:extLst>
                <a:ext uri="{FF2B5EF4-FFF2-40B4-BE49-F238E27FC236}">
                  <a16:creationId xmlns:a16="http://schemas.microsoft.com/office/drawing/2014/main" id="{CA22CB27-915C-411B-B0B7-378A134221FD}"/>
                </a:ext>
              </a:extLst>
            </p:cNvPr>
            <p:cNvSpPr/>
            <p:nvPr/>
          </p:nvSpPr>
          <p:spPr>
            <a:xfrm>
              <a:off x="11575064" y="6784526"/>
              <a:ext cx="208318" cy="27505"/>
            </a:xfrm>
            <a:custGeom>
              <a:avLst/>
              <a:gdLst>
                <a:gd name="connsiteX0" fmla="*/ 2220 w 369143"/>
                <a:gd name="connsiteY0" fmla="*/ 48333 h 48740"/>
                <a:gd name="connsiteX1" fmla="*/ 4004 w 369143"/>
                <a:gd name="connsiteY1" fmla="*/ 48333 h 48740"/>
                <a:gd name="connsiteX2" fmla="*/ 5226 w 369143"/>
                <a:gd name="connsiteY2" fmla="*/ 47390 h 48740"/>
                <a:gd name="connsiteX3" fmla="*/ 5229 w 369143"/>
                <a:gd name="connsiteY3" fmla="*/ 47135 h 48740"/>
                <a:gd name="connsiteX4" fmla="*/ 5229 w 369143"/>
                <a:gd name="connsiteY4" fmla="*/ 37043 h 48740"/>
                <a:gd name="connsiteX5" fmla="*/ 7172 w 369143"/>
                <a:gd name="connsiteY5" fmla="*/ 36165 h 48740"/>
                <a:gd name="connsiteX6" fmla="*/ 14202 w 369143"/>
                <a:gd name="connsiteY6" fmla="*/ 38109 h 48740"/>
                <a:gd name="connsiteX7" fmla="*/ 26961 w 369143"/>
                <a:gd name="connsiteY7" fmla="*/ 25096 h 48740"/>
                <a:gd name="connsiteX8" fmla="*/ 26955 w 369143"/>
                <a:gd name="connsiteY8" fmla="*/ 24795 h 48740"/>
                <a:gd name="connsiteX9" fmla="*/ 14444 w 369143"/>
                <a:gd name="connsiteY9" fmla="*/ 11751 h 48740"/>
                <a:gd name="connsiteX10" fmla="*/ 14281 w 369143"/>
                <a:gd name="connsiteY10" fmla="*/ 11749 h 48740"/>
                <a:gd name="connsiteX11" fmla="*/ 6533 w 369143"/>
                <a:gd name="connsiteY11" fmla="*/ 14198 h 48740"/>
                <a:gd name="connsiteX12" fmla="*/ 4403 w 369143"/>
                <a:gd name="connsiteY12" fmla="*/ 13453 h 48740"/>
                <a:gd name="connsiteX13" fmla="*/ 4403 w 369143"/>
                <a:gd name="connsiteY13" fmla="*/ 13453 h 48740"/>
                <a:gd name="connsiteX14" fmla="*/ 3098 w 369143"/>
                <a:gd name="connsiteY14" fmla="*/ 12334 h 48740"/>
                <a:gd name="connsiteX15" fmla="*/ 2220 w 369143"/>
                <a:gd name="connsiteY15" fmla="*/ 12334 h 48740"/>
                <a:gd name="connsiteX16" fmla="*/ 998 w 369143"/>
                <a:gd name="connsiteY16" fmla="*/ 13277 h 48740"/>
                <a:gd name="connsiteX17" fmla="*/ 995 w 369143"/>
                <a:gd name="connsiteY17" fmla="*/ 13533 h 48740"/>
                <a:gd name="connsiteX18" fmla="*/ 995 w 369143"/>
                <a:gd name="connsiteY18" fmla="*/ 47135 h 48740"/>
                <a:gd name="connsiteX19" fmla="*/ 1964 w 369143"/>
                <a:gd name="connsiteY19" fmla="*/ 48336 h 48740"/>
                <a:gd name="connsiteX20" fmla="*/ 2220 w 369143"/>
                <a:gd name="connsiteY20" fmla="*/ 48333 h 48740"/>
                <a:gd name="connsiteX21" fmla="*/ 5575 w 369143"/>
                <a:gd name="connsiteY21" fmla="*/ 27991 h 48740"/>
                <a:gd name="connsiteX22" fmla="*/ 5575 w 369143"/>
                <a:gd name="connsiteY22" fmla="*/ 21920 h 48740"/>
                <a:gd name="connsiteX23" fmla="*/ 6107 w 369143"/>
                <a:gd name="connsiteY23" fmla="*/ 19816 h 48740"/>
                <a:gd name="connsiteX24" fmla="*/ 13749 w 369143"/>
                <a:gd name="connsiteY24" fmla="*/ 15769 h 48740"/>
                <a:gd name="connsiteX25" fmla="*/ 22269 w 369143"/>
                <a:gd name="connsiteY25" fmla="*/ 24875 h 48740"/>
                <a:gd name="connsiteX26" fmla="*/ 13749 w 369143"/>
                <a:gd name="connsiteY26" fmla="*/ 34195 h 48740"/>
                <a:gd name="connsiteX27" fmla="*/ 6107 w 369143"/>
                <a:gd name="connsiteY27" fmla="*/ 30094 h 48740"/>
                <a:gd name="connsiteX28" fmla="*/ 5575 w 369143"/>
                <a:gd name="connsiteY28" fmla="*/ 27991 h 48740"/>
                <a:gd name="connsiteX29" fmla="*/ 36967 w 369143"/>
                <a:gd name="connsiteY29" fmla="*/ -340 h 48740"/>
                <a:gd name="connsiteX30" fmla="*/ 34837 w 369143"/>
                <a:gd name="connsiteY30" fmla="*/ -340 h 48740"/>
                <a:gd name="connsiteX31" fmla="*/ 33612 w 369143"/>
                <a:gd name="connsiteY31" fmla="*/ 662 h 48740"/>
                <a:gd name="connsiteX32" fmla="*/ 33612 w 369143"/>
                <a:gd name="connsiteY32" fmla="*/ 885 h 48740"/>
                <a:gd name="connsiteX33" fmla="*/ 33612 w 369143"/>
                <a:gd name="connsiteY33" fmla="*/ 36431 h 48740"/>
                <a:gd name="connsiteX34" fmla="*/ 34581 w 369143"/>
                <a:gd name="connsiteY34" fmla="*/ 37632 h 48740"/>
                <a:gd name="connsiteX35" fmla="*/ 34837 w 369143"/>
                <a:gd name="connsiteY35" fmla="*/ 37629 h 48740"/>
                <a:gd name="connsiteX36" fmla="*/ 36967 w 369143"/>
                <a:gd name="connsiteY36" fmla="*/ 37629 h 48740"/>
                <a:gd name="connsiteX37" fmla="*/ 38189 w 369143"/>
                <a:gd name="connsiteY37" fmla="*/ 36687 h 48740"/>
                <a:gd name="connsiteX38" fmla="*/ 38192 w 369143"/>
                <a:gd name="connsiteY38" fmla="*/ 36431 h 48740"/>
                <a:gd name="connsiteX39" fmla="*/ 38192 w 369143"/>
                <a:gd name="connsiteY39" fmla="*/ 885 h 48740"/>
                <a:gd name="connsiteX40" fmla="*/ 37191 w 369143"/>
                <a:gd name="connsiteY40" fmla="*/ -340 h 48740"/>
                <a:gd name="connsiteX41" fmla="*/ 36967 w 369143"/>
                <a:gd name="connsiteY41" fmla="*/ -340 h 48740"/>
                <a:gd name="connsiteX42" fmla="*/ 44768 w 369143"/>
                <a:gd name="connsiteY42" fmla="*/ 30680 h 48740"/>
                <a:gd name="connsiteX43" fmla="*/ 52485 w 369143"/>
                <a:gd name="connsiteY43" fmla="*/ 38141 h 48740"/>
                <a:gd name="connsiteX44" fmla="*/ 53049 w 369143"/>
                <a:gd name="connsiteY44" fmla="*/ 38109 h 48740"/>
                <a:gd name="connsiteX45" fmla="*/ 61756 w 369143"/>
                <a:gd name="connsiteY45" fmla="*/ 35446 h 48740"/>
                <a:gd name="connsiteX46" fmla="*/ 63992 w 369143"/>
                <a:gd name="connsiteY46" fmla="*/ 36218 h 48740"/>
                <a:gd name="connsiteX47" fmla="*/ 64152 w 369143"/>
                <a:gd name="connsiteY47" fmla="*/ 36724 h 48740"/>
                <a:gd name="connsiteX48" fmla="*/ 65510 w 369143"/>
                <a:gd name="connsiteY48" fmla="*/ 37736 h 48740"/>
                <a:gd name="connsiteX49" fmla="*/ 66096 w 369143"/>
                <a:gd name="connsiteY49" fmla="*/ 37736 h 48740"/>
                <a:gd name="connsiteX50" fmla="*/ 67294 w 369143"/>
                <a:gd name="connsiteY50" fmla="*/ 36761 h 48740"/>
                <a:gd name="connsiteX51" fmla="*/ 67294 w 369143"/>
                <a:gd name="connsiteY51" fmla="*/ 36538 h 48740"/>
                <a:gd name="connsiteX52" fmla="*/ 67294 w 369143"/>
                <a:gd name="connsiteY52" fmla="*/ 22905 h 48740"/>
                <a:gd name="connsiteX53" fmla="*/ 56644 w 369143"/>
                <a:gd name="connsiteY53" fmla="*/ 11935 h 48740"/>
                <a:gd name="connsiteX54" fmla="*/ 45993 w 369143"/>
                <a:gd name="connsiteY54" fmla="*/ 19497 h 48740"/>
                <a:gd name="connsiteX55" fmla="*/ 46712 w 369143"/>
                <a:gd name="connsiteY55" fmla="*/ 20778 h 48740"/>
                <a:gd name="connsiteX56" fmla="*/ 47165 w 369143"/>
                <a:gd name="connsiteY56" fmla="*/ 20802 h 48740"/>
                <a:gd name="connsiteX57" fmla="*/ 49055 w 369143"/>
                <a:gd name="connsiteY57" fmla="*/ 20802 h 48740"/>
                <a:gd name="connsiteX58" fmla="*/ 50386 w 369143"/>
                <a:gd name="connsiteY58" fmla="*/ 19736 h 48740"/>
                <a:gd name="connsiteX59" fmla="*/ 56510 w 369143"/>
                <a:gd name="connsiteY59" fmla="*/ 15929 h 48740"/>
                <a:gd name="connsiteX60" fmla="*/ 62938 w 369143"/>
                <a:gd name="connsiteY60" fmla="*/ 20791 h 48740"/>
                <a:gd name="connsiteX61" fmla="*/ 62981 w 369143"/>
                <a:gd name="connsiteY61" fmla="*/ 21920 h 48740"/>
                <a:gd name="connsiteX62" fmla="*/ 61277 w 369143"/>
                <a:gd name="connsiteY62" fmla="*/ 23491 h 48740"/>
                <a:gd name="connsiteX63" fmla="*/ 55632 w 369143"/>
                <a:gd name="connsiteY63" fmla="*/ 23491 h 48740"/>
                <a:gd name="connsiteX64" fmla="*/ 44981 w 369143"/>
                <a:gd name="connsiteY64" fmla="*/ 30840 h 48740"/>
                <a:gd name="connsiteX65" fmla="*/ 49561 w 369143"/>
                <a:gd name="connsiteY65" fmla="*/ 30840 h 48740"/>
                <a:gd name="connsiteX66" fmla="*/ 55792 w 369143"/>
                <a:gd name="connsiteY66" fmla="*/ 27325 h 48740"/>
                <a:gd name="connsiteX67" fmla="*/ 61330 w 369143"/>
                <a:gd name="connsiteY67" fmla="*/ 27325 h 48740"/>
                <a:gd name="connsiteX68" fmla="*/ 63034 w 369143"/>
                <a:gd name="connsiteY68" fmla="*/ 28691 h 48740"/>
                <a:gd name="connsiteX69" fmla="*/ 63034 w 369143"/>
                <a:gd name="connsiteY69" fmla="*/ 29029 h 48740"/>
                <a:gd name="connsiteX70" fmla="*/ 63034 w 369143"/>
                <a:gd name="connsiteY70" fmla="*/ 29535 h 48740"/>
                <a:gd name="connsiteX71" fmla="*/ 62022 w 369143"/>
                <a:gd name="connsiteY71" fmla="*/ 31585 h 48740"/>
                <a:gd name="connsiteX72" fmla="*/ 54274 w 369143"/>
                <a:gd name="connsiteY72" fmla="*/ 34248 h 48740"/>
                <a:gd name="connsiteX73" fmla="*/ 49561 w 369143"/>
                <a:gd name="connsiteY73" fmla="*/ 30733 h 48740"/>
                <a:gd name="connsiteX74" fmla="*/ 76826 w 369143"/>
                <a:gd name="connsiteY74" fmla="*/ 37789 h 48740"/>
                <a:gd name="connsiteX75" fmla="*/ 78956 w 369143"/>
                <a:gd name="connsiteY75" fmla="*/ 37789 h 48740"/>
                <a:gd name="connsiteX76" fmla="*/ 80179 w 369143"/>
                <a:gd name="connsiteY76" fmla="*/ 36846 h 48740"/>
                <a:gd name="connsiteX77" fmla="*/ 80181 w 369143"/>
                <a:gd name="connsiteY77" fmla="*/ 36591 h 48740"/>
                <a:gd name="connsiteX78" fmla="*/ 80181 w 369143"/>
                <a:gd name="connsiteY78" fmla="*/ 20988 h 48740"/>
                <a:gd name="connsiteX79" fmla="*/ 81299 w 369143"/>
                <a:gd name="connsiteY79" fmla="*/ 18964 h 48740"/>
                <a:gd name="connsiteX80" fmla="*/ 89580 w 369143"/>
                <a:gd name="connsiteY80" fmla="*/ 16035 h 48740"/>
                <a:gd name="connsiteX81" fmla="*/ 95140 w 369143"/>
                <a:gd name="connsiteY81" fmla="*/ 20658 h 48740"/>
                <a:gd name="connsiteX82" fmla="*/ 95118 w 369143"/>
                <a:gd name="connsiteY82" fmla="*/ 21787 h 48740"/>
                <a:gd name="connsiteX83" fmla="*/ 95118 w 369143"/>
                <a:gd name="connsiteY83" fmla="*/ 36591 h 48740"/>
                <a:gd name="connsiteX84" fmla="*/ 96088 w 369143"/>
                <a:gd name="connsiteY84" fmla="*/ 37792 h 48740"/>
                <a:gd name="connsiteX85" fmla="*/ 96343 w 369143"/>
                <a:gd name="connsiteY85" fmla="*/ 37789 h 48740"/>
                <a:gd name="connsiteX86" fmla="*/ 98473 w 369143"/>
                <a:gd name="connsiteY86" fmla="*/ 37789 h 48740"/>
                <a:gd name="connsiteX87" fmla="*/ 99696 w 369143"/>
                <a:gd name="connsiteY87" fmla="*/ 36846 h 48740"/>
                <a:gd name="connsiteX88" fmla="*/ 99698 w 369143"/>
                <a:gd name="connsiteY88" fmla="*/ 36591 h 48740"/>
                <a:gd name="connsiteX89" fmla="*/ 99698 w 369143"/>
                <a:gd name="connsiteY89" fmla="*/ 21574 h 48740"/>
                <a:gd name="connsiteX90" fmla="*/ 90885 w 369143"/>
                <a:gd name="connsiteY90" fmla="*/ 11988 h 48740"/>
                <a:gd name="connsiteX91" fmla="*/ 81326 w 369143"/>
                <a:gd name="connsiteY91" fmla="*/ 14811 h 48740"/>
                <a:gd name="connsiteX92" fmla="*/ 79143 w 369143"/>
                <a:gd name="connsiteY92" fmla="*/ 13932 h 48740"/>
                <a:gd name="connsiteX93" fmla="*/ 79143 w 369143"/>
                <a:gd name="connsiteY93" fmla="*/ 13559 h 48740"/>
                <a:gd name="connsiteX94" fmla="*/ 77758 w 369143"/>
                <a:gd name="connsiteY94" fmla="*/ 12494 h 48740"/>
                <a:gd name="connsiteX95" fmla="*/ 76906 w 369143"/>
                <a:gd name="connsiteY95" fmla="*/ 12494 h 48740"/>
                <a:gd name="connsiteX96" fmla="*/ 75684 w 369143"/>
                <a:gd name="connsiteY96" fmla="*/ 13437 h 48740"/>
                <a:gd name="connsiteX97" fmla="*/ 75681 w 369143"/>
                <a:gd name="connsiteY97" fmla="*/ 13692 h 48740"/>
                <a:gd name="connsiteX98" fmla="*/ 75681 w 369143"/>
                <a:gd name="connsiteY98" fmla="*/ 36591 h 48740"/>
                <a:gd name="connsiteX99" fmla="*/ 76651 w 369143"/>
                <a:gd name="connsiteY99" fmla="*/ 37792 h 48740"/>
                <a:gd name="connsiteX100" fmla="*/ 76906 w 369143"/>
                <a:gd name="connsiteY100" fmla="*/ 37789 h 48740"/>
                <a:gd name="connsiteX101" fmla="*/ 106195 w 369143"/>
                <a:gd name="connsiteY101" fmla="*/ 24982 h 48740"/>
                <a:gd name="connsiteX102" fmla="*/ 118323 w 369143"/>
                <a:gd name="connsiteY102" fmla="*/ 38282 h 48740"/>
                <a:gd name="connsiteX103" fmla="*/ 119055 w 369143"/>
                <a:gd name="connsiteY103" fmla="*/ 38295 h 48740"/>
                <a:gd name="connsiteX104" fmla="*/ 129945 w 369143"/>
                <a:gd name="connsiteY104" fmla="*/ 31212 h 48740"/>
                <a:gd name="connsiteX105" fmla="*/ 128880 w 369143"/>
                <a:gd name="connsiteY105" fmla="*/ 29828 h 48740"/>
                <a:gd name="connsiteX106" fmla="*/ 127043 w 369143"/>
                <a:gd name="connsiteY106" fmla="*/ 29828 h 48740"/>
                <a:gd name="connsiteX107" fmla="*/ 125632 w 369143"/>
                <a:gd name="connsiteY107" fmla="*/ 30813 h 48740"/>
                <a:gd name="connsiteX108" fmla="*/ 119055 w 369143"/>
                <a:gd name="connsiteY108" fmla="*/ 34381 h 48740"/>
                <a:gd name="connsiteX109" fmla="*/ 111068 w 369143"/>
                <a:gd name="connsiteY109" fmla="*/ 28177 h 48740"/>
                <a:gd name="connsiteX110" fmla="*/ 112638 w 369143"/>
                <a:gd name="connsiteY110" fmla="*/ 26340 h 48740"/>
                <a:gd name="connsiteX111" fmla="*/ 129173 w 369143"/>
                <a:gd name="connsiteY111" fmla="*/ 26340 h 48740"/>
                <a:gd name="connsiteX112" fmla="*/ 130821 w 369143"/>
                <a:gd name="connsiteY112" fmla="*/ 24905 h 48740"/>
                <a:gd name="connsiteX113" fmla="*/ 130824 w 369143"/>
                <a:gd name="connsiteY113" fmla="*/ 24769 h 48740"/>
                <a:gd name="connsiteX114" fmla="*/ 119372 w 369143"/>
                <a:gd name="connsiteY114" fmla="*/ 11975 h 48740"/>
                <a:gd name="connsiteX115" fmla="*/ 119055 w 369143"/>
                <a:gd name="connsiteY115" fmla="*/ 11962 h 48740"/>
                <a:gd name="connsiteX116" fmla="*/ 106245 w 369143"/>
                <a:gd name="connsiteY116" fmla="*/ 24444 h 48740"/>
                <a:gd name="connsiteX117" fmla="*/ 106248 w 369143"/>
                <a:gd name="connsiteY117" fmla="*/ 24955 h 48740"/>
                <a:gd name="connsiteX118" fmla="*/ 111707 w 369143"/>
                <a:gd name="connsiteY118" fmla="*/ 20535 h 48740"/>
                <a:gd name="connsiteX119" fmla="*/ 119002 w 369143"/>
                <a:gd name="connsiteY119" fmla="*/ 15849 h 48740"/>
                <a:gd name="connsiteX120" fmla="*/ 125792 w 369143"/>
                <a:gd name="connsiteY120" fmla="*/ 20589 h 48740"/>
                <a:gd name="connsiteX121" fmla="*/ 124327 w 369143"/>
                <a:gd name="connsiteY121" fmla="*/ 22532 h 48740"/>
                <a:gd name="connsiteX122" fmla="*/ 113065 w 369143"/>
                <a:gd name="connsiteY122" fmla="*/ 22532 h 48740"/>
                <a:gd name="connsiteX123" fmla="*/ 111707 w 369143"/>
                <a:gd name="connsiteY123" fmla="*/ 20589 h 48740"/>
                <a:gd name="connsiteX124" fmla="*/ 135670 w 369143"/>
                <a:gd name="connsiteY124" fmla="*/ 16408 h 48740"/>
                <a:gd name="connsiteX125" fmla="*/ 137720 w 369143"/>
                <a:gd name="connsiteY125" fmla="*/ 16408 h 48740"/>
                <a:gd name="connsiteX126" fmla="*/ 138200 w 369143"/>
                <a:gd name="connsiteY126" fmla="*/ 16832 h 48740"/>
                <a:gd name="connsiteX127" fmla="*/ 138200 w 369143"/>
                <a:gd name="connsiteY127" fmla="*/ 16888 h 48740"/>
                <a:gd name="connsiteX128" fmla="*/ 138200 w 369143"/>
                <a:gd name="connsiteY128" fmla="*/ 30414 h 48740"/>
                <a:gd name="connsiteX129" fmla="*/ 145495 w 369143"/>
                <a:gd name="connsiteY129" fmla="*/ 38401 h 48740"/>
                <a:gd name="connsiteX130" fmla="*/ 151592 w 369143"/>
                <a:gd name="connsiteY130" fmla="*/ 37443 h 48740"/>
                <a:gd name="connsiteX131" fmla="*/ 151939 w 369143"/>
                <a:gd name="connsiteY131" fmla="*/ 35819 h 48740"/>
                <a:gd name="connsiteX132" fmla="*/ 151779 w 369143"/>
                <a:gd name="connsiteY132" fmla="*/ 34354 h 48740"/>
                <a:gd name="connsiteX133" fmla="*/ 150314 w 369143"/>
                <a:gd name="connsiteY133" fmla="*/ 33476 h 48740"/>
                <a:gd name="connsiteX134" fmla="*/ 145735 w 369143"/>
                <a:gd name="connsiteY134" fmla="*/ 34221 h 48740"/>
                <a:gd name="connsiteX135" fmla="*/ 142247 w 369143"/>
                <a:gd name="connsiteY135" fmla="*/ 30281 h 48740"/>
                <a:gd name="connsiteX136" fmla="*/ 142247 w 369143"/>
                <a:gd name="connsiteY136" fmla="*/ 16834 h 48740"/>
                <a:gd name="connsiteX137" fmla="*/ 142670 w 369143"/>
                <a:gd name="connsiteY137" fmla="*/ 16355 h 48740"/>
                <a:gd name="connsiteX138" fmla="*/ 142726 w 369143"/>
                <a:gd name="connsiteY138" fmla="*/ 16355 h 48740"/>
                <a:gd name="connsiteX139" fmla="*/ 150714 w 369143"/>
                <a:gd name="connsiteY139" fmla="*/ 16355 h 48740"/>
                <a:gd name="connsiteX140" fmla="*/ 151939 w 369143"/>
                <a:gd name="connsiteY140" fmla="*/ 15354 h 48740"/>
                <a:gd name="connsiteX141" fmla="*/ 151939 w 369143"/>
                <a:gd name="connsiteY141" fmla="*/ 15130 h 48740"/>
                <a:gd name="connsiteX142" fmla="*/ 151939 w 369143"/>
                <a:gd name="connsiteY142" fmla="*/ 13666 h 48740"/>
                <a:gd name="connsiteX143" fmla="*/ 150969 w 369143"/>
                <a:gd name="connsiteY143" fmla="*/ 12465 h 48740"/>
                <a:gd name="connsiteX144" fmla="*/ 150714 w 369143"/>
                <a:gd name="connsiteY144" fmla="*/ 12468 h 48740"/>
                <a:gd name="connsiteX145" fmla="*/ 142726 w 369143"/>
                <a:gd name="connsiteY145" fmla="*/ 12468 h 48740"/>
                <a:gd name="connsiteX146" fmla="*/ 142247 w 369143"/>
                <a:gd name="connsiteY146" fmla="*/ 11988 h 48740"/>
                <a:gd name="connsiteX147" fmla="*/ 142247 w 369143"/>
                <a:gd name="connsiteY147" fmla="*/ 11962 h 48740"/>
                <a:gd name="connsiteX148" fmla="*/ 142247 w 369143"/>
                <a:gd name="connsiteY148" fmla="*/ 6636 h 48740"/>
                <a:gd name="connsiteX149" fmla="*/ 140889 w 369143"/>
                <a:gd name="connsiteY149" fmla="*/ 5571 h 48740"/>
                <a:gd name="connsiteX150" fmla="*/ 138839 w 369143"/>
                <a:gd name="connsiteY150" fmla="*/ 6104 h 48740"/>
                <a:gd name="connsiteX151" fmla="*/ 137827 w 369143"/>
                <a:gd name="connsiteY151" fmla="*/ 7462 h 48740"/>
                <a:gd name="connsiteX152" fmla="*/ 137827 w 369143"/>
                <a:gd name="connsiteY152" fmla="*/ 11855 h 48740"/>
                <a:gd name="connsiteX153" fmla="*/ 137377 w 369143"/>
                <a:gd name="connsiteY153" fmla="*/ 12361 h 48740"/>
                <a:gd name="connsiteX154" fmla="*/ 137321 w 369143"/>
                <a:gd name="connsiteY154" fmla="*/ 12361 h 48740"/>
                <a:gd name="connsiteX155" fmla="*/ 135138 w 369143"/>
                <a:gd name="connsiteY155" fmla="*/ 12361 h 48740"/>
                <a:gd name="connsiteX156" fmla="*/ 133915 w 369143"/>
                <a:gd name="connsiteY156" fmla="*/ 13304 h 48740"/>
                <a:gd name="connsiteX157" fmla="*/ 133913 w 369143"/>
                <a:gd name="connsiteY157" fmla="*/ 13559 h 48740"/>
                <a:gd name="connsiteX158" fmla="*/ 133913 w 369143"/>
                <a:gd name="connsiteY158" fmla="*/ 15024 h 48740"/>
                <a:gd name="connsiteX159" fmla="*/ 134914 w 369143"/>
                <a:gd name="connsiteY159" fmla="*/ 16248 h 48740"/>
                <a:gd name="connsiteX160" fmla="*/ 135138 w 369143"/>
                <a:gd name="connsiteY160" fmla="*/ 16248 h 48740"/>
                <a:gd name="connsiteX161" fmla="*/ 168820 w 369143"/>
                <a:gd name="connsiteY161" fmla="*/ 24023 h 48740"/>
                <a:gd name="connsiteX162" fmla="*/ 169821 w 369143"/>
                <a:gd name="connsiteY162" fmla="*/ 25248 h 48740"/>
                <a:gd name="connsiteX163" fmla="*/ 170044 w 369143"/>
                <a:gd name="connsiteY163" fmla="*/ 25248 h 48740"/>
                <a:gd name="connsiteX164" fmla="*/ 175609 w 369143"/>
                <a:gd name="connsiteY164" fmla="*/ 25248 h 48740"/>
                <a:gd name="connsiteX165" fmla="*/ 176674 w 369143"/>
                <a:gd name="connsiteY165" fmla="*/ 26087 h 48740"/>
                <a:gd name="connsiteX166" fmla="*/ 176674 w 369143"/>
                <a:gd name="connsiteY166" fmla="*/ 26313 h 48740"/>
                <a:gd name="connsiteX167" fmla="*/ 176674 w 369143"/>
                <a:gd name="connsiteY167" fmla="*/ 31772 h 48740"/>
                <a:gd name="connsiteX168" fmla="*/ 177556 w 369143"/>
                <a:gd name="connsiteY168" fmla="*/ 32994 h 48740"/>
                <a:gd name="connsiteX169" fmla="*/ 177872 w 369143"/>
                <a:gd name="connsiteY169" fmla="*/ 32996 h 48740"/>
                <a:gd name="connsiteX170" fmla="*/ 179230 w 369143"/>
                <a:gd name="connsiteY170" fmla="*/ 32996 h 48740"/>
                <a:gd name="connsiteX171" fmla="*/ 180455 w 369143"/>
                <a:gd name="connsiteY171" fmla="*/ 31995 h 48740"/>
                <a:gd name="connsiteX172" fmla="*/ 180455 w 369143"/>
                <a:gd name="connsiteY172" fmla="*/ 31772 h 48740"/>
                <a:gd name="connsiteX173" fmla="*/ 180455 w 369143"/>
                <a:gd name="connsiteY173" fmla="*/ 26313 h 48740"/>
                <a:gd name="connsiteX174" fmla="*/ 181353 w 369143"/>
                <a:gd name="connsiteY174" fmla="*/ 25248 h 48740"/>
                <a:gd name="connsiteX175" fmla="*/ 181520 w 369143"/>
                <a:gd name="connsiteY175" fmla="*/ 25248 h 48740"/>
                <a:gd name="connsiteX176" fmla="*/ 186979 w 369143"/>
                <a:gd name="connsiteY176" fmla="*/ 25248 h 48740"/>
                <a:gd name="connsiteX177" fmla="*/ 188203 w 369143"/>
                <a:gd name="connsiteY177" fmla="*/ 24247 h 48740"/>
                <a:gd name="connsiteX178" fmla="*/ 188203 w 369143"/>
                <a:gd name="connsiteY178" fmla="*/ 24023 h 48740"/>
                <a:gd name="connsiteX179" fmla="*/ 188203 w 369143"/>
                <a:gd name="connsiteY179" fmla="*/ 22665 h 48740"/>
                <a:gd name="connsiteX180" fmla="*/ 187234 w 369143"/>
                <a:gd name="connsiteY180" fmla="*/ 21465 h 48740"/>
                <a:gd name="connsiteX181" fmla="*/ 186979 w 369143"/>
                <a:gd name="connsiteY181" fmla="*/ 21467 h 48740"/>
                <a:gd name="connsiteX182" fmla="*/ 181520 w 369143"/>
                <a:gd name="connsiteY182" fmla="*/ 21467 h 48740"/>
                <a:gd name="connsiteX183" fmla="*/ 180453 w 369143"/>
                <a:gd name="connsiteY183" fmla="*/ 20573 h 48740"/>
                <a:gd name="connsiteX184" fmla="*/ 180455 w 369143"/>
                <a:gd name="connsiteY184" fmla="*/ 20376 h 48740"/>
                <a:gd name="connsiteX185" fmla="*/ 180455 w 369143"/>
                <a:gd name="connsiteY185" fmla="*/ 15050 h 48740"/>
                <a:gd name="connsiteX186" fmla="*/ 179515 w 369143"/>
                <a:gd name="connsiteY186" fmla="*/ 13825 h 48740"/>
                <a:gd name="connsiteX187" fmla="*/ 179230 w 369143"/>
                <a:gd name="connsiteY187" fmla="*/ 13825 h 48740"/>
                <a:gd name="connsiteX188" fmla="*/ 177846 w 369143"/>
                <a:gd name="connsiteY188" fmla="*/ 13825 h 48740"/>
                <a:gd name="connsiteX189" fmla="*/ 176621 w 369143"/>
                <a:gd name="connsiteY189" fmla="*/ 14702 h 48740"/>
                <a:gd name="connsiteX190" fmla="*/ 176621 w 369143"/>
                <a:gd name="connsiteY190" fmla="*/ 15050 h 48740"/>
                <a:gd name="connsiteX191" fmla="*/ 176621 w 369143"/>
                <a:gd name="connsiteY191" fmla="*/ 20376 h 48740"/>
                <a:gd name="connsiteX192" fmla="*/ 175814 w 369143"/>
                <a:gd name="connsiteY192" fmla="*/ 21465 h 48740"/>
                <a:gd name="connsiteX193" fmla="*/ 175556 w 369143"/>
                <a:gd name="connsiteY193" fmla="*/ 21467 h 48740"/>
                <a:gd name="connsiteX194" fmla="*/ 170044 w 369143"/>
                <a:gd name="connsiteY194" fmla="*/ 21467 h 48740"/>
                <a:gd name="connsiteX195" fmla="*/ 168822 w 369143"/>
                <a:gd name="connsiteY195" fmla="*/ 22410 h 48740"/>
                <a:gd name="connsiteX196" fmla="*/ 168820 w 369143"/>
                <a:gd name="connsiteY196" fmla="*/ 22665 h 48740"/>
                <a:gd name="connsiteX197" fmla="*/ 209185 w 369143"/>
                <a:gd name="connsiteY197" fmla="*/ 48360 h 48740"/>
                <a:gd name="connsiteX198" fmla="*/ 210995 w 369143"/>
                <a:gd name="connsiteY198" fmla="*/ 48360 h 48740"/>
                <a:gd name="connsiteX199" fmla="*/ 212194 w 369143"/>
                <a:gd name="connsiteY199" fmla="*/ 47385 h 48740"/>
                <a:gd name="connsiteX200" fmla="*/ 212194 w 369143"/>
                <a:gd name="connsiteY200" fmla="*/ 47161 h 48740"/>
                <a:gd name="connsiteX201" fmla="*/ 212194 w 369143"/>
                <a:gd name="connsiteY201" fmla="*/ 37070 h 48740"/>
                <a:gd name="connsiteX202" fmla="*/ 214137 w 369143"/>
                <a:gd name="connsiteY202" fmla="*/ 36192 h 48740"/>
                <a:gd name="connsiteX203" fmla="*/ 221167 w 369143"/>
                <a:gd name="connsiteY203" fmla="*/ 38135 h 48740"/>
                <a:gd name="connsiteX204" fmla="*/ 233926 w 369143"/>
                <a:gd name="connsiteY204" fmla="*/ 25123 h 48740"/>
                <a:gd name="connsiteX205" fmla="*/ 233921 w 369143"/>
                <a:gd name="connsiteY205" fmla="*/ 24822 h 48740"/>
                <a:gd name="connsiteX206" fmla="*/ 221409 w 369143"/>
                <a:gd name="connsiteY206" fmla="*/ 11778 h 48740"/>
                <a:gd name="connsiteX207" fmla="*/ 221247 w 369143"/>
                <a:gd name="connsiteY207" fmla="*/ 11775 h 48740"/>
                <a:gd name="connsiteX208" fmla="*/ 213525 w 369143"/>
                <a:gd name="connsiteY208" fmla="*/ 14225 h 48740"/>
                <a:gd name="connsiteX209" fmla="*/ 211368 w 369143"/>
                <a:gd name="connsiteY209" fmla="*/ 13479 h 48740"/>
                <a:gd name="connsiteX210" fmla="*/ 211368 w 369143"/>
                <a:gd name="connsiteY210" fmla="*/ 13479 h 48740"/>
                <a:gd name="connsiteX211" fmla="*/ 210064 w 369143"/>
                <a:gd name="connsiteY211" fmla="*/ 12361 h 48740"/>
                <a:gd name="connsiteX212" fmla="*/ 209185 w 369143"/>
                <a:gd name="connsiteY212" fmla="*/ 12361 h 48740"/>
                <a:gd name="connsiteX213" fmla="*/ 207963 w 369143"/>
                <a:gd name="connsiteY213" fmla="*/ 13304 h 48740"/>
                <a:gd name="connsiteX214" fmla="*/ 207960 w 369143"/>
                <a:gd name="connsiteY214" fmla="*/ 13559 h 48740"/>
                <a:gd name="connsiteX215" fmla="*/ 207960 w 369143"/>
                <a:gd name="connsiteY215" fmla="*/ 47161 h 48740"/>
                <a:gd name="connsiteX216" fmla="*/ 208929 w 369143"/>
                <a:gd name="connsiteY216" fmla="*/ 48362 h 48740"/>
                <a:gd name="connsiteX217" fmla="*/ 209185 w 369143"/>
                <a:gd name="connsiteY217" fmla="*/ 48360 h 48740"/>
                <a:gd name="connsiteX218" fmla="*/ 212540 w 369143"/>
                <a:gd name="connsiteY218" fmla="*/ 28017 h 48740"/>
                <a:gd name="connsiteX219" fmla="*/ 212540 w 369143"/>
                <a:gd name="connsiteY219" fmla="*/ 21947 h 48740"/>
                <a:gd name="connsiteX220" fmla="*/ 213072 w 369143"/>
                <a:gd name="connsiteY220" fmla="*/ 19843 h 48740"/>
                <a:gd name="connsiteX221" fmla="*/ 220714 w 369143"/>
                <a:gd name="connsiteY221" fmla="*/ 15796 h 48740"/>
                <a:gd name="connsiteX222" fmla="*/ 229234 w 369143"/>
                <a:gd name="connsiteY222" fmla="*/ 24902 h 48740"/>
                <a:gd name="connsiteX223" fmla="*/ 220714 w 369143"/>
                <a:gd name="connsiteY223" fmla="*/ 34221 h 48740"/>
                <a:gd name="connsiteX224" fmla="*/ 213072 w 369143"/>
                <a:gd name="connsiteY224" fmla="*/ 30121 h 48740"/>
                <a:gd name="connsiteX225" fmla="*/ 212540 w 369143"/>
                <a:gd name="connsiteY225" fmla="*/ 28017 h 48740"/>
                <a:gd name="connsiteX226" fmla="*/ 238740 w 369143"/>
                <a:gd name="connsiteY226" fmla="*/ 24849 h 48740"/>
                <a:gd name="connsiteX227" fmla="*/ 250868 w 369143"/>
                <a:gd name="connsiteY227" fmla="*/ 38148 h 48740"/>
                <a:gd name="connsiteX228" fmla="*/ 251600 w 369143"/>
                <a:gd name="connsiteY228" fmla="*/ 38162 h 48740"/>
                <a:gd name="connsiteX229" fmla="*/ 262491 w 369143"/>
                <a:gd name="connsiteY229" fmla="*/ 31079 h 48740"/>
                <a:gd name="connsiteX230" fmla="*/ 261425 w 369143"/>
                <a:gd name="connsiteY230" fmla="*/ 29695 h 48740"/>
                <a:gd name="connsiteX231" fmla="*/ 259588 w 369143"/>
                <a:gd name="connsiteY231" fmla="*/ 29695 h 48740"/>
                <a:gd name="connsiteX232" fmla="*/ 258177 w 369143"/>
                <a:gd name="connsiteY232" fmla="*/ 30680 h 48740"/>
                <a:gd name="connsiteX233" fmla="*/ 251600 w 369143"/>
                <a:gd name="connsiteY233" fmla="*/ 34248 h 48740"/>
                <a:gd name="connsiteX234" fmla="*/ 243612 w 369143"/>
                <a:gd name="connsiteY234" fmla="*/ 28044 h 48740"/>
                <a:gd name="connsiteX235" fmla="*/ 245184 w 369143"/>
                <a:gd name="connsiteY235" fmla="*/ 26207 h 48740"/>
                <a:gd name="connsiteX236" fmla="*/ 261718 w 369143"/>
                <a:gd name="connsiteY236" fmla="*/ 26207 h 48740"/>
                <a:gd name="connsiteX237" fmla="*/ 263366 w 369143"/>
                <a:gd name="connsiteY237" fmla="*/ 24774 h 48740"/>
                <a:gd name="connsiteX238" fmla="*/ 263369 w 369143"/>
                <a:gd name="connsiteY238" fmla="*/ 24636 h 48740"/>
                <a:gd name="connsiteX239" fmla="*/ 251917 w 369143"/>
                <a:gd name="connsiteY239" fmla="*/ 11842 h 48740"/>
                <a:gd name="connsiteX240" fmla="*/ 251600 w 369143"/>
                <a:gd name="connsiteY240" fmla="*/ 11829 h 48740"/>
                <a:gd name="connsiteX241" fmla="*/ 238791 w 369143"/>
                <a:gd name="connsiteY241" fmla="*/ 24311 h 48740"/>
                <a:gd name="connsiteX242" fmla="*/ 238793 w 369143"/>
                <a:gd name="connsiteY242" fmla="*/ 24822 h 48740"/>
                <a:gd name="connsiteX243" fmla="*/ 244118 w 369143"/>
                <a:gd name="connsiteY243" fmla="*/ 20402 h 48740"/>
                <a:gd name="connsiteX244" fmla="*/ 251414 w 369143"/>
                <a:gd name="connsiteY244" fmla="*/ 15716 h 48740"/>
                <a:gd name="connsiteX245" fmla="*/ 258204 w 369143"/>
                <a:gd name="connsiteY245" fmla="*/ 20455 h 48740"/>
                <a:gd name="connsiteX246" fmla="*/ 256739 w 369143"/>
                <a:gd name="connsiteY246" fmla="*/ 22399 h 48740"/>
                <a:gd name="connsiteX247" fmla="*/ 245476 w 369143"/>
                <a:gd name="connsiteY247" fmla="*/ 22399 h 48740"/>
                <a:gd name="connsiteX248" fmla="*/ 244118 w 369143"/>
                <a:gd name="connsiteY248" fmla="*/ 20455 h 48740"/>
                <a:gd name="connsiteX249" fmla="*/ 268082 w 369143"/>
                <a:gd name="connsiteY249" fmla="*/ 24875 h 48740"/>
                <a:gd name="connsiteX250" fmla="*/ 280801 w 369143"/>
                <a:gd name="connsiteY250" fmla="*/ 38188 h 48740"/>
                <a:gd name="connsiteX251" fmla="*/ 281395 w 369143"/>
                <a:gd name="connsiteY251" fmla="*/ 38188 h 48740"/>
                <a:gd name="connsiteX252" fmla="*/ 294708 w 369143"/>
                <a:gd name="connsiteY252" fmla="*/ 25469 h 48740"/>
                <a:gd name="connsiteX253" fmla="*/ 294708 w 369143"/>
                <a:gd name="connsiteY253" fmla="*/ 24875 h 48740"/>
                <a:gd name="connsiteX254" fmla="*/ 281989 w 369143"/>
                <a:gd name="connsiteY254" fmla="*/ 11874 h 48740"/>
                <a:gd name="connsiteX255" fmla="*/ 281395 w 369143"/>
                <a:gd name="connsiteY255" fmla="*/ 11882 h 48740"/>
                <a:gd name="connsiteX256" fmla="*/ 268087 w 369143"/>
                <a:gd name="connsiteY256" fmla="*/ 24335 h 48740"/>
                <a:gd name="connsiteX257" fmla="*/ 268082 w 369143"/>
                <a:gd name="connsiteY257" fmla="*/ 24875 h 48740"/>
                <a:gd name="connsiteX258" fmla="*/ 272662 w 369143"/>
                <a:gd name="connsiteY258" fmla="*/ 25035 h 48740"/>
                <a:gd name="connsiteX259" fmla="*/ 281012 w 369143"/>
                <a:gd name="connsiteY259" fmla="*/ 15833 h 48740"/>
                <a:gd name="connsiteX260" fmla="*/ 281528 w 369143"/>
                <a:gd name="connsiteY260" fmla="*/ 15822 h 48740"/>
                <a:gd name="connsiteX261" fmla="*/ 290349 w 369143"/>
                <a:gd name="connsiteY261" fmla="*/ 24628 h 48740"/>
                <a:gd name="connsiteX262" fmla="*/ 290341 w 369143"/>
                <a:gd name="connsiteY262" fmla="*/ 25035 h 48740"/>
                <a:gd name="connsiteX263" fmla="*/ 281882 w 369143"/>
                <a:gd name="connsiteY263" fmla="*/ 34240 h 48740"/>
                <a:gd name="connsiteX264" fmla="*/ 281528 w 369143"/>
                <a:gd name="connsiteY264" fmla="*/ 34248 h 48740"/>
                <a:gd name="connsiteX265" fmla="*/ 272654 w 369143"/>
                <a:gd name="connsiteY265" fmla="*/ 25442 h 48740"/>
                <a:gd name="connsiteX266" fmla="*/ 272662 w 369143"/>
                <a:gd name="connsiteY266" fmla="*/ 25035 h 48740"/>
                <a:gd name="connsiteX267" fmla="*/ 302749 w 369143"/>
                <a:gd name="connsiteY267" fmla="*/ 48386 h 48740"/>
                <a:gd name="connsiteX268" fmla="*/ 304533 w 369143"/>
                <a:gd name="connsiteY268" fmla="*/ 48386 h 48740"/>
                <a:gd name="connsiteX269" fmla="*/ 305755 w 369143"/>
                <a:gd name="connsiteY269" fmla="*/ 47444 h 48740"/>
                <a:gd name="connsiteX270" fmla="*/ 305758 w 369143"/>
                <a:gd name="connsiteY270" fmla="*/ 47188 h 48740"/>
                <a:gd name="connsiteX271" fmla="*/ 305758 w 369143"/>
                <a:gd name="connsiteY271" fmla="*/ 37097 h 48740"/>
                <a:gd name="connsiteX272" fmla="*/ 307702 w 369143"/>
                <a:gd name="connsiteY272" fmla="*/ 36218 h 48740"/>
                <a:gd name="connsiteX273" fmla="*/ 314731 w 369143"/>
                <a:gd name="connsiteY273" fmla="*/ 38162 h 48740"/>
                <a:gd name="connsiteX274" fmla="*/ 327490 w 369143"/>
                <a:gd name="connsiteY274" fmla="*/ 25096 h 48740"/>
                <a:gd name="connsiteX275" fmla="*/ 327485 w 369143"/>
                <a:gd name="connsiteY275" fmla="*/ 24849 h 48740"/>
                <a:gd name="connsiteX276" fmla="*/ 314973 w 369143"/>
                <a:gd name="connsiteY276" fmla="*/ 11805 h 48740"/>
                <a:gd name="connsiteX277" fmla="*/ 314811 w 369143"/>
                <a:gd name="connsiteY277" fmla="*/ 11802 h 48740"/>
                <a:gd name="connsiteX278" fmla="*/ 307063 w 369143"/>
                <a:gd name="connsiteY278" fmla="*/ 14252 h 48740"/>
                <a:gd name="connsiteX279" fmla="*/ 304933 w 369143"/>
                <a:gd name="connsiteY279" fmla="*/ 13506 h 48740"/>
                <a:gd name="connsiteX280" fmla="*/ 304933 w 369143"/>
                <a:gd name="connsiteY280" fmla="*/ 13506 h 48740"/>
                <a:gd name="connsiteX281" fmla="*/ 303628 w 369143"/>
                <a:gd name="connsiteY281" fmla="*/ 12388 h 48740"/>
                <a:gd name="connsiteX282" fmla="*/ 302749 w 369143"/>
                <a:gd name="connsiteY282" fmla="*/ 12388 h 48740"/>
                <a:gd name="connsiteX283" fmla="*/ 301527 w 369143"/>
                <a:gd name="connsiteY283" fmla="*/ 13330 h 48740"/>
                <a:gd name="connsiteX284" fmla="*/ 301524 w 369143"/>
                <a:gd name="connsiteY284" fmla="*/ 13586 h 48740"/>
                <a:gd name="connsiteX285" fmla="*/ 301524 w 369143"/>
                <a:gd name="connsiteY285" fmla="*/ 47188 h 48740"/>
                <a:gd name="connsiteX286" fmla="*/ 302494 w 369143"/>
                <a:gd name="connsiteY286" fmla="*/ 48389 h 48740"/>
                <a:gd name="connsiteX287" fmla="*/ 302749 w 369143"/>
                <a:gd name="connsiteY287" fmla="*/ 48386 h 48740"/>
                <a:gd name="connsiteX288" fmla="*/ 306104 w 369143"/>
                <a:gd name="connsiteY288" fmla="*/ 28044 h 48740"/>
                <a:gd name="connsiteX289" fmla="*/ 306104 w 369143"/>
                <a:gd name="connsiteY289" fmla="*/ 21973 h 48740"/>
                <a:gd name="connsiteX290" fmla="*/ 306637 w 369143"/>
                <a:gd name="connsiteY290" fmla="*/ 19870 h 48740"/>
                <a:gd name="connsiteX291" fmla="*/ 314278 w 369143"/>
                <a:gd name="connsiteY291" fmla="*/ 15822 h 48740"/>
                <a:gd name="connsiteX292" fmla="*/ 322799 w 369143"/>
                <a:gd name="connsiteY292" fmla="*/ 24929 h 48740"/>
                <a:gd name="connsiteX293" fmla="*/ 314278 w 369143"/>
                <a:gd name="connsiteY293" fmla="*/ 34248 h 48740"/>
                <a:gd name="connsiteX294" fmla="*/ 306637 w 369143"/>
                <a:gd name="connsiteY294" fmla="*/ 30147 h 48740"/>
                <a:gd name="connsiteX295" fmla="*/ 306104 w 369143"/>
                <a:gd name="connsiteY295" fmla="*/ 28044 h 48740"/>
                <a:gd name="connsiteX296" fmla="*/ 337496 w 369143"/>
                <a:gd name="connsiteY296" fmla="*/ -286 h 48740"/>
                <a:gd name="connsiteX297" fmla="*/ 335366 w 369143"/>
                <a:gd name="connsiteY297" fmla="*/ -286 h 48740"/>
                <a:gd name="connsiteX298" fmla="*/ 334141 w 369143"/>
                <a:gd name="connsiteY298" fmla="*/ 715 h 48740"/>
                <a:gd name="connsiteX299" fmla="*/ 334141 w 369143"/>
                <a:gd name="connsiteY299" fmla="*/ 938 h 48740"/>
                <a:gd name="connsiteX300" fmla="*/ 334141 w 369143"/>
                <a:gd name="connsiteY300" fmla="*/ 36484 h 48740"/>
                <a:gd name="connsiteX301" fmla="*/ 335111 w 369143"/>
                <a:gd name="connsiteY301" fmla="*/ 37685 h 48740"/>
                <a:gd name="connsiteX302" fmla="*/ 335366 w 369143"/>
                <a:gd name="connsiteY302" fmla="*/ 37683 h 48740"/>
                <a:gd name="connsiteX303" fmla="*/ 337496 w 369143"/>
                <a:gd name="connsiteY303" fmla="*/ 37683 h 48740"/>
                <a:gd name="connsiteX304" fmla="*/ 338718 w 369143"/>
                <a:gd name="connsiteY304" fmla="*/ 36740 h 48740"/>
                <a:gd name="connsiteX305" fmla="*/ 338721 w 369143"/>
                <a:gd name="connsiteY305" fmla="*/ 36484 h 48740"/>
                <a:gd name="connsiteX306" fmla="*/ 338721 w 369143"/>
                <a:gd name="connsiteY306" fmla="*/ 885 h 48740"/>
                <a:gd name="connsiteX307" fmla="*/ 337720 w 369143"/>
                <a:gd name="connsiteY307" fmla="*/ -340 h 48740"/>
                <a:gd name="connsiteX308" fmla="*/ 337496 w 369143"/>
                <a:gd name="connsiteY308" fmla="*/ -340 h 48740"/>
                <a:gd name="connsiteX309" fmla="*/ 345484 w 369143"/>
                <a:gd name="connsiteY309" fmla="*/ 24822 h 48740"/>
                <a:gd name="connsiteX310" fmla="*/ 357612 w 369143"/>
                <a:gd name="connsiteY310" fmla="*/ 38122 h 48740"/>
                <a:gd name="connsiteX311" fmla="*/ 358345 w 369143"/>
                <a:gd name="connsiteY311" fmla="*/ 38135 h 48740"/>
                <a:gd name="connsiteX312" fmla="*/ 369235 w 369143"/>
                <a:gd name="connsiteY312" fmla="*/ 31053 h 48740"/>
                <a:gd name="connsiteX313" fmla="*/ 368170 w 369143"/>
                <a:gd name="connsiteY313" fmla="*/ 29668 h 48740"/>
                <a:gd name="connsiteX314" fmla="*/ 366333 w 369143"/>
                <a:gd name="connsiteY314" fmla="*/ 29668 h 48740"/>
                <a:gd name="connsiteX315" fmla="*/ 364921 w 369143"/>
                <a:gd name="connsiteY315" fmla="*/ 30653 h 48740"/>
                <a:gd name="connsiteX316" fmla="*/ 358345 w 369143"/>
                <a:gd name="connsiteY316" fmla="*/ 34221 h 48740"/>
                <a:gd name="connsiteX317" fmla="*/ 350357 w 369143"/>
                <a:gd name="connsiteY317" fmla="*/ 28017 h 48740"/>
                <a:gd name="connsiteX318" fmla="*/ 351928 w 369143"/>
                <a:gd name="connsiteY318" fmla="*/ 26180 h 48740"/>
                <a:gd name="connsiteX319" fmla="*/ 368463 w 369143"/>
                <a:gd name="connsiteY319" fmla="*/ 26180 h 48740"/>
                <a:gd name="connsiteX320" fmla="*/ 370111 w 369143"/>
                <a:gd name="connsiteY320" fmla="*/ 24745 h 48740"/>
                <a:gd name="connsiteX321" fmla="*/ 370113 w 369143"/>
                <a:gd name="connsiteY321" fmla="*/ 24609 h 48740"/>
                <a:gd name="connsiteX322" fmla="*/ 358661 w 369143"/>
                <a:gd name="connsiteY322" fmla="*/ 11815 h 48740"/>
                <a:gd name="connsiteX323" fmla="*/ 358371 w 369143"/>
                <a:gd name="connsiteY323" fmla="*/ 11802 h 48740"/>
                <a:gd name="connsiteX324" fmla="*/ 345535 w 369143"/>
                <a:gd name="connsiteY324" fmla="*/ 24311 h 48740"/>
                <a:gd name="connsiteX325" fmla="*/ 345538 w 369143"/>
                <a:gd name="connsiteY325" fmla="*/ 24795 h 48740"/>
                <a:gd name="connsiteX326" fmla="*/ 350863 w 369143"/>
                <a:gd name="connsiteY326" fmla="*/ 20376 h 48740"/>
                <a:gd name="connsiteX327" fmla="*/ 358185 w 369143"/>
                <a:gd name="connsiteY327" fmla="*/ 15689 h 48740"/>
                <a:gd name="connsiteX328" fmla="*/ 364948 w 369143"/>
                <a:gd name="connsiteY328" fmla="*/ 20429 h 48740"/>
                <a:gd name="connsiteX329" fmla="*/ 363484 w 369143"/>
                <a:gd name="connsiteY329" fmla="*/ 22373 h 48740"/>
                <a:gd name="connsiteX330" fmla="*/ 352221 w 369143"/>
                <a:gd name="connsiteY330" fmla="*/ 22373 h 48740"/>
                <a:gd name="connsiteX331" fmla="*/ 350863 w 369143"/>
                <a:gd name="connsiteY331" fmla="*/ 20429 h 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Lst>
              <a:rect l="l" t="t" r="r" b="b"/>
              <a:pathLst>
                <a:path w="369143" h="48740">
                  <a:moveTo>
                    <a:pt x="2220" y="48333"/>
                  </a:moveTo>
                  <a:lnTo>
                    <a:pt x="4004" y="48333"/>
                  </a:lnTo>
                  <a:cubicBezTo>
                    <a:pt x="4603" y="48410"/>
                    <a:pt x="5149" y="47987"/>
                    <a:pt x="5226" y="47390"/>
                  </a:cubicBezTo>
                  <a:cubicBezTo>
                    <a:pt x="5237" y="47305"/>
                    <a:pt x="5237" y="47220"/>
                    <a:pt x="5229" y="47135"/>
                  </a:cubicBezTo>
                  <a:lnTo>
                    <a:pt x="5229" y="37043"/>
                  </a:lnTo>
                  <a:cubicBezTo>
                    <a:pt x="5229" y="35632"/>
                    <a:pt x="6001" y="35339"/>
                    <a:pt x="7172" y="36165"/>
                  </a:cubicBezTo>
                  <a:cubicBezTo>
                    <a:pt x="9265" y="37507"/>
                    <a:pt x="11717" y="38183"/>
                    <a:pt x="14202" y="38109"/>
                  </a:cubicBezTo>
                  <a:cubicBezTo>
                    <a:pt x="21319" y="38039"/>
                    <a:pt x="27033" y="32214"/>
                    <a:pt x="26961" y="25096"/>
                  </a:cubicBezTo>
                  <a:cubicBezTo>
                    <a:pt x="26961" y="24995"/>
                    <a:pt x="26958" y="24897"/>
                    <a:pt x="26955" y="24795"/>
                  </a:cubicBezTo>
                  <a:cubicBezTo>
                    <a:pt x="27102" y="17740"/>
                    <a:pt x="21502" y="11898"/>
                    <a:pt x="14444" y="11751"/>
                  </a:cubicBezTo>
                  <a:cubicBezTo>
                    <a:pt x="14391" y="11749"/>
                    <a:pt x="14335" y="11749"/>
                    <a:pt x="14281" y="11749"/>
                  </a:cubicBezTo>
                  <a:cubicBezTo>
                    <a:pt x="11496" y="11671"/>
                    <a:pt x="8767" y="12534"/>
                    <a:pt x="6533" y="14198"/>
                  </a:cubicBezTo>
                  <a:cubicBezTo>
                    <a:pt x="5468" y="15024"/>
                    <a:pt x="4643" y="14837"/>
                    <a:pt x="4403" y="13453"/>
                  </a:cubicBezTo>
                  <a:lnTo>
                    <a:pt x="4403" y="13453"/>
                  </a:lnTo>
                  <a:cubicBezTo>
                    <a:pt x="4347" y="12787"/>
                    <a:pt x="3767" y="12289"/>
                    <a:pt x="3098" y="12334"/>
                  </a:cubicBezTo>
                  <a:lnTo>
                    <a:pt x="2220" y="12334"/>
                  </a:lnTo>
                  <a:cubicBezTo>
                    <a:pt x="1621" y="12257"/>
                    <a:pt x="1075" y="12681"/>
                    <a:pt x="998" y="13277"/>
                  </a:cubicBezTo>
                  <a:cubicBezTo>
                    <a:pt x="987" y="13362"/>
                    <a:pt x="987" y="13447"/>
                    <a:pt x="995" y="13533"/>
                  </a:cubicBezTo>
                  <a:lnTo>
                    <a:pt x="995" y="47135"/>
                  </a:lnTo>
                  <a:cubicBezTo>
                    <a:pt x="931" y="47734"/>
                    <a:pt x="1365" y="48272"/>
                    <a:pt x="1964" y="48336"/>
                  </a:cubicBezTo>
                  <a:cubicBezTo>
                    <a:pt x="2049" y="48344"/>
                    <a:pt x="2134" y="48344"/>
                    <a:pt x="2220" y="48333"/>
                  </a:cubicBezTo>
                  <a:moveTo>
                    <a:pt x="5575" y="27991"/>
                  </a:moveTo>
                  <a:lnTo>
                    <a:pt x="5575" y="21920"/>
                  </a:lnTo>
                  <a:cubicBezTo>
                    <a:pt x="5535" y="21180"/>
                    <a:pt x="5721" y="20447"/>
                    <a:pt x="6107" y="19816"/>
                  </a:cubicBezTo>
                  <a:cubicBezTo>
                    <a:pt x="7777" y="17228"/>
                    <a:pt x="10671" y="15695"/>
                    <a:pt x="13749" y="15769"/>
                  </a:cubicBezTo>
                  <a:cubicBezTo>
                    <a:pt x="18606" y="15958"/>
                    <a:pt x="22405" y="20019"/>
                    <a:pt x="22269" y="24875"/>
                  </a:cubicBezTo>
                  <a:cubicBezTo>
                    <a:pt x="22480" y="29799"/>
                    <a:pt x="18672" y="33965"/>
                    <a:pt x="13749" y="34195"/>
                  </a:cubicBezTo>
                  <a:cubicBezTo>
                    <a:pt x="10655" y="34285"/>
                    <a:pt x="7745" y="32722"/>
                    <a:pt x="6107" y="30094"/>
                  </a:cubicBezTo>
                  <a:cubicBezTo>
                    <a:pt x="5721" y="29463"/>
                    <a:pt x="5535" y="28731"/>
                    <a:pt x="5575" y="27991"/>
                  </a:cubicBezTo>
                  <a:moveTo>
                    <a:pt x="36967" y="-340"/>
                  </a:moveTo>
                  <a:lnTo>
                    <a:pt x="34837" y="-340"/>
                  </a:lnTo>
                  <a:cubicBezTo>
                    <a:pt x="34222" y="-401"/>
                    <a:pt x="33673" y="46"/>
                    <a:pt x="33612" y="662"/>
                  </a:cubicBezTo>
                  <a:cubicBezTo>
                    <a:pt x="33604" y="736"/>
                    <a:pt x="33604" y="811"/>
                    <a:pt x="33612" y="885"/>
                  </a:cubicBezTo>
                  <a:lnTo>
                    <a:pt x="33612" y="36431"/>
                  </a:lnTo>
                  <a:cubicBezTo>
                    <a:pt x="33548" y="37030"/>
                    <a:pt x="33982" y="37568"/>
                    <a:pt x="34581" y="37632"/>
                  </a:cubicBezTo>
                  <a:cubicBezTo>
                    <a:pt x="34666" y="37640"/>
                    <a:pt x="34752" y="37640"/>
                    <a:pt x="34837" y="37629"/>
                  </a:cubicBezTo>
                  <a:lnTo>
                    <a:pt x="36967" y="37629"/>
                  </a:lnTo>
                  <a:cubicBezTo>
                    <a:pt x="37566" y="37707"/>
                    <a:pt x="38112" y="37283"/>
                    <a:pt x="38189" y="36687"/>
                  </a:cubicBezTo>
                  <a:cubicBezTo>
                    <a:pt x="38200" y="36602"/>
                    <a:pt x="38200" y="36516"/>
                    <a:pt x="38192" y="36431"/>
                  </a:cubicBezTo>
                  <a:lnTo>
                    <a:pt x="38192" y="885"/>
                  </a:lnTo>
                  <a:cubicBezTo>
                    <a:pt x="38253" y="270"/>
                    <a:pt x="37806" y="-278"/>
                    <a:pt x="37191" y="-340"/>
                  </a:cubicBezTo>
                  <a:cubicBezTo>
                    <a:pt x="37116" y="-348"/>
                    <a:pt x="37041" y="-348"/>
                    <a:pt x="36967" y="-340"/>
                  </a:cubicBezTo>
                  <a:moveTo>
                    <a:pt x="44768" y="30680"/>
                  </a:moveTo>
                  <a:cubicBezTo>
                    <a:pt x="44840" y="34871"/>
                    <a:pt x="48294" y="38210"/>
                    <a:pt x="52485" y="38141"/>
                  </a:cubicBezTo>
                  <a:cubicBezTo>
                    <a:pt x="52674" y="38135"/>
                    <a:pt x="52860" y="38125"/>
                    <a:pt x="53049" y="38109"/>
                  </a:cubicBezTo>
                  <a:cubicBezTo>
                    <a:pt x="56154" y="38127"/>
                    <a:pt x="59192" y="37198"/>
                    <a:pt x="61756" y="35446"/>
                  </a:cubicBezTo>
                  <a:cubicBezTo>
                    <a:pt x="62821" y="34780"/>
                    <a:pt x="63646" y="35020"/>
                    <a:pt x="63992" y="36218"/>
                  </a:cubicBezTo>
                  <a:lnTo>
                    <a:pt x="64152" y="36724"/>
                  </a:lnTo>
                  <a:cubicBezTo>
                    <a:pt x="64275" y="37363"/>
                    <a:pt x="64863" y="37802"/>
                    <a:pt x="65510" y="37736"/>
                  </a:cubicBezTo>
                  <a:lnTo>
                    <a:pt x="66096" y="37736"/>
                  </a:lnTo>
                  <a:cubicBezTo>
                    <a:pt x="66695" y="37797"/>
                    <a:pt x="67233" y="37363"/>
                    <a:pt x="67294" y="36761"/>
                  </a:cubicBezTo>
                  <a:cubicBezTo>
                    <a:pt x="67302" y="36687"/>
                    <a:pt x="67302" y="36612"/>
                    <a:pt x="67294" y="36538"/>
                  </a:cubicBezTo>
                  <a:lnTo>
                    <a:pt x="67294" y="22905"/>
                  </a:lnTo>
                  <a:cubicBezTo>
                    <a:pt x="67294" y="15982"/>
                    <a:pt x="63353" y="11935"/>
                    <a:pt x="56644" y="11935"/>
                  </a:cubicBezTo>
                  <a:cubicBezTo>
                    <a:pt x="50892" y="11935"/>
                    <a:pt x="46872" y="14864"/>
                    <a:pt x="45993" y="19497"/>
                  </a:cubicBezTo>
                  <a:cubicBezTo>
                    <a:pt x="45839" y="20048"/>
                    <a:pt x="46161" y="20623"/>
                    <a:pt x="46712" y="20778"/>
                  </a:cubicBezTo>
                  <a:cubicBezTo>
                    <a:pt x="46858" y="20818"/>
                    <a:pt x="47013" y="20825"/>
                    <a:pt x="47165" y="20802"/>
                  </a:cubicBezTo>
                  <a:lnTo>
                    <a:pt x="49055" y="20802"/>
                  </a:lnTo>
                  <a:cubicBezTo>
                    <a:pt x="49702" y="20825"/>
                    <a:pt x="50269" y="20373"/>
                    <a:pt x="50386" y="19736"/>
                  </a:cubicBezTo>
                  <a:cubicBezTo>
                    <a:pt x="51305" y="17207"/>
                    <a:pt x="53835" y="15633"/>
                    <a:pt x="56510" y="15929"/>
                  </a:cubicBezTo>
                  <a:cubicBezTo>
                    <a:pt x="59628" y="15498"/>
                    <a:pt x="62504" y="17673"/>
                    <a:pt x="62938" y="20791"/>
                  </a:cubicBezTo>
                  <a:cubicBezTo>
                    <a:pt x="62989" y="21164"/>
                    <a:pt x="63005" y="21542"/>
                    <a:pt x="62981" y="21920"/>
                  </a:cubicBezTo>
                  <a:cubicBezTo>
                    <a:pt x="62981" y="22958"/>
                    <a:pt x="62368" y="23491"/>
                    <a:pt x="61277" y="23491"/>
                  </a:cubicBezTo>
                  <a:lnTo>
                    <a:pt x="55632" y="23491"/>
                  </a:lnTo>
                  <a:cubicBezTo>
                    <a:pt x="48975" y="23491"/>
                    <a:pt x="44981" y="26606"/>
                    <a:pt x="44981" y="30840"/>
                  </a:cubicBezTo>
                  <a:moveTo>
                    <a:pt x="49561" y="30840"/>
                  </a:moveTo>
                  <a:cubicBezTo>
                    <a:pt x="49561" y="28417"/>
                    <a:pt x="51638" y="27325"/>
                    <a:pt x="55792" y="27325"/>
                  </a:cubicBezTo>
                  <a:lnTo>
                    <a:pt x="61330" y="27325"/>
                  </a:lnTo>
                  <a:cubicBezTo>
                    <a:pt x="62177" y="27232"/>
                    <a:pt x="62941" y="27844"/>
                    <a:pt x="63034" y="28691"/>
                  </a:cubicBezTo>
                  <a:cubicBezTo>
                    <a:pt x="63047" y="28803"/>
                    <a:pt x="63047" y="28917"/>
                    <a:pt x="63034" y="29029"/>
                  </a:cubicBezTo>
                  <a:lnTo>
                    <a:pt x="63034" y="29535"/>
                  </a:lnTo>
                  <a:cubicBezTo>
                    <a:pt x="63071" y="30347"/>
                    <a:pt x="62688" y="31119"/>
                    <a:pt x="62022" y="31585"/>
                  </a:cubicBezTo>
                  <a:cubicBezTo>
                    <a:pt x="59767" y="33233"/>
                    <a:pt x="57067" y="34160"/>
                    <a:pt x="54274" y="34248"/>
                  </a:cubicBezTo>
                  <a:cubicBezTo>
                    <a:pt x="51611" y="34248"/>
                    <a:pt x="49561" y="33129"/>
                    <a:pt x="49561" y="30733"/>
                  </a:cubicBezTo>
                  <a:moveTo>
                    <a:pt x="76826" y="37789"/>
                  </a:moveTo>
                  <a:lnTo>
                    <a:pt x="78956" y="37789"/>
                  </a:lnTo>
                  <a:cubicBezTo>
                    <a:pt x="79555" y="37866"/>
                    <a:pt x="80101" y="37443"/>
                    <a:pt x="80179" y="36846"/>
                  </a:cubicBezTo>
                  <a:cubicBezTo>
                    <a:pt x="80189" y="36761"/>
                    <a:pt x="80189" y="36676"/>
                    <a:pt x="80181" y="36591"/>
                  </a:cubicBezTo>
                  <a:lnTo>
                    <a:pt x="80181" y="20988"/>
                  </a:lnTo>
                  <a:cubicBezTo>
                    <a:pt x="80123" y="20152"/>
                    <a:pt x="80562" y="19361"/>
                    <a:pt x="81299" y="18964"/>
                  </a:cubicBezTo>
                  <a:cubicBezTo>
                    <a:pt x="83752" y="17274"/>
                    <a:pt x="86609" y="16264"/>
                    <a:pt x="89580" y="16035"/>
                  </a:cubicBezTo>
                  <a:cubicBezTo>
                    <a:pt x="92392" y="15777"/>
                    <a:pt x="94881" y="17846"/>
                    <a:pt x="95140" y="20658"/>
                  </a:cubicBezTo>
                  <a:cubicBezTo>
                    <a:pt x="95174" y="21033"/>
                    <a:pt x="95166" y="21411"/>
                    <a:pt x="95118" y="21787"/>
                  </a:cubicBezTo>
                  <a:lnTo>
                    <a:pt x="95118" y="36591"/>
                  </a:lnTo>
                  <a:cubicBezTo>
                    <a:pt x="95054" y="37190"/>
                    <a:pt x="95489" y="37728"/>
                    <a:pt x="96088" y="37792"/>
                  </a:cubicBezTo>
                  <a:cubicBezTo>
                    <a:pt x="96173" y="37800"/>
                    <a:pt x="96258" y="37800"/>
                    <a:pt x="96343" y="37789"/>
                  </a:cubicBezTo>
                  <a:lnTo>
                    <a:pt x="98473" y="37789"/>
                  </a:lnTo>
                  <a:cubicBezTo>
                    <a:pt x="99072" y="37866"/>
                    <a:pt x="99618" y="37443"/>
                    <a:pt x="99696" y="36846"/>
                  </a:cubicBezTo>
                  <a:cubicBezTo>
                    <a:pt x="99706" y="36761"/>
                    <a:pt x="99706" y="36676"/>
                    <a:pt x="99698" y="36591"/>
                  </a:cubicBezTo>
                  <a:lnTo>
                    <a:pt x="99698" y="21574"/>
                  </a:lnTo>
                  <a:cubicBezTo>
                    <a:pt x="99698" y="15343"/>
                    <a:pt x="96397" y="11988"/>
                    <a:pt x="90885" y="11988"/>
                  </a:cubicBezTo>
                  <a:cubicBezTo>
                    <a:pt x="87495" y="11996"/>
                    <a:pt x="84178" y="12976"/>
                    <a:pt x="81326" y="14811"/>
                  </a:cubicBezTo>
                  <a:cubicBezTo>
                    <a:pt x="80261" y="15503"/>
                    <a:pt x="79436" y="15210"/>
                    <a:pt x="79143" y="13932"/>
                  </a:cubicBezTo>
                  <a:lnTo>
                    <a:pt x="79143" y="13559"/>
                  </a:lnTo>
                  <a:cubicBezTo>
                    <a:pt x="79023" y="12902"/>
                    <a:pt x="78424" y="12444"/>
                    <a:pt x="77758" y="12494"/>
                  </a:cubicBezTo>
                  <a:lnTo>
                    <a:pt x="76906" y="12494"/>
                  </a:lnTo>
                  <a:cubicBezTo>
                    <a:pt x="76307" y="12417"/>
                    <a:pt x="75761" y="12840"/>
                    <a:pt x="75684" y="13437"/>
                  </a:cubicBezTo>
                  <a:cubicBezTo>
                    <a:pt x="75673" y="13522"/>
                    <a:pt x="75673" y="13607"/>
                    <a:pt x="75681" y="13692"/>
                  </a:cubicBezTo>
                  <a:lnTo>
                    <a:pt x="75681" y="36591"/>
                  </a:lnTo>
                  <a:cubicBezTo>
                    <a:pt x="75617" y="37190"/>
                    <a:pt x="76051" y="37728"/>
                    <a:pt x="76651" y="37792"/>
                  </a:cubicBezTo>
                  <a:cubicBezTo>
                    <a:pt x="76736" y="37800"/>
                    <a:pt x="76821" y="37800"/>
                    <a:pt x="76906" y="37789"/>
                  </a:cubicBezTo>
                  <a:moveTo>
                    <a:pt x="106195" y="24982"/>
                  </a:moveTo>
                  <a:cubicBezTo>
                    <a:pt x="105870" y="32003"/>
                    <a:pt x="111299" y="37959"/>
                    <a:pt x="118323" y="38282"/>
                  </a:cubicBezTo>
                  <a:cubicBezTo>
                    <a:pt x="118565" y="38292"/>
                    <a:pt x="118810" y="38298"/>
                    <a:pt x="119055" y="38295"/>
                  </a:cubicBezTo>
                  <a:cubicBezTo>
                    <a:pt x="123824" y="38492"/>
                    <a:pt x="128193" y="35651"/>
                    <a:pt x="129945" y="31212"/>
                  </a:cubicBezTo>
                  <a:cubicBezTo>
                    <a:pt x="130238" y="30387"/>
                    <a:pt x="129706" y="29828"/>
                    <a:pt x="128880" y="29828"/>
                  </a:cubicBezTo>
                  <a:lnTo>
                    <a:pt x="127043" y="29828"/>
                  </a:lnTo>
                  <a:cubicBezTo>
                    <a:pt x="126409" y="29817"/>
                    <a:pt x="125840" y="30214"/>
                    <a:pt x="125632" y="30813"/>
                  </a:cubicBezTo>
                  <a:cubicBezTo>
                    <a:pt x="124357" y="33217"/>
                    <a:pt x="121766" y="34623"/>
                    <a:pt x="119055" y="34381"/>
                  </a:cubicBezTo>
                  <a:cubicBezTo>
                    <a:pt x="115256" y="34477"/>
                    <a:pt x="111914" y="31881"/>
                    <a:pt x="111068" y="28177"/>
                  </a:cubicBezTo>
                  <a:cubicBezTo>
                    <a:pt x="110775" y="27059"/>
                    <a:pt x="111467" y="26340"/>
                    <a:pt x="112638" y="26340"/>
                  </a:cubicBezTo>
                  <a:lnTo>
                    <a:pt x="129173" y="26340"/>
                  </a:lnTo>
                  <a:cubicBezTo>
                    <a:pt x="130025" y="26398"/>
                    <a:pt x="130763" y="25757"/>
                    <a:pt x="130821" y="24905"/>
                  </a:cubicBezTo>
                  <a:cubicBezTo>
                    <a:pt x="130824" y="24859"/>
                    <a:pt x="130824" y="24814"/>
                    <a:pt x="130824" y="24769"/>
                  </a:cubicBezTo>
                  <a:cubicBezTo>
                    <a:pt x="131194" y="18072"/>
                    <a:pt x="126069" y="12345"/>
                    <a:pt x="119372" y="11975"/>
                  </a:cubicBezTo>
                  <a:cubicBezTo>
                    <a:pt x="119266" y="11970"/>
                    <a:pt x="119162" y="11964"/>
                    <a:pt x="119055" y="11962"/>
                  </a:cubicBezTo>
                  <a:cubicBezTo>
                    <a:pt x="112071" y="11871"/>
                    <a:pt x="106336" y="17460"/>
                    <a:pt x="106245" y="24444"/>
                  </a:cubicBezTo>
                  <a:cubicBezTo>
                    <a:pt x="106243" y="24614"/>
                    <a:pt x="106243" y="24785"/>
                    <a:pt x="106248" y="24955"/>
                  </a:cubicBezTo>
                  <a:moveTo>
                    <a:pt x="111707" y="20535"/>
                  </a:moveTo>
                  <a:cubicBezTo>
                    <a:pt x="113006" y="17676"/>
                    <a:pt x="115860" y="15841"/>
                    <a:pt x="119002" y="15849"/>
                  </a:cubicBezTo>
                  <a:cubicBezTo>
                    <a:pt x="122038" y="15844"/>
                    <a:pt x="124751" y="17737"/>
                    <a:pt x="125792" y="20589"/>
                  </a:cubicBezTo>
                  <a:cubicBezTo>
                    <a:pt x="126218" y="21760"/>
                    <a:pt x="125526" y="22532"/>
                    <a:pt x="124327" y="22532"/>
                  </a:cubicBezTo>
                  <a:lnTo>
                    <a:pt x="113065" y="22532"/>
                  </a:lnTo>
                  <a:cubicBezTo>
                    <a:pt x="111786" y="22532"/>
                    <a:pt x="111121" y="21707"/>
                    <a:pt x="111707" y="20589"/>
                  </a:cubicBezTo>
                  <a:moveTo>
                    <a:pt x="135670" y="16408"/>
                  </a:moveTo>
                  <a:lnTo>
                    <a:pt x="137720" y="16408"/>
                  </a:lnTo>
                  <a:cubicBezTo>
                    <a:pt x="137971" y="16392"/>
                    <a:pt x="138184" y="16584"/>
                    <a:pt x="138200" y="16832"/>
                  </a:cubicBezTo>
                  <a:cubicBezTo>
                    <a:pt x="138200" y="16850"/>
                    <a:pt x="138200" y="16869"/>
                    <a:pt x="138200" y="16888"/>
                  </a:cubicBezTo>
                  <a:lnTo>
                    <a:pt x="138200" y="30414"/>
                  </a:lnTo>
                  <a:cubicBezTo>
                    <a:pt x="138200" y="36218"/>
                    <a:pt x="141475" y="38401"/>
                    <a:pt x="145495" y="38401"/>
                  </a:cubicBezTo>
                  <a:cubicBezTo>
                    <a:pt x="147564" y="38404"/>
                    <a:pt x="149622" y="38079"/>
                    <a:pt x="151592" y="37443"/>
                  </a:cubicBezTo>
                  <a:cubicBezTo>
                    <a:pt x="152090" y="37059"/>
                    <a:pt x="152239" y="36373"/>
                    <a:pt x="151939" y="35819"/>
                  </a:cubicBezTo>
                  <a:lnTo>
                    <a:pt x="151779" y="34354"/>
                  </a:lnTo>
                  <a:cubicBezTo>
                    <a:pt x="151779" y="33529"/>
                    <a:pt x="151140" y="33183"/>
                    <a:pt x="150314" y="33476"/>
                  </a:cubicBezTo>
                  <a:cubicBezTo>
                    <a:pt x="148837" y="33963"/>
                    <a:pt x="147292" y="34216"/>
                    <a:pt x="145735" y="34221"/>
                  </a:cubicBezTo>
                  <a:cubicBezTo>
                    <a:pt x="143472" y="34221"/>
                    <a:pt x="142247" y="32996"/>
                    <a:pt x="142247" y="30281"/>
                  </a:cubicBezTo>
                  <a:lnTo>
                    <a:pt x="142247" y="16834"/>
                  </a:lnTo>
                  <a:cubicBezTo>
                    <a:pt x="142231" y="16584"/>
                    <a:pt x="142423" y="16371"/>
                    <a:pt x="142670" y="16355"/>
                  </a:cubicBezTo>
                  <a:cubicBezTo>
                    <a:pt x="142689" y="16355"/>
                    <a:pt x="142707" y="16355"/>
                    <a:pt x="142726" y="16355"/>
                  </a:cubicBezTo>
                  <a:lnTo>
                    <a:pt x="150714" y="16355"/>
                  </a:lnTo>
                  <a:cubicBezTo>
                    <a:pt x="151329" y="16416"/>
                    <a:pt x="151877" y="15969"/>
                    <a:pt x="151939" y="15354"/>
                  </a:cubicBezTo>
                  <a:cubicBezTo>
                    <a:pt x="151947" y="15279"/>
                    <a:pt x="151947" y="15205"/>
                    <a:pt x="151939" y="15130"/>
                  </a:cubicBezTo>
                  <a:lnTo>
                    <a:pt x="151939" y="13666"/>
                  </a:lnTo>
                  <a:cubicBezTo>
                    <a:pt x="152003" y="13067"/>
                    <a:pt x="151569" y="12529"/>
                    <a:pt x="150969" y="12465"/>
                  </a:cubicBezTo>
                  <a:cubicBezTo>
                    <a:pt x="150884" y="12457"/>
                    <a:pt x="150799" y="12457"/>
                    <a:pt x="150714" y="12468"/>
                  </a:cubicBezTo>
                  <a:lnTo>
                    <a:pt x="142726" y="12468"/>
                  </a:lnTo>
                  <a:cubicBezTo>
                    <a:pt x="142462" y="12468"/>
                    <a:pt x="142247" y="12255"/>
                    <a:pt x="142247" y="11988"/>
                  </a:cubicBezTo>
                  <a:cubicBezTo>
                    <a:pt x="142247" y="11980"/>
                    <a:pt x="142247" y="11970"/>
                    <a:pt x="142247" y="11962"/>
                  </a:cubicBezTo>
                  <a:lnTo>
                    <a:pt x="142247" y="6636"/>
                  </a:lnTo>
                  <a:cubicBezTo>
                    <a:pt x="142247" y="5811"/>
                    <a:pt x="141767" y="5332"/>
                    <a:pt x="140889" y="5571"/>
                  </a:cubicBezTo>
                  <a:lnTo>
                    <a:pt x="138839" y="6104"/>
                  </a:lnTo>
                  <a:cubicBezTo>
                    <a:pt x="138200" y="6224"/>
                    <a:pt x="137760" y="6815"/>
                    <a:pt x="137827" y="7462"/>
                  </a:cubicBezTo>
                  <a:lnTo>
                    <a:pt x="137827" y="11855"/>
                  </a:lnTo>
                  <a:cubicBezTo>
                    <a:pt x="137843" y="12119"/>
                    <a:pt x="137640" y="12345"/>
                    <a:pt x="137377" y="12361"/>
                  </a:cubicBezTo>
                  <a:cubicBezTo>
                    <a:pt x="137358" y="12361"/>
                    <a:pt x="137340" y="12361"/>
                    <a:pt x="137321" y="12361"/>
                  </a:cubicBezTo>
                  <a:lnTo>
                    <a:pt x="135138" y="12361"/>
                  </a:lnTo>
                  <a:cubicBezTo>
                    <a:pt x="134539" y="12284"/>
                    <a:pt x="133993" y="12707"/>
                    <a:pt x="133915" y="13304"/>
                  </a:cubicBezTo>
                  <a:cubicBezTo>
                    <a:pt x="133905" y="13389"/>
                    <a:pt x="133905" y="13474"/>
                    <a:pt x="133913" y="13559"/>
                  </a:cubicBezTo>
                  <a:lnTo>
                    <a:pt x="133913" y="15024"/>
                  </a:lnTo>
                  <a:cubicBezTo>
                    <a:pt x="133851" y="15639"/>
                    <a:pt x="134299" y="16187"/>
                    <a:pt x="134914" y="16248"/>
                  </a:cubicBezTo>
                  <a:cubicBezTo>
                    <a:pt x="134988" y="16257"/>
                    <a:pt x="135063" y="16257"/>
                    <a:pt x="135138" y="16248"/>
                  </a:cubicBezTo>
                  <a:moveTo>
                    <a:pt x="168820" y="24023"/>
                  </a:moveTo>
                  <a:cubicBezTo>
                    <a:pt x="168758" y="24638"/>
                    <a:pt x="169206" y="25187"/>
                    <a:pt x="169821" y="25248"/>
                  </a:cubicBezTo>
                  <a:cubicBezTo>
                    <a:pt x="169895" y="25256"/>
                    <a:pt x="169970" y="25256"/>
                    <a:pt x="170044" y="25248"/>
                  </a:cubicBezTo>
                  <a:lnTo>
                    <a:pt x="175609" y="25248"/>
                  </a:lnTo>
                  <a:cubicBezTo>
                    <a:pt x="176134" y="25187"/>
                    <a:pt x="176613" y="25562"/>
                    <a:pt x="176674" y="26087"/>
                  </a:cubicBezTo>
                  <a:cubicBezTo>
                    <a:pt x="176682" y="26161"/>
                    <a:pt x="176682" y="26239"/>
                    <a:pt x="176674" y="26313"/>
                  </a:cubicBezTo>
                  <a:lnTo>
                    <a:pt x="176674" y="31772"/>
                  </a:lnTo>
                  <a:cubicBezTo>
                    <a:pt x="176581" y="32352"/>
                    <a:pt x="176975" y="32898"/>
                    <a:pt x="177556" y="32994"/>
                  </a:cubicBezTo>
                  <a:cubicBezTo>
                    <a:pt x="177659" y="33010"/>
                    <a:pt x="177769" y="33010"/>
                    <a:pt x="177872" y="32996"/>
                  </a:cubicBezTo>
                  <a:lnTo>
                    <a:pt x="179230" y="32996"/>
                  </a:lnTo>
                  <a:cubicBezTo>
                    <a:pt x="179846" y="33058"/>
                    <a:pt x="180394" y="32610"/>
                    <a:pt x="180455" y="31995"/>
                  </a:cubicBezTo>
                  <a:cubicBezTo>
                    <a:pt x="180463" y="31921"/>
                    <a:pt x="180463" y="31846"/>
                    <a:pt x="180455" y="31772"/>
                  </a:cubicBezTo>
                  <a:lnTo>
                    <a:pt x="180455" y="26313"/>
                  </a:lnTo>
                  <a:cubicBezTo>
                    <a:pt x="180410" y="25770"/>
                    <a:pt x="180812" y="25293"/>
                    <a:pt x="181353" y="25248"/>
                  </a:cubicBezTo>
                  <a:cubicBezTo>
                    <a:pt x="181408" y="25243"/>
                    <a:pt x="181464" y="25243"/>
                    <a:pt x="181520" y="25248"/>
                  </a:cubicBezTo>
                  <a:lnTo>
                    <a:pt x="186979" y="25248"/>
                  </a:lnTo>
                  <a:cubicBezTo>
                    <a:pt x="187594" y="25309"/>
                    <a:pt x="188142" y="24862"/>
                    <a:pt x="188203" y="24247"/>
                  </a:cubicBezTo>
                  <a:cubicBezTo>
                    <a:pt x="188211" y="24172"/>
                    <a:pt x="188211" y="24098"/>
                    <a:pt x="188203" y="24023"/>
                  </a:cubicBezTo>
                  <a:lnTo>
                    <a:pt x="188203" y="22665"/>
                  </a:lnTo>
                  <a:cubicBezTo>
                    <a:pt x="188267" y="22066"/>
                    <a:pt x="187833" y="21528"/>
                    <a:pt x="187234" y="21465"/>
                  </a:cubicBezTo>
                  <a:cubicBezTo>
                    <a:pt x="187149" y="21457"/>
                    <a:pt x="187064" y="21457"/>
                    <a:pt x="186979" y="21467"/>
                  </a:cubicBezTo>
                  <a:lnTo>
                    <a:pt x="181520" y="21467"/>
                  </a:lnTo>
                  <a:cubicBezTo>
                    <a:pt x="180977" y="21515"/>
                    <a:pt x="180500" y="21113"/>
                    <a:pt x="180453" y="20573"/>
                  </a:cubicBezTo>
                  <a:cubicBezTo>
                    <a:pt x="180447" y="20506"/>
                    <a:pt x="180447" y="20439"/>
                    <a:pt x="180455" y="20376"/>
                  </a:cubicBezTo>
                  <a:lnTo>
                    <a:pt x="180455" y="15050"/>
                  </a:lnTo>
                  <a:cubicBezTo>
                    <a:pt x="180535" y="14454"/>
                    <a:pt x="180114" y="13905"/>
                    <a:pt x="179515" y="13825"/>
                  </a:cubicBezTo>
                  <a:cubicBezTo>
                    <a:pt x="179422" y="13812"/>
                    <a:pt x="179326" y="13812"/>
                    <a:pt x="179230" y="13825"/>
                  </a:cubicBezTo>
                  <a:lnTo>
                    <a:pt x="177846" y="13825"/>
                  </a:lnTo>
                  <a:cubicBezTo>
                    <a:pt x="177266" y="13730"/>
                    <a:pt x="176717" y="14121"/>
                    <a:pt x="176621" y="14702"/>
                  </a:cubicBezTo>
                  <a:cubicBezTo>
                    <a:pt x="176602" y="14819"/>
                    <a:pt x="176602" y="14936"/>
                    <a:pt x="176621" y="15050"/>
                  </a:cubicBezTo>
                  <a:lnTo>
                    <a:pt x="176621" y="20376"/>
                  </a:lnTo>
                  <a:cubicBezTo>
                    <a:pt x="176698" y="20900"/>
                    <a:pt x="176336" y="21387"/>
                    <a:pt x="175814" y="21465"/>
                  </a:cubicBezTo>
                  <a:cubicBezTo>
                    <a:pt x="175729" y="21478"/>
                    <a:pt x="175641" y="21478"/>
                    <a:pt x="175556" y="21467"/>
                  </a:cubicBezTo>
                  <a:lnTo>
                    <a:pt x="170044" y="21467"/>
                  </a:lnTo>
                  <a:cubicBezTo>
                    <a:pt x="169445" y="21390"/>
                    <a:pt x="168899" y="21813"/>
                    <a:pt x="168822" y="22410"/>
                  </a:cubicBezTo>
                  <a:cubicBezTo>
                    <a:pt x="168812" y="22495"/>
                    <a:pt x="168812" y="22580"/>
                    <a:pt x="168820" y="22665"/>
                  </a:cubicBezTo>
                  <a:close/>
                  <a:moveTo>
                    <a:pt x="209185" y="48360"/>
                  </a:moveTo>
                  <a:lnTo>
                    <a:pt x="210995" y="48360"/>
                  </a:lnTo>
                  <a:cubicBezTo>
                    <a:pt x="211595" y="48421"/>
                    <a:pt x="212132" y="47987"/>
                    <a:pt x="212194" y="47385"/>
                  </a:cubicBezTo>
                  <a:cubicBezTo>
                    <a:pt x="212202" y="47311"/>
                    <a:pt x="212202" y="47236"/>
                    <a:pt x="212194" y="47161"/>
                  </a:cubicBezTo>
                  <a:lnTo>
                    <a:pt x="212194" y="37070"/>
                  </a:lnTo>
                  <a:cubicBezTo>
                    <a:pt x="212194" y="35659"/>
                    <a:pt x="212966" y="35366"/>
                    <a:pt x="214137" y="36192"/>
                  </a:cubicBezTo>
                  <a:cubicBezTo>
                    <a:pt x="216233" y="37528"/>
                    <a:pt x="218682" y="38207"/>
                    <a:pt x="221167" y="38135"/>
                  </a:cubicBezTo>
                  <a:cubicBezTo>
                    <a:pt x="228284" y="38066"/>
                    <a:pt x="233998" y="32240"/>
                    <a:pt x="233926" y="25123"/>
                  </a:cubicBezTo>
                  <a:cubicBezTo>
                    <a:pt x="233926" y="25022"/>
                    <a:pt x="233923" y="24923"/>
                    <a:pt x="233921" y="24822"/>
                  </a:cubicBezTo>
                  <a:cubicBezTo>
                    <a:pt x="234067" y="17766"/>
                    <a:pt x="228468" y="11924"/>
                    <a:pt x="221409" y="11778"/>
                  </a:cubicBezTo>
                  <a:cubicBezTo>
                    <a:pt x="221356" y="11775"/>
                    <a:pt x="221300" y="11775"/>
                    <a:pt x="221247" y="11775"/>
                  </a:cubicBezTo>
                  <a:cubicBezTo>
                    <a:pt x="218469" y="11695"/>
                    <a:pt x="215748" y="12558"/>
                    <a:pt x="213525" y="14225"/>
                  </a:cubicBezTo>
                  <a:cubicBezTo>
                    <a:pt x="212433" y="15050"/>
                    <a:pt x="211608" y="14864"/>
                    <a:pt x="211368" y="13479"/>
                  </a:cubicBezTo>
                  <a:lnTo>
                    <a:pt x="211368" y="13479"/>
                  </a:lnTo>
                  <a:cubicBezTo>
                    <a:pt x="211312" y="12814"/>
                    <a:pt x="210732" y="12316"/>
                    <a:pt x="210064" y="12361"/>
                  </a:cubicBezTo>
                  <a:lnTo>
                    <a:pt x="209185" y="12361"/>
                  </a:lnTo>
                  <a:cubicBezTo>
                    <a:pt x="208586" y="12284"/>
                    <a:pt x="208040" y="12707"/>
                    <a:pt x="207963" y="13304"/>
                  </a:cubicBezTo>
                  <a:cubicBezTo>
                    <a:pt x="207952" y="13389"/>
                    <a:pt x="207952" y="13474"/>
                    <a:pt x="207960" y="13559"/>
                  </a:cubicBezTo>
                  <a:lnTo>
                    <a:pt x="207960" y="47161"/>
                  </a:lnTo>
                  <a:cubicBezTo>
                    <a:pt x="207896" y="47760"/>
                    <a:pt x="208330" y="48298"/>
                    <a:pt x="208929" y="48362"/>
                  </a:cubicBezTo>
                  <a:cubicBezTo>
                    <a:pt x="209014" y="48370"/>
                    <a:pt x="209100" y="48370"/>
                    <a:pt x="209185" y="48360"/>
                  </a:cubicBezTo>
                  <a:moveTo>
                    <a:pt x="212540" y="28017"/>
                  </a:moveTo>
                  <a:lnTo>
                    <a:pt x="212540" y="21947"/>
                  </a:lnTo>
                  <a:cubicBezTo>
                    <a:pt x="212500" y="21206"/>
                    <a:pt x="212686" y="20474"/>
                    <a:pt x="213072" y="19843"/>
                  </a:cubicBezTo>
                  <a:cubicBezTo>
                    <a:pt x="214744" y="17260"/>
                    <a:pt x="217636" y="15727"/>
                    <a:pt x="220714" y="15796"/>
                  </a:cubicBezTo>
                  <a:cubicBezTo>
                    <a:pt x="225571" y="15985"/>
                    <a:pt x="229370" y="20045"/>
                    <a:pt x="229234" y="24902"/>
                  </a:cubicBezTo>
                  <a:cubicBezTo>
                    <a:pt x="229445" y="29825"/>
                    <a:pt x="225637" y="33992"/>
                    <a:pt x="220714" y="34221"/>
                  </a:cubicBezTo>
                  <a:cubicBezTo>
                    <a:pt x="217620" y="34304"/>
                    <a:pt x="214712" y="32746"/>
                    <a:pt x="213072" y="30121"/>
                  </a:cubicBezTo>
                  <a:cubicBezTo>
                    <a:pt x="212686" y="29490"/>
                    <a:pt x="212500" y="28757"/>
                    <a:pt x="212540" y="28017"/>
                  </a:cubicBezTo>
                  <a:moveTo>
                    <a:pt x="238740" y="24849"/>
                  </a:moveTo>
                  <a:cubicBezTo>
                    <a:pt x="238415" y="31870"/>
                    <a:pt x="243844" y="37826"/>
                    <a:pt x="250868" y="38148"/>
                  </a:cubicBezTo>
                  <a:cubicBezTo>
                    <a:pt x="251110" y="38159"/>
                    <a:pt x="251355" y="38165"/>
                    <a:pt x="251600" y="38162"/>
                  </a:cubicBezTo>
                  <a:cubicBezTo>
                    <a:pt x="256369" y="38359"/>
                    <a:pt x="260738" y="35518"/>
                    <a:pt x="262491" y="31079"/>
                  </a:cubicBezTo>
                  <a:cubicBezTo>
                    <a:pt x="262783" y="30254"/>
                    <a:pt x="262251" y="29695"/>
                    <a:pt x="261425" y="29695"/>
                  </a:cubicBezTo>
                  <a:lnTo>
                    <a:pt x="259588" y="29695"/>
                  </a:lnTo>
                  <a:cubicBezTo>
                    <a:pt x="258955" y="29684"/>
                    <a:pt x="258385" y="30081"/>
                    <a:pt x="258177" y="30680"/>
                  </a:cubicBezTo>
                  <a:cubicBezTo>
                    <a:pt x="256907" y="33090"/>
                    <a:pt x="254311" y="34498"/>
                    <a:pt x="251600" y="34248"/>
                  </a:cubicBezTo>
                  <a:cubicBezTo>
                    <a:pt x="247801" y="34344"/>
                    <a:pt x="244459" y="31748"/>
                    <a:pt x="243612" y="28044"/>
                  </a:cubicBezTo>
                  <a:cubicBezTo>
                    <a:pt x="243320" y="26926"/>
                    <a:pt x="244012" y="26207"/>
                    <a:pt x="245184" y="26207"/>
                  </a:cubicBezTo>
                  <a:lnTo>
                    <a:pt x="261718" y="26207"/>
                  </a:lnTo>
                  <a:cubicBezTo>
                    <a:pt x="262570" y="26265"/>
                    <a:pt x="263308" y="25624"/>
                    <a:pt x="263366" y="24774"/>
                  </a:cubicBezTo>
                  <a:cubicBezTo>
                    <a:pt x="263369" y="24726"/>
                    <a:pt x="263369" y="24681"/>
                    <a:pt x="263369" y="24636"/>
                  </a:cubicBezTo>
                  <a:cubicBezTo>
                    <a:pt x="263739" y="17939"/>
                    <a:pt x="258611" y="12212"/>
                    <a:pt x="251917" y="11842"/>
                  </a:cubicBezTo>
                  <a:cubicBezTo>
                    <a:pt x="251811" y="11837"/>
                    <a:pt x="251707" y="11831"/>
                    <a:pt x="251600" y="11829"/>
                  </a:cubicBezTo>
                  <a:cubicBezTo>
                    <a:pt x="244616" y="11738"/>
                    <a:pt x="238881" y="17327"/>
                    <a:pt x="238791" y="24311"/>
                  </a:cubicBezTo>
                  <a:cubicBezTo>
                    <a:pt x="238788" y="24481"/>
                    <a:pt x="238788" y="24652"/>
                    <a:pt x="238793" y="24822"/>
                  </a:cubicBezTo>
                  <a:moveTo>
                    <a:pt x="244118" y="20402"/>
                  </a:moveTo>
                  <a:cubicBezTo>
                    <a:pt x="245418" y="17542"/>
                    <a:pt x="248272" y="15708"/>
                    <a:pt x="251414" y="15716"/>
                  </a:cubicBezTo>
                  <a:cubicBezTo>
                    <a:pt x="254449" y="15711"/>
                    <a:pt x="257163" y="17604"/>
                    <a:pt x="258204" y="20455"/>
                  </a:cubicBezTo>
                  <a:cubicBezTo>
                    <a:pt x="258630" y="21627"/>
                    <a:pt x="257964" y="22399"/>
                    <a:pt x="256739" y="22399"/>
                  </a:cubicBezTo>
                  <a:lnTo>
                    <a:pt x="245476" y="22399"/>
                  </a:lnTo>
                  <a:cubicBezTo>
                    <a:pt x="244225" y="22399"/>
                    <a:pt x="243533" y="21574"/>
                    <a:pt x="244118" y="20455"/>
                  </a:cubicBezTo>
                  <a:moveTo>
                    <a:pt x="268082" y="24875"/>
                  </a:moveTo>
                  <a:cubicBezTo>
                    <a:pt x="267920" y="32064"/>
                    <a:pt x="273615" y="38026"/>
                    <a:pt x="280801" y="38188"/>
                  </a:cubicBezTo>
                  <a:cubicBezTo>
                    <a:pt x="281001" y="38194"/>
                    <a:pt x="281198" y="38194"/>
                    <a:pt x="281395" y="38188"/>
                  </a:cubicBezTo>
                  <a:cubicBezTo>
                    <a:pt x="288584" y="38351"/>
                    <a:pt x="294546" y="32658"/>
                    <a:pt x="294708" y="25469"/>
                  </a:cubicBezTo>
                  <a:cubicBezTo>
                    <a:pt x="294713" y="25269"/>
                    <a:pt x="294713" y="25072"/>
                    <a:pt x="294708" y="24875"/>
                  </a:cubicBezTo>
                  <a:cubicBezTo>
                    <a:pt x="294785" y="17774"/>
                    <a:pt x="289093" y="11954"/>
                    <a:pt x="281989" y="11874"/>
                  </a:cubicBezTo>
                  <a:cubicBezTo>
                    <a:pt x="281792" y="11871"/>
                    <a:pt x="281592" y="11874"/>
                    <a:pt x="281395" y="11882"/>
                  </a:cubicBezTo>
                  <a:cubicBezTo>
                    <a:pt x="274281" y="11647"/>
                    <a:pt x="268324" y="17223"/>
                    <a:pt x="268087" y="24335"/>
                  </a:cubicBezTo>
                  <a:cubicBezTo>
                    <a:pt x="268082" y="24516"/>
                    <a:pt x="268079" y="24694"/>
                    <a:pt x="268082" y="24875"/>
                  </a:cubicBezTo>
                  <a:moveTo>
                    <a:pt x="272662" y="25035"/>
                  </a:moveTo>
                  <a:cubicBezTo>
                    <a:pt x="272427" y="20189"/>
                    <a:pt x="276166" y="16067"/>
                    <a:pt x="281012" y="15833"/>
                  </a:cubicBezTo>
                  <a:cubicBezTo>
                    <a:pt x="281185" y="15825"/>
                    <a:pt x="281355" y="15820"/>
                    <a:pt x="281528" y="15822"/>
                  </a:cubicBezTo>
                  <a:cubicBezTo>
                    <a:pt x="286395" y="15817"/>
                    <a:pt x="290347" y="19760"/>
                    <a:pt x="290349" y="24628"/>
                  </a:cubicBezTo>
                  <a:cubicBezTo>
                    <a:pt x="290352" y="24764"/>
                    <a:pt x="290347" y="24899"/>
                    <a:pt x="290341" y="25035"/>
                  </a:cubicBezTo>
                  <a:cubicBezTo>
                    <a:pt x="290546" y="29913"/>
                    <a:pt x="286760" y="34035"/>
                    <a:pt x="281882" y="34240"/>
                  </a:cubicBezTo>
                  <a:cubicBezTo>
                    <a:pt x="281765" y="34245"/>
                    <a:pt x="281645" y="34248"/>
                    <a:pt x="281528" y="34248"/>
                  </a:cubicBezTo>
                  <a:cubicBezTo>
                    <a:pt x="276645" y="34266"/>
                    <a:pt x="272672" y="30326"/>
                    <a:pt x="272654" y="25442"/>
                  </a:cubicBezTo>
                  <a:cubicBezTo>
                    <a:pt x="272654" y="25307"/>
                    <a:pt x="272656" y="25171"/>
                    <a:pt x="272662" y="25035"/>
                  </a:cubicBezTo>
                  <a:moveTo>
                    <a:pt x="302749" y="48386"/>
                  </a:moveTo>
                  <a:lnTo>
                    <a:pt x="304533" y="48386"/>
                  </a:lnTo>
                  <a:cubicBezTo>
                    <a:pt x="305132" y="48463"/>
                    <a:pt x="305678" y="48040"/>
                    <a:pt x="305755" y="47444"/>
                  </a:cubicBezTo>
                  <a:cubicBezTo>
                    <a:pt x="305766" y="47359"/>
                    <a:pt x="305766" y="47273"/>
                    <a:pt x="305758" y="47188"/>
                  </a:cubicBezTo>
                  <a:lnTo>
                    <a:pt x="305758" y="37097"/>
                  </a:lnTo>
                  <a:cubicBezTo>
                    <a:pt x="305758" y="35686"/>
                    <a:pt x="306530" y="35393"/>
                    <a:pt x="307702" y="36218"/>
                  </a:cubicBezTo>
                  <a:cubicBezTo>
                    <a:pt x="309795" y="37560"/>
                    <a:pt x="312247" y="38236"/>
                    <a:pt x="314731" y="38162"/>
                  </a:cubicBezTo>
                  <a:cubicBezTo>
                    <a:pt x="321861" y="38077"/>
                    <a:pt x="327575" y="32227"/>
                    <a:pt x="327490" y="25096"/>
                  </a:cubicBezTo>
                  <a:cubicBezTo>
                    <a:pt x="327490" y="25014"/>
                    <a:pt x="327488" y="24931"/>
                    <a:pt x="327485" y="24849"/>
                  </a:cubicBezTo>
                  <a:cubicBezTo>
                    <a:pt x="327631" y="17793"/>
                    <a:pt x="322032" y="11951"/>
                    <a:pt x="314973" y="11805"/>
                  </a:cubicBezTo>
                  <a:cubicBezTo>
                    <a:pt x="314920" y="11802"/>
                    <a:pt x="314864" y="11802"/>
                    <a:pt x="314811" y="11802"/>
                  </a:cubicBezTo>
                  <a:cubicBezTo>
                    <a:pt x="312026" y="11725"/>
                    <a:pt x="309297" y="12587"/>
                    <a:pt x="307063" y="14252"/>
                  </a:cubicBezTo>
                  <a:cubicBezTo>
                    <a:pt x="305998" y="15077"/>
                    <a:pt x="305172" y="14891"/>
                    <a:pt x="304933" y="13506"/>
                  </a:cubicBezTo>
                  <a:lnTo>
                    <a:pt x="304933" y="13506"/>
                  </a:lnTo>
                  <a:cubicBezTo>
                    <a:pt x="304877" y="12840"/>
                    <a:pt x="304296" y="12342"/>
                    <a:pt x="303628" y="12388"/>
                  </a:cubicBezTo>
                  <a:lnTo>
                    <a:pt x="302749" y="12388"/>
                  </a:lnTo>
                  <a:cubicBezTo>
                    <a:pt x="302150" y="12310"/>
                    <a:pt x="301604" y="12734"/>
                    <a:pt x="301527" y="13330"/>
                  </a:cubicBezTo>
                  <a:cubicBezTo>
                    <a:pt x="301516" y="13415"/>
                    <a:pt x="301516" y="13501"/>
                    <a:pt x="301524" y="13586"/>
                  </a:cubicBezTo>
                  <a:lnTo>
                    <a:pt x="301524" y="47188"/>
                  </a:lnTo>
                  <a:cubicBezTo>
                    <a:pt x="301461" y="47787"/>
                    <a:pt x="301894" y="48325"/>
                    <a:pt x="302494" y="48389"/>
                  </a:cubicBezTo>
                  <a:cubicBezTo>
                    <a:pt x="302579" y="48397"/>
                    <a:pt x="302664" y="48397"/>
                    <a:pt x="302749" y="48386"/>
                  </a:cubicBezTo>
                  <a:moveTo>
                    <a:pt x="306104" y="28044"/>
                  </a:moveTo>
                  <a:lnTo>
                    <a:pt x="306104" y="21973"/>
                  </a:lnTo>
                  <a:cubicBezTo>
                    <a:pt x="306051" y="21233"/>
                    <a:pt x="306237" y="20495"/>
                    <a:pt x="306637" y="19870"/>
                  </a:cubicBezTo>
                  <a:cubicBezTo>
                    <a:pt x="308306" y="17282"/>
                    <a:pt x="311200" y="15748"/>
                    <a:pt x="314278" y="15822"/>
                  </a:cubicBezTo>
                  <a:cubicBezTo>
                    <a:pt x="319135" y="16012"/>
                    <a:pt x="322935" y="20072"/>
                    <a:pt x="322799" y="24929"/>
                  </a:cubicBezTo>
                  <a:cubicBezTo>
                    <a:pt x="323009" y="29852"/>
                    <a:pt x="319201" y="34019"/>
                    <a:pt x="314278" y="34248"/>
                  </a:cubicBezTo>
                  <a:cubicBezTo>
                    <a:pt x="311184" y="34338"/>
                    <a:pt x="308274" y="32775"/>
                    <a:pt x="306637" y="30147"/>
                  </a:cubicBezTo>
                  <a:cubicBezTo>
                    <a:pt x="306237" y="29522"/>
                    <a:pt x="306051" y="28784"/>
                    <a:pt x="306104" y="28044"/>
                  </a:cubicBezTo>
                  <a:moveTo>
                    <a:pt x="337496" y="-286"/>
                  </a:moveTo>
                  <a:lnTo>
                    <a:pt x="335366" y="-286"/>
                  </a:lnTo>
                  <a:cubicBezTo>
                    <a:pt x="334751" y="-348"/>
                    <a:pt x="334203" y="100"/>
                    <a:pt x="334141" y="715"/>
                  </a:cubicBezTo>
                  <a:cubicBezTo>
                    <a:pt x="334133" y="789"/>
                    <a:pt x="334133" y="864"/>
                    <a:pt x="334141" y="938"/>
                  </a:cubicBezTo>
                  <a:lnTo>
                    <a:pt x="334141" y="36484"/>
                  </a:lnTo>
                  <a:cubicBezTo>
                    <a:pt x="334078" y="37083"/>
                    <a:pt x="334511" y="37621"/>
                    <a:pt x="335111" y="37685"/>
                  </a:cubicBezTo>
                  <a:cubicBezTo>
                    <a:pt x="335196" y="37693"/>
                    <a:pt x="335281" y="37693"/>
                    <a:pt x="335366" y="37683"/>
                  </a:cubicBezTo>
                  <a:lnTo>
                    <a:pt x="337496" y="37683"/>
                  </a:lnTo>
                  <a:cubicBezTo>
                    <a:pt x="338095" y="37760"/>
                    <a:pt x="338641" y="37336"/>
                    <a:pt x="338718" y="36740"/>
                  </a:cubicBezTo>
                  <a:cubicBezTo>
                    <a:pt x="338729" y="36655"/>
                    <a:pt x="338729" y="36570"/>
                    <a:pt x="338721" y="36484"/>
                  </a:cubicBezTo>
                  <a:lnTo>
                    <a:pt x="338721" y="885"/>
                  </a:lnTo>
                  <a:cubicBezTo>
                    <a:pt x="338782" y="270"/>
                    <a:pt x="338335" y="-278"/>
                    <a:pt x="337720" y="-340"/>
                  </a:cubicBezTo>
                  <a:cubicBezTo>
                    <a:pt x="337645" y="-348"/>
                    <a:pt x="337571" y="-348"/>
                    <a:pt x="337496" y="-340"/>
                  </a:cubicBezTo>
                  <a:moveTo>
                    <a:pt x="345484" y="24822"/>
                  </a:moveTo>
                  <a:cubicBezTo>
                    <a:pt x="345159" y="31843"/>
                    <a:pt x="350588" y="37800"/>
                    <a:pt x="357612" y="38122"/>
                  </a:cubicBezTo>
                  <a:cubicBezTo>
                    <a:pt x="357855" y="38132"/>
                    <a:pt x="358100" y="38138"/>
                    <a:pt x="358345" y="38135"/>
                  </a:cubicBezTo>
                  <a:cubicBezTo>
                    <a:pt x="363113" y="38332"/>
                    <a:pt x="367483" y="35491"/>
                    <a:pt x="369235" y="31053"/>
                  </a:cubicBezTo>
                  <a:cubicBezTo>
                    <a:pt x="369528" y="30227"/>
                    <a:pt x="368995" y="29668"/>
                    <a:pt x="368170" y="29668"/>
                  </a:cubicBezTo>
                  <a:lnTo>
                    <a:pt x="366333" y="29668"/>
                  </a:lnTo>
                  <a:cubicBezTo>
                    <a:pt x="365699" y="29657"/>
                    <a:pt x="365129" y="30054"/>
                    <a:pt x="364921" y="30653"/>
                  </a:cubicBezTo>
                  <a:cubicBezTo>
                    <a:pt x="363651" y="33063"/>
                    <a:pt x="361058" y="34471"/>
                    <a:pt x="358345" y="34221"/>
                  </a:cubicBezTo>
                  <a:cubicBezTo>
                    <a:pt x="354561" y="34266"/>
                    <a:pt x="351249" y="31694"/>
                    <a:pt x="350357" y="28017"/>
                  </a:cubicBezTo>
                  <a:cubicBezTo>
                    <a:pt x="350064" y="26899"/>
                    <a:pt x="350756" y="26180"/>
                    <a:pt x="351928" y="26180"/>
                  </a:cubicBezTo>
                  <a:lnTo>
                    <a:pt x="368463" y="26180"/>
                  </a:lnTo>
                  <a:cubicBezTo>
                    <a:pt x="369315" y="26239"/>
                    <a:pt x="370052" y="25597"/>
                    <a:pt x="370111" y="24745"/>
                  </a:cubicBezTo>
                  <a:cubicBezTo>
                    <a:pt x="370113" y="24700"/>
                    <a:pt x="370113" y="24654"/>
                    <a:pt x="370113" y="24609"/>
                  </a:cubicBezTo>
                  <a:cubicBezTo>
                    <a:pt x="370483" y="17913"/>
                    <a:pt x="365358" y="12185"/>
                    <a:pt x="358661" y="11815"/>
                  </a:cubicBezTo>
                  <a:cubicBezTo>
                    <a:pt x="358566" y="11810"/>
                    <a:pt x="358467" y="11805"/>
                    <a:pt x="358371" y="11802"/>
                  </a:cubicBezTo>
                  <a:cubicBezTo>
                    <a:pt x="351371" y="11711"/>
                    <a:pt x="345625" y="17311"/>
                    <a:pt x="345535" y="24311"/>
                  </a:cubicBezTo>
                  <a:cubicBezTo>
                    <a:pt x="345532" y="24473"/>
                    <a:pt x="345532" y="24633"/>
                    <a:pt x="345538" y="24795"/>
                  </a:cubicBezTo>
                  <a:moveTo>
                    <a:pt x="350863" y="20376"/>
                  </a:moveTo>
                  <a:cubicBezTo>
                    <a:pt x="352165" y="17505"/>
                    <a:pt x="355032" y="15671"/>
                    <a:pt x="358185" y="15689"/>
                  </a:cubicBezTo>
                  <a:cubicBezTo>
                    <a:pt x="361215" y="15679"/>
                    <a:pt x="363923" y="17577"/>
                    <a:pt x="364948" y="20429"/>
                  </a:cubicBezTo>
                  <a:cubicBezTo>
                    <a:pt x="365401" y="21600"/>
                    <a:pt x="364708" y="22373"/>
                    <a:pt x="363484" y="22373"/>
                  </a:cubicBezTo>
                  <a:lnTo>
                    <a:pt x="352221" y="22373"/>
                  </a:lnTo>
                  <a:cubicBezTo>
                    <a:pt x="350969" y="22373"/>
                    <a:pt x="350277" y="21547"/>
                    <a:pt x="350863" y="20429"/>
                  </a:cubicBezTo>
                </a:path>
              </a:pathLst>
            </a:custGeom>
            <a:solidFill>
              <a:srgbClr val="FFFFFF"/>
            </a:solidFill>
            <a:ln w="2661" cap="flat">
              <a:noFill/>
              <a:prstDash val="solid"/>
              <a:miter/>
            </a:ln>
          </p:spPr>
          <p:txBody>
            <a:bodyPr rtlCol="0" anchor="ctr"/>
            <a:lstStyle/>
            <a:p>
              <a:endParaRPr lang="pl-PL"/>
            </a:p>
          </p:txBody>
        </p:sp>
        <p:sp>
          <p:nvSpPr>
            <p:cNvPr id="128" name="Freeform: Shape 127">
              <a:extLst>
                <a:ext uri="{FF2B5EF4-FFF2-40B4-BE49-F238E27FC236}">
                  <a16:creationId xmlns:a16="http://schemas.microsoft.com/office/drawing/2014/main" id="{4E270061-1A7B-487F-AF4C-DA4DDE31D161}"/>
                </a:ext>
              </a:extLst>
            </p:cNvPr>
            <p:cNvSpPr/>
            <p:nvPr/>
          </p:nvSpPr>
          <p:spPr>
            <a:xfrm>
              <a:off x="11848503" y="6635533"/>
              <a:ext cx="6855" cy="8973"/>
            </a:xfrm>
            <a:custGeom>
              <a:avLst/>
              <a:gdLst>
                <a:gd name="connsiteX0" fmla="*/ 992 w 12147"/>
                <a:gd name="connsiteY0" fmla="*/ 1467 h 15900"/>
                <a:gd name="connsiteX1" fmla="*/ 992 w 12147"/>
                <a:gd name="connsiteY1" fmla="*/ 295 h 15900"/>
                <a:gd name="connsiteX2" fmla="*/ 1519 w 12147"/>
                <a:gd name="connsiteY2" fmla="*/ -344 h 15900"/>
                <a:gd name="connsiteX3" fmla="*/ 1631 w 12147"/>
                <a:gd name="connsiteY3" fmla="*/ -344 h 15900"/>
                <a:gd name="connsiteX4" fmla="*/ 12521 w 12147"/>
                <a:gd name="connsiteY4" fmla="*/ -344 h 15900"/>
                <a:gd name="connsiteX5" fmla="*/ 13136 w 12147"/>
                <a:gd name="connsiteY5" fmla="*/ 213 h 15900"/>
                <a:gd name="connsiteX6" fmla="*/ 13133 w 12147"/>
                <a:gd name="connsiteY6" fmla="*/ 295 h 15900"/>
                <a:gd name="connsiteX7" fmla="*/ 13133 w 12147"/>
                <a:gd name="connsiteY7" fmla="*/ 1467 h 15900"/>
                <a:gd name="connsiteX8" fmla="*/ 12603 w 12147"/>
                <a:gd name="connsiteY8" fmla="*/ 2103 h 15900"/>
                <a:gd name="connsiteX9" fmla="*/ 12521 w 12147"/>
                <a:gd name="connsiteY9" fmla="*/ 2106 h 15900"/>
                <a:gd name="connsiteX10" fmla="*/ 8926 w 12147"/>
                <a:gd name="connsiteY10" fmla="*/ 2106 h 15900"/>
                <a:gd name="connsiteX11" fmla="*/ 8447 w 12147"/>
                <a:gd name="connsiteY11" fmla="*/ 2471 h 15900"/>
                <a:gd name="connsiteX12" fmla="*/ 8447 w 12147"/>
                <a:gd name="connsiteY12" fmla="*/ 2585 h 15900"/>
                <a:gd name="connsiteX13" fmla="*/ 8447 w 12147"/>
                <a:gd name="connsiteY13" fmla="*/ 14940 h 15900"/>
                <a:gd name="connsiteX14" fmla="*/ 7890 w 12147"/>
                <a:gd name="connsiteY14" fmla="*/ 15555 h 15900"/>
                <a:gd name="connsiteX15" fmla="*/ 7808 w 12147"/>
                <a:gd name="connsiteY15" fmla="*/ 15552 h 15900"/>
                <a:gd name="connsiteX16" fmla="*/ 6184 w 12147"/>
                <a:gd name="connsiteY16" fmla="*/ 15552 h 15900"/>
                <a:gd name="connsiteX17" fmla="*/ 5547 w 12147"/>
                <a:gd name="connsiteY17" fmla="*/ 15022 h 15900"/>
                <a:gd name="connsiteX18" fmla="*/ 5545 w 12147"/>
                <a:gd name="connsiteY18" fmla="*/ 14940 h 15900"/>
                <a:gd name="connsiteX19" fmla="*/ 5545 w 12147"/>
                <a:gd name="connsiteY19" fmla="*/ 2585 h 15900"/>
                <a:gd name="connsiteX20" fmla="*/ 5180 w 12147"/>
                <a:gd name="connsiteY20" fmla="*/ 2106 h 15900"/>
                <a:gd name="connsiteX21" fmla="*/ 5065 w 12147"/>
                <a:gd name="connsiteY21" fmla="*/ 2106 h 15900"/>
                <a:gd name="connsiteX22" fmla="*/ 1631 w 12147"/>
                <a:gd name="connsiteY22" fmla="*/ 2106 h 15900"/>
                <a:gd name="connsiteX23" fmla="*/ 992 w 12147"/>
                <a:gd name="connsiteY23" fmla="*/ 1579 h 15900"/>
                <a:gd name="connsiteX24" fmla="*/ 992 w 12147"/>
                <a:gd name="connsiteY24" fmla="*/ 1467 h 1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147" h="15900">
                  <a:moveTo>
                    <a:pt x="992" y="1467"/>
                  </a:moveTo>
                  <a:lnTo>
                    <a:pt x="992" y="295"/>
                  </a:lnTo>
                  <a:cubicBezTo>
                    <a:pt x="960" y="-27"/>
                    <a:pt x="1197" y="-312"/>
                    <a:pt x="1519" y="-344"/>
                  </a:cubicBezTo>
                  <a:cubicBezTo>
                    <a:pt x="1556" y="-346"/>
                    <a:pt x="1593" y="-346"/>
                    <a:pt x="1631" y="-344"/>
                  </a:cubicBezTo>
                  <a:lnTo>
                    <a:pt x="12521" y="-344"/>
                  </a:lnTo>
                  <a:cubicBezTo>
                    <a:pt x="12843" y="-360"/>
                    <a:pt x="13120" y="-112"/>
                    <a:pt x="13136" y="213"/>
                  </a:cubicBezTo>
                  <a:cubicBezTo>
                    <a:pt x="13136" y="240"/>
                    <a:pt x="13136" y="269"/>
                    <a:pt x="13133" y="295"/>
                  </a:cubicBezTo>
                  <a:lnTo>
                    <a:pt x="13133" y="1467"/>
                  </a:lnTo>
                  <a:cubicBezTo>
                    <a:pt x="13163" y="1789"/>
                    <a:pt x="12925" y="2074"/>
                    <a:pt x="12603" y="2103"/>
                  </a:cubicBezTo>
                  <a:cubicBezTo>
                    <a:pt x="12577" y="2106"/>
                    <a:pt x="12547" y="2109"/>
                    <a:pt x="12521" y="2106"/>
                  </a:cubicBezTo>
                  <a:lnTo>
                    <a:pt x="8926" y="2106"/>
                  </a:lnTo>
                  <a:cubicBezTo>
                    <a:pt x="8692" y="2074"/>
                    <a:pt x="8479" y="2239"/>
                    <a:pt x="8447" y="2471"/>
                  </a:cubicBezTo>
                  <a:cubicBezTo>
                    <a:pt x="8442" y="2508"/>
                    <a:pt x="8442" y="2548"/>
                    <a:pt x="8447" y="2585"/>
                  </a:cubicBezTo>
                  <a:lnTo>
                    <a:pt x="8447" y="14940"/>
                  </a:lnTo>
                  <a:cubicBezTo>
                    <a:pt x="8463" y="15262"/>
                    <a:pt x="8215" y="15539"/>
                    <a:pt x="7890" y="15555"/>
                  </a:cubicBezTo>
                  <a:cubicBezTo>
                    <a:pt x="7864" y="15555"/>
                    <a:pt x="7835" y="15555"/>
                    <a:pt x="7808" y="15552"/>
                  </a:cubicBezTo>
                  <a:lnTo>
                    <a:pt x="6184" y="15552"/>
                  </a:lnTo>
                  <a:cubicBezTo>
                    <a:pt x="5862" y="15581"/>
                    <a:pt x="5577" y="15345"/>
                    <a:pt x="5547" y="15022"/>
                  </a:cubicBezTo>
                  <a:cubicBezTo>
                    <a:pt x="5545" y="14996"/>
                    <a:pt x="5545" y="14966"/>
                    <a:pt x="5545" y="14940"/>
                  </a:cubicBezTo>
                  <a:lnTo>
                    <a:pt x="5545" y="2585"/>
                  </a:lnTo>
                  <a:cubicBezTo>
                    <a:pt x="5577" y="2351"/>
                    <a:pt x="5412" y="2138"/>
                    <a:pt x="5180" y="2106"/>
                  </a:cubicBezTo>
                  <a:cubicBezTo>
                    <a:pt x="5143" y="2101"/>
                    <a:pt x="5103" y="2101"/>
                    <a:pt x="5065" y="2106"/>
                  </a:cubicBezTo>
                  <a:lnTo>
                    <a:pt x="1631" y="2106"/>
                  </a:lnTo>
                  <a:cubicBezTo>
                    <a:pt x="1308" y="2138"/>
                    <a:pt x="1024" y="1901"/>
                    <a:pt x="992" y="1579"/>
                  </a:cubicBezTo>
                  <a:cubicBezTo>
                    <a:pt x="989" y="1542"/>
                    <a:pt x="989" y="1504"/>
                    <a:pt x="992" y="1467"/>
                  </a:cubicBezTo>
                </a:path>
              </a:pathLst>
            </a:custGeom>
            <a:solidFill>
              <a:srgbClr val="FFFFFF"/>
            </a:solidFill>
            <a:ln w="2661" cap="flat">
              <a:noFill/>
              <a:prstDash val="solid"/>
              <a:miter/>
            </a:ln>
          </p:spPr>
          <p:txBody>
            <a:bodyPr rtlCol="0" anchor="ctr"/>
            <a:lstStyle/>
            <a:p>
              <a:endParaRPr lang="pl-PL"/>
            </a:p>
          </p:txBody>
        </p:sp>
        <p:sp>
          <p:nvSpPr>
            <p:cNvPr id="129" name="Freeform: Shape 128">
              <a:extLst>
                <a:ext uri="{FF2B5EF4-FFF2-40B4-BE49-F238E27FC236}">
                  <a16:creationId xmlns:a16="http://schemas.microsoft.com/office/drawing/2014/main" id="{61B25A73-AFEB-402A-AA76-A59F2404C508}"/>
                </a:ext>
              </a:extLst>
            </p:cNvPr>
            <p:cNvSpPr/>
            <p:nvPr/>
          </p:nvSpPr>
          <p:spPr>
            <a:xfrm>
              <a:off x="11857776" y="6635662"/>
              <a:ext cx="8810" cy="8977"/>
            </a:xfrm>
            <a:custGeom>
              <a:avLst/>
              <a:gdLst>
                <a:gd name="connsiteX0" fmla="*/ 991 w 15611"/>
                <a:gd name="connsiteY0" fmla="*/ 14943 h 15907"/>
                <a:gd name="connsiteX1" fmla="*/ 991 w 15611"/>
                <a:gd name="connsiteY1" fmla="*/ 458 h 15907"/>
                <a:gd name="connsiteX2" fmla="*/ 1675 w 15611"/>
                <a:gd name="connsiteY2" fmla="*/ -343 h 15907"/>
                <a:gd name="connsiteX3" fmla="*/ 1816 w 15611"/>
                <a:gd name="connsiteY3" fmla="*/ -340 h 15907"/>
                <a:gd name="connsiteX4" fmla="*/ 2668 w 15611"/>
                <a:gd name="connsiteY4" fmla="*/ -340 h 15907"/>
                <a:gd name="connsiteX5" fmla="*/ 3627 w 15611"/>
                <a:gd name="connsiteY5" fmla="*/ 192 h 15907"/>
                <a:gd name="connsiteX6" fmla="*/ 8526 w 15611"/>
                <a:gd name="connsiteY6" fmla="*/ 7381 h 15907"/>
                <a:gd name="connsiteX7" fmla="*/ 8915 w 15611"/>
                <a:gd name="connsiteY7" fmla="*/ 7525 h 15907"/>
                <a:gd name="connsiteX8" fmla="*/ 9059 w 15611"/>
                <a:gd name="connsiteY8" fmla="*/ 7381 h 15907"/>
                <a:gd name="connsiteX9" fmla="*/ 14064 w 15611"/>
                <a:gd name="connsiteY9" fmla="*/ 166 h 15907"/>
                <a:gd name="connsiteX10" fmla="*/ 15050 w 15611"/>
                <a:gd name="connsiteY10" fmla="*/ -340 h 15907"/>
                <a:gd name="connsiteX11" fmla="*/ 15795 w 15611"/>
                <a:gd name="connsiteY11" fmla="*/ -340 h 15907"/>
                <a:gd name="connsiteX12" fmla="*/ 16594 w 15611"/>
                <a:gd name="connsiteY12" fmla="*/ 288 h 15907"/>
                <a:gd name="connsiteX13" fmla="*/ 16594 w 15611"/>
                <a:gd name="connsiteY13" fmla="*/ 458 h 15907"/>
                <a:gd name="connsiteX14" fmla="*/ 16594 w 15611"/>
                <a:gd name="connsiteY14" fmla="*/ 14943 h 15907"/>
                <a:gd name="connsiteX15" fmla="*/ 16035 w 15611"/>
                <a:gd name="connsiteY15" fmla="*/ 15556 h 15907"/>
                <a:gd name="connsiteX16" fmla="*/ 15982 w 15611"/>
                <a:gd name="connsiteY16" fmla="*/ 15556 h 15907"/>
                <a:gd name="connsiteX17" fmla="*/ 14677 w 15611"/>
                <a:gd name="connsiteY17" fmla="*/ 15556 h 15907"/>
                <a:gd name="connsiteX18" fmla="*/ 14064 w 15611"/>
                <a:gd name="connsiteY18" fmla="*/ 15055 h 15907"/>
                <a:gd name="connsiteX19" fmla="*/ 14064 w 15611"/>
                <a:gd name="connsiteY19" fmla="*/ 14943 h 15907"/>
                <a:gd name="connsiteX20" fmla="*/ 14064 w 15611"/>
                <a:gd name="connsiteY20" fmla="*/ 4878 h 15907"/>
                <a:gd name="connsiteX21" fmla="*/ 13585 w 15611"/>
                <a:gd name="connsiteY21" fmla="*/ 4745 h 15907"/>
                <a:gd name="connsiteX22" fmla="*/ 9804 w 15611"/>
                <a:gd name="connsiteY22" fmla="*/ 10284 h 15907"/>
                <a:gd name="connsiteX23" fmla="*/ 8846 w 15611"/>
                <a:gd name="connsiteY23" fmla="*/ 10789 h 15907"/>
                <a:gd name="connsiteX24" fmla="*/ 8846 w 15611"/>
                <a:gd name="connsiteY24" fmla="*/ 10789 h 15907"/>
                <a:gd name="connsiteX25" fmla="*/ 7914 w 15611"/>
                <a:gd name="connsiteY25" fmla="*/ 10284 h 15907"/>
                <a:gd name="connsiteX26" fmla="*/ 4133 w 15611"/>
                <a:gd name="connsiteY26" fmla="*/ 4745 h 15907"/>
                <a:gd name="connsiteX27" fmla="*/ 3654 w 15611"/>
                <a:gd name="connsiteY27" fmla="*/ 4905 h 15907"/>
                <a:gd name="connsiteX28" fmla="*/ 3654 w 15611"/>
                <a:gd name="connsiteY28" fmla="*/ 14943 h 15907"/>
                <a:gd name="connsiteX29" fmla="*/ 3097 w 15611"/>
                <a:gd name="connsiteY29" fmla="*/ 15558 h 15907"/>
                <a:gd name="connsiteX30" fmla="*/ 3015 w 15611"/>
                <a:gd name="connsiteY30" fmla="*/ 15556 h 15907"/>
                <a:gd name="connsiteX31" fmla="*/ 1736 w 15611"/>
                <a:gd name="connsiteY31" fmla="*/ 15556 h 15907"/>
                <a:gd name="connsiteX32" fmla="*/ 1100 w 15611"/>
                <a:gd name="connsiteY32" fmla="*/ 15087 h 15907"/>
                <a:gd name="connsiteX33" fmla="*/ 1097 w 15611"/>
                <a:gd name="connsiteY33" fmla="*/ 14943 h 15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611" h="15907">
                  <a:moveTo>
                    <a:pt x="991" y="14943"/>
                  </a:moveTo>
                  <a:lnTo>
                    <a:pt x="991" y="458"/>
                  </a:lnTo>
                  <a:cubicBezTo>
                    <a:pt x="959" y="48"/>
                    <a:pt x="1265" y="-311"/>
                    <a:pt x="1675" y="-343"/>
                  </a:cubicBezTo>
                  <a:cubicBezTo>
                    <a:pt x="1723" y="-346"/>
                    <a:pt x="1771" y="-346"/>
                    <a:pt x="1816" y="-340"/>
                  </a:cubicBezTo>
                  <a:lnTo>
                    <a:pt x="2668" y="-340"/>
                  </a:lnTo>
                  <a:cubicBezTo>
                    <a:pt x="3062" y="-359"/>
                    <a:pt x="3435" y="-154"/>
                    <a:pt x="3627" y="192"/>
                  </a:cubicBezTo>
                  <a:lnTo>
                    <a:pt x="8526" y="7381"/>
                  </a:lnTo>
                  <a:cubicBezTo>
                    <a:pt x="8593" y="7528"/>
                    <a:pt x="8768" y="7592"/>
                    <a:pt x="8915" y="7525"/>
                  </a:cubicBezTo>
                  <a:cubicBezTo>
                    <a:pt x="8979" y="7496"/>
                    <a:pt x="9029" y="7445"/>
                    <a:pt x="9059" y="7381"/>
                  </a:cubicBezTo>
                  <a:lnTo>
                    <a:pt x="14064" y="166"/>
                  </a:lnTo>
                  <a:cubicBezTo>
                    <a:pt x="14280" y="-165"/>
                    <a:pt x="14655" y="-356"/>
                    <a:pt x="15050" y="-340"/>
                  </a:cubicBezTo>
                  <a:lnTo>
                    <a:pt x="15795" y="-340"/>
                  </a:lnTo>
                  <a:cubicBezTo>
                    <a:pt x="16189" y="-388"/>
                    <a:pt x="16546" y="-106"/>
                    <a:pt x="16594" y="288"/>
                  </a:cubicBezTo>
                  <a:cubicBezTo>
                    <a:pt x="16602" y="344"/>
                    <a:pt x="16602" y="403"/>
                    <a:pt x="16594" y="458"/>
                  </a:cubicBezTo>
                  <a:lnTo>
                    <a:pt x="16594" y="14943"/>
                  </a:lnTo>
                  <a:cubicBezTo>
                    <a:pt x="16610" y="15265"/>
                    <a:pt x="16360" y="15540"/>
                    <a:pt x="16035" y="15556"/>
                  </a:cubicBezTo>
                  <a:cubicBezTo>
                    <a:pt x="16019" y="15556"/>
                    <a:pt x="16000" y="15556"/>
                    <a:pt x="15982" y="15556"/>
                  </a:cubicBezTo>
                  <a:lnTo>
                    <a:pt x="14677" y="15556"/>
                  </a:lnTo>
                  <a:cubicBezTo>
                    <a:pt x="14371" y="15587"/>
                    <a:pt x="14096" y="15364"/>
                    <a:pt x="14064" y="15055"/>
                  </a:cubicBezTo>
                  <a:cubicBezTo>
                    <a:pt x="14062" y="15018"/>
                    <a:pt x="14062" y="14980"/>
                    <a:pt x="14064" y="14943"/>
                  </a:cubicBezTo>
                  <a:lnTo>
                    <a:pt x="14064" y="4878"/>
                  </a:lnTo>
                  <a:cubicBezTo>
                    <a:pt x="14064" y="4506"/>
                    <a:pt x="13798" y="4399"/>
                    <a:pt x="13585" y="4745"/>
                  </a:cubicBezTo>
                  <a:lnTo>
                    <a:pt x="9804" y="10284"/>
                  </a:lnTo>
                  <a:cubicBezTo>
                    <a:pt x="9602" y="10614"/>
                    <a:pt x="9234" y="10808"/>
                    <a:pt x="8846" y="10789"/>
                  </a:cubicBezTo>
                  <a:lnTo>
                    <a:pt x="8846" y="10789"/>
                  </a:lnTo>
                  <a:cubicBezTo>
                    <a:pt x="8465" y="10803"/>
                    <a:pt x="8108" y="10611"/>
                    <a:pt x="7914" y="10284"/>
                  </a:cubicBezTo>
                  <a:lnTo>
                    <a:pt x="4133" y="4745"/>
                  </a:lnTo>
                  <a:cubicBezTo>
                    <a:pt x="3920" y="4452"/>
                    <a:pt x="3654" y="4532"/>
                    <a:pt x="3654" y="4905"/>
                  </a:cubicBezTo>
                  <a:lnTo>
                    <a:pt x="3654" y="14943"/>
                  </a:lnTo>
                  <a:cubicBezTo>
                    <a:pt x="3670" y="15265"/>
                    <a:pt x="3422" y="15542"/>
                    <a:pt x="3097" y="15558"/>
                  </a:cubicBezTo>
                  <a:cubicBezTo>
                    <a:pt x="3071" y="15558"/>
                    <a:pt x="3041" y="15558"/>
                    <a:pt x="3015" y="15556"/>
                  </a:cubicBezTo>
                  <a:lnTo>
                    <a:pt x="1736" y="15556"/>
                  </a:lnTo>
                  <a:cubicBezTo>
                    <a:pt x="1430" y="15601"/>
                    <a:pt x="1145" y="15390"/>
                    <a:pt x="1100" y="15087"/>
                  </a:cubicBezTo>
                  <a:cubicBezTo>
                    <a:pt x="1092" y="15039"/>
                    <a:pt x="1092" y="14991"/>
                    <a:pt x="1097" y="14943"/>
                  </a:cubicBezTo>
                </a:path>
              </a:pathLst>
            </a:custGeom>
            <a:solidFill>
              <a:srgbClr val="FFFFFF"/>
            </a:solidFill>
            <a:ln w="2661" cap="flat">
              <a:noFill/>
              <a:prstDash val="solid"/>
              <a:miter/>
            </a:ln>
          </p:spPr>
          <p:txBody>
            <a:bodyPr rtlCol="0" anchor="ctr"/>
            <a:lstStyle/>
            <a:p>
              <a:endParaRPr lang="pl-PL"/>
            </a:p>
          </p:txBody>
        </p:sp>
      </p:grpSp>
      <p:grpSp>
        <p:nvGrpSpPr>
          <p:cNvPr id="130" name="Group 129">
            <a:extLst>
              <a:ext uri="{FF2B5EF4-FFF2-40B4-BE49-F238E27FC236}">
                <a16:creationId xmlns:a16="http://schemas.microsoft.com/office/drawing/2014/main" id="{BA479B3E-4266-4744-B02F-DD6646CF762E}"/>
              </a:ext>
            </a:extLst>
          </p:cNvPr>
          <p:cNvGrpSpPr/>
          <p:nvPr userDrawn="1"/>
        </p:nvGrpSpPr>
        <p:grpSpPr>
          <a:xfrm>
            <a:off x="10855488" y="6628477"/>
            <a:ext cx="218951" cy="162658"/>
            <a:chOff x="10506075" y="6628477"/>
            <a:chExt cx="218951" cy="162658"/>
          </a:xfrm>
        </p:grpSpPr>
        <p:sp>
          <p:nvSpPr>
            <p:cNvPr id="131" name="Rectangle: Rounded Corners 130">
              <a:hlinkClick r:id="" action="ppaction://noaction"/>
              <a:extLst>
                <a:ext uri="{FF2B5EF4-FFF2-40B4-BE49-F238E27FC236}">
                  <a16:creationId xmlns:a16="http://schemas.microsoft.com/office/drawing/2014/main" id="{93EA794C-9976-4667-9D3D-18BD551C8566}"/>
                </a:ext>
              </a:extLst>
            </p:cNvPr>
            <p:cNvSpPr/>
            <p:nvPr userDrawn="1"/>
          </p:nvSpPr>
          <p:spPr>
            <a:xfrm>
              <a:off x="10506075" y="6628477"/>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32" name="Rectangle: Rounded Corners 131">
              <a:hlinkClick r:id="" action="ppaction://noaction"/>
              <a:extLst>
                <a:ext uri="{FF2B5EF4-FFF2-40B4-BE49-F238E27FC236}">
                  <a16:creationId xmlns:a16="http://schemas.microsoft.com/office/drawing/2014/main" id="{06E49E52-BF3B-4BEC-8F3F-B2D2A16B9AF9}"/>
                </a:ext>
              </a:extLst>
            </p:cNvPr>
            <p:cNvSpPr/>
            <p:nvPr userDrawn="1"/>
          </p:nvSpPr>
          <p:spPr>
            <a:xfrm>
              <a:off x="10506075" y="6691806"/>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33" name="Rectangle: Rounded Corners 132">
              <a:hlinkClick r:id="" action="ppaction://noaction"/>
              <a:extLst>
                <a:ext uri="{FF2B5EF4-FFF2-40B4-BE49-F238E27FC236}">
                  <a16:creationId xmlns:a16="http://schemas.microsoft.com/office/drawing/2014/main" id="{115BCFEB-9890-47F5-BA68-F005BDD9C641}"/>
                </a:ext>
              </a:extLst>
            </p:cNvPr>
            <p:cNvSpPr/>
            <p:nvPr userDrawn="1"/>
          </p:nvSpPr>
          <p:spPr>
            <a:xfrm>
              <a:off x="10506075" y="6755135"/>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grpSp>
      <p:sp>
        <p:nvSpPr>
          <p:cNvPr id="134" name="Rectangle 133">
            <a:hlinkClick r:id="" action="ppaction://noaction"/>
            <a:extLst>
              <a:ext uri="{FF2B5EF4-FFF2-40B4-BE49-F238E27FC236}">
                <a16:creationId xmlns:a16="http://schemas.microsoft.com/office/drawing/2014/main" id="{92B5D4E9-9932-46C1-9242-4C5F4BABE131}"/>
              </a:ext>
            </a:extLst>
          </p:cNvPr>
          <p:cNvSpPr/>
          <p:nvPr userDrawn="1"/>
        </p:nvSpPr>
        <p:spPr>
          <a:xfrm>
            <a:off x="10760869" y="6579908"/>
            <a:ext cx="406177" cy="273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cxnSp>
        <p:nvCxnSpPr>
          <p:cNvPr id="135" name="Straight Connector 134">
            <a:extLst>
              <a:ext uri="{FF2B5EF4-FFF2-40B4-BE49-F238E27FC236}">
                <a16:creationId xmlns:a16="http://schemas.microsoft.com/office/drawing/2014/main" id="{C46781DA-6501-4529-8CA5-E72220E03F50}"/>
              </a:ext>
            </a:extLst>
          </p:cNvPr>
          <p:cNvCxnSpPr/>
          <p:nvPr userDrawn="1"/>
        </p:nvCxnSpPr>
        <p:spPr>
          <a:xfrm>
            <a:off x="521472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36" name="Rectangle 135">
            <a:hlinkClick r:id="" action="ppaction://noaction"/>
            <a:hlinkHover r:id="" action="ppaction://noaction" highlightClick="1"/>
            <a:extLst>
              <a:ext uri="{FF2B5EF4-FFF2-40B4-BE49-F238E27FC236}">
                <a16:creationId xmlns:a16="http://schemas.microsoft.com/office/drawing/2014/main" id="{26557599-AC28-4BDE-808E-B68E4460138E}"/>
              </a:ext>
            </a:extLst>
          </p:cNvPr>
          <p:cNvSpPr/>
          <p:nvPr userDrawn="1"/>
        </p:nvSpPr>
        <p:spPr>
          <a:xfrm>
            <a:off x="9539162" y="6570000"/>
            <a:ext cx="1200924"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GB" sz="800" b="0" noProof="0">
                <a:solidFill>
                  <a:schemeClr val="bg1">
                    <a:alpha val="50000"/>
                  </a:schemeClr>
                </a:solidFill>
                <a:latin typeface="Leelawadee" panose="020B0502040204020203" pitchFamily="34" charset="-34"/>
                <a:cs typeface="Leelawadee" panose="020B0502040204020203" pitchFamily="34" charset="-34"/>
              </a:rPr>
              <a:t>Additional </a:t>
            </a:r>
            <a:br>
              <a:rPr lang="en-GB" sz="800" b="0" noProof="0">
                <a:solidFill>
                  <a:schemeClr val="bg1">
                    <a:alpha val="50000"/>
                  </a:schemeClr>
                </a:solidFill>
                <a:latin typeface="Leelawadee" panose="020B0502040204020203" pitchFamily="34" charset="-34"/>
                <a:cs typeface="Leelawadee" panose="020B0502040204020203" pitchFamily="34" charset="-34"/>
              </a:rPr>
            </a:br>
            <a:r>
              <a:rPr lang="en-GB" sz="800" b="0" noProof="0">
                <a:solidFill>
                  <a:schemeClr val="bg1">
                    <a:alpha val="50000"/>
                  </a:schemeClr>
                </a:solidFill>
                <a:latin typeface="Leelawadee" panose="020B0502040204020203" pitchFamily="34" charset="-34"/>
                <a:cs typeface="Leelawadee" panose="020B0502040204020203" pitchFamily="34" charset="-34"/>
              </a:rPr>
              <a:t>Supporting content</a:t>
            </a:r>
          </a:p>
        </p:txBody>
      </p:sp>
      <p:cxnSp>
        <p:nvCxnSpPr>
          <p:cNvPr id="137" name="Straight Connector 136">
            <a:extLst>
              <a:ext uri="{FF2B5EF4-FFF2-40B4-BE49-F238E27FC236}">
                <a16:creationId xmlns:a16="http://schemas.microsoft.com/office/drawing/2014/main" id="{51DB69FB-E258-48A3-8BF5-95FD7B8FF648}"/>
              </a:ext>
            </a:extLst>
          </p:cNvPr>
          <p:cNvCxnSpPr/>
          <p:nvPr userDrawn="1"/>
        </p:nvCxnSpPr>
        <p:spPr>
          <a:xfrm>
            <a:off x="10737865"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38" name="TextBox 137">
            <a:extLst>
              <a:ext uri="{FF2B5EF4-FFF2-40B4-BE49-F238E27FC236}">
                <a16:creationId xmlns:a16="http://schemas.microsoft.com/office/drawing/2014/main" id="{56BBD85F-F12B-4A0B-970E-070E34AAA0D2}"/>
              </a:ext>
            </a:extLst>
          </p:cNvPr>
          <p:cNvSpPr txBox="1"/>
          <p:nvPr userDrawn="1"/>
        </p:nvSpPr>
        <p:spPr>
          <a:xfrm>
            <a:off x="208348" y="6587078"/>
            <a:ext cx="428589" cy="261610"/>
          </a:xfrm>
          <a:prstGeom prst="rect">
            <a:avLst/>
          </a:prstGeom>
          <a:noFill/>
        </p:spPr>
        <p:txBody>
          <a:bodyPr wrap="square" rtlCol="0">
            <a:spAutoFit/>
          </a:bodyPr>
          <a:lstStyle/>
          <a:p>
            <a:fld id="{2AD15D81-AC1A-4BFA-95F9-38C1BF89B685}" type="slidenum">
              <a:rPr lang="pl-PL" sz="1050" smtClean="0">
                <a:solidFill>
                  <a:schemeClr val="bg1"/>
                </a:solidFill>
                <a:latin typeface="Leelawadee" panose="020B0502040204020203" pitchFamily="34" charset="-34"/>
                <a:cs typeface="Leelawadee" panose="020B0502040204020203" pitchFamily="34" charset="-34"/>
              </a:rPr>
              <a:t>‹#›</a:t>
            </a:fld>
            <a:endParaRPr lang="pl-PL" sz="1200">
              <a:solidFill>
                <a:schemeClr val="bg1"/>
              </a:solidFill>
              <a:latin typeface="Leelawadee" panose="020B0502040204020203" pitchFamily="34" charset="-34"/>
              <a:cs typeface="Leelawadee" panose="020B0502040204020203" pitchFamily="34" charset="-34"/>
            </a:endParaRPr>
          </a:p>
        </p:txBody>
      </p:sp>
    </p:spTree>
    <p:extLst>
      <p:ext uri="{BB962C8B-B14F-4D97-AF65-F5344CB8AC3E}">
        <p14:creationId xmlns:p14="http://schemas.microsoft.com/office/powerpoint/2010/main" val="221155851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Content 0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DFCE0-C8CA-44D4-B3A9-22A7EE47C308}"/>
              </a:ext>
            </a:extLst>
          </p:cNvPr>
          <p:cNvGraphicFramePr>
            <a:graphicFrameLocks noChangeAspect="1"/>
          </p:cNvGraphicFramePr>
          <p:nvPr userDrawn="1">
            <p:custDataLst>
              <p:tags r:id="rId1"/>
            </p:custDataLst>
            <p:extLst>
              <p:ext uri="{D42A27DB-BD31-4B8C-83A1-F6EECF244321}">
                <p14:modId xmlns:p14="http://schemas.microsoft.com/office/powerpoint/2010/main" val="2047366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F98DFCE0-C8CA-44D4-B3A9-22A7EE47C3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 Placeholder 2">
            <a:extLst>
              <a:ext uri="{FF2B5EF4-FFF2-40B4-BE49-F238E27FC236}">
                <a16:creationId xmlns:a16="http://schemas.microsoft.com/office/drawing/2014/main" id="{8E6CCAFD-2BDF-C149-ABEA-30E622D97F26}"/>
              </a:ext>
            </a:extLst>
          </p:cNvPr>
          <p:cNvSpPr>
            <a:spLocks noGrp="1"/>
          </p:cNvSpPr>
          <p:nvPr>
            <p:ph type="body" sz="quarter" idx="14"/>
          </p:nvPr>
        </p:nvSpPr>
        <p:spPr>
          <a:xfrm>
            <a:off x="608995" y="1274778"/>
            <a:ext cx="10952148" cy="4810836"/>
          </a:xfrm>
        </p:spPr>
        <p:txBody>
          <a:bodyPr>
            <a:noAutofit/>
          </a:bodyPr>
          <a:lstStyle>
            <a:lvl1pPr marL="287338" indent="-287338" rtl="0">
              <a:lnSpc>
                <a:spcPct val="100000"/>
              </a:lnSpc>
              <a:spcBef>
                <a:spcPts val="0"/>
              </a:spcBef>
              <a:buFont typeface="Arial" panose="020B0604020202020204" pitchFamily="34" charset="0"/>
              <a:buChar char="•"/>
              <a:tabLst/>
              <a:defRPr sz="2000" b="0" i="0">
                <a:solidFill>
                  <a:srgbClr val="0065E5"/>
                </a:solidFill>
                <a:latin typeface="Calibri" panose="020F0502020204030204" pitchFamily="34" charset="0"/>
                <a:cs typeface="Calibri" panose="020F0502020204030204" pitchFamily="34" charset="0"/>
              </a:defRPr>
            </a:lvl1pPr>
            <a:lvl2pPr marL="628650" marR="0" indent="-342900" algn="l" defTabSz="914400" rtl="0" eaLnBrk="1" fontAlgn="auto" latinLnBrk="0" hangingPunct="1">
              <a:lnSpc>
                <a:spcPct val="100000"/>
              </a:lnSpc>
              <a:spcBef>
                <a:spcPts val="0"/>
              </a:spcBef>
              <a:spcAft>
                <a:spcPts val="0"/>
              </a:spcAft>
              <a:buClrTx/>
              <a:buSzPct val="70000"/>
              <a:buFont typeface="Courier New" panose="02070309020205020404" pitchFamily="49" charset="0"/>
              <a:buChar char="o"/>
              <a:tabLst/>
              <a:defRPr sz="2000" b="0" i="0">
                <a:solidFill>
                  <a:srgbClr val="0065E5"/>
                </a:solidFill>
                <a:latin typeface="Calibri" panose="020F0502020204030204" pitchFamily="34" charset="0"/>
                <a:cs typeface="Calibri" panose="020F0502020204030204" pitchFamily="34" charset="0"/>
              </a:defRPr>
            </a:lvl2pPr>
            <a:lvl3pPr marL="981075" indent="-341313" rtl="0">
              <a:lnSpc>
                <a:spcPct val="100000"/>
              </a:lnSpc>
              <a:buSzPct val="70000"/>
              <a:buFont typeface="Courier New" panose="02070309020205020404" pitchFamily="49" charset="0"/>
              <a:buChar char="o"/>
              <a:tabLst>
                <a:tab pos="1023938" algn="l"/>
              </a:tabLst>
              <a:defRPr sz="2000">
                <a:solidFill>
                  <a:srgbClr val="0065E5"/>
                </a:solidFill>
              </a:defRPr>
            </a:lvl3pPr>
            <a:lvl4pPr marL="1376363" indent="-354013" rtl="0">
              <a:lnSpc>
                <a:spcPct val="100000"/>
              </a:lnSpc>
              <a:buClr>
                <a:srgbClr val="0065E5"/>
              </a:buClr>
              <a:buSzPct val="80000"/>
              <a:buFont typeface="Wingdings" pitchFamily="2" charset="2"/>
              <a:buChar char="§"/>
              <a:tabLst/>
              <a:defRPr sz="2000">
                <a:solidFill>
                  <a:srgbClr val="0065E5"/>
                </a:solidFill>
              </a:defRPr>
            </a:lvl4pPr>
            <a:lvl5pPr marL="1781175" indent="-361950" rtl="0">
              <a:lnSpc>
                <a:spcPct val="100000"/>
              </a:lnSpc>
              <a:buClr>
                <a:srgbClr val="0065E5"/>
              </a:buClr>
              <a:buSzPct val="80000"/>
              <a:buFont typeface="Wingdings" pitchFamily="2" charset="2"/>
              <a:buChar char="§"/>
              <a:tabLst/>
              <a:defRPr sz="2000">
                <a:solidFill>
                  <a:srgbClr val="0065E5"/>
                </a:solidFill>
              </a:defRPr>
            </a:lvl5pPr>
          </a:lstStyle>
          <a:p>
            <a:pPr lvl="0"/>
            <a:r>
              <a:rPr lang="en-US" noProof="0"/>
              <a:t>Click to edit Master text styles</a:t>
            </a:r>
          </a:p>
          <a:p>
            <a:pPr lvl="1"/>
            <a:r>
              <a:rPr lang="en-US" noProof="0"/>
              <a:t>Click to edit Master text styles</a:t>
            </a:r>
          </a:p>
          <a:p>
            <a:pPr lvl="2"/>
            <a:r>
              <a:rPr lang="en-US" noProof="0"/>
              <a:t>Click to edit Master text styles</a:t>
            </a:r>
          </a:p>
          <a:p>
            <a:pPr lvl="3"/>
            <a:r>
              <a:rPr lang="en-US" noProof="0"/>
              <a:t>Click to edit Master text styles</a:t>
            </a:r>
          </a:p>
          <a:p>
            <a:pPr lvl="4"/>
            <a:r>
              <a:rPr lang="en-US" noProof="0"/>
              <a:t>Click to edit Master text styles</a:t>
            </a:r>
          </a:p>
        </p:txBody>
      </p:sp>
      <p:grpSp>
        <p:nvGrpSpPr>
          <p:cNvPr id="23" name="Group 22"/>
          <p:cNvGrpSpPr/>
          <p:nvPr userDrawn="1"/>
        </p:nvGrpSpPr>
        <p:grpSpPr>
          <a:xfrm>
            <a:off x="0" y="1"/>
            <a:ext cx="12192000" cy="1039905"/>
            <a:chOff x="0" y="0"/>
            <a:chExt cx="14630400" cy="1524787"/>
          </a:xfrm>
        </p:grpSpPr>
        <p:sp>
          <p:nvSpPr>
            <p:cNvPr id="19" name="object 2"/>
            <p:cNvSpPr/>
            <p:nvPr userDrawn="1"/>
          </p:nvSpPr>
          <p:spPr>
            <a:xfrm>
              <a:off x="0" y="0"/>
              <a:ext cx="14630400" cy="139255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rgbClr val="00A651"/>
            </a:solidFill>
          </p:spPr>
          <p:txBody>
            <a:bodyPr wrap="square" lIns="0" tIns="0" rIns="0" bIns="0" rtlCol="0"/>
            <a:lstStyle/>
            <a:p>
              <a:pPr rtl="0"/>
              <a:endParaRPr lang="en-US" noProof="0"/>
            </a:p>
          </p:txBody>
        </p:sp>
        <p:sp>
          <p:nvSpPr>
            <p:cNvPr id="20" name="object 3"/>
            <p:cNvSpPr/>
            <p:nvPr userDrawn="1"/>
          </p:nvSpPr>
          <p:spPr>
            <a:xfrm>
              <a:off x="0" y="1392072"/>
              <a:ext cx="14630400" cy="132715"/>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rgbClr val="8EDB43"/>
            </a:solidFill>
          </p:spPr>
          <p:txBody>
            <a:bodyPr wrap="square" lIns="0" tIns="0" rIns="0" bIns="0" rtlCol="0"/>
            <a:lstStyle/>
            <a:p>
              <a:pPr rtl="0"/>
              <a:endParaRPr lang="en-US" noProof="0"/>
            </a:p>
          </p:txBody>
        </p:sp>
      </p:grpSp>
      <p:sp>
        <p:nvSpPr>
          <p:cNvPr id="24" name="Title 23"/>
          <p:cNvSpPr>
            <a:spLocks noGrp="1"/>
          </p:cNvSpPr>
          <p:nvPr>
            <p:ph type="title"/>
          </p:nvPr>
        </p:nvSpPr>
        <p:spPr>
          <a:xfrm>
            <a:off x="609231" y="168381"/>
            <a:ext cx="10952147" cy="623222"/>
          </a:xfrm>
        </p:spPr>
        <p:txBody>
          <a:bodyPr vert="horz" anchor="ctr">
            <a:noAutofit/>
          </a:bodyPr>
          <a:lstStyle>
            <a:lvl1pPr rtl="0">
              <a:lnSpc>
                <a:spcPct val="100000"/>
              </a:lnSpc>
              <a:defRPr lang="en-US" sz="3200" b="1" i="0" kern="1200" spc="-20" dirty="0">
                <a:solidFill>
                  <a:srgbClr val="FFFFFF"/>
                </a:solidFill>
                <a:latin typeface="Calibri" panose="020F0502020204030204" pitchFamily="34" charset="0"/>
                <a:ea typeface="+mn-ea"/>
                <a:cs typeface="Calibri" panose="020F0502020204030204" pitchFamily="34" charset="0"/>
              </a:defRPr>
            </a:lvl1pPr>
          </a:lstStyle>
          <a:p>
            <a:r>
              <a:rPr lang="en-US" noProof="0"/>
              <a:t>Click to edit Master title style</a:t>
            </a:r>
          </a:p>
        </p:txBody>
      </p:sp>
      <p:sp>
        <p:nvSpPr>
          <p:cNvPr id="82" name="Rectangle 81">
            <a:extLst>
              <a:ext uri="{FF2B5EF4-FFF2-40B4-BE49-F238E27FC236}">
                <a16:creationId xmlns:a16="http://schemas.microsoft.com/office/drawing/2014/main" id="{6AE7C059-651A-4F9A-AD92-86BE11B22658}"/>
              </a:ext>
            </a:extLst>
          </p:cNvPr>
          <p:cNvSpPr/>
          <p:nvPr userDrawn="1"/>
        </p:nvSpPr>
        <p:spPr>
          <a:xfrm>
            <a:off x="0" y="6570000"/>
            <a:ext cx="12192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100" noProof="0"/>
          </a:p>
        </p:txBody>
      </p:sp>
      <p:cxnSp>
        <p:nvCxnSpPr>
          <p:cNvPr id="83" name="Straight Connector 82">
            <a:extLst>
              <a:ext uri="{FF2B5EF4-FFF2-40B4-BE49-F238E27FC236}">
                <a16:creationId xmlns:a16="http://schemas.microsoft.com/office/drawing/2014/main" id="{EC2D924E-0B78-45DC-988F-D9A30326D037}"/>
              </a:ext>
            </a:extLst>
          </p:cNvPr>
          <p:cNvCxnSpPr/>
          <p:nvPr userDrawn="1"/>
        </p:nvCxnSpPr>
        <p:spPr>
          <a:xfrm>
            <a:off x="634587" y="6570000"/>
            <a:ext cx="0" cy="288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16CF3DEE-EBE1-452B-9E17-E8B375261A54}"/>
              </a:ext>
            </a:extLst>
          </p:cNvPr>
          <p:cNvSpPr txBox="1"/>
          <p:nvPr userDrawn="1"/>
        </p:nvSpPr>
        <p:spPr>
          <a:xfrm>
            <a:off x="806034" y="6650942"/>
            <a:ext cx="3896596" cy="123111"/>
          </a:xfrm>
          <a:prstGeom prst="rect">
            <a:avLst/>
          </a:prstGeom>
          <a:noFill/>
        </p:spPr>
        <p:txBody>
          <a:bodyPr wrap="square" lIns="0" tIns="0" rIns="0" bIns="0" rtlCol="0">
            <a:spAutoFit/>
          </a:bodyPr>
          <a:lstStyle/>
          <a:p>
            <a:pPr rtl="0"/>
            <a:r>
              <a:rPr lang="en-US" sz="800" spc="300" baseline="0" noProof="0">
                <a:solidFill>
                  <a:schemeClr val="bg1"/>
                </a:solidFill>
                <a:latin typeface="Leelawadee" panose="020B0502040204020203" pitchFamily="34" charset="-34"/>
                <a:cs typeface="Leelawadee" panose="020B0502040204020203" pitchFamily="34" charset="-34"/>
              </a:rPr>
              <a:t>CONFIDENTIAL &amp; PROPRIETARY</a:t>
            </a:r>
          </a:p>
        </p:txBody>
      </p:sp>
      <p:sp>
        <p:nvSpPr>
          <p:cNvPr id="85" name="Rectangle 84">
            <a:hlinkClick r:id="" action="ppaction://noaction"/>
            <a:extLst>
              <a:ext uri="{FF2B5EF4-FFF2-40B4-BE49-F238E27FC236}">
                <a16:creationId xmlns:a16="http://schemas.microsoft.com/office/drawing/2014/main" id="{8D6FC318-9B06-4760-B18F-BEDA8D21C188}"/>
              </a:ext>
            </a:extLst>
          </p:cNvPr>
          <p:cNvSpPr/>
          <p:nvPr userDrawn="1"/>
        </p:nvSpPr>
        <p:spPr>
          <a:xfrm>
            <a:off x="5214721" y="6579908"/>
            <a:ext cx="1147937"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lnSpc>
                <a:spcPct val="90000"/>
              </a:lnSpc>
            </a:pPr>
            <a:r>
              <a:rPr lang="en-GB" sz="800" b="0">
                <a:solidFill>
                  <a:schemeClr val="bg1">
                    <a:alpha val="50000"/>
                  </a:schemeClr>
                </a:solidFill>
                <a:latin typeface="Leelawadee" panose="020B0502040204020203" pitchFamily="34" charset="-34"/>
                <a:cs typeface="Leelawadee" panose="020B0502040204020203" pitchFamily="34" charset="-34"/>
              </a:rPr>
              <a:t>Intro &amp; objectives</a:t>
            </a:r>
          </a:p>
        </p:txBody>
      </p:sp>
      <p:sp>
        <p:nvSpPr>
          <p:cNvPr id="86" name="Rectangle 85">
            <a:hlinkClick r:id="rId5" action="ppaction://hlinksldjump"/>
            <a:extLst>
              <a:ext uri="{FF2B5EF4-FFF2-40B4-BE49-F238E27FC236}">
                <a16:creationId xmlns:a16="http://schemas.microsoft.com/office/drawing/2014/main" id="{B835E26E-3FE7-4E70-AEA7-CCE097A408DF}"/>
              </a:ext>
            </a:extLst>
          </p:cNvPr>
          <p:cNvSpPr/>
          <p:nvPr userDrawn="1"/>
        </p:nvSpPr>
        <p:spPr>
          <a:xfrm>
            <a:off x="6367021" y="6579908"/>
            <a:ext cx="1126055"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US" sz="800" b="0" noProof="0">
                <a:solidFill>
                  <a:schemeClr val="bg1">
                    <a:alpha val="50000"/>
                  </a:schemeClr>
                </a:solidFill>
                <a:latin typeface="Leelawadee" panose="020B0502040204020203" pitchFamily="34" charset="-34"/>
                <a:cs typeface="Leelawadee" panose="020B0502040204020203" pitchFamily="34" charset="-34"/>
              </a:rPr>
              <a:t>Introducing pep+ </a:t>
            </a:r>
            <a:br>
              <a:rPr lang="en-US" sz="800" b="0" noProof="0">
                <a:solidFill>
                  <a:schemeClr val="bg1">
                    <a:alpha val="50000"/>
                  </a:schemeClr>
                </a:solidFill>
                <a:latin typeface="Leelawadee" panose="020B0502040204020203" pitchFamily="34" charset="-34"/>
                <a:cs typeface="Leelawadee" panose="020B0502040204020203" pitchFamily="34" charset="-34"/>
              </a:rPr>
            </a:br>
            <a:r>
              <a:rPr lang="en-US" sz="800" b="0" noProof="0">
                <a:solidFill>
                  <a:schemeClr val="bg1">
                    <a:alpha val="50000"/>
                  </a:schemeClr>
                </a:solidFill>
                <a:latin typeface="Leelawadee" panose="020B0502040204020203" pitchFamily="34" charset="-34"/>
                <a:cs typeface="Leelawadee" panose="020B0502040204020203" pitchFamily="34" charset="-34"/>
              </a:rPr>
              <a:t>to Customers</a:t>
            </a:r>
          </a:p>
        </p:txBody>
      </p:sp>
      <p:sp>
        <p:nvSpPr>
          <p:cNvPr id="87" name="Rectangle 86">
            <a:hlinkClick r:id="" action="ppaction://noaction"/>
            <a:extLst>
              <a:ext uri="{FF2B5EF4-FFF2-40B4-BE49-F238E27FC236}">
                <a16:creationId xmlns:a16="http://schemas.microsoft.com/office/drawing/2014/main" id="{566902A7-B875-40DD-808A-F54FC9DD1FB8}"/>
              </a:ext>
            </a:extLst>
          </p:cNvPr>
          <p:cNvSpPr/>
          <p:nvPr userDrawn="1"/>
        </p:nvSpPr>
        <p:spPr>
          <a:xfrm>
            <a:off x="7510981" y="6579908"/>
            <a:ext cx="967705"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US" sz="800" b="0" noProof="0">
                <a:solidFill>
                  <a:schemeClr val="bg1">
                    <a:alpha val="50000"/>
                  </a:schemeClr>
                </a:solidFill>
                <a:latin typeface="Leelawadee" panose="020B0502040204020203" pitchFamily="34" charset="-34"/>
                <a:cs typeface="Leelawadee" panose="020B0502040204020203" pitchFamily="34" charset="-34"/>
              </a:rPr>
              <a:t>Exploring </a:t>
            </a:r>
            <a:br>
              <a:rPr lang="en-US" sz="800" b="0" noProof="0">
                <a:solidFill>
                  <a:schemeClr val="bg1">
                    <a:alpha val="50000"/>
                  </a:schemeClr>
                </a:solidFill>
                <a:latin typeface="Leelawadee" panose="020B0502040204020203" pitchFamily="34" charset="-34"/>
                <a:cs typeface="Leelawadee" panose="020B0502040204020203" pitchFamily="34" charset="-34"/>
              </a:rPr>
            </a:br>
            <a:r>
              <a:rPr lang="en-US" sz="800" b="0" noProof="0">
                <a:solidFill>
                  <a:schemeClr val="bg1">
                    <a:alpha val="50000"/>
                  </a:schemeClr>
                </a:solidFill>
                <a:latin typeface="Leelawadee" panose="020B0502040204020203" pitchFamily="34" charset="-34"/>
                <a:cs typeface="Leelawadee" panose="020B0502040204020203" pitchFamily="34" charset="-34"/>
              </a:rPr>
              <a:t>pep+ areas</a:t>
            </a:r>
          </a:p>
        </p:txBody>
      </p:sp>
      <p:sp>
        <p:nvSpPr>
          <p:cNvPr id="88" name="Rectangle 87">
            <a:hlinkClick r:id="" action="ppaction://noaction"/>
            <a:hlinkHover r:id="" action="ppaction://noaction" highlightClick="1"/>
            <a:extLst>
              <a:ext uri="{FF2B5EF4-FFF2-40B4-BE49-F238E27FC236}">
                <a16:creationId xmlns:a16="http://schemas.microsoft.com/office/drawing/2014/main" id="{AA110ADE-3C16-46D9-A560-1579AA0964F8}"/>
              </a:ext>
            </a:extLst>
          </p:cNvPr>
          <p:cNvSpPr/>
          <p:nvPr userDrawn="1"/>
        </p:nvSpPr>
        <p:spPr>
          <a:xfrm>
            <a:off x="8544692" y="6579908"/>
            <a:ext cx="994577"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GB" sz="800" b="0" noProof="0">
                <a:solidFill>
                  <a:schemeClr val="bg1">
                    <a:alpha val="50000"/>
                  </a:schemeClr>
                </a:solidFill>
                <a:latin typeface="Leelawadee" panose="020B0502040204020203" pitchFamily="34" charset="-34"/>
                <a:cs typeface="Leelawadee" panose="020B0502040204020203" pitchFamily="34" charset="-34"/>
              </a:rPr>
              <a:t>pep+ Customer Engagement</a:t>
            </a:r>
          </a:p>
        </p:txBody>
      </p:sp>
      <p:cxnSp>
        <p:nvCxnSpPr>
          <p:cNvPr id="89" name="Straight Connector 88">
            <a:extLst>
              <a:ext uri="{FF2B5EF4-FFF2-40B4-BE49-F238E27FC236}">
                <a16:creationId xmlns:a16="http://schemas.microsoft.com/office/drawing/2014/main" id="{107FDDBC-FAA6-40D1-97D8-2BE74B737329}"/>
              </a:ext>
            </a:extLst>
          </p:cNvPr>
          <p:cNvCxnSpPr/>
          <p:nvPr userDrawn="1"/>
        </p:nvCxnSpPr>
        <p:spPr>
          <a:xfrm>
            <a:off x="9539270"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D9D7D75B-6FC3-42C7-9687-FDAD491A464B}"/>
              </a:ext>
            </a:extLst>
          </p:cNvPr>
          <p:cNvCxnSpPr/>
          <p:nvPr userDrawn="1"/>
        </p:nvCxnSpPr>
        <p:spPr>
          <a:xfrm>
            <a:off x="848143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50A4771B-F9D3-493B-B6DD-5A2AE169C0D2}"/>
              </a:ext>
            </a:extLst>
          </p:cNvPr>
          <p:cNvCxnSpPr/>
          <p:nvPr userDrawn="1"/>
        </p:nvCxnSpPr>
        <p:spPr>
          <a:xfrm>
            <a:off x="7493596"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64042F56-68A1-4F23-8340-DC31C7EE8016}"/>
              </a:ext>
            </a:extLst>
          </p:cNvPr>
          <p:cNvCxnSpPr/>
          <p:nvPr userDrawn="1"/>
        </p:nvCxnSpPr>
        <p:spPr>
          <a:xfrm>
            <a:off x="636702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5115AFF-26C6-484B-83AF-FDE838CFC798}"/>
              </a:ext>
            </a:extLst>
          </p:cNvPr>
          <p:cNvCxnSpPr/>
          <p:nvPr userDrawn="1"/>
        </p:nvCxnSpPr>
        <p:spPr>
          <a:xfrm>
            <a:off x="11186336"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nvGrpSpPr>
          <p:cNvPr id="94" name="Group 93">
            <a:extLst>
              <a:ext uri="{FF2B5EF4-FFF2-40B4-BE49-F238E27FC236}">
                <a16:creationId xmlns:a16="http://schemas.microsoft.com/office/drawing/2014/main" id="{895863B6-42DA-468A-91AD-918D189854DD}"/>
              </a:ext>
            </a:extLst>
          </p:cNvPr>
          <p:cNvGrpSpPr/>
          <p:nvPr userDrawn="1"/>
        </p:nvGrpSpPr>
        <p:grpSpPr>
          <a:xfrm>
            <a:off x="11393217" y="6628477"/>
            <a:ext cx="473369" cy="183554"/>
            <a:chOff x="11393217" y="6628477"/>
            <a:chExt cx="473369" cy="183554"/>
          </a:xfrm>
        </p:grpSpPr>
        <p:sp>
          <p:nvSpPr>
            <p:cNvPr id="95" name="Freeform: Shape 94">
              <a:extLst>
                <a:ext uri="{FF2B5EF4-FFF2-40B4-BE49-F238E27FC236}">
                  <a16:creationId xmlns:a16="http://schemas.microsoft.com/office/drawing/2014/main" id="{5FDD2268-E79C-40A8-981F-0728760C5723}"/>
                </a:ext>
              </a:extLst>
            </p:cNvPr>
            <p:cNvSpPr/>
            <p:nvPr/>
          </p:nvSpPr>
          <p:spPr>
            <a:xfrm>
              <a:off x="11432435" y="6628477"/>
              <a:ext cx="90651" cy="18332"/>
            </a:xfrm>
            <a:custGeom>
              <a:avLst/>
              <a:gdLst>
                <a:gd name="connsiteX0" fmla="*/ 11746 w 160635"/>
                <a:gd name="connsiteY0" fmla="*/ 19438 h 32484"/>
                <a:gd name="connsiteX1" fmla="*/ 53842 w 160635"/>
                <a:gd name="connsiteY1" fmla="*/ 32138 h 32484"/>
                <a:gd name="connsiteX2" fmla="*/ 96443 w 160635"/>
                <a:gd name="connsiteY2" fmla="*/ 19438 h 32484"/>
                <a:gd name="connsiteX3" fmla="*/ 138646 w 160635"/>
                <a:gd name="connsiteY3" fmla="*/ 32138 h 32484"/>
                <a:gd name="connsiteX4" fmla="*/ 161624 w 160635"/>
                <a:gd name="connsiteY4" fmla="*/ 25721 h 32484"/>
                <a:gd name="connsiteX5" fmla="*/ 78205 w 160635"/>
                <a:gd name="connsiteY5" fmla="*/ -345 h 32484"/>
                <a:gd name="connsiteX6" fmla="*/ 989 w 160635"/>
                <a:gd name="connsiteY6" fmla="*/ 21648 h 32484"/>
                <a:gd name="connsiteX7" fmla="*/ 11879 w 160635"/>
                <a:gd name="connsiteY7" fmla="*/ 19438 h 3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635" h="32484">
                  <a:moveTo>
                    <a:pt x="11746" y="19438"/>
                  </a:moveTo>
                  <a:cubicBezTo>
                    <a:pt x="29798" y="19438"/>
                    <a:pt x="34671" y="32138"/>
                    <a:pt x="53842" y="32138"/>
                  </a:cubicBezTo>
                  <a:cubicBezTo>
                    <a:pt x="73012" y="32138"/>
                    <a:pt x="77645" y="19438"/>
                    <a:pt x="96443" y="19438"/>
                  </a:cubicBezTo>
                  <a:cubicBezTo>
                    <a:pt x="113644" y="19438"/>
                    <a:pt x="120700" y="32138"/>
                    <a:pt x="138646" y="32138"/>
                  </a:cubicBezTo>
                  <a:cubicBezTo>
                    <a:pt x="146732" y="32029"/>
                    <a:pt x="154651" y="29819"/>
                    <a:pt x="161624" y="25721"/>
                  </a:cubicBezTo>
                  <a:cubicBezTo>
                    <a:pt x="137136" y="8707"/>
                    <a:pt x="108023" y="-388"/>
                    <a:pt x="78205" y="-345"/>
                  </a:cubicBezTo>
                  <a:cubicBezTo>
                    <a:pt x="50915" y="-377"/>
                    <a:pt x="24164" y="7240"/>
                    <a:pt x="989" y="21648"/>
                  </a:cubicBezTo>
                  <a:cubicBezTo>
                    <a:pt x="4440" y="20210"/>
                    <a:pt x="8140" y="19459"/>
                    <a:pt x="11879" y="19438"/>
                  </a:cubicBezTo>
                </a:path>
              </a:pathLst>
            </a:custGeom>
            <a:solidFill>
              <a:srgbClr val="4FE3F2"/>
            </a:solidFill>
            <a:ln w="2661" cap="flat">
              <a:noFill/>
              <a:prstDash val="solid"/>
              <a:miter/>
            </a:ln>
          </p:spPr>
          <p:txBody>
            <a:bodyPr rtlCol="0" anchor="ctr"/>
            <a:lstStyle/>
            <a:p>
              <a:endParaRPr lang="pl-PL"/>
            </a:p>
          </p:txBody>
        </p:sp>
        <p:sp>
          <p:nvSpPr>
            <p:cNvPr id="96" name="Freeform: Shape 95">
              <a:extLst>
                <a:ext uri="{FF2B5EF4-FFF2-40B4-BE49-F238E27FC236}">
                  <a16:creationId xmlns:a16="http://schemas.microsoft.com/office/drawing/2014/main" id="{6A83D0A0-BEB8-4AF9-A713-8E2183B2381C}"/>
                </a:ext>
              </a:extLst>
            </p:cNvPr>
            <p:cNvSpPr/>
            <p:nvPr/>
          </p:nvSpPr>
          <p:spPr>
            <a:xfrm>
              <a:off x="11432374" y="6628522"/>
              <a:ext cx="90726" cy="18332"/>
            </a:xfrm>
            <a:custGeom>
              <a:avLst/>
              <a:gdLst>
                <a:gd name="connsiteX0" fmla="*/ 78205 w 160768"/>
                <a:gd name="connsiteY0" fmla="*/ -345 h 32484"/>
                <a:gd name="connsiteX1" fmla="*/ 989 w 160768"/>
                <a:gd name="connsiteY1" fmla="*/ 21648 h 32484"/>
                <a:gd name="connsiteX2" fmla="*/ 11879 w 160768"/>
                <a:gd name="connsiteY2" fmla="*/ 19438 h 32484"/>
                <a:gd name="connsiteX3" fmla="*/ 53975 w 160768"/>
                <a:gd name="connsiteY3" fmla="*/ 32138 h 32484"/>
                <a:gd name="connsiteX4" fmla="*/ 96577 w 160768"/>
                <a:gd name="connsiteY4" fmla="*/ 19438 h 32484"/>
                <a:gd name="connsiteX5" fmla="*/ 138806 w 160768"/>
                <a:gd name="connsiteY5" fmla="*/ 32138 h 32484"/>
                <a:gd name="connsiteX6" fmla="*/ 161757 w 160768"/>
                <a:gd name="connsiteY6" fmla="*/ 25722 h 32484"/>
                <a:gd name="connsiteX7" fmla="*/ 78338 w 160768"/>
                <a:gd name="connsiteY7" fmla="*/ -345 h 3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8" h="32484">
                  <a:moveTo>
                    <a:pt x="78205" y="-345"/>
                  </a:moveTo>
                  <a:cubicBezTo>
                    <a:pt x="50915" y="-377"/>
                    <a:pt x="24164" y="7240"/>
                    <a:pt x="989" y="21648"/>
                  </a:cubicBezTo>
                  <a:cubicBezTo>
                    <a:pt x="4439" y="20210"/>
                    <a:pt x="8140" y="19459"/>
                    <a:pt x="11879" y="19438"/>
                  </a:cubicBezTo>
                  <a:cubicBezTo>
                    <a:pt x="29931" y="19438"/>
                    <a:pt x="34804" y="32138"/>
                    <a:pt x="53975" y="32138"/>
                  </a:cubicBezTo>
                  <a:cubicBezTo>
                    <a:pt x="73146" y="32138"/>
                    <a:pt x="77778" y="19438"/>
                    <a:pt x="96577" y="19438"/>
                  </a:cubicBezTo>
                  <a:cubicBezTo>
                    <a:pt x="113777" y="19438"/>
                    <a:pt x="120833" y="32138"/>
                    <a:pt x="138806" y="32138"/>
                  </a:cubicBezTo>
                  <a:cubicBezTo>
                    <a:pt x="146884" y="32027"/>
                    <a:pt x="154792" y="29814"/>
                    <a:pt x="161757" y="25722"/>
                  </a:cubicBezTo>
                  <a:cubicBezTo>
                    <a:pt x="137269" y="8707"/>
                    <a:pt x="108156" y="-388"/>
                    <a:pt x="78338" y="-345"/>
                  </a:cubicBezTo>
                </a:path>
              </a:pathLst>
            </a:custGeom>
            <a:solidFill>
              <a:srgbClr val="BAF2FA"/>
            </a:solidFill>
            <a:ln w="2661" cap="flat">
              <a:noFill/>
              <a:prstDash val="solid"/>
              <a:miter/>
            </a:ln>
          </p:spPr>
          <p:txBody>
            <a:bodyPr rtlCol="0" anchor="ctr"/>
            <a:lstStyle/>
            <a:p>
              <a:endParaRPr lang="pl-PL"/>
            </a:p>
          </p:txBody>
        </p:sp>
        <p:sp>
          <p:nvSpPr>
            <p:cNvPr id="97" name="Freeform: Shape 96">
              <a:extLst>
                <a:ext uri="{FF2B5EF4-FFF2-40B4-BE49-F238E27FC236}">
                  <a16:creationId xmlns:a16="http://schemas.microsoft.com/office/drawing/2014/main" id="{58058360-049A-473E-B627-2625BF43CFBB}"/>
                </a:ext>
              </a:extLst>
            </p:cNvPr>
            <p:cNvSpPr/>
            <p:nvPr/>
          </p:nvSpPr>
          <p:spPr>
            <a:xfrm>
              <a:off x="11427415" y="6639597"/>
              <a:ext cx="108562" cy="21802"/>
            </a:xfrm>
            <a:custGeom>
              <a:avLst/>
              <a:gdLst>
                <a:gd name="connsiteX0" fmla="*/ 105230 w 192373"/>
                <a:gd name="connsiteY0" fmla="*/ -266 h 38634"/>
                <a:gd name="connsiteX1" fmla="*/ 62628 w 192373"/>
                <a:gd name="connsiteY1" fmla="*/ 12435 h 38634"/>
                <a:gd name="connsiteX2" fmla="*/ 20532 w 192373"/>
                <a:gd name="connsiteY2" fmla="*/ -266 h 38634"/>
                <a:gd name="connsiteX3" fmla="*/ 9642 w 192373"/>
                <a:gd name="connsiteY3" fmla="*/ 1944 h 38634"/>
                <a:gd name="connsiteX4" fmla="*/ 989 w 192373"/>
                <a:gd name="connsiteY4" fmla="*/ 7775 h 38634"/>
                <a:gd name="connsiteX5" fmla="*/ 21171 w 192373"/>
                <a:gd name="connsiteY5" fmla="*/ 25615 h 38634"/>
                <a:gd name="connsiteX6" fmla="*/ 62628 w 192373"/>
                <a:gd name="connsiteY6" fmla="*/ 38289 h 38634"/>
                <a:gd name="connsiteX7" fmla="*/ 105230 w 192373"/>
                <a:gd name="connsiteY7" fmla="*/ 25588 h 38634"/>
                <a:gd name="connsiteX8" fmla="*/ 147459 w 192373"/>
                <a:gd name="connsiteY8" fmla="*/ 38289 h 38634"/>
                <a:gd name="connsiteX9" fmla="*/ 190700 w 192373"/>
                <a:gd name="connsiteY9" fmla="*/ 25588 h 38634"/>
                <a:gd name="connsiteX10" fmla="*/ 193363 w 192373"/>
                <a:gd name="connsiteY10" fmla="*/ 25588 h 38634"/>
                <a:gd name="connsiteX11" fmla="*/ 170438 w 192373"/>
                <a:gd name="connsiteY11" fmla="*/ 5938 h 38634"/>
                <a:gd name="connsiteX12" fmla="*/ 147486 w 192373"/>
                <a:gd name="connsiteY12" fmla="*/ 12355 h 38634"/>
                <a:gd name="connsiteX13" fmla="*/ 105257 w 192373"/>
                <a:gd name="connsiteY13" fmla="*/ -346 h 38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2373" h="38634">
                  <a:moveTo>
                    <a:pt x="105230" y="-266"/>
                  </a:moveTo>
                  <a:cubicBezTo>
                    <a:pt x="86592" y="-266"/>
                    <a:pt x="81799" y="12435"/>
                    <a:pt x="62628" y="12435"/>
                  </a:cubicBezTo>
                  <a:cubicBezTo>
                    <a:pt x="43457" y="12435"/>
                    <a:pt x="38665" y="-266"/>
                    <a:pt x="20532" y="-266"/>
                  </a:cubicBezTo>
                  <a:cubicBezTo>
                    <a:pt x="16794" y="-244"/>
                    <a:pt x="13093" y="506"/>
                    <a:pt x="9642" y="1944"/>
                  </a:cubicBezTo>
                  <a:cubicBezTo>
                    <a:pt x="6687" y="3781"/>
                    <a:pt x="3785" y="5725"/>
                    <a:pt x="989" y="7775"/>
                  </a:cubicBezTo>
                  <a:cubicBezTo>
                    <a:pt x="8031" y="13356"/>
                    <a:pt x="14768" y="19312"/>
                    <a:pt x="21171" y="25615"/>
                  </a:cubicBezTo>
                  <a:cubicBezTo>
                    <a:pt x="38691" y="25908"/>
                    <a:pt x="43697" y="38289"/>
                    <a:pt x="62628" y="38289"/>
                  </a:cubicBezTo>
                  <a:cubicBezTo>
                    <a:pt x="81559" y="38289"/>
                    <a:pt x="86432" y="25588"/>
                    <a:pt x="105230" y="25588"/>
                  </a:cubicBezTo>
                  <a:cubicBezTo>
                    <a:pt x="122431" y="25588"/>
                    <a:pt x="129487" y="38289"/>
                    <a:pt x="147459" y="38289"/>
                  </a:cubicBezTo>
                  <a:cubicBezTo>
                    <a:pt x="167456" y="38289"/>
                    <a:pt x="173872" y="25588"/>
                    <a:pt x="190700" y="25588"/>
                  </a:cubicBezTo>
                  <a:cubicBezTo>
                    <a:pt x="191632" y="25588"/>
                    <a:pt x="192484" y="25588"/>
                    <a:pt x="193363" y="25588"/>
                  </a:cubicBezTo>
                  <a:cubicBezTo>
                    <a:pt x="186416" y="18269"/>
                    <a:pt x="178734" y="11684"/>
                    <a:pt x="170438" y="5938"/>
                  </a:cubicBezTo>
                  <a:cubicBezTo>
                    <a:pt x="163472" y="10031"/>
                    <a:pt x="155564" y="12243"/>
                    <a:pt x="147486" y="12355"/>
                  </a:cubicBezTo>
                  <a:cubicBezTo>
                    <a:pt x="129513" y="12355"/>
                    <a:pt x="122457" y="-346"/>
                    <a:pt x="105257" y="-346"/>
                  </a:cubicBezTo>
                </a:path>
              </a:pathLst>
            </a:custGeom>
            <a:solidFill>
              <a:srgbClr val="4FE3F2"/>
            </a:solidFill>
            <a:ln w="2661" cap="flat">
              <a:noFill/>
              <a:prstDash val="solid"/>
              <a:miter/>
            </a:ln>
          </p:spPr>
          <p:txBody>
            <a:bodyPr rtlCol="0" anchor="ctr"/>
            <a:lstStyle/>
            <a:p>
              <a:endParaRPr lang="pl-PL"/>
            </a:p>
          </p:txBody>
        </p:sp>
        <p:sp>
          <p:nvSpPr>
            <p:cNvPr id="98" name="Freeform: Shape 97">
              <a:extLst>
                <a:ext uri="{FF2B5EF4-FFF2-40B4-BE49-F238E27FC236}">
                  <a16:creationId xmlns:a16="http://schemas.microsoft.com/office/drawing/2014/main" id="{B22121FC-3655-429B-BA4A-D7C0BF079843}"/>
                </a:ext>
              </a:extLst>
            </p:cNvPr>
            <p:cNvSpPr/>
            <p:nvPr/>
          </p:nvSpPr>
          <p:spPr>
            <a:xfrm>
              <a:off x="11438745" y="6654277"/>
              <a:ext cx="111537" cy="22389"/>
            </a:xfrm>
            <a:custGeom>
              <a:avLst/>
              <a:gdLst>
                <a:gd name="connsiteX0" fmla="*/ 127250 w 197645"/>
                <a:gd name="connsiteY0" fmla="*/ 12355 h 39673"/>
                <a:gd name="connsiteX1" fmla="*/ 85048 w 197645"/>
                <a:gd name="connsiteY1" fmla="*/ -346 h 39673"/>
                <a:gd name="connsiteX2" fmla="*/ 42446 w 197645"/>
                <a:gd name="connsiteY2" fmla="*/ 12355 h 39673"/>
                <a:gd name="connsiteX3" fmla="*/ 989 w 197645"/>
                <a:gd name="connsiteY3" fmla="*/ -319 h 39673"/>
                <a:gd name="connsiteX4" fmla="*/ 24233 w 197645"/>
                <a:gd name="connsiteY4" fmla="*/ 25881 h 39673"/>
                <a:gd name="connsiteX5" fmla="*/ 33100 w 197645"/>
                <a:gd name="connsiteY5" fmla="*/ 38209 h 39673"/>
                <a:gd name="connsiteX6" fmla="*/ 42446 w 197645"/>
                <a:gd name="connsiteY6" fmla="*/ 39327 h 39673"/>
                <a:gd name="connsiteX7" fmla="*/ 85048 w 197645"/>
                <a:gd name="connsiteY7" fmla="*/ 26627 h 39673"/>
                <a:gd name="connsiteX8" fmla="*/ 127250 w 197645"/>
                <a:gd name="connsiteY8" fmla="*/ 39327 h 39673"/>
                <a:gd name="connsiteX9" fmla="*/ 170517 w 197645"/>
                <a:gd name="connsiteY9" fmla="*/ 26627 h 39673"/>
                <a:gd name="connsiteX10" fmla="*/ 198635 w 197645"/>
                <a:gd name="connsiteY10" fmla="*/ 36478 h 39673"/>
                <a:gd name="connsiteX11" fmla="*/ 173153 w 197645"/>
                <a:gd name="connsiteY11" fmla="*/ -266 h 39673"/>
                <a:gd name="connsiteX12" fmla="*/ 170491 w 197645"/>
                <a:gd name="connsiteY12" fmla="*/ -266 h 39673"/>
                <a:gd name="connsiteX13" fmla="*/ 127223 w 197645"/>
                <a:gd name="connsiteY13" fmla="*/ 12435 h 39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7645" h="39673">
                  <a:moveTo>
                    <a:pt x="127250" y="12355"/>
                  </a:moveTo>
                  <a:cubicBezTo>
                    <a:pt x="109304" y="12355"/>
                    <a:pt x="102248" y="-346"/>
                    <a:pt x="85048" y="-346"/>
                  </a:cubicBezTo>
                  <a:cubicBezTo>
                    <a:pt x="66409" y="-346"/>
                    <a:pt x="61616" y="12355"/>
                    <a:pt x="42446" y="12355"/>
                  </a:cubicBezTo>
                  <a:cubicBezTo>
                    <a:pt x="23275" y="12355"/>
                    <a:pt x="18482" y="-26"/>
                    <a:pt x="989" y="-319"/>
                  </a:cubicBezTo>
                  <a:cubicBezTo>
                    <a:pt x="9333" y="7866"/>
                    <a:pt x="17100" y="16621"/>
                    <a:pt x="24233" y="25881"/>
                  </a:cubicBezTo>
                  <a:cubicBezTo>
                    <a:pt x="27295" y="29902"/>
                    <a:pt x="30277" y="34002"/>
                    <a:pt x="33100" y="38209"/>
                  </a:cubicBezTo>
                  <a:cubicBezTo>
                    <a:pt x="36157" y="38971"/>
                    <a:pt x="39296" y="39346"/>
                    <a:pt x="42446" y="39327"/>
                  </a:cubicBezTo>
                  <a:cubicBezTo>
                    <a:pt x="61510" y="39327"/>
                    <a:pt x="66249" y="26627"/>
                    <a:pt x="85048" y="26627"/>
                  </a:cubicBezTo>
                  <a:cubicBezTo>
                    <a:pt x="102248" y="26627"/>
                    <a:pt x="109304" y="39327"/>
                    <a:pt x="127250" y="39327"/>
                  </a:cubicBezTo>
                  <a:cubicBezTo>
                    <a:pt x="147273" y="39327"/>
                    <a:pt x="153690" y="26627"/>
                    <a:pt x="170517" y="26627"/>
                  </a:cubicBezTo>
                  <a:cubicBezTo>
                    <a:pt x="184283" y="26627"/>
                    <a:pt x="189635" y="32245"/>
                    <a:pt x="198635" y="36478"/>
                  </a:cubicBezTo>
                  <a:cubicBezTo>
                    <a:pt x="192063" y="23003"/>
                    <a:pt x="183471" y="10611"/>
                    <a:pt x="173153" y="-266"/>
                  </a:cubicBezTo>
                  <a:cubicBezTo>
                    <a:pt x="172301" y="-266"/>
                    <a:pt x="171449" y="-266"/>
                    <a:pt x="170491" y="-266"/>
                  </a:cubicBezTo>
                  <a:cubicBezTo>
                    <a:pt x="153663" y="-266"/>
                    <a:pt x="147246" y="12435"/>
                    <a:pt x="127223" y="12435"/>
                  </a:cubicBezTo>
                </a:path>
              </a:pathLst>
            </a:custGeom>
            <a:solidFill>
              <a:srgbClr val="0066E5"/>
            </a:solidFill>
            <a:ln w="2661" cap="flat">
              <a:noFill/>
              <a:prstDash val="solid"/>
              <a:miter/>
            </a:ln>
          </p:spPr>
          <p:txBody>
            <a:bodyPr rtlCol="0" anchor="ctr"/>
            <a:lstStyle/>
            <a:p>
              <a:endParaRPr lang="pl-PL"/>
            </a:p>
          </p:txBody>
        </p:sp>
        <p:sp>
          <p:nvSpPr>
            <p:cNvPr id="99" name="Freeform: Shape 98">
              <a:extLst>
                <a:ext uri="{FF2B5EF4-FFF2-40B4-BE49-F238E27FC236}">
                  <a16:creationId xmlns:a16="http://schemas.microsoft.com/office/drawing/2014/main" id="{AE1E42D5-9637-414C-8EF4-BE1CDFE5668C}"/>
                </a:ext>
              </a:extLst>
            </p:cNvPr>
            <p:cNvSpPr/>
            <p:nvPr/>
          </p:nvSpPr>
          <p:spPr>
            <a:xfrm>
              <a:off x="11456867" y="6669498"/>
              <a:ext cx="99186" cy="29390"/>
            </a:xfrm>
            <a:custGeom>
              <a:avLst/>
              <a:gdLst>
                <a:gd name="connsiteX0" fmla="*/ 95139 w 175759"/>
                <a:gd name="connsiteY0" fmla="*/ 12355 h 52080"/>
                <a:gd name="connsiteX1" fmla="*/ 52936 w 175759"/>
                <a:gd name="connsiteY1" fmla="*/ -346 h 52080"/>
                <a:gd name="connsiteX2" fmla="*/ 10335 w 175759"/>
                <a:gd name="connsiteY2" fmla="*/ 12355 h 52080"/>
                <a:gd name="connsiteX3" fmla="*/ 989 w 175759"/>
                <a:gd name="connsiteY3" fmla="*/ 11210 h 52080"/>
                <a:gd name="connsiteX4" fmla="*/ 23248 w 175759"/>
                <a:gd name="connsiteY4" fmla="*/ 51735 h 52080"/>
                <a:gd name="connsiteX5" fmla="*/ 22929 w 175759"/>
                <a:gd name="connsiteY5" fmla="*/ 50963 h 52080"/>
                <a:gd name="connsiteX6" fmla="*/ 110183 w 175759"/>
                <a:gd name="connsiteY6" fmla="*/ 22633 h 52080"/>
                <a:gd name="connsiteX7" fmla="*/ 176748 w 175759"/>
                <a:gd name="connsiteY7" fmla="*/ 38262 h 52080"/>
                <a:gd name="connsiteX8" fmla="*/ 166310 w 175759"/>
                <a:gd name="connsiteY8" fmla="*/ 9506 h 52080"/>
                <a:gd name="connsiteX9" fmla="*/ 138193 w 175759"/>
                <a:gd name="connsiteY9" fmla="*/ -346 h 52080"/>
                <a:gd name="connsiteX10" fmla="*/ 94926 w 175759"/>
                <a:gd name="connsiteY10" fmla="*/ 12355 h 52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5759" h="52080">
                  <a:moveTo>
                    <a:pt x="95139" y="12355"/>
                  </a:moveTo>
                  <a:cubicBezTo>
                    <a:pt x="77193" y="12355"/>
                    <a:pt x="70137" y="-346"/>
                    <a:pt x="52936" y="-346"/>
                  </a:cubicBezTo>
                  <a:cubicBezTo>
                    <a:pt x="34298" y="-346"/>
                    <a:pt x="29505" y="12355"/>
                    <a:pt x="10335" y="12355"/>
                  </a:cubicBezTo>
                  <a:cubicBezTo>
                    <a:pt x="7182" y="12379"/>
                    <a:pt x="4043" y="11993"/>
                    <a:pt x="989" y="11210"/>
                  </a:cubicBezTo>
                  <a:cubicBezTo>
                    <a:pt x="9634" y="24007"/>
                    <a:pt x="17087" y="37573"/>
                    <a:pt x="23248" y="51735"/>
                  </a:cubicBezTo>
                  <a:lnTo>
                    <a:pt x="22929" y="50963"/>
                  </a:lnTo>
                  <a:cubicBezTo>
                    <a:pt x="48205" y="32375"/>
                    <a:pt x="78806" y="22438"/>
                    <a:pt x="110183" y="22633"/>
                  </a:cubicBezTo>
                  <a:cubicBezTo>
                    <a:pt x="133286" y="22574"/>
                    <a:pt x="156083" y="27926"/>
                    <a:pt x="176748" y="38262"/>
                  </a:cubicBezTo>
                  <a:cubicBezTo>
                    <a:pt x="174298" y="28333"/>
                    <a:pt x="170800" y="18695"/>
                    <a:pt x="166310" y="9506"/>
                  </a:cubicBezTo>
                  <a:cubicBezTo>
                    <a:pt x="157311" y="5273"/>
                    <a:pt x="151959" y="-346"/>
                    <a:pt x="138193" y="-346"/>
                  </a:cubicBezTo>
                  <a:cubicBezTo>
                    <a:pt x="121365" y="-346"/>
                    <a:pt x="114949" y="12355"/>
                    <a:pt x="94926" y="12355"/>
                  </a:cubicBezTo>
                </a:path>
              </a:pathLst>
            </a:custGeom>
            <a:solidFill>
              <a:srgbClr val="143DCF"/>
            </a:solidFill>
            <a:ln w="2661" cap="flat">
              <a:noFill/>
              <a:prstDash val="solid"/>
              <a:miter/>
            </a:ln>
          </p:spPr>
          <p:txBody>
            <a:bodyPr rtlCol="0" anchor="ctr"/>
            <a:lstStyle/>
            <a:p>
              <a:endParaRPr lang="pl-PL"/>
            </a:p>
          </p:txBody>
        </p:sp>
        <p:sp>
          <p:nvSpPr>
            <p:cNvPr id="100" name="Freeform: Shape 99">
              <a:extLst>
                <a:ext uri="{FF2B5EF4-FFF2-40B4-BE49-F238E27FC236}">
                  <a16:creationId xmlns:a16="http://schemas.microsoft.com/office/drawing/2014/main" id="{F84041BA-D2C8-4227-8D30-042CF04E1A02}"/>
                </a:ext>
              </a:extLst>
            </p:cNvPr>
            <p:cNvSpPr/>
            <p:nvPr/>
          </p:nvSpPr>
          <p:spPr>
            <a:xfrm>
              <a:off x="11469428" y="6682464"/>
              <a:ext cx="88352" cy="28821"/>
            </a:xfrm>
            <a:custGeom>
              <a:avLst/>
              <a:gdLst>
                <a:gd name="connsiteX0" fmla="*/ 154808 w 156561"/>
                <a:gd name="connsiteY0" fmla="*/ 15287 h 51071"/>
                <a:gd name="connsiteX1" fmla="*/ 88243 w 156561"/>
                <a:gd name="connsiteY1" fmla="*/ -343 h 51071"/>
                <a:gd name="connsiteX2" fmla="*/ 989 w 156561"/>
                <a:gd name="connsiteY2" fmla="*/ 27987 h 51071"/>
                <a:gd name="connsiteX3" fmla="*/ 1308 w 156561"/>
                <a:gd name="connsiteY3" fmla="*/ 28760 h 51071"/>
                <a:gd name="connsiteX4" fmla="*/ 2533 w 156561"/>
                <a:gd name="connsiteY4" fmla="*/ 31635 h 51071"/>
                <a:gd name="connsiteX5" fmla="*/ 3172 w 156561"/>
                <a:gd name="connsiteY5" fmla="*/ 33153 h 51071"/>
                <a:gd name="connsiteX6" fmla="*/ 5568 w 156561"/>
                <a:gd name="connsiteY6" fmla="*/ 39170 h 51071"/>
                <a:gd name="connsiteX7" fmla="*/ 5888 w 156561"/>
                <a:gd name="connsiteY7" fmla="*/ 40049 h 51071"/>
                <a:gd name="connsiteX8" fmla="*/ 6740 w 156561"/>
                <a:gd name="connsiteY8" fmla="*/ 42339 h 51071"/>
                <a:gd name="connsiteX9" fmla="*/ 7619 w 156561"/>
                <a:gd name="connsiteY9" fmla="*/ 44709 h 51071"/>
                <a:gd name="connsiteX10" fmla="*/ 8364 w 156561"/>
                <a:gd name="connsiteY10" fmla="*/ 46892 h 51071"/>
                <a:gd name="connsiteX11" fmla="*/ 9269 w 156561"/>
                <a:gd name="connsiteY11" fmla="*/ 49555 h 51071"/>
                <a:gd name="connsiteX12" fmla="*/ 9669 w 156561"/>
                <a:gd name="connsiteY12" fmla="*/ 50726 h 51071"/>
                <a:gd name="connsiteX13" fmla="*/ 88243 w 156561"/>
                <a:gd name="connsiteY13" fmla="*/ 28360 h 51071"/>
                <a:gd name="connsiteX14" fmla="*/ 109544 w 156561"/>
                <a:gd name="connsiteY14" fmla="*/ 29825 h 51071"/>
                <a:gd name="connsiteX15" fmla="*/ 112606 w 156561"/>
                <a:gd name="connsiteY15" fmla="*/ 30038 h 51071"/>
                <a:gd name="connsiteX16" fmla="*/ 112925 w 156561"/>
                <a:gd name="connsiteY16" fmla="*/ 30038 h 51071"/>
                <a:gd name="connsiteX17" fmla="*/ 113378 w 156561"/>
                <a:gd name="connsiteY17" fmla="*/ 30038 h 51071"/>
                <a:gd name="connsiteX18" fmla="*/ 116040 w 156561"/>
                <a:gd name="connsiteY18" fmla="*/ 30677 h 51071"/>
                <a:gd name="connsiteX19" fmla="*/ 116040 w 156561"/>
                <a:gd name="connsiteY19" fmla="*/ 30677 h 51071"/>
                <a:gd name="connsiteX20" fmla="*/ 123256 w 156561"/>
                <a:gd name="connsiteY20" fmla="*/ 18722 h 51071"/>
                <a:gd name="connsiteX21" fmla="*/ 139232 w 156561"/>
                <a:gd name="connsiteY21" fmla="*/ 15873 h 51071"/>
                <a:gd name="connsiteX22" fmla="*/ 139232 w 156561"/>
                <a:gd name="connsiteY22" fmla="*/ 15873 h 51071"/>
                <a:gd name="connsiteX23" fmla="*/ 140536 w 156561"/>
                <a:gd name="connsiteY23" fmla="*/ 37520 h 51071"/>
                <a:gd name="connsiteX24" fmla="*/ 150015 w 156561"/>
                <a:gd name="connsiteY24" fmla="*/ 29691 h 51071"/>
                <a:gd name="connsiteX25" fmla="*/ 157550 w 156561"/>
                <a:gd name="connsiteY25" fmla="*/ 29212 h 51071"/>
                <a:gd name="connsiteX26" fmla="*/ 154888 w 156561"/>
                <a:gd name="connsiteY26" fmla="*/ 15180 h 5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6561" h="51071">
                  <a:moveTo>
                    <a:pt x="154808" y="15287"/>
                  </a:moveTo>
                  <a:cubicBezTo>
                    <a:pt x="134143" y="4950"/>
                    <a:pt x="111346" y="-401"/>
                    <a:pt x="88243" y="-343"/>
                  </a:cubicBezTo>
                  <a:cubicBezTo>
                    <a:pt x="56866" y="-537"/>
                    <a:pt x="26265" y="9400"/>
                    <a:pt x="989" y="27987"/>
                  </a:cubicBezTo>
                  <a:lnTo>
                    <a:pt x="1308" y="28760"/>
                  </a:lnTo>
                  <a:cubicBezTo>
                    <a:pt x="1734" y="29718"/>
                    <a:pt x="2134" y="30677"/>
                    <a:pt x="2533" y="31635"/>
                  </a:cubicBezTo>
                  <a:lnTo>
                    <a:pt x="3172" y="33153"/>
                  </a:lnTo>
                  <a:cubicBezTo>
                    <a:pt x="3997" y="35150"/>
                    <a:pt x="4796" y="37147"/>
                    <a:pt x="5568" y="39170"/>
                  </a:cubicBezTo>
                  <a:lnTo>
                    <a:pt x="5888" y="40049"/>
                  </a:lnTo>
                  <a:cubicBezTo>
                    <a:pt x="6181" y="40821"/>
                    <a:pt x="6474" y="41593"/>
                    <a:pt x="6740" y="42339"/>
                  </a:cubicBezTo>
                  <a:lnTo>
                    <a:pt x="7619" y="44709"/>
                  </a:lnTo>
                  <a:cubicBezTo>
                    <a:pt x="7858" y="45454"/>
                    <a:pt x="8124" y="46173"/>
                    <a:pt x="8364" y="46892"/>
                  </a:cubicBezTo>
                  <a:cubicBezTo>
                    <a:pt x="8604" y="47611"/>
                    <a:pt x="8977" y="48649"/>
                    <a:pt x="9269" y="49555"/>
                  </a:cubicBezTo>
                  <a:lnTo>
                    <a:pt x="9669" y="50726"/>
                  </a:lnTo>
                  <a:cubicBezTo>
                    <a:pt x="33212" y="35978"/>
                    <a:pt x="60461" y="28222"/>
                    <a:pt x="88243" y="28360"/>
                  </a:cubicBezTo>
                  <a:cubicBezTo>
                    <a:pt x="95368" y="28358"/>
                    <a:pt x="102485" y="28847"/>
                    <a:pt x="109544" y="29825"/>
                  </a:cubicBezTo>
                  <a:cubicBezTo>
                    <a:pt x="110569" y="29835"/>
                    <a:pt x="111591" y="29907"/>
                    <a:pt x="112606" y="30038"/>
                  </a:cubicBezTo>
                  <a:lnTo>
                    <a:pt x="112925" y="30038"/>
                  </a:lnTo>
                  <a:lnTo>
                    <a:pt x="113378" y="30038"/>
                  </a:lnTo>
                  <a:cubicBezTo>
                    <a:pt x="114278" y="30189"/>
                    <a:pt x="115170" y="30402"/>
                    <a:pt x="116040" y="30677"/>
                  </a:cubicBezTo>
                  <a:lnTo>
                    <a:pt x="116040" y="30677"/>
                  </a:lnTo>
                  <a:cubicBezTo>
                    <a:pt x="116123" y="25684"/>
                    <a:pt x="118879" y="21121"/>
                    <a:pt x="123256" y="18722"/>
                  </a:cubicBezTo>
                  <a:cubicBezTo>
                    <a:pt x="129460" y="14994"/>
                    <a:pt x="139232" y="15873"/>
                    <a:pt x="139232" y="15873"/>
                  </a:cubicBezTo>
                  <a:lnTo>
                    <a:pt x="139232" y="15873"/>
                  </a:lnTo>
                  <a:cubicBezTo>
                    <a:pt x="140068" y="23059"/>
                    <a:pt x="140504" y="30285"/>
                    <a:pt x="140536" y="37520"/>
                  </a:cubicBezTo>
                  <a:cubicBezTo>
                    <a:pt x="142291" y="33566"/>
                    <a:pt x="145800" y="30666"/>
                    <a:pt x="150015" y="29691"/>
                  </a:cubicBezTo>
                  <a:cubicBezTo>
                    <a:pt x="152483" y="29124"/>
                    <a:pt x="155029" y="28962"/>
                    <a:pt x="157550" y="29212"/>
                  </a:cubicBezTo>
                  <a:cubicBezTo>
                    <a:pt x="156858" y="24446"/>
                    <a:pt x="155953" y="19787"/>
                    <a:pt x="154888" y="15180"/>
                  </a:cubicBezTo>
                </a:path>
              </a:pathLst>
            </a:custGeom>
            <a:solidFill>
              <a:srgbClr val="00A652"/>
            </a:solidFill>
            <a:ln w="2661" cap="flat">
              <a:noFill/>
              <a:prstDash val="solid"/>
              <a:miter/>
            </a:ln>
          </p:spPr>
          <p:txBody>
            <a:bodyPr rtlCol="0" anchor="ctr"/>
            <a:lstStyle/>
            <a:p>
              <a:endParaRPr lang="pl-PL"/>
            </a:p>
          </p:txBody>
        </p:sp>
        <p:sp>
          <p:nvSpPr>
            <p:cNvPr id="101" name="Freeform: Shape 100">
              <a:extLst>
                <a:ext uri="{FF2B5EF4-FFF2-40B4-BE49-F238E27FC236}">
                  <a16:creationId xmlns:a16="http://schemas.microsoft.com/office/drawing/2014/main" id="{1473E184-29D3-4DE3-9271-3840B6374E41}"/>
                </a:ext>
              </a:extLst>
            </p:cNvPr>
            <p:cNvSpPr/>
            <p:nvPr/>
          </p:nvSpPr>
          <p:spPr>
            <a:xfrm>
              <a:off x="11474267" y="6698648"/>
              <a:ext cx="56271" cy="28174"/>
            </a:xfrm>
            <a:custGeom>
              <a:avLst/>
              <a:gdLst>
                <a:gd name="connsiteX0" fmla="*/ 79563 w 99714"/>
                <a:gd name="connsiteY0" fmla="*/ -344 h 49925"/>
                <a:gd name="connsiteX1" fmla="*/ 989 w 99714"/>
                <a:gd name="connsiteY1" fmla="*/ 22022 h 49925"/>
                <a:gd name="connsiteX2" fmla="*/ 1228 w 99714"/>
                <a:gd name="connsiteY2" fmla="*/ 22821 h 49925"/>
                <a:gd name="connsiteX3" fmla="*/ 2373 w 99714"/>
                <a:gd name="connsiteY3" fmla="*/ 26442 h 49925"/>
                <a:gd name="connsiteX4" fmla="*/ 2773 w 99714"/>
                <a:gd name="connsiteY4" fmla="*/ 27694 h 49925"/>
                <a:gd name="connsiteX5" fmla="*/ 4184 w 99714"/>
                <a:gd name="connsiteY5" fmla="*/ 32540 h 49925"/>
                <a:gd name="connsiteX6" fmla="*/ 4610 w 99714"/>
                <a:gd name="connsiteY6" fmla="*/ 34137 h 49925"/>
                <a:gd name="connsiteX7" fmla="*/ 5515 w 99714"/>
                <a:gd name="connsiteY7" fmla="*/ 37545 h 49925"/>
                <a:gd name="connsiteX8" fmla="*/ 6021 w 99714"/>
                <a:gd name="connsiteY8" fmla="*/ 39542 h 49925"/>
                <a:gd name="connsiteX9" fmla="*/ 6767 w 99714"/>
                <a:gd name="connsiteY9" fmla="*/ 42658 h 49925"/>
                <a:gd name="connsiteX10" fmla="*/ 7246 w 99714"/>
                <a:gd name="connsiteY10" fmla="*/ 44708 h 49925"/>
                <a:gd name="connsiteX11" fmla="*/ 8231 w 99714"/>
                <a:gd name="connsiteY11" fmla="*/ 49128 h 49925"/>
                <a:gd name="connsiteX12" fmla="*/ 8231 w 99714"/>
                <a:gd name="connsiteY12" fmla="*/ 49580 h 49925"/>
                <a:gd name="connsiteX13" fmla="*/ 61936 w 99714"/>
                <a:gd name="connsiteY13" fmla="*/ 32566 h 49925"/>
                <a:gd name="connsiteX14" fmla="*/ 65877 w 99714"/>
                <a:gd name="connsiteY14" fmla="*/ 29904 h 49925"/>
                <a:gd name="connsiteX15" fmla="*/ 78125 w 99714"/>
                <a:gd name="connsiteY15" fmla="*/ 28732 h 49925"/>
                <a:gd name="connsiteX16" fmla="*/ 81373 w 99714"/>
                <a:gd name="connsiteY16" fmla="*/ 29478 h 49925"/>
                <a:gd name="connsiteX17" fmla="*/ 82278 w 99714"/>
                <a:gd name="connsiteY17" fmla="*/ 24339 h 49925"/>
                <a:gd name="connsiteX18" fmla="*/ 88509 w 99714"/>
                <a:gd name="connsiteY18" fmla="*/ 6579 h 49925"/>
                <a:gd name="connsiteX19" fmla="*/ 100704 w 99714"/>
                <a:gd name="connsiteY19" fmla="*/ 1254 h 49925"/>
                <a:gd name="connsiteX20" fmla="*/ 79403 w 99714"/>
                <a:gd name="connsiteY20" fmla="*/ -211 h 49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9714" h="49925">
                  <a:moveTo>
                    <a:pt x="79563" y="-344"/>
                  </a:moveTo>
                  <a:cubicBezTo>
                    <a:pt x="51781" y="-482"/>
                    <a:pt x="24532" y="7274"/>
                    <a:pt x="989" y="22022"/>
                  </a:cubicBezTo>
                  <a:lnTo>
                    <a:pt x="1228" y="22821"/>
                  </a:lnTo>
                  <a:cubicBezTo>
                    <a:pt x="1628" y="24019"/>
                    <a:pt x="2001" y="25244"/>
                    <a:pt x="2373" y="26442"/>
                  </a:cubicBezTo>
                  <a:lnTo>
                    <a:pt x="2773" y="27694"/>
                  </a:lnTo>
                  <a:cubicBezTo>
                    <a:pt x="3252" y="29318"/>
                    <a:pt x="3731" y="30915"/>
                    <a:pt x="4184" y="32540"/>
                  </a:cubicBezTo>
                  <a:cubicBezTo>
                    <a:pt x="4317" y="33072"/>
                    <a:pt x="4450" y="33605"/>
                    <a:pt x="4610" y="34137"/>
                  </a:cubicBezTo>
                  <a:cubicBezTo>
                    <a:pt x="4903" y="35282"/>
                    <a:pt x="5222" y="36400"/>
                    <a:pt x="5515" y="37545"/>
                  </a:cubicBezTo>
                  <a:cubicBezTo>
                    <a:pt x="5675" y="38211"/>
                    <a:pt x="5861" y="38877"/>
                    <a:pt x="6021" y="39542"/>
                  </a:cubicBezTo>
                  <a:cubicBezTo>
                    <a:pt x="6181" y="40208"/>
                    <a:pt x="6527" y="41619"/>
                    <a:pt x="6767" y="42658"/>
                  </a:cubicBezTo>
                  <a:lnTo>
                    <a:pt x="7246" y="44708"/>
                  </a:lnTo>
                  <a:cubicBezTo>
                    <a:pt x="7592" y="46172"/>
                    <a:pt x="7912" y="47663"/>
                    <a:pt x="8231" y="49128"/>
                  </a:cubicBezTo>
                  <a:lnTo>
                    <a:pt x="8231" y="49580"/>
                  </a:lnTo>
                  <a:cubicBezTo>
                    <a:pt x="24862" y="40482"/>
                    <a:pt x="43101" y="34704"/>
                    <a:pt x="61936" y="32566"/>
                  </a:cubicBezTo>
                  <a:cubicBezTo>
                    <a:pt x="63078" y="31451"/>
                    <a:pt x="64415" y="30548"/>
                    <a:pt x="65877" y="29904"/>
                  </a:cubicBezTo>
                  <a:cubicBezTo>
                    <a:pt x="69748" y="28287"/>
                    <a:pt x="74016" y="27880"/>
                    <a:pt x="78125" y="28732"/>
                  </a:cubicBezTo>
                  <a:cubicBezTo>
                    <a:pt x="79227" y="28892"/>
                    <a:pt x="80313" y="29139"/>
                    <a:pt x="81373" y="29478"/>
                  </a:cubicBezTo>
                  <a:cubicBezTo>
                    <a:pt x="81719" y="27773"/>
                    <a:pt x="82012" y="26069"/>
                    <a:pt x="82278" y="24339"/>
                  </a:cubicBezTo>
                  <a:cubicBezTo>
                    <a:pt x="82278" y="24339"/>
                    <a:pt x="84355" y="11558"/>
                    <a:pt x="88509" y="6579"/>
                  </a:cubicBezTo>
                  <a:cubicBezTo>
                    <a:pt x="91555" y="3043"/>
                    <a:pt x="96042" y="1086"/>
                    <a:pt x="100704" y="1254"/>
                  </a:cubicBezTo>
                  <a:cubicBezTo>
                    <a:pt x="93645" y="277"/>
                    <a:pt x="86528" y="-213"/>
                    <a:pt x="79403" y="-211"/>
                  </a:cubicBezTo>
                </a:path>
              </a:pathLst>
            </a:custGeom>
            <a:solidFill>
              <a:srgbClr val="8FD942"/>
            </a:solidFill>
            <a:ln w="2661" cap="flat">
              <a:noFill/>
              <a:prstDash val="solid"/>
              <a:miter/>
            </a:ln>
          </p:spPr>
          <p:txBody>
            <a:bodyPr rtlCol="0" anchor="ctr"/>
            <a:lstStyle/>
            <a:p>
              <a:endParaRPr lang="pl-PL"/>
            </a:p>
          </p:txBody>
        </p:sp>
        <p:sp>
          <p:nvSpPr>
            <p:cNvPr id="102" name="Freeform: Shape 101">
              <a:extLst>
                <a:ext uri="{FF2B5EF4-FFF2-40B4-BE49-F238E27FC236}">
                  <a16:creationId xmlns:a16="http://schemas.microsoft.com/office/drawing/2014/main" id="{10B33167-4A10-461D-8D05-F9C02229A02A}"/>
                </a:ext>
              </a:extLst>
            </p:cNvPr>
            <p:cNvSpPr/>
            <p:nvPr/>
          </p:nvSpPr>
          <p:spPr>
            <a:xfrm>
              <a:off x="11478444" y="6717190"/>
              <a:ext cx="30172" cy="26310"/>
            </a:xfrm>
            <a:custGeom>
              <a:avLst/>
              <a:gdLst>
                <a:gd name="connsiteX0" fmla="*/ 989 w 53465"/>
                <a:gd name="connsiteY0" fmla="*/ 16669 h 46622"/>
                <a:gd name="connsiteX1" fmla="*/ 1415 w 53465"/>
                <a:gd name="connsiteY1" fmla="*/ 18878 h 46622"/>
                <a:gd name="connsiteX2" fmla="*/ 1921 w 53465"/>
                <a:gd name="connsiteY2" fmla="*/ 21541 h 46622"/>
                <a:gd name="connsiteX3" fmla="*/ 2426 w 53465"/>
                <a:gd name="connsiteY3" fmla="*/ 24337 h 46622"/>
                <a:gd name="connsiteX4" fmla="*/ 2719 w 53465"/>
                <a:gd name="connsiteY4" fmla="*/ 26014 h 46622"/>
                <a:gd name="connsiteX5" fmla="*/ 2719 w 53465"/>
                <a:gd name="connsiteY5" fmla="*/ 26361 h 46622"/>
                <a:gd name="connsiteX6" fmla="*/ 2719 w 53465"/>
                <a:gd name="connsiteY6" fmla="*/ 26573 h 46622"/>
                <a:gd name="connsiteX7" fmla="*/ 3199 w 53465"/>
                <a:gd name="connsiteY7" fmla="*/ 29449 h 46622"/>
                <a:gd name="connsiteX8" fmla="*/ 3651 w 53465"/>
                <a:gd name="connsiteY8" fmla="*/ 32484 h 46622"/>
                <a:gd name="connsiteX9" fmla="*/ 3891 w 53465"/>
                <a:gd name="connsiteY9" fmla="*/ 34268 h 46622"/>
                <a:gd name="connsiteX10" fmla="*/ 4370 w 53465"/>
                <a:gd name="connsiteY10" fmla="*/ 38103 h 46622"/>
                <a:gd name="connsiteX11" fmla="*/ 4743 w 53465"/>
                <a:gd name="connsiteY11" fmla="*/ 41165 h 46622"/>
                <a:gd name="connsiteX12" fmla="*/ 4743 w 53465"/>
                <a:gd name="connsiteY12" fmla="*/ 41324 h 46622"/>
                <a:gd name="connsiteX13" fmla="*/ 4743 w 53465"/>
                <a:gd name="connsiteY13" fmla="*/ 41324 h 46622"/>
                <a:gd name="connsiteX14" fmla="*/ 4743 w 53465"/>
                <a:gd name="connsiteY14" fmla="*/ 41324 h 46622"/>
                <a:gd name="connsiteX15" fmla="*/ 4743 w 53465"/>
                <a:gd name="connsiteY15" fmla="*/ 41671 h 46622"/>
                <a:gd name="connsiteX16" fmla="*/ 4743 w 53465"/>
                <a:gd name="connsiteY16" fmla="*/ 42443 h 46622"/>
                <a:gd name="connsiteX17" fmla="*/ 4743 w 53465"/>
                <a:gd name="connsiteY17" fmla="*/ 42949 h 46622"/>
                <a:gd name="connsiteX18" fmla="*/ 5063 w 53465"/>
                <a:gd name="connsiteY18" fmla="*/ 46277 h 46622"/>
                <a:gd name="connsiteX19" fmla="*/ 5063 w 53465"/>
                <a:gd name="connsiteY19" fmla="*/ 46037 h 46622"/>
                <a:gd name="connsiteX20" fmla="*/ 24313 w 53465"/>
                <a:gd name="connsiteY20" fmla="*/ 38049 h 46622"/>
                <a:gd name="connsiteX21" fmla="*/ 36668 w 53465"/>
                <a:gd name="connsiteY21" fmla="*/ 34481 h 46622"/>
                <a:gd name="connsiteX22" fmla="*/ 44416 w 53465"/>
                <a:gd name="connsiteY22" fmla="*/ 21168 h 46622"/>
                <a:gd name="connsiteX23" fmla="*/ 50460 w 53465"/>
                <a:gd name="connsiteY23" fmla="*/ 6737 h 46622"/>
                <a:gd name="connsiteX24" fmla="*/ 50833 w 53465"/>
                <a:gd name="connsiteY24" fmla="*/ 5592 h 46622"/>
                <a:gd name="connsiteX25" fmla="*/ 54454 w 53465"/>
                <a:gd name="connsiteY25" fmla="*/ -346 h 46622"/>
                <a:gd name="connsiteX26" fmla="*/ 989 w 53465"/>
                <a:gd name="connsiteY26" fmla="*/ 16669 h 4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3465" h="46622">
                  <a:moveTo>
                    <a:pt x="989" y="16669"/>
                  </a:moveTo>
                  <a:cubicBezTo>
                    <a:pt x="1148" y="17414"/>
                    <a:pt x="1282" y="18160"/>
                    <a:pt x="1415" y="18878"/>
                  </a:cubicBezTo>
                  <a:cubicBezTo>
                    <a:pt x="1548" y="19597"/>
                    <a:pt x="1761" y="20609"/>
                    <a:pt x="1921" y="21541"/>
                  </a:cubicBezTo>
                  <a:cubicBezTo>
                    <a:pt x="2080" y="22473"/>
                    <a:pt x="2267" y="23405"/>
                    <a:pt x="2426" y="24337"/>
                  </a:cubicBezTo>
                  <a:cubicBezTo>
                    <a:pt x="2586" y="25269"/>
                    <a:pt x="2613" y="25455"/>
                    <a:pt x="2719" y="26014"/>
                  </a:cubicBezTo>
                  <a:cubicBezTo>
                    <a:pt x="2719" y="26147"/>
                    <a:pt x="2719" y="26254"/>
                    <a:pt x="2719" y="26361"/>
                  </a:cubicBezTo>
                  <a:lnTo>
                    <a:pt x="2719" y="26573"/>
                  </a:lnTo>
                  <a:lnTo>
                    <a:pt x="3199" y="29449"/>
                  </a:lnTo>
                  <a:cubicBezTo>
                    <a:pt x="3358" y="30461"/>
                    <a:pt x="3492" y="31473"/>
                    <a:pt x="3651" y="32484"/>
                  </a:cubicBezTo>
                  <a:lnTo>
                    <a:pt x="3891" y="34268"/>
                  </a:lnTo>
                  <a:cubicBezTo>
                    <a:pt x="4077" y="35546"/>
                    <a:pt x="4211" y="36931"/>
                    <a:pt x="4370" y="38103"/>
                  </a:cubicBezTo>
                  <a:cubicBezTo>
                    <a:pt x="4530" y="39274"/>
                    <a:pt x="4610" y="40153"/>
                    <a:pt x="4743" y="41165"/>
                  </a:cubicBezTo>
                  <a:lnTo>
                    <a:pt x="4743" y="41324"/>
                  </a:lnTo>
                  <a:lnTo>
                    <a:pt x="4743" y="41324"/>
                  </a:lnTo>
                  <a:lnTo>
                    <a:pt x="4743" y="41324"/>
                  </a:lnTo>
                  <a:cubicBezTo>
                    <a:pt x="4743" y="41324"/>
                    <a:pt x="4743" y="41564"/>
                    <a:pt x="4743" y="41671"/>
                  </a:cubicBezTo>
                  <a:lnTo>
                    <a:pt x="4743" y="42443"/>
                  </a:lnTo>
                  <a:cubicBezTo>
                    <a:pt x="4756" y="42610"/>
                    <a:pt x="4756" y="42781"/>
                    <a:pt x="4743" y="42949"/>
                  </a:cubicBezTo>
                  <a:cubicBezTo>
                    <a:pt x="4743" y="44067"/>
                    <a:pt x="4983" y="45185"/>
                    <a:pt x="5063" y="46277"/>
                  </a:cubicBezTo>
                  <a:lnTo>
                    <a:pt x="5063" y="46037"/>
                  </a:lnTo>
                  <a:cubicBezTo>
                    <a:pt x="11274" y="42906"/>
                    <a:pt x="17710" y="40235"/>
                    <a:pt x="24313" y="38049"/>
                  </a:cubicBezTo>
                  <a:cubicBezTo>
                    <a:pt x="28360" y="36691"/>
                    <a:pt x="32487" y="35387"/>
                    <a:pt x="36668" y="34481"/>
                  </a:cubicBezTo>
                  <a:cubicBezTo>
                    <a:pt x="39546" y="30224"/>
                    <a:pt x="42134" y="25775"/>
                    <a:pt x="44416" y="21168"/>
                  </a:cubicBezTo>
                  <a:cubicBezTo>
                    <a:pt x="46735" y="16493"/>
                    <a:pt x="48756" y="11671"/>
                    <a:pt x="50460" y="6737"/>
                  </a:cubicBezTo>
                  <a:cubicBezTo>
                    <a:pt x="50460" y="6338"/>
                    <a:pt x="50700" y="5965"/>
                    <a:pt x="50833" y="5592"/>
                  </a:cubicBezTo>
                  <a:cubicBezTo>
                    <a:pt x="51589" y="3371"/>
                    <a:pt x="52825" y="1343"/>
                    <a:pt x="54454" y="-346"/>
                  </a:cubicBezTo>
                  <a:cubicBezTo>
                    <a:pt x="35701" y="1822"/>
                    <a:pt x="17545" y="7600"/>
                    <a:pt x="989" y="16669"/>
                  </a:cubicBezTo>
                </a:path>
              </a:pathLst>
            </a:custGeom>
            <a:solidFill>
              <a:srgbClr val="00A652"/>
            </a:solidFill>
            <a:ln w="2661" cap="flat">
              <a:noFill/>
              <a:prstDash val="solid"/>
              <a:miter/>
            </a:ln>
          </p:spPr>
          <p:txBody>
            <a:bodyPr rtlCol="0" anchor="ctr"/>
            <a:lstStyle/>
            <a:p>
              <a:endParaRPr lang="pl-PL"/>
            </a:p>
          </p:txBody>
        </p:sp>
        <p:sp>
          <p:nvSpPr>
            <p:cNvPr id="103" name="Freeform: Shape 102">
              <a:extLst>
                <a:ext uri="{FF2B5EF4-FFF2-40B4-BE49-F238E27FC236}">
                  <a16:creationId xmlns:a16="http://schemas.microsoft.com/office/drawing/2014/main" id="{3DE54AD6-3B2F-4B34-923E-2441EAE9213B}"/>
                </a:ext>
              </a:extLst>
            </p:cNvPr>
            <p:cNvSpPr/>
            <p:nvPr/>
          </p:nvSpPr>
          <p:spPr>
            <a:xfrm>
              <a:off x="11480833" y="6736694"/>
              <a:ext cx="17385" cy="17249"/>
            </a:xfrm>
            <a:custGeom>
              <a:avLst/>
              <a:gdLst>
                <a:gd name="connsiteX0" fmla="*/ 20239 w 30806"/>
                <a:gd name="connsiteY0" fmla="*/ 3409 h 30566"/>
                <a:gd name="connsiteX1" fmla="*/ 989 w 30806"/>
                <a:gd name="connsiteY1" fmla="*/ 11397 h 30566"/>
                <a:gd name="connsiteX2" fmla="*/ 989 w 30806"/>
                <a:gd name="connsiteY2" fmla="*/ 11636 h 30566"/>
                <a:gd name="connsiteX3" fmla="*/ 989 w 30806"/>
                <a:gd name="connsiteY3" fmla="*/ 13154 h 30566"/>
                <a:gd name="connsiteX4" fmla="*/ 989 w 30806"/>
                <a:gd name="connsiteY4" fmla="*/ 13314 h 30566"/>
                <a:gd name="connsiteX5" fmla="*/ 1122 w 30806"/>
                <a:gd name="connsiteY5" fmla="*/ 15550 h 30566"/>
                <a:gd name="connsiteX6" fmla="*/ 1122 w 30806"/>
                <a:gd name="connsiteY6" fmla="*/ 16029 h 30566"/>
                <a:gd name="connsiteX7" fmla="*/ 1122 w 30806"/>
                <a:gd name="connsiteY7" fmla="*/ 16029 h 30566"/>
                <a:gd name="connsiteX8" fmla="*/ 1122 w 30806"/>
                <a:gd name="connsiteY8" fmla="*/ 16269 h 30566"/>
                <a:gd name="connsiteX9" fmla="*/ 1122 w 30806"/>
                <a:gd name="connsiteY9" fmla="*/ 18186 h 30566"/>
                <a:gd name="connsiteX10" fmla="*/ 1122 w 30806"/>
                <a:gd name="connsiteY10" fmla="*/ 19731 h 30566"/>
                <a:gd name="connsiteX11" fmla="*/ 1122 w 30806"/>
                <a:gd name="connsiteY11" fmla="*/ 19917 h 30566"/>
                <a:gd name="connsiteX12" fmla="*/ 1122 w 30806"/>
                <a:gd name="connsiteY12" fmla="*/ 21674 h 30566"/>
                <a:gd name="connsiteX13" fmla="*/ 1122 w 30806"/>
                <a:gd name="connsiteY13" fmla="*/ 23219 h 30566"/>
                <a:gd name="connsiteX14" fmla="*/ 1122 w 30806"/>
                <a:gd name="connsiteY14" fmla="*/ 23538 h 30566"/>
                <a:gd name="connsiteX15" fmla="*/ 1122 w 30806"/>
                <a:gd name="connsiteY15" fmla="*/ 23538 h 30566"/>
                <a:gd name="connsiteX16" fmla="*/ 1122 w 30806"/>
                <a:gd name="connsiteY16" fmla="*/ 24710 h 30566"/>
                <a:gd name="connsiteX17" fmla="*/ 1122 w 30806"/>
                <a:gd name="connsiteY17" fmla="*/ 26174 h 30566"/>
                <a:gd name="connsiteX18" fmla="*/ 1122 w 30806"/>
                <a:gd name="connsiteY18" fmla="*/ 26174 h 30566"/>
                <a:gd name="connsiteX19" fmla="*/ 1122 w 30806"/>
                <a:gd name="connsiteY19" fmla="*/ 26307 h 30566"/>
                <a:gd name="connsiteX20" fmla="*/ 1122 w 30806"/>
                <a:gd name="connsiteY20" fmla="*/ 27266 h 30566"/>
                <a:gd name="connsiteX21" fmla="*/ 1122 w 30806"/>
                <a:gd name="connsiteY21" fmla="*/ 29023 h 30566"/>
                <a:gd name="connsiteX22" fmla="*/ 1122 w 30806"/>
                <a:gd name="connsiteY22" fmla="*/ 30221 h 30566"/>
                <a:gd name="connsiteX23" fmla="*/ 1122 w 30806"/>
                <a:gd name="connsiteY23" fmla="*/ 30221 h 30566"/>
                <a:gd name="connsiteX24" fmla="*/ 2852 w 30806"/>
                <a:gd name="connsiteY24" fmla="*/ 29050 h 30566"/>
                <a:gd name="connsiteX25" fmla="*/ 12172 w 30806"/>
                <a:gd name="connsiteY25" fmla="*/ 22020 h 30566"/>
                <a:gd name="connsiteX26" fmla="*/ 27988 w 30806"/>
                <a:gd name="connsiteY26" fmla="*/ 5060 h 30566"/>
                <a:gd name="connsiteX27" fmla="*/ 29345 w 30806"/>
                <a:gd name="connsiteY27" fmla="*/ 3222 h 30566"/>
                <a:gd name="connsiteX28" fmla="*/ 31795 w 30806"/>
                <a:gd name="connsiteY28" fmla="*/ -346 h 30566"/>
                <a:gd name="connsiteX29" fmla="*/ 19441 w 30806"/>
                <a:gd name="connsiteY29" fmla="*/ 3222 h 30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0806" h="30566">
                  <a:moveTo>
                    <a:pt x="20239" y="3409"/>
                  </a:moveTo>
                  <a:cubicBezTo>
                    <a:pt x="13636" y="5600"/>
                    <a:pt x="7203" y="8268"/>
                    <a:pt x="989" y="11397"/>
                  </a:cubicBezTo>
                  <a:lnTo>
                    <a:pt x="989" y="11636"/>
                  </a:lnTo>
                  <a:cubicBezTo>
                    <a:pt x="989" y="12142"/>
                    <a:pt x="989" y="12648"/>
                    <a:pt x="989" y="13154"/>
                  </a:cubicBezTo>
                  <a:lnTo>
                    <a:pt x="989" y="13314"/>
                  </a:lnTo>
                  <a:cubicBezTo>
                    <a:pt x="989" y="14059"/>
                    <a:pt x="989" y="14805"/>
                    <a:pt x="1122" y="15550"/>
                  </a:cubicBezTo>
                  <a:lnTo>
                    <a:pt x="1122" y="16029"/>
                  </a:lnTo>
                  <a:lnTo>
                    <a:pt x="1122" y="16029"/>
                  </a:lnTo>
                  <a:lnTo>
                    <a:pt x="1122" y="16269"/>
                  </a:lnTo>
                  <a:cubicBezTo>
                    <a:pt x="1122" y="16908"/>
                    <a:pt x="1122" y="17547"/>
                    <a:pt x="1122" y="18186"/>
                  </a:cubicBezTo>
                  <a:cubicBezTo>
                    <a:pt x="1122" y="18825"/>
                    <a:pt x="1122" y="19225"/>
                    <a:pt x="1122" y="19731"/>
                  </a:cubicBezTo>
                  <a:lnTo>
                    <a:pt x="1122" y="19917"/>
                  </a:lnTo>
                  <a:lnTo>
                    <a:pt x="1122" y="21674"/>
                  </a:lnTo>
                  <a:cubicBezTo>
                    <a:pt x="1122" y="22207"/>
                    <a:pt x="1122" y="22713"/>
                    <a:pt x="1122" y="23219"/>
                  </a:cubicBezTo>
                  <a:cubicBezTo>
                    <a:pt x="1135" y="23325"/>
                    <a:pt x="1135" y="23432"/>
                    <a:pt x="1122" y="23538"/>
                  </a:cubicBezTo>
                  <a:lnTo>
                    <a:pt x="1122" y="23538"/>
                  </a:lnTo>
                  <a:cubicBezTo>
                    <a:pt x="1122" y="23937"/>
                    <a:pt x="1122" y="24310"/>
                    <a:pt x="1122" y="24710"/>
                  </a:cubicBezTo>
                  <a:cubicBezTo>
                    <a:pt x="1122" y="25109"/>
                    <a:pt x="1122" y="25695"/>
                    <a:pt x="1122" y="26174"/>
                  </a:cubicBezTo>
                  <a:lnTo>
                    <a:pt x="1122" y="26174"/>
                  </a:lnTo>
                  <a:lnTo>
                    <a:pt x="1122" y="26307"/>
                  </a:lnTo>
                  <a:cubicBezTo>
                    <a:pt x="1122" y="26627"/>
                    <a:pt x="1122" y="26946"/>
                    <a:pt x="1122" y="27266"/>
                  </a:cubicBezTo>
                  <a:cubicBezTo>
                    <a:pt x="1122" y="27585"/>
                    <a:pt x="1122" y="28437"/>
                    <a:pt x="1122" y="29023"/>
                  </a:cubicBezTo>
                  <a:cubicBezTo>
                    <a:pt x="1122" y="29609"/>
                    <a:pt x="1122" y="29822"/>
                    <a:pt x="1122" y="30221"/>
                  </a:cubicBezTo>
                  <a:lnTo>
                    <a:pt x="1122" y="30221"/>
                  </a:lnTo>
                  <a:lnTo>
                    <a:pt x="2852" y="29050"/>
                  </a:lnTo>
                  <a:cubicBezTo>
                    <a:pt x="6090" y="26888"/>
                    <a:pt x="9203" y="24539"/>
                    <a:pt x="12172" y="22020"/>
                  </a:cubicBezTo>
                  <a:cubicBezTo>
                    <a:pt x="18035" y="16948"/>
                    <a:pt x="23336" y="11263"/>
                    <a:pt x="27988" y="5060"/>
                  </a:cubicBezTo>
                  <a:lnTo>
                    <a:pt x="29345" y="3222"/>
                  </a:lnTo>
                  <a:cubicBezTo>
                    <a:pt x="30198" y="2024"/>
                    <a:pt x="31023" y="853"/>
                    <a:pt x="31795" y="-346"/>
                  </a:cubicBezTo>
                  <a:cubicBezTo>
                    <a:pt x="27615" y="666"/>
                    <a:pt x="23488" y="1864"/>
                    <a:pt x="19441" y="3222"/>
                  </a:cubicBezTo>
                </a:path>
              </a:pathLst>
            </a:custGeom>
            <a:solidFill>
              <a:srgbClr val="8FD942"/>
            </a:solidFill>
            <a:ln w="2661" cap="flat">
              <a:noFill/>
              <a:prstDash val="solid"/>
              <a:miter/>
            </a:ln>
          </p:spPr>
          <p:txBody>
            <a:bodyPr rtlCol="0" anchor="ctr"/>
            <a:lstStyle/>
            <a:p>
              <a:endParaRPr lang="pl-PL"/>
            </a:p>
          </p:txBody>
        </p:sp>
        <p:sp>
          <p:nvSpPr>
            <p:cNvPr id="104" name="Freeform: Shape 103">
              <a:extLst>
                <a:ext uri="{FF2B5EF4-FFF2-40B4-BE49-F238E27FC236}">
                  <a16:creationId xmlns:a16="http://schemas.microsoft.com/office/drawing/2014/main" id="{7D8F168D-6BFC-4952-9D7D-819D56B88FFF}"/>
                </a:ext>
              </a:extLst>
            </p:cNvPr>
            <p:cNvSpPr/>
            <p:nvPr/>
          </p:nvSpPr>
          <p:spPr>
            <a:xfrm>
              <a:off x="11402788" y="6644225"/>
              <a:ext cx="49180" cy="59563"/>
            </a:xfrm>
            <a:custGeom>
              <a:avLst/>
              <a:gdLst>
                <a:gd name="connsiteX0" fmla="*/ 64918 w 87147"/>
                <a:gd name="connsiteY0" fmla="*/ 17494 h 105546"/>
                <a:gd name="connsiteX1" fmla="*/ 44735 w 87147"/>
                <a:gd name="connsiteY1" fmla="*/ -346 h 105546"/>
                <a:gd name="connsiteX2" fmla="*/ 14302 w 87147"/>
                <a:gd name="connsiteY2" fmla="*/ 29263 h 105546"/>
                <a:gd name="connsiteX3" fmla="*/ 989 w 87147"/>
                <a:gd name="connsiteY3" fmla="*/ 50111 h 105546"/>
                <a:gd name="connsiteX4" fmla="*/ 2160 w 87147"/>
                <a:gd name="connsiteY4" fmla="*/ 51602 h 105546"/>
                <a:gd name="connsiteX5" fmla="*/ 36774 w 87147"/>
                <a:gd name="connsiteY5" fmla="*/ 105200 h 105546"/>
                <a:gd name="connsiteX6" fmla="*/ 80015 w 87147"/>
                <a:gd name="connsiteY6" fmla="*/ 49286 h 105546"/>
                <a:gd name="connsiteX7" fmla="*/ 80894 w 87147"/>
                <a:gd name="connsiteY7" fmla="*/ 48647 h 105546"/>
                <a:gd name="connsiteX8" fmla="*/ 88136 w 87147"/>
                <a:gd name="connsiteY8" fmla="*/ 43641 h 105546"/>
                <a:gd name="connsiteX9" fmla="*/ 64891 w 87147"/>
                <a:gd name="connsiteY9" fmla="*/ 17441 h 105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147" h="105546">
                  <a:moveTo>
                    <a:pt x="64918" y="17494"/>
                  </a:moveTo>
                  <a:cubicBezTo>
                    <a:pt x="58514" y="11192"/>
                    <a:pt x="51778" y="5235"/>
                    <a:pt x="44735" y="-346"/>
                  </a:cubicBezTo>
                  <a:cubicBezTo>
                    <a:pt x="33206" y="7994"/>
                    <a:pt x="22955" y="17968"/>
                    <a:pt x="14302" y="29263"/>
                  </a:cubicBezTo>
                  <a:cubicBezTo>
                    <a:pt x="9269" y="35815"/>
                    <a:pt x="4815" y="42791"/>
                    <a:pt x="989" y="50111"/>
                  </a:cubicBezTo>
                  <a:cubicBezTo>
                    <a:pt x="1388" y="50590"/>
                    <a:pt x="1761" y="51096"/>
                    <a:pt x="2160" y="51602"/>
                  </a:cubicBezTo>
                  <a:cubicBezTo>
                    <a:pt x="15061" y="68552"/>
                    <a:pt x="26632" y="86472"/>
                    <a:pt x="36774" y="105200"/>
                  </a:cubicBezTo>
                  <a:cubicBezTo>
                    <a:pt x="45936" y="83034"/>
                    <a:pt x="60868" y="63728"/>
                    <a:pt x="80015" y="49286"/>
                  </a:cubicBezTo>
                  <a:lnTo>
                    <a:pt x="80894" y="48647"/>
                  </a:lnTo>
                  <a:cubicBezTo>
                    <a:pt x="83263" y="46916"/>
                    <a:pt x="85660" y="45238"/>
                    <a:pt x="88136" y="43641"/>
                  </a:cubicBezTo>
                  <a:cubicBezTo>
                    <a:pt x="81003" y="34380"/>
                    <a:pt x="73236" y="25626"/>
                    <a:pt x="64891" y="17441"/>
                  </a:cubicBezTo>
                </a:path>
              </a:pathLst>
            </a:custGeom>
            <a:solidFill>
              <a:srgbClr val="FAC200"/>
            </a:solidFill>
            <a:ln w="2661" cap="flat">
              <a:noFill/>
              <a:prstDash val="solid"/>
              <a:miter/>
            </a:ln>
          </p:spPr>
          <p:txBody>
            <a:bodyPr rtlCol="0" anchor="ctr"/>
            <a:lstStyle/>
            <a:p>
              <a:endParaRPr lang="pl-PL"/>
            </a:p>
          </p:txBody>
        </p:sp>
        <p:sp>
          <p:nvSpPr>
            <p:cNvPr id="105" name="Freeform: Shape 104">
              <a:extLst>
                <a:ext uri="{FF2B5EF4-FFF2-40B4-BE49-F238E27FC236}">
                  <a16:creationId xmlns:a16="http://schemas.microsoft.com/office/drawing/2014/main" id="{5318A663-EFED-4D3D-87DB-78D83F33591B}"/>
                </a:ext>
              </a:extLst>
            </p:cNvPr>
            <p:cNvSpPr/>
            <p:nvPr/>
          </p:nvSpPr>
          <p:spPr>
            <a:xfrm>
              <a:off x="11393217" y="6700272"/>
              <a:ext cx="51283" cy="56601"/>
            </a:xfrm>
            <a:custGeom>
              <a:avLst/>
              <a:gdLst>
                <a:gd name="connsiteX0" fmla="*/ 90133 w 90874"/>
                <a:gd name="connsiteY0" fmla="*/ 93882 h 100298"/>
                <a:gd name="connsiteX1" fmla="*/ 81613 w 90874"/>
                <a:gd name="connsiteY1" fmla="*/ 68055 h 100298"/>
                <a:gd name="connsiteX2" fmla="*/ 53762 w 90874"/>
                <a:gd name="connsiteY2" fmla="*/ 5909 h 100298"/>
                <a:gd name="connsiteX3" fmla="*/ 53762 w 90874"/>
                <a:gd name="connsiteY3" fmla="*/ 5909 h 100298"/>
                <a:gd name="connsiteX4" fmla="*/ 34165 w 90874"/>
                <a:gd name="connsiteY4" fmla="*/ 1276 h 100298"/>
                <a:gd name="connsiteX5" fmla="*/ 2213 w 90874"/>
                <a:gd name="connsiteY5" fmla="*/ 132 h 100298"/>
                <a:gd name="connsiteX6" fmla="*/ 989 w 90874"/>
                <a:gd name="connsiteY6" fmla="*/ 19089 h 100298"/>
                <a:gd name="connsiteX7" fmla="*/ 9376 w 90874"/>
                <a:gd name="connsiteY7" fmla="*/ 68081 h 100298"/>
                <a:gd name="connsiteX8" fmla="*/ 14888 w 90874"/>
                <a:gd name="connsiteY8" fmla="*/ 81395 h 100298"/>
                <a:gd name="connsiteX9" fmla="*/ 27854 w 90874"/>
                <a:gd name="connsiteY9" fmla="*/ 81182 h 100298"/>
                <a:gd name="connsiteX10" fmla="*/ 80388 w 90874"/>
                <a:gd name="connsiteY10" fmla="*/ 93829 h 100298"/>
                <a:gd name="connsiteX11" fmla="*/ 91864 w 90874"/>
                <a:gd name="connsiteY11" fmla="*/ 99953 h 100298"/>
                <a:gd name="connsiteX12" fmla="*/ 90080 w 90874"/>
                <a:gd name="connsiteY12" fmla="*/ 93829 h 10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874" h="100298">
                  <a:moveTo>
                    <a:pt x="90133" y="93882"/>
                  </a:moveTo>
                  <a:cubicBezTo>
                    <a:pt x="87470" y="85008"/>
                    <a:pt x="84629" y="76397"/>
                    <a:pt x="81613" y="68055"/>
                  </a:cubicBezTo>
                  <a:cubicBezTo>
                    <a:pt x="73918" y="46663"/>
                    <a:pt x="64607" y="25890"/>
                    <a:pt x="53762" y="5909"/>
                  </a:cubicBezTo>
                  <a:lnTo>
                    <a:pt x="53762" y="5909"/>
                  </a:lnTo>
                  <a:cubicBezTo>
                    <a:pt x="47353" y="3883"/>
                    <a:pt x="40803" y="2336"/>
                    <a:pt x="34165" y="1276"/>
                  </a:cubicBezTo>
                  <a:cubicBezTo>
                    <a:pt x="23600" y="-390"/>
                    <a:pt x="12872" y="-774"/>
                    <a:pt x="2213" y="132"/>
                  </a:cubicBezTo>
                  <a:cubicBezTo>
                    <a:pt x="1401" y="6418"/>
                    <a:pt x="991" y="12750"/>
                    <a:pt x="989" y="19089"/>
                  </a:cubicBezTo>
                  <a:cubicBezTo>
                    <a:pt x="973" y="35779"/>
                    <a:pt x="3808" y="52348"/>
                    <a:pt x="9376" y="68081"/>
                  </a:cubicBezTo>
                  <a:cubicBezTo>
                    <a:pt x="10992" y="72627"/>
                    <a:pt x="12829" y="77063"/>
                    <a:pt x="14888" y="81395"/>
                  </a:cubicBezTo>
                  <a:cubicBezTo>
                    <a:pt x="19174" y="81128"/>
                    <a:pt x="23488" y="81048"/>
                    <a:pt x="27854" y="81182"/>
                  </a:cubicBezTo>
                  <a:cubicBezTo>
                    <a:pt x="46046" y="81775"/>
                    <a:pt x="63920" y="86078"/>
                    <a:pt x="80388" y="93829"/>
                  </a:cubicBezTo>
                  <a:cubicBezTo>
                    <a:pt x="84329" y="95605"/>
                    <a:pt x="88155" y="97645"/>
                    <a:pt x="91864" y="99953"/>
                  </a:cubicBezTo>
                  <a:cubicBezTo>
                    <a:pt x="91278" y="97903"/>
                    <a:pt x="90692" y="95853"/>
                    <a:pt x="90080" y="93829"/>
                  </a:cubicBezTo>
                </a:path>
              </a:pathLst>
            </a:custGeom>
            <a:solidFill>
              <a:srgbClr val="FAC200"/>
            </a:solidFill>
            <a:ln w="2661" cap="flat">
              <a:noFill/>
              <a:prstDash val="solid"/>
              <a:miter/>
            </a:ln>
          </p:spPr>
          <p:txBody>
            <a:bodyPr rtlCol="0" anchor="ctr"/>
            <a:lstStyle/>
            <a:p>
              <a:endParaRPr lang="pl-PL"/>
            </a:p>
          </p:txBody>
        </p:sp>
        <p:sp>
          <p:nvSpPr>
            <p:cNvPr id="106" name="Freeform: Shape 105">
              <a:extLst>
                <a:ext uri="{FF2B5EF4-FFF2-40B4-BE49-F238E27FC236}">
                  <a16:creationId xmlns:a16="http://schemas.microsoft.com/office/drawing/2014/main" id="{2BFBA5D3-B202-4DAA-BD4A-3AA0C2140967}"/>
                </a:ext>
              </a:extLst>
            </p:cNvPr>
            <p:cNvSpPr/>
            <p:nvPr/>
          </p:nvSpPr>
          <p:spPr>
            <a:xfrm>
              <a:off x="11444530" y="6711466"/>
              <a:ext cx="36834" cy="78871"/>
            </a:xfrm>
            <a:custGeom>
              <a:avLst/>
              <a:gdLst>
                <a:gd name="connsiteX0" fmla="*/ 64785 w 65270"/>
                <a:gd name="connsiteY0" fmla="*/ 76205 h 139760"/>
                <a:gd name="connsiteX1" fmla="*/ 66249 w 65270"/>
                <a:gd name="connsiteY1" fmla="*/ 75246 h 139760"/>
                <a:gd name="connsiteX2" fmla="*/ 66249 w 65270"/>
                <a:gd name="connsiteY2" fmla="*/ 74048 h 139760"/>
                <a:gd name="connsiteX3" fmla="*/ 66249 w 65270"/>
                <a:gd name="connsiteY3" fmla="*/ 72291 h 139760"/>
                <a:gd name="connsiteX4" fmla="*/ 66249 w 65270"/>
                <a:gd name="connsiteY4" fmla="*/ 71332 h 139760"/>
                <a:gd name="connsiteX5" fmla="*/ 66249 w 65270"/>
                <a:gd name="connsiteY5" fmla="*/ 71199 h 139760"/>
                <a:gd name="connsiteX6" fmla="*/ 66249 w 65270"/>
                <a:gd name="connsiteY6" fmla="*/ 71199 h 139760"/>
                <a:gd name="connsiteX7" fmla="*/ 66249 w 65270"/>
                <a:gd name="connsiteY7" fmla="*/ 69734 h 139760"/>
                <a:gd name="connsiteX8" fmla="*/ 66249 w 65270"/>
                <a:gd name="connsiteY8" fmla="*/ 68563 h 139760"/>
                <a:gd name="connsiteX9" fmla="*/ 66249 w 65270"/>
                <a:gd name="connsiteY9" fmla="*/ 68563 h 139760"/>
                <a:gd name="connsiteX10" fmla="*/ 66249 w 65270"/>
                <a:gd name="connsiteY10" fmla="*/ 68243 h 139760"/>
                <a:gd name="connsiteX11" fmla="*/ 66249 w 65270"/>
                <a:gd name="connsiteY11" fmla="*/ 66699 h 139760"/>
                <a:gd name="connsiteX12" fmla="*/ 66249 w 65270"/>
                <a:gd name="connsiteY12" fmla="*/ 64942 h 139760"/>
                <a:gd name="connsiteX13" fmla="*/ 66249 w 65270"/>
                <a:gd name="connsiteY13" fmla="*/ 64755 h 139760"/>
                <a:gd name="connsiteX14" fmla="*/ 66249 w 65270"/>
                <a:gd name="connsiteY14" fmla="*/ 63211 h 139760"/>
                <a:gd name="connsiteX15" fmla="*/ 66249 w 65270"/>
                <a:gd name="connsiteY15" fmla="*/ 61294 h 139760"/>
                <a:gd name="connsiteX16" fmla="*/ 66249 w 65270"/>
                <a:gd name="connsiteY16" fmla="*/ 61054 h 139760"/>
                <a:gd name="connsiteX17" fmla="*/ 66249 w 65270"/>
                <a:gd name="connsiteY17" fmla="*/ 61054 h 139760"/>
                <a:gd name="connsiteX18" fmla="*/ 66249 w 65270"/>
                <a:gd name="connsiteY18" fmla="*/ 60575 h 139760"/>
                <a:gd name="connsiteX19" fmla="*/ 66116 w 65270"/>
                <a:gd name="connsiteY19" fmla="*/ 58338 h 139760"/>
                <a:gd name="connsiteX20" fmla="*/ 66116 w 65270"/>
                <a:gd name="connsiteY20" fmla="*/ 58179 h 139760"/>
                <a:gd name="connsiteX21" fmla="*/ 66116 w 65270"/>
                <a:gd name="connsiteY21" fmla="*/ 56661 h 139760"/>
                <a:gd name="connsiteX22" fmla="*/ 65797 w 65270"/>
                <a:gd name="connsiteY22" fmla="*/ 53333 h 139760"/>
                <a:gd name="connsiteX23" fmla="*/ 65797 w 65270"/>
                <a:gd name="connsiteY23" fmla="*/ 52827 h 139760"/>
                <a:gd name="connsiteX24" fmla="*/ 65797 w 65270"/>
                <a:gd name="connsiteY24" fmla="*/ 51868 h 139760"/>
                <a:gd name="connsiteX25" fmla="*/ 65797 w 65270"/>
                <a:gd name="connsiteY25" fmla="*/ 51442 h 139760"/>
                <a:gd name="connsiteX26" fmla="*/ 65424 w 65270"/>
                <a:gd name="connsiteY26" fmla="*/ 48380 h 139760"/>
                <a:gd name="connsiteX27" fmla="*/ 64971 w 65270"/>
                <a:gd name="connsiteY27" fmla="*/ 44546 h 139760"/>
                <a:gd name="connsiteX28" fmla="*/ 64705 w 65270"/>
                <a:gd name="connsiteY28" fmla="*/ 42762 h 139760"/>
                <a:gd name="connsiteX29" fmla="*/ 64705 w 65270"/>
                <a:gd name="connsiteY29" fmla="*/ 41830 h 139760"/>
                <a:gd name="connsiteX30" fmla="*/ 64386 w 65270"/>
                <a:gd name="connsiteY30" fmla="*/ 39753 h 139760"/>
                <a:gd name="connsiteX31" fmla="*/ 64386 w 65270"/>
                <a:gd name="connsiteY31" fmla="*/ 39753 h 139760"/>
                <a:gd name="connsiteX32" fmla="*/ 63906 w 65270"/>
                <a:gd name="connsiteY32" fmla="*/ 36878 h 139760"/>
                <a:gd name="connsiteX33" fmla="*/ 63906 w 65270"/>
                <a:gd name="connsiteY33" fmla="*/ 36665 h 139760"/>
                <a:gd name="connsiteX34" fmla="*/ 63640 w 65270"/>
                <a:gd name="connsiteY34" fmla="*/ 35094 h 139760"/>
                <a:gd name="connsiteX35" fmla="*/ 63640 w 65270"/>
                <a:gd name="connsiteY35" fmla="*/ 34641 h 139760"/>
                <a:gd name="connsiteX36" fmla="*/ 63640 w 65270"/>
                <a:gd name="connsiteY36" fmla="*/ 33816 h 139760"/>
                <a:gd name="connsiteX37" fmla="*/ 63294 w 65270"/>
                <a:gd name="connsiteY37" fmla="*/ 31979 h 139760"/>
                <a:gd name="connsiteX38" fmla="*/ 63294 w 65270"/>
                <a:gd name="connsiteY38" fmla="*/ 31845 h 139760"/>
                <a:gd name="connsiteX39" fmla="*/ 62815 w 65270"/>
                <a:gd name="connsiteY39" fmla="*/ 29183 h 139760"/>
                <a:gd name="connsiteX40" fmla="*/ 62362 w 65270"/>
                <a:gd name="connsiteY40" fmla="*/ 26973 h 139760"/>
                <a:gd name="connsiteX41" fmla="*/ 62362 w 65270"/>
                <a:gd name="connsiteY41" fmla="*/ 26520 h 139760"/>
                <a:gd name="connsiteX42" fmla="*/ 61377 w 65270"/>
                <a:gd name="connsiteY42" fmla="*/ 22100 h 139760"/>
                <a:gd name="connsiteX43" fmla="*/ 61377 w 65270"/>
                <a:gd name="connsiteY43" fmla="*/ 22100 h 139760"/>
                <a:gd name="connsiteX44" fmla="*/ 60951 w 65270"/>
                <a:gd name="connsiteY44" fmla="*/ 20316 h 139760"/>
                <a:gd name="connsiteX45" fmla="*/ 60951 w 65270"/>
                <a:gd name="connsiteY45" fmla="*/ 20130 h 139760"/>
                <a:gd name="connsiteX46" fmla="*/ 60205 w 65270"/>
                <a:gd name="connsiteY46" fmla="*/ 17015 h 139760"/>
                <a:gd name="connsiteX47" fmla="*/ 60205 w 65270"/>
                <a:gd name="connsiteY47" fmla="*/ 17015 h 139760"/>
                <a:gd name="connsiteX48" fmla="*/ 59753 w 65270"/>
                <a:gd name="connsiteY48" fmla="*/ 15177 h 139760"/>
                <a:gd name="connsiteX49" fmla="*/ 59753 w 65270"/>
                <a:gd name="connsiteY49" fmla="*/ 15177 h 139760"/>
                <a:gd name="connsiteX50" fmla="*/ 58847 w 65270"/>
                <a:gd name="connsiteY50" fmla="*/ 11769 h 139760"/>
                <a:gd name="connsiteX51" fmla="*/ 58421 w 65270"/>
                <a:gd name="connsiteY51" fmla="*/ 10172 h 139760"/>
                <a:gd name="connsiteX52" fmla="*/ 57010 w 65270"/>
                <a:gd name="connsiteY52" fmla="*/ 5326 h 139760"/>
                <a:gd name="connsiteX53" fmla="*/ 57010 w 65270"/>
                <a:gd name="connsiteY53" fmla="*/ 5166 h 139760"/>
                <a:gd name="connsiteX54" fmla="*/ 56691 w 65270"/>
                <a:gd name="connsiteY54" fmla="*/ 4208 h 139760"/>
                <a:gd name="connsiteX55" fmla="*/ 56691 w 65270"/>
                <a:gd name="connsiteY55" fmla="*/ 4074 h 139760"/>
                <a:gd name="connsiteX56" fmla="*/ 55546 w 65270"/>
                <a:gd name="connsiteY56" fmla="*/ 453 h 139760"/>
                <a:gd name="connsiteX57" fmla="*/ 55306 w 65270"/>
                <a:gd name="connsiteY57" fmla="*/ -346 h 139760"/>
                <a:gd name="connsiteX58" fmla="*/ 55306 w 65270"/>
                <a:gd name="connsiteY58" fmla="*/ -346 h 139760"/>
                <a:gd name="connsiteX59" fmla="*/ 32141 w 65270"/>
                <a:gd name="connsiteY59" fmla="*/ 19597 h 139760"/>
                <a:gd name="connsiteX60" fmla="*/ 11293 w 65270"/>
                <a:gd name="connsiteY60" fmla="*/ 48114 h 139760"/>
                <a:gd name="connsiteX61" fmla="*/ 2320 w 65270"/>
                <a:gd name="connsiteY61" fmla="*/ 73941 h 139760"/>
                <a:gd name="connsiteX62" fmla="*/ 989 w 65270"/>
                <a:gd name="connsiteY62" fmla="*/ 80065 h 139760"/>
                <a:gd name="connsiteX63" fmla="*/ 5355 w 65270"/>
                <a:gd name="connsiteY63" fmla="*/ 96467 h 139760"/>
                <a:gd name="connsiteX64" fmla="*/ 6447 w 65270"/>
                <a:gd name="connsiteY64" fmla="*/ 100940 h 139760"/>
                <a:gd name="connsiteX65" fmla="*/ 14142 w 65270"/>
                <a:gd name="connsiteY65" fmla="*/ 139415 h 139760"/>
                <a:gd name="connsiteX66" fmla="*/ 35443 w 65270"/>
                <a:gd name="connsiteY66" fmla="*/ 100940 h 139760"/>
                <a:gd name="connsiteX67" fmla="*/ 64732 w 65270"/>
                <a:gd name="connsiteY67" fmla="*/ 76098 h 13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5270" h="139760">
                  <a:moveTo>
                    <a:pt x="64785" y="76205"/>
                  </a:moveTo>
                  <a:lnTo>
                    <a:pt x="66249" y="75246"/>
                  </a:lnTo>
                  <a:cubicBezTo>
                    <a:pt x="66249" y="74847"/>
                    <a:pt x="66249" y="74447"/>
                    <a:pt x="66249" y="74048"/>
                  </a:cubicBezTo>
                  <a:cubicBezTo>
                    <a:pt x="66249" y="73648"/>
                    <a:pt x="66249" y="72876"/>
                    <a:pt x="66249" y="72291"/>
                  </a:cubicBezTo>
                  <a:cubicBezTo>
                    <a:pt x="66249" y="71705"/>
                    <a:pt x="66249" y="71652"/>
                    <a:pt x="66249" y="71332"/>
                  </a:cubicBezTo>
                  <a:lnTo>
                    <a:pt x="66249" y="71199"/>
                  </a:lnTo>
                  <a:lnTo>
                    <a:pt x="66249" y="71199"/>
                  </a:lnTo>
                  <a:cubicBezTo>
                    <a:pt x="66249" y="70720"/>
                    <a:pt x="66249" y="70214"/>
                    <a:pt x="66249" y="69734"/>
                  </a:cubicBezTo>
                  <a:cubicBezTo>
                    <a:pt x="66249" y="69255"/>
                    <a:pt x="66249" y="68962"/>
                    <a:pt x="66249" y="68563"/>
                  </a:cubicBezTo>
                  <a:lnTo>
                    <a:pt x="66249" y="68563"/>
                  </a:lnTo>
                  <a:cubicBezTo>
                    <a:pt x="66263" y="68456"/>
                    <a:pt x="66263" y="68350"/>
                    <a:pt x="66249" y="68243"/>
                  </a:cubicBezTo>
                  <a:cubicBezTo>
                    <a:pt x="66249" y="67737"/>
                    <a:pt x="66249" y="67232"/>
                    <a:pt x="66249" y="66699"/>
                  </a:cubicBezTo>
                  <a:lnTo>
                    <a:pt x="66249" y="64942"/>
                  </a:lnTo>
                  <a:lnTo>
                    <a:pt x="66249" y="64755"/>
                  </a:lnTo>
                  <a:cubicBezTo>
                    <a:pt x="66249" y="64249"/>
                    <a:pt x="66249" y="63744"/>
                    <a:pt x="66249" y="63211"/>
                  </a:cubicBezTo>
                  <a:cubicBezTo>
                    <a:pt x="66249" y="62679"/>
                    <a:pt x="66249" y="61933"/>
                    <a:pt x="66249" y="61294"/>
                  </a:cubicBezTo>
                  <a:lnTo>
                    <a:pt x="66249" y="61054"/>
                  </a:lnTo>
                  <a:lnTo>
                    <a:pt x="66249" y="61054"/>
                  </a:lnTo>
                  <a:lnTo>
                    <a:pt x="66249" y="60575"/>
                  </a:lnTo>
                  <a:cubicBezTo>
                    <a:pt x="66249" y="59830"/>
                    <a:pt x="66249" y="59084"/>
                    <a:pt x="66116" y="58338"/>
                  </a:cubicBezTo>
                  <a:lnTo>
                    <a:pt x="66116" y="58179"/>
                  </a:lnTo>
                  <a:cubicBezTo>
                    <a:pt x="66116" y="57673"/>
                    <a:pt x="66116" y="57167"/>
                    <a:pt x="66116" y="56661"/>
                  </a:cubicBezTo>
                  <a:cubicBezTo>
                    <a:pt x="66116" y="55543"/>
                    <a:pt x="65930" y="54451"/>
                    <a:pt x="65797" y="53333"/>
                  </a:cubicBezTo>
                  <a:cubicBezTo>
                    <a:pt x="65797" y="53146"/>
                    <a:pt x="65797" y="52987"/>
                    <a:pt x="65797" y="52827"/>
                  </a:cubicBezTo>
                  <a:cubicBezTo>
                    <a:pt x="65797" y="52667"/>
                    <a:pt x="65797" y="52188"/>
                    <a:pt x="65797" y="51868"/>
                  </a:cubicBezTo>
                  <a:lnTo>
                    <a:pt x="65797" y="51442"/>
                  </a:lnTo>
                  <a:cubicBezTo>
                    <a:pt x="65797" y="50430"/>
                    <a:pt x="65557" y="49392"/>
                    <a:pt x="65424" y="48380"/>
                  </a:cubicBezTo>
                  <a:cubicBezTo>
                    <a:pt x="65291" y="47368"/>
                    <a:pt x="65131" y="45718"/>
                    <a:pt x="64971" y="44546"/>
                  </a:cubicBezTo>
                  <a:cubicBezTo>
                    <a:pt x="64971" y="43960"/>
                    <a:pt x="64785" y="43348"/>
                    <a:pt x="64705" y="42762"/>
                  </a:cubicBezTo>
                  <a:cubicBezTo>
                    <a:pt x="64625" y="42176"/>
                    <a:pt x="64705" y="42150"/>
                    <a:pt x="64705" y="41830"/>
                  </a:cubicBezTo>
                  <a:lnTo>
                    <a:pt x="64386" y="39753"/>
                  </a:lnTo>
                  <a:lnTo>
                    <a:pt x="64386" y="39753"/>
                  </a:lnTo>
                  <a:lnTo>
                    <a:pt x="63906" y="36878"/>
                  </a:lnTo>
                  <a:lnTo>
                    <a:pt x="63906" y="36665"/>
                  </a:lnTo>
                  <a:cubicBezTo>
                    <a:pt x="63906" y="36132"/>
                    <a:pt x="63720" y="35600"/>
                    <a:pt x="63640" y="35094"/>
                  </a:cubicBezTo>
                  <a:lnTo>
                    <a:pt x="63640" y="34641"/>
                  </a:lnTo>
                  <a:cubicBezTo>
                    <a:pt x="63640" y="34348"/>
                    <a:pt x="63640" y="34082"/>
                    <a:pt x="63640" y="33816"/>
                  </a:cubicBezTo>
                  <a:cubicBezTo>
                    <a:pt x="63640" y="33550"/>
                    <a:pt x="63400" y="32591"/>
                    <a:pt x="63294" y="31979"/>
                  </a:cubicBezTo>
                  <a:lnTo>
                    <a:pt x="63294" y="31845"/>
                  </a:lnTo>
                  <a:lnTo>
                    <a:pt x="62815" y="29183"/>
                  </a:lnTo>
                  <a:cubicBezTo>
                    <a:pt x="62655" y="28437"/>
                    <a:pt x="62522" y="27718"/>
                    <a:pt x="62362" y="26973"/>
                  </a:cubicBezTo>
                  <a:lnTo>
                    <a:pt x="62362" y="26520"/>
                  </a:lnTo>
                  <a:cubicBezTo>
                    <a:pt x="62042" y="25056"/>
                    <a:pt x="61723" y="23565"/>
                    <a:pt x="61377" y="22100"/>
                  </a:cubicBezTo>
                  <a:lnTo>
                    <a:pt x="61377" y="22100"/>
                  </a:lnTo>
                  <a:cubicBezTo>
                    <a:pt x="61244" y="21515"/>
                    <a:pt x="61084" y="20902"/>
                    <a:pt x="60951" y="20316"/>
                  </a:cubicBezTo>
                  <a:lnTo>
                    <a:pt x="60951" y="20130"/>
                  </a:lnTo>
                  <a:cubicBezTo>
                    <a:pt x="60711" y="19092"/>
                    <a:pt x="60472" y="18053"/>
                    <a:pt x="60205" y="17015"/>
                  </a:cubicBezTo>
                  <a:lnTo>
                    <a:pt x="60205" y="17015"/>
                  </a:lnTo>
                  <a:cubicBezTo>
                    <a:pt x="60046" y="16402"/>
                    <a:pt x="59912" y="15790"/>
                    <a:pt x="59753" y="15177"/>
                  </a:cubicBezTo>
                  <a:lnTo>
                    <a:pt x="59753" y="15177"/>
                  </a:lnTo>
                  <a:cubicBezTo>
                    <a:pt x="59460" y="14033"/>
                    <a:pt x="59140" y="12914"/>
                    <a:pt x="58847" y="11769"/>
                  </a:cubicBezTo>
                  <a:cubicBezTo>
                    <a:pt x="58688" y="11237"/>
                    <a:pt x="58554" y="10704"/>
                    <a:pt x="58421" y="10172"/>
                  </a:cubicBezTo>
                  <a:cubicBezTo>
                    <a:pt x="57969" y="8548"/>
                    <a:pt x="57489" y="6950"/>
                    <a:pt x="57010" y="5326"/>
                  </a:cubicBezTo>
                  <a:lnTo>
                    <a:pt x="57010" y="5166"/>
                  </a:lnTo>
                  <a:lnTo>
                    <a:pt x="56691" y="4208"/>
                  </a:lnTo>
                  <a:lnTo>
                    <a:pt x="56691" y="4074"/>
                  </a:lnTo>
                  <a:cubicBezTo>
                    <a:pt x="56318" y="2876"/>
                    <a:pt x="55945" y="1651"/>
                    <a:pt x="55546" y="453"/>
                  </a:cubicBezTo>
                  <a:lnTo>
                    <a:pt x="55306" y="-346"/>
                  </a:lnTo>
                  <a:lnTo>
                    <a:pt x="55306" y="-346"/>
                  </a:lnTo>
                  <a:cubicBezTo>
                    <a:pt x="46772" y="5297"/>
                    <a:pt x="38990" y="11998"/>
                    <a:pt x="32141" y="19597"/>
                  </a:cubicBezTo>
                  <a:cubicBezTo>
                    <a:pt x="23791" y="27995"/>
                    <a:pt x="16762" y="37610"/>
                    <a:pt x="11293" y="48114"/>
                  </a:cubicBezTo>
                  <a:cubicBezTo>
                    <a:pt x="7430" y="56395"/>
                    <a:pt x="4423" y="65048"/>
                    <a:pt x="2320" y="73941"/>
                  </a:cubicBezTo>
                  <a:cubicBezTo>
                    <a:pt x="1814" y="76071"/>
                    <a:pt x="1362" y="78122"/>
                    <a:pt x="989" y="80065"/>
                  </a:cubicBezTo>
                  <a:cubicBezTo>
                    <a:pt x="2533" y="85391"/>
                    <a:pt x="3971" y="90876"/>
                    <a:pt x="5355" y="96467"/>
                  </a:cubicBezTo>
                  <a:cubicBezTo>
                    <a:pt x="5728" y="97932"/>
                    <a:pt x="6101" y="99449"/>
                    <a:pt x="6447" y="100940"/>
                  </a:cubicBezTo>
                  <a:cubicBezTo>
                    <a:pt x="9376" y="113215"/>
                    <a:pt x="11985" y="126022"/>
                    <a:pt x="14142" y="139415"/>
                  </a:cubicBezTo>
                  <a:cubicBezTo>
                    <a:pt x="18559" y="125279"/>
                    <a:pt x="25807" y="112187"/>
                    <a:pt x="35443" y="100940"/>
                  </a:cubicBezTo>
                  <a:cubicBezTo>
                    <a:pt x="44062" y="91398"/>
                    <a:pt x="53911" y="83045"/>
                    <a:pt x="64732" y="76098"/>
                  </a:cubicBezTo>
                </a:path>
              </a:pathLst>
            </a:custGeom>
            <a:solidFill>
              <a:srgbClr val="FAC200"/>
            </a:solidFill>
            <a:ln w="2661" cap="flat">
              <a:noFill/>
              <a:prstDash val="solid"/>
              <a:miter/>
            </a:ln>
          </p:spPr>
          <p:txBody>
            <a:bodyPr rtlCol="0" anchor="ctr"/>
            <a:lstStyle/>
            <a:p>
              <a:endParaRPr lang="pl-PL"/>
            </a:p>
          </p:txBody>
        </p:sp>
        <p:sp>
          <p:nvSpPr>
            <p:cNvPr id="107" name="Freeform: Shape 106">
              <a:extLst>
                <a:ext uri="{FF2B5EF4-FFF2-40B4-BE49-F238E27FC236}">
                  <a16:creationId xmlns:a16="http://schemas.microsoft.com/office/drawing/2014/main" id="{92AAA3EE-7915-4F2A-AC3B-82ABD2F5E44F}"/>
                </a:ext>
              </a:extLst>
            </p:cNvPr>
            <p:cNvSpPr/>
            <p:nvPr/>
          </p:nvSpPr>
          <p:spPr>
            <a:xfrm>
              <a:off x="11422998" y="6669063"/>
              <a:ext cx="51268" cy="87781"/>
            </a:xfrm>
            <a:custGeom>
              <a:avLst/>
              <a:gdLst>
                <a:gd name="connsiteX0" fmla="*/ 91837 w 90848"/>
                <a:gd name="connsiteY0" fmla="*/ 74447 h 155549"/>
                <a:gd name="connsiteX1" fmla="*/ 91438 w 90848"/>
                <a:gd name="connsiteY1" fmla="*/ 73276 h 155549"/>
                <a:gd name="connsiteX2" fmla="*/ 90532 w 90848"/>
                <a:gd name="connsiteY2" fmla="*/ 70613 h 155549"/>
                <a:gd name="connsiteX3" fmla="*/ 89787 w 90848"/>
                <a:gd name="connsiteY3" fmla="*/ 68430 h 155549"/>
                <a:gd name="connsiteX4" fmla="*/ 88908 w 90848"/>
                <a:gd name="connsiteY4" fmla="*/ 66060 h 155549"/>
                <a:gd name="connsiteX5" fmla="*/ 88056 w 90848"/>
                <a:gd name="connsiteY5" fmla="*/ 63770 h 155549"/>
                <a:gd name="connsiteX6" fmla="*/ 87737 w 90848"/>
                <a:gd name="connsiteY6" fmla="*/ 62892 h 155549"/>
                <a:gd name="connsiteX7" fmla="*/ 85341 w 90848"/>
                <a:gd name="connsiteY7" fmla="*/ 56874 h 155549"/>
                <a:gd name="connsiteX8" fmla="*/ 84701 w 90848"/>
                <a:gd name="connsiteY8" fmla="*/ 55356 h 155549"/>
                <a:gd name="connsiteX9" fmla="*/ 83477 w 90848"/>
                <a:gd name="connsiteY9" fmla="*/ 52481 h 155549"/>
                <a:gd name="connsiteX10" fmla="*/ 61217 w 90848"/>
                <a:gd name="connsiteY10" fmla="*/ 11956 h 155549"/>
                <a:gd name="connsiteX11" fmla="*/ 52351 w 90848"/>
                <a:gd name="connsiteY11" fmla="*/ -346 h 155549"/>
                <a:gd name="connsiteX12" fmla="*/ 45108 w 90848"/>
                <a:gd name="connsiteY12" fmla="*/ 4660 h 155549"/>
                <a:gd name="connsiteX13" fmla="*/ 44230 w 90848"/>
                <a:gd name="connsiteY13" fmla="*/ 5299 h 155549"/>
                <a:gd name="connsiteX14" fmla="*/ 989 w 90848"/>
                <a:gd name="connsiteY14" fmla="*/ 61214 h 155549"/>
                <a:gd name="connsiteX15" fmla="*/ 989 w 90848"/>
                <a:gd name="connsiteY15" fmla="*/ 61214 h 155549"/>
                <a:gd name="connsiteX16" fmla="*/ 28840 w 90848"/>
                <a:gd name="connsiteY16" fmla="*/ 123253 h 155549"/>
                <a:gd name="connsiteX17" fmla="*/ 37360 w 90848"/>
                <a:gd name="connsiteY17" fmla="*/ 149080 h 155549"/>
                <a:gd name="connsiteX18" fmla="*/ 39144 w 90848"/>
                <a:gd name="connsiteY18" fmla="*/ 155204 h 155549"/>
                <a:gd name="connsiteX19" fmla="*/ 40475 w 90848"/>
                <a:gd name="connsiteY19" fmla="*/ 149080 h 155549"/>
                <a:gd name="connsiteX20" fmla="*/ 49448 w 90848"/>
                <a:gd name="connsiteY20" fmla="*/ 123253 h 155549"/>
                <a:gd name="connsiteX21" fmla="*/ 68646 w 90848"/>
                <a:gd name="connsiteY21" fmla="*/ 94284 h 155549"/>
                <a:gd name="connsiteX22" fmla="*/ 91811 w 90848"/>
                <a:gd name="connsiteY22" fmla="*/ 74341 h 155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0848" h="155549">
                  <a:moveTo>
                    <a:pt x="91837" y="74447"/>
                  </a:moveTo>
                  <a:lnTo>
                    <a:pt x="91438" y="73276"/>
                  </a:lnTo>
                  <a:cubicBezTo>
                    <a:pt x="91145" y="72397"/>
                    <a:pt x="90852" y="71518"/>
                    <a:pt x="90532" y="70613"/>
                  </a:cubicBezTo>
                  <a:lnTo>
                    <a:pt x="89787" y="68430"/>
                  </a:lnTo>
                  <a:lnTo>
                    <a:pt x="88908" y="66060"/>
                  </a:lnTo>
                  <a:cubicBezTo>
                    <a:pt x="88642" y="65288"/>
                    <a:pt x="88349" y="64516"/>
                    <a:pt x="88056" y="63770"/>
                  </a:cubicBezTo>
                  <a:lnTo>
                    <a:pt x="87737" y="62892"/>
                  </a:lnTo>
                  <a:cubicBezTo>
                    <a:pt x="86965" y="60868"/>
                    <a:pt x="86166" y="58871"/>
                    <a:pt x="85341" y="56874"/>
                  </a:cubicBezTo>
                  <a:lnTo>
                    <a:pt x="84701" y="55356"/>
                  </a:lnTo>
                  <a:cubicBezTo>
                    <a:pt x="84302" y="54398"/>
                    <a:pt x="83903" y="53439"/>
                    <a:pt x="83477" y="52481"/>
                  </a:cubicBezTo>
                  <a:cubicBezTo>
                    <a:pt x="77315" y="38318"/>
                    <a:pt x="69863" y="24752"/>
                    <a:pt x="61217" y="11956"/>
                  </a:cubicBezTo>
                  <a:cubicBezTo>
                    <a:pt x="58395" y="7775"/>
                    <a:pt x="55413" y="3675"/>
                    <a:pt x="52351" y="-346"/>
                  </a:cubicBezTo>
                  <a:cubicBezTo>
                    <a:pt x="49874" y="1252"/>
                    <a:pt x="47478" y="2929"/>
                    <a:pt x="45108" y="4660"/>
                  </a:cubicBezTo>
                  <a:lnTo>
                    <a:pt x="44230" y="5299"/>
                  </a:lnTo>
                  <a:cubicBezTo>
                    <a:pt x="25083" y="19741"/>
                    <a:pt x="10151" y="39048"/>
                    <a:pt x="989" y="61214"/>
                  </a:cubicBezTo>
                  <a:lnTo>
                    <a:pt x="989" y="61214"/>
                  </a:lnTo>
                  <a:cubicBezTo>
                    <a:pt x="11823" y="81162"/>
                    <a:pt x="21134" y="101901"/>
                    <a:pt x="28840" y="123253"/>
                  </a:cubicBezTo>
                  <a:cubicBezTo>
                    <a:pt x="31822" y="131534"/>
                    <a:pt x="34698" y="140134"/>
                    <a:pt x="37360" y="149080"/>
                  </a:cubicBezTo>
                  <a:cubicBezTo>
                    <a:pt x="37972" y="151104"/>
                    <a:pt x="38558" y="153154"/>
                    <a:pt x="39144" y="155204"/>
                  </a:cubicBezTo>
                  <a:cubicBezTo>
                    <a:pt x="39517" y="153261"/>
                    <a:pt x="39969" y="151210"/>
                    <a:pt x="40475" y="149080"/>
                  </a:cubicBezTo>
                  <a:cubicBezTo>
                    <a:pt x="42579" y="140187"/>
                    <a:pt x="45585" y="131534"/>
                    <a:pt x="49448" y="123253"/>
                  </a:cubicBezTo>
                  <a:cubicBezTo>
                    <a:pt x="54372" y="112696"/>
                    <a:pt x="60842" y="102932"/>
                    <a:pt x="68646" y="94284"/>
                  </a:cubicBezTo>
                  <a:cubicBezTo>
                    <a:pt x="75494" y="86685"/>
                    <a:pt x="83277" y="79983"/>
                    <a:pt x="91811" y="74341"/>
                  </a:cubicBezTo>
                  <a:close/>
                </a:path>
              </a:pathLst>
            </a:custGeom>
            <a:solidFill>
              <a:srgbClr val="E09C00"/>
            </a:solidFill>
            <a:ln w="2661" cap="flat">
              <a:noFill/>
              <a:prstDash val="solid"/>
              <a:miter/>
            </a:ln>
          </p:spPr>
          <p:txBody>
            <a:bodyPr rtlCol="0" anchor="ctr"/>
            <a:lstStyle/>
            <a:p>
              <a:endParaRPr lang="pl-PL"/>
            </a:p>
          </p:txBody>
        </p:sp>
        <p:sp>
          <p:nvSpPr>
            <p:cNvPr id="108" name="Freeform: Shape 107">
              <a:extLst>
                <a:ext uri="{FF2B5EF4-FFF2-40B4-BE49-F238E27FC236}">
                  <a16:creationId xmlns:a16="http://schemas.microsoft.com/office/drawing/2014/main" id="{C1AA4845-5C15-4A9A-A4C8-19EAB417CA67}"/>
                </a:ext>
              </a:extLst>
            </p:cNvPr>
            <p:cNvSpPr/>
            <p:nvPr/>
          </p:nvSpPr>
          <p:spPr>
            <a:xfrm>
              <a:off x="11393940" y="6672699"/>
              <a:ext cx="29090" cy="31088"/>
            </a:xfrm>
            <a:custGeom>
              <a:avLst/>
              <a:gdLst>
                <a:gd name="connsiteX0" fmla="*/ 17790 w 51548"/>
                <a:gd name="connsiteY0" fmla="*/ 1145 h 55089"/>
                <a:gd name="connsiteX1" fmla="*/ 16618 w 51548"/>
                <a:gd name="connsiteY1" fmla="*/ -346 h 55089"/>
                <a:gd name="connsiteX2" fmla="*/ 16272 w 51548"/>
                <a:gd name="connsiteY2" fmla="*/ 293 h 55089"/>
                <a:gd name="connsiteX3" fmla="*/ 989 w 51548"/>
                <a:gd name="connsiteY3" fmla="*/ 48939 h 55089"/>
                <a:gd name="connsiteX4" fmla="*/ 32940 w 51548"/>
                <a:gd name="connsiteY4" fmla="*/ 50111 h 55089"/>
                <a:gd name="connsiteX5" fmla="*/ 52537 w 51548"/>
                <a:gd name="connsiteY5" fmla="*/ 54744 h 55089"/>
                <a:gd name="connsiteX6" fmla="*/ 17923 w 51548"/>
                <a:gd name="connsiteY6" fmla="*/ 1145 h 55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48" h="55089">
                  <a:moveTo>
                    <a:pt x="17790" y="1145"/>
                  </a:moveTo>
                  <a:cubicBezTo>
                    <a:pt x="17390" y="640"/>
                    <a:pt x="17018" y="134"/>
                    <a:pt x="16618" y="-346"/>
                  </a:cubicBezTo>
                  <a:cubicBezTo>
                    <a:pt x="16618" y="-133"/>
                    <a:pt x="16405" y="80"/>
                    <a:pt x="16272" y="293"/>
                  </a:cubicBezTo>
                  <a:cubicBezTo>
                    <a:pt x="8353" y="15484"/>
                    <a:pt x="3180" y="31952"/>
                    <a:pt x="989" y="48939"/>
                  </a:cubicBezTo>
                  <a:cubicBezTo>
                    <a:pt x="11647" y="48055"/>
                    <a:pt x="22375" y="48449"/>
                    <a:pt x="32940" y="50111"/>
                  </a:cubicBezTo>
                  <a:cubicBezTo>
                    <a:pt x="39578" y="51171"/>
                    <a:pt x="46128" y="52718"/>
                    <a:pt x="52537" y="54744"/>
                  </a:cubicBezTo>
                  <a:cubicBezTo>
                    <a:pt x="42395" y="36015"/>
                    <a:pt x="30823" y="18096"/>
                    <a:pt x="17923" y="1145"/>
                  </a:cubicBezTo>
                </a:path>
              </a:pathLst>
            </a:custGeom>
            <a:solidFill>
              <a:srgbClr val="E09C00"/>
            </a:solidFill>
            <a:ln w="2661" cap="flat">
              <a:noFill/>
              <a:prstDash val="solid"/>
              <a:miter/>
            </a:ln>
          </p:spPr>
          <p:txBody>
            <a:bodyPr rtlCol="0" anchor="ctr"/>
            <a:lstStyle/>
            <a:p>
              <a:endParaRPr lang="pl-PL"/>
            </a:p>
          </p:txBody>
        </p:sp>
        <p:sp>
          <p:nvSpPr>
            <p:cNvPr id="109" name="Freeform: Shape 108">
              <a:extLst>
                <a:ext uri="{FF2B5EF4-FFF2-40B4-BE49-F238E27FC236}">
                  <a16:creationId xmlns:a16="http://schemas.microsoft.com/office/drawing/2014/main" id="{3BEF3E6A-76AE-4869-BDC9-D7E10A050957}"/>
                </a:ext>
              </a:extLst>
            </p:cNvPr>
            <p:cNvSpPr/>
            <p:nvPr/>
          </p:nvSpPr>
          <p:spPr>
            <a:xfrm>
              <a:off x="11401092" y="6746296"/>
              <a:ext cx="50862" cy="44116"/>
            </a:xfrm>
            <a:custGeom>
              <a:avLst/>
              <a:gdLst>
                <a:gd name="connsiteX0" fmla="*/ 83423 w 90129"/>
                <a:gd name="connsiteY0" fmla="*/ 39327 h 78174"/>
                <a:gd name="connsiteX1" fmla="*/ 82332 w 90129"/>
                <a:gd name="connsiteY1" fmla="*/ 34854 h 78174"/>
                <a:gd name="connsiteX2" fmla="*/ 77965 w 90129"/>
                <a:gd name="connsiteY2" fmla="*/ 18453 h 78174"/>
                <a:gd name="connsiteX3" fmla="*/ 66489 w 90129"/>
                <a:gd name="connsiteY3" fmla="*/ 12328 h 78174"/>
                <a:gd name="connsiteX4" fmla="*/ 13956 w 90129"/>
                <a:gd name="connsiteY4" fmla="*/ -292 h 78174"/>
                <a:gd name="connsiteX5" fmla="*/ 989 w 90129"/>
                <a:gd name="connsiteY5" fmla="*/ -79 h 78174"/>
                <a:gd name="connsiteX6" fmla="*/ 7619 w 90129"/>
                <a:gd name="connsiteY6" fmla="*/ 12355 h 78174"/>
                <a:gd name="connsiteX7" fmla="*/ 28227 w 90129"/>
                <a:gd name="connsiteY7" fmla="*/ 39354 h 78174"/>
                <a:gd name="connsiteX8" fmla="*/ 91118 w 90129"/>
                <a:gd name="connsiteY8" fmla="*/ 77829 h 78174"/>
                <a:gd name="connsiteX9" fmla="*/ 83423 w 90129"/>
                <a:gd name="connsiteY9" fmla="*/ 39354 h 78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129" h="78174">
                  <a:moveTo>
                    <a:pt x="83423" y="39327"/>
                  </a:moveTo>
                  <a:cubicBezTo>
                    <a:pt x="83077" y="37836"/>
                    <a:pt x="82704" y="36319"/>
                    <a:pt x="82332" y="34854"/>
                  </a:cubicBezTo>
                  <a:cubicBezTo>
                    <a:pt x="80947" y="29263"/>
                    <a:pt x="79509" y="23804"/>
                    <a:pt x="77965" y="18453"/>
                  </a:cubicBezTo>
                  <a:cubicBezTo>
                    <a:pt x="74272" y="16235"/>
                    <a:pt x="70448" y="14192"/>
                    <a:pt x="66489" y="12328"/>
                  </a:cubicBezTo>
                  <a:cubicBezTo>
                    <a:pt x="50021" y="4588"/>
                    <a:pt x="32144" y="293"/>
                    <a:pt x="13956" y="-292"/>
                  </a:cubicBezTo>
                  <a:cubicBezTo>
                    <a:pt x="9589" y="-425"/>
                    <a:pt x="5275" y="-292"/>
                    <a:pt x="989" y="-79"/>
                  </a:cubicBezTo>
                  <a:cubicBezTo>
                    <a:pt x="3012" y="4181"/>
                    <a:pt x="5222" y="8327"/>
                    <a:pt x="7619" y="12355"/>
                  </a:cubicBezTo>
                  <a:cubicBezTo>
                    <a:pt x="13418" y="22122"/>
                    <a:pt x="20335" y="31182"/>
                    <a:pt x="28227" y="39354"/>
                  </a:cubicBezTo>
                  <a:cubicBezTo>
                    <a:pt x="45566" y="57332"/>
                    <a:pt x="67216" y="70576"/>
                    <a:pt x="91118" y="77829"/>
                  </a:cubicBezTo>
                  <a:cubicBezTo>
                    <a:pt x="88961" y="64516"/>
                    <a:pt x="86352" y="51629"/>
                    <a:pt x="83423" y="39354"/>
                  </a:cubicBezTo>
                </a:path>
              </a:pathLst>
            </a:custGeom>
            <a:solidFill>
              <a:srgbClr val="E09C00"/>
            </a:solidFill>
            <a:ln w="2661" cap="flat">
              <a:noFill/>
              <a:prstDash val="solid"/>
              <a:miter/>
            </a:ln>
          </p:spPr>
          <p:txBody>
            <a:bodyPr rtlCol="0" anchor="ctr"/>
            <a:lstStyle/>
            <a:p>
              <a:endParaRPr lang="pl-PL"/>
            </a:p>
          </p:txBody>
        </p:sp>
        <p:sp>
          <p:nvSpPr>
            <p:cNvPr id="110" name="Freeform: Shape 109">
              <a:extLst>
                <a:ext uri="{FF2B5EF4-FFF2-40B4-BE49-F238E27FC236}">
                  <a16:creationId xmlns:a16="http://schemas.microsoft.com/office/drawing/2014/main" id="{01E9007A-D597-42CF-A973-8FC4F95EA615}"/>
                </a:ext>
              </a:extLst>
            </p:cNvPr>
            <p:cNvSpPr/>
            <p:nvPr/>
          </p:nvSpPr>
          <p:spPr>
            <a:xfrm>
              <a:off x="11451983" y="6691629"/>
              <a:ext cx="106699" cy="102254"/>
            </a:xfrm>
            <a:custGeom>
              <a:avLst/>
              <a:gdLst>
                <a:gd name="connsiteX0" fmla="*/ 189954 w 189072"/>
                <a:gd name="connsiteY0" fmla="*/ 30014 h 181196"/>
                <a:gd name="connsiteX1" fmla="*/ 188463 w 189072"/>
                <a:gd name="connsiteY1" fmla="*/ 13159 h 181196"/>
                <a:gd name="connsiteX2" fmla="*/ 180928 w 189072"/>
                <a:gd name="connsiteY2" fmla="*/ 13639 h 181196"/>
                <a:gd name="connsiteX3" fmla="*/ 171449 w 189072"/>
                <a:gd name="connsiteY3" fmla="*/ 21467 h 181196"/>
                <a:gd name="connsiteX4" fmla="*/ 171449 w 189072"/>
                <a:gd name="connsiteY4" fmla="*/ 21467 h 181196"/>
                <a:gd name="connsiteX5" fmla="*/ 171449 w 189072"/>
                <a:gd name="connsiteY5" fmla="*/ 21467 h 181196"/>
                <a:gd name="connsiteX6" fmla="*/ 169080 w 189072"/>
                <a:gd name="connsiteY6" fmla="*/ 52513 h 181196"/>
                <a:gd name="connsiteX7" fmla="*/ 162370 w 189072"/>
                <a:gd name="connsiteY7" fmla="*/ 81988 h 181196"/>
                <a:gd name="connsiteX8" fmla="*/ 161944 w 189072"/>
                <a:gd name="connsiteY8" fmla="*/ 83373 h 181196"/>
                <a:gd name="connsiteX9" fmla="*/ 151773 w 189072"/>
                <a:gd name="connsiteY9" fmla="*/ 109200 h 181196"/>
                <a:gd name="connsiteX10" fmla="*/ 145169 w 189072"/>
                <a:gd name="connsiteY10" fmla="*/ 120649 h 181196"/>
                <a:gd name="connsiteX11" fmla="*/ 143785 w 189072"/>
                <a:gd name="connsiteY11" fmla="*/ 121395 h 181196"/>
                <a:gd name="connsiteX12" fmla="*/ 142853 w 189072"/>
                <a:gd name="connsiteY12" fmla="*/ 121102 h 181196"/>
                <a:gd name="connsiteX13" fmla="*/ 142400 w 189072"/>
                <a:gd name="connsiteY13" fmla="*/ 118785 h 181196"/>
                <a:gd name="connsiteX14" fmla="*/ 147992 w 189072"/>
                <a:gd name="connsiteY14" fmla="*/ 109200 h 181196"/>
                <a:gd name="connsiteX15" fmla="*/ 158323 w 189072"/>
                <a:gd name="connsiteY15" fmla="*/ 83373 h 181196"/>
                <a:gd name="connsiteX16" fmla="*/ 159042 w 189072"/>
                <a:gd name="connsiteY16" fmla="*/ 81030 h 181196"/>
                <a:gd name="connsiteX17" fmla="*/ 165725 w 189072"/>
                <a:gd name="connsiteY17" fmla="*/ 51315 h 181196"/>
                <a:gd name="connsiteX18" fmla="*/ 168121 w 189072"/>
                <a:gd name="connsiteY18" fmla="*/ 20215 h 181196"/>
                <a:gd name="connsiteX19" fmla="*/ 166763 w 189072"/>
                <a:gd name="connsiteY19" fmla="*/ -340 h 181196"/>
                <a:gd name="connsiteX20" fmla="*/ 166763 w 189072"/>
                <a:gd name="connsiteY20" fmla="*/ -340 h 181196"/>
                <a:gd name="connsiteX21" fmla="*/ 166763 w 189072"/>
                <a:gd name="connsiteY21" fmla="*/ -340 h 181196"/>
                <a:gd name="connsiteX22" fmla="*/ 154062 w 189072"/>
                <a:gd name="connsiteY22" fmla="*/ 2589 h 181196"/>
                <a:gd name="connsiteX23" fmla="*/ 146847 w 189072"/>
                <a:gd name="connsiteY23" fmla="*/ 14544 h 181196"/>
                <a:gd name="connsiteX24" fmla="*/ 146847 w 189072"/>
                <a:gd name="connsiteY24" fmla="*/ 14544 h 181196"/>
                <a:gd name="connsiteX25" fmla="*/ 144371 w 189072"/>
                <a:gd name="connsiteY25" fmla="*/ 46016 h 181196"/>
                <a:gd name="connsiteX26" fmla="*/ 137181 w 189072"/>
                <a:gd name="connsiteY26" fmla="*/ 76636 h 181196"/>
                <a:gd name="connsiteX27" fmla="*/ 134972 w 189072"/>
                <a:gd name="connsiteY27" fmla="*/ 83293 h 181196"/>
                <a:gd name="connsiteX28" fmla="*/ 123070 w 189072"/>
                <a:gd name="connsiteY28" fmla="*/ 109120 h 181196"/>
                <a:gd name="connsiteX29" fmla="*/ 120167 w 189072"/>
                <a:gd name="connsiteY29" fmla="*/ 113700 h 181196"/>
                <a:gd name="connsiteX30" fmla="*/ 118783 w 189072"/>
                <a:gd name="connsiteY30" fmla="*/ 114445 h 181196"/>
                <a:gd name="connsiteX31" fmla="*/ 117851 w 189072"/>
                <a:gd name="connsiteY31" fmla="*/ 114152 h 181196"/>
                <a:gd name="connsiteX32" fmla="*/ 117409 w 189072"/>
                <a:gd name="connsiteY32" fmla="*/ 111860 h 181196"/>
                <a:gd name="connsiteX33" fmla="*/ 117425 w 189072"/>
                <a:gd name="connsiteY33" fmla="*/ 111836 h 181196"/>
                <a:gd name="connsiteX34" fmla="*/ 119156 w 189072"/>
                <a:gd name="connsiteY34" fmla="*/ 109173 h 181196"/>
                <a:gd name="connsiteX35" fmla="*/ 131430 w 189072"/>
                <a:gd name="connsiteY35" fmla="*/ 83346 h 181196"/>
                <a:gd name="connsiteX36" fmla="*/ 133827 w 189072"/>
                <a:gd name="connsiteY36" fmla="*/ 76343 h 181196"/>
                <a:gd name="connsiteX37" fmla="*/ 141069 w 189072"/>
                <a:gd name="connsiteY37" fmla="*/ 45590 h 181196"/>
                <a:gd name="connsiteX38" fmla="*/ 143465 w 189072"/>
                <a:gd name="connsiteY38" fmla="*/ 14038 h 181196"/>
                <a:gd name="connsiteX39" fmla="*/ 143465 w 189072"/>
                <a:gd name="connsiteY39" fmla="*/ 13798 h 181196"/>
                <a:gd name="connsiteX40" fmla="*/ 143465 w 189072"/>
                <a:gd name="connsiteY40" fmla="*/ 13798 h 181196"/>
                <a:gd name="connsiteX41" fmla="*/ 140403 w 189072"/>
                <a:gd name="connsiteY41" fmla="*/ 13585 h 181196"/>
                <a:gd name="connsiteX42" fmla="*/ 128208 w 189072"/>
                <a:gd name="connsiteY42" fmla="*/ 18911 h 181196"/>
                <a:gd name="connsiteX43" fmla="*/ 121978 w 189072"/>
                <a:gd name="connsiteY43" fmla="*/ 36670 h 181196"/>
                <a:gd name="connsiteX44" fmla="*/ 121073 w 189072"/>
                <a:gd name="connsiteY44" fmla="*/ 41809 h 181196"/>
                <a:gd name="connsiteX45" fmla="*/ 120673 w 189072"/>
                <a:gd name="connsiteY45" fmla="*/ 43993 h 181196"/>
                <a:gd name="connsiteX46" fmla="*/ 110901 w 189072"/>
                <a:gd name="connsiteY46" fmla="*/ 75944 h 181196"/>
                <a:gd name="connsiteX47" fmla="*/ 107546 w 189072"/>
                <a:gd name="connsiteY47" fmla="*/ 83453 h 181196"/>
                <a:gd name="connsiteX48" fmla="*/ 93807 w 189072"/>
                <a:gd name="connsiteY48" fmla="*/ 106218 h 181196"/>
                <a:gd name="connsiteX49" fmla="*/ 92476 w 189072"/>
                <a:gd name="connsiteY49" fmla="*/ 106883 h 181196"/>
                <a:gd name="connsiteX50" fmla="*/ 91464 w 189072"/>
                <a:gd name="connsiteY50" fmla="*/ 106564 h 181196"/>
                <a:gd name="connsiteX51" fmla="*/ 91118 w 189072"/>
                <a:gd name="connsiteY51" fmla="*/ 104221 h 181196"/>
                <a:gd name="connsiteX52" fmla="*/ 103792 w 189072"/>
                <a:gd name="connsiteY52" fmla="*/ 83266 h 181196"/>
                <a:gd name="connsiteX53" fmla="*/ 107147 w 189072"/>
                <a:gd name="connsiteY53" fmla="*/ 76024 h 181196"/>
                <a:gd name="connsiteX54" fmla="*/ 117105 w 189072"/>
                <a:gd name="connsiteY54" fmla="*/ 44019 h 181196"/>
                <a:gd name="connsiteX55" fmla="*/ 117691 w 189072"/>
                <a:gd name="connsiteY55" fmla="*/ 41064 h 181196"/>
                <a:gd name="connsiteX56" fmla="*/ 105470 w 189072"/>
                <a:gd name="connsiteY56" fmla="*/ 42235 h 181196"/>
                <a:gd name="connsiteX57" fmla="*/ 101502 w 189072"/>
                <a:gd name="connsiteY57" fmla="*/ 44898 h 181196"/>
                <a:gd name="connsiteX58" fmla="*/ 97881 w 189072"/>
                <a:gd name="connsiteY58" fmla="*/ 50835 h 181196"/>
                <a:gd name="connsiteX59" fmla="*/ 97509 w 189072"/>
                <a:gd name="connsiteY59" fmla="*/ 51980 h 181196"/>
                <a:gd name="connsiteX60" fmla="*/ 91491 w 189072"/>
                <a:gd name="connsiteY60" fmla="*/ 66412 h 181196"/>
                <a:gd name="connsiteX61" fmla="*/ 83716 w 189072"/>
                <a:gd name="connsiteY61" fmla="*/ 79725 h 181196"/>
                <a:gd name="connsiteX62" fmla="*/ 81266 w 189072"/>
                <a:gd name="connsiteY62" fmla="*/ 83293 h 181196"/>
                <a:gd name="connsiteX63" fmla="*/ 79909 w 189072"/>
                <a:gd name="connsiteY63" fmla="*/ 85130 h 181196"/>
                <a:gd name="connsiteX64" fmla="*/ 64093 w 189072"/>
                <a:gd name="connsiteY64" fmla="*/ 102091 h 181196"/>
                <a:gd name="connsiteX65" fmla="*/ 54774 w 189072"/>
                <a:gd name="connsiteY65" fmla="*/ 109120 h 181196"/>
                <a:gd name="connsiteX66" fmla="*/ 53043 w 189072"/>
                <a:gd name="connsiteY66" fmla="*/ 110292 h 181196"/>
                <a:gd name="connsiteX67" fmla="*/ 53043 w 189072"/>
                <a:gd name="connsiteY67" fmla="*/ 110292 h 181196"/>
                <a:gd name="connsiteX68" fmla="*/ 51578 w 189072"/>
                <a:gd name="connsiteY68" fmla="*/ 111250 h 181196"/>
                <a:gd name="connsiteX69" fmla="*/ 22290 w 189072"/>
                <a:gd name="connsiteY69" fmla="*/ 136092 h 181196"/>
                <a:gd name="connsiteX70" fmla="*/ 989 w 189072"/>
                <a:gd name="connsiteY70" fmla="*/ 174567 h 181196"/>
                <a:gd name="connsiteX71" fmla="*/ 1468 w 189072"/>
                <a:gd name="connsiteY71" fmla="*/ 174700 h 181196"/>
                <a:gd name="connsiteX72" fmla="*/ 21065 w 189072"/>
                <a:gd name="connsiteY72" fmla="*/ 179120 h 181196"/>
                <a:gd name="connsiteX73" fmla="*/ 43511 w 189072"/>
                <a:gd name="connsiteY73" fmla="*/ 180851 h 181196"/>
                <a:gd name="connsiteX74" fmla="*/ 43910 w 189072"/>
                <a:gd name="connsiteY74" fmla="*/ 180851 h 181196"/>
                <a:gd name="connsiteX75" fmla="*/ 148924 w 189072"/>
                <a:gd name="connsiteY75" fmla="*/ 136119 h 181196"/>
                <a:gd name="connsiteX76" fmla="*/ 169559 w 189072"/>
                <a:gd name="connsiteY76" fmla="*/ 109120 h 181196"/>
                <a:gd name="connsiteX77" fmla="*/ 179783 w 189072"/>
                <a:gd name="connsiteY77" fmla="*/ 88325 h 181196"/>
                <a:gd name="connsiteX78" fmla="*/ 181674 w 189072"/>
                <a:gd name="connsiteY78" fmla="*/ 83293 h 181196"/>
                <a:gd name="connsiteX79" fmla="*/ 187718 w 189072"/>
                <a:gd name="connsiteY79" fmla="*/ 60527 h 181196"/>
                <a:gd name="connsiteX80" fmla="*/ 190061 w 189072"/>
                <a:gd name="connsiteY80" fmla="*/ 34301 h 181196"/>
                <a:gd name="connsiteX81" fmla="*/ 190061 w 189072"/>
                <a:gd name="connsiteY81" fmla="*/ 29854 h 181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89072" h="181196">
                  <a:moveTo>
                    <a:pt x="189954" y="30014"/>
                  </a:moveTo>
                  <a:cubicBezTo>
                    <a:pt x="189784" y="24372"/>
                    <a:pt x="189286" y="18743"/>
                    <a:pt x="188463" y="13159"/>
                  </a:cubicBezTo>
                  <a:cubicBezTo>
                    <a:pt x="185942" y="12909"/>
                    <a:pt x="183396" y="13072"/>
                    <a:pt x="180928" y="13639"/>
                  </a:cubicBezTo>
                  <a:cubicBezTo>
                    <a:pt x="176713" y="14613"/>
                    <a:pt x="173204" y="17513"/>
                    <a:pt x="171449" y="21467"/>
                  </a:cubicBezTo>
                  <a:lnTo>
                    <a:pt x="171449" y="21467"/>
                  </a:lnTo>
                  <a:lnTo>
                    <a:pt x="171449" y="21467"/>
                  </a:lnTo>
                  <a:cubicBezTo>
                    <a:pt x="171487" y="31862"/>
                    <a:pt x="170693" y="42243"/>
                    <a:pt x="169080" y="52513"/>
                  </a:cubicBezTo>
                  <a:cubicBezTo>
                    <a:pt x="167522" y="62479"/>
                    <a:pt x="165280" y="72328"/>
                    <a:pt x="162370" y="81988"/>
                  </a:cubicBezTo>
                  <a:cubicBezTo>
                    <a:pt x="162210" y="82441"/>
                    <a:pt x="162077" y="82893"/>
                    <a:pt x="161944" y="83373"/>
                  </a:cubicBezTo>
                  <a:cubicBezTo>
                    <a:pt x="159260" y="92244"/>
                    <a:pt x="155860" y="100882"/>
                    <a:pt x="151773" y="109200"/>
                  </a:cubicBezTo>
                  <a:cubicBezTo>
                    <a:pt x="149821" y="113154"/>
                    <a:pt x="147614" y="116980"/>
                    <a:pt x="145169" y="120649"/>
                  </a:cubicBezTo>
                  <a:cubicBezTo>
                    <a:pt x="144860" y="121112"/>
                    <a:pt x="144341" y="121392"/>
                    <a:pt x="143785" y="121395"/>
                  </a:cubicBezTo>
                  <a:cubicBezTo>
                    <a:pt x="143452" y="121387"/>
                    <a:pt x="143130" y="121286"/>
                    <a:pt x="142853" y="121102"/>
                  </a:cubicBezTo>
                  <a:cubicBezTo>
                    <a:pt x="142091" y="120585"/>
                    <a:pt x="141892" y="119552"/>
                    <a:pt x="142400" y="118785"/>
                  </a:cubicBezTo>
                  <a:cubicBezTo>
                    <a:pt x="144458" y="115707"/>
                    <a:pt x="146325" y="112507"/>
                    <a:pt x="147992" y="109200"/>
                  </a:cubicBezTo>
                  <a:cubicBezTo>
                    <a:pt x="152161" y="100898"/>
                    <a:pt x="155617" y="92258"/>
                    <a:pt x="158323" y="83373"/>
                  </a:cubicBezTo>
                  <a:lnTo>
                    <a:pt x="159042" y="81030"/>
                  </a:lnTo>
                  <a:cubicBezTo>
                    <a:pt x="161944" y="71290"/>
                    <a:pt x="164178" y="61361"/>
                    <a:pt x="165725" y="51315"/>
                  </a:cubicBezTo>
                  <a:cubicBezTo>
                    <a:pt x="167306" y="41024"/>
                    <a:pt x="168108" y="30626"/>
                    <a:pt x="168121" y="20215"/>
                  </a:cubicBezTo>
                  <a:cubicBezTo>
                    <a:pt x="168116" y="13341"/>
                    <a:pt x="167663" y="6474"/>
                    <a:pt x="166763" y="-340"/>
                  </a:cubicBezTo>
                  <a:lnTo>
                    <a:pt x="166763" y="-340"/>
                  </a:lnTo>
                  <a:lnTo>
                    <a:pt x="166763" y="-340"/>
                  </a:lnTo>
                  <a:cubicBezTo>
                    <a:pt x="162351" y="-431"/>
                    <a:pt x="157987" y="576"/>
                    <a:pt x="154062" y="2589"/>
                  </a:cubicBezTo>
                  <a:cubicBezTo>
                    <a:pt x="149685" y="4988"/>
                    <a:pt x="146929" y="9552"/>
                    <a:pt x="146847" y="14544"/>
                  </a:cubicBezTo>
                  <a:lnTo>
                    <a:pt x="146847" y="14544"/>
                  </a:lnTo>
                  <a:cubicBezTo>
                    <a:pt x="146868" y="25085"/>
                    <a:pt x="146040" y="35608"/>
                    <a:pt x="144371" y="46016"/>
                  </a:cubicBezTo>
                  <a:cubicBezTo>
                    <a:pt x="142752" y="56390"/>
                    <a:pt x="140347" y="66625"/>
                    <a:pt x="137181" y="76636"/>
                  </a:cubicBezTo>
                  <a:cubicBezTo>
                    <a:pt x="136489" y="78899"/>
                    <a:pt x="135744" y="81109"/>
                    <a:pt x="134972" y="83293"/>
                  </a:cubicBezTo>
                  <a:cubicBezTo>
                    <a:pt x="131840" y="92263"/>
                    <a:pt x="127854" y="100911"/>
                    <a:pt x="123070" y="109120"/>
                  </a:cubicBezTo>
                  <a:cubicBezTo>
                    <a:pt x="122111" y="110744"/>
                    <a:pt x="121153" y="112262"/>
                    <a:pt x="120167" y="113700"/>
                  </a:cubicBezTo>
                  <a:cubicBezTo>
                    <a:pt x="119861" y="114166"/>
                    <a:pt x="119342" y="114448"/>
                    <a:pt x="118783" y="114445"/>
                  </a:cubicBezTo>
                  <a:cubicBezTo>
                    <a:pt x="118450" y="114437"/>
                    <a:pt x="118128" y="114336"/>
                    <a:pt x="117851" y="114152"/>
                  </a:cubicBezTo>
                  <a:cubicBezTo>
                    <a:pt x="117095" y="113641"/>
                    <a:pt x="116898" y="112616"/>
                    <a:pt x="117409" y="111860"/>
                  </a:cubicBezTo>
                  <a:cubicBezTo>
                    <a:pt x="117414" y="111852"/>
                    <a:pt x="117419" y="111844"/>
                    <a:pt x="117425" y="111836"/>
                  </a:cubicBezTo>
                  <a:cubicBezTo>
                    <a:pt x="118011" y="110957"/>
                    <a:pt x="118570" y="110052"/>
                    <a:pt x="119156" y="109173"/>
                  </a:cubicBezTo>
                  <a:cubicBezTo>
                    <a:pt x="124127" y="101010"/>
                    <a:pt x="128240" y="92356"/>
                    <a:pt x="131430" y="83346"/>
                  </a:cubicBezTo>
                  <a:cubicBezTo>
                    <a:pt x="132256" y="81056"/>
                    <a:pt x="133054" y="78713"/>
                    <a:pt x="133827" y="76343"/>
                  </a:cubicBezTo>
                  <a:cubicBezTo>
                    <a:pt x="137027" y="66292"/>
                    <a:pt x="139447" y="56012"/>
                    <a:pt x="141069" y="45590"/>
                  </a:cubicBezTo>
                  <a:cubicBezTo>
                    <a:pt x="142738" y="35158"/>
                    <a:pt x="143540" y="24603"/>
                    <a:pt x="143465" y="14038"/>
                  </a:cubicBezTo>
                  <a:lnTo>
                    <a:pt x="143465" y="13798"/>
                  </a:lnTo>
                  <a:lnTo>
                    <a:pt x="143465" y="13798"/>
                  </a:lnTo>
                  <a:cubicBezTo>
                    <a:pt x="142451" y="13655"/>
                    <a:pt x="141428" y="13583"/>
                    <a:pt x="140403" y="13585"/>
                  </a:cubicBezTo>
                  <a:cubicBezTo>
                    <a:pt x="135741" y="13418"/>
                    <a:pt x="131255" y="15375"/>
                    <a:pt x="128208" y="18911"/>
                  </a:cubicBezTo>
                  <a:cubicBezTo>
                    <a:pt x="124055" y="23890"/>
                    <a:pt x="121978" y="36670"/>
                    <a:pt x="121978" y="36670"/>
                  </a:cubicBezTo>
                  <a:cubicBezTo>
                    <a:pt x="121712" y="38401"/>
                    <a:pt x="121419" y="40105"/>
                    <a:pt x="121073" y="41809"/>
                  </a:cubicBezTo>
                  <a:cubicBezTo>
                    <a:pt x="121073" y="41809"/>
                    <a:pt x="121073" y="42608"/>
                    <a:pt x="120673" y="43993"/>
                  </a:cubicBezTo>
                  <a:cubicBezTo>
                    <a:pt x="118469" y="54936"/>
                    <a:pt x="115196" y="65640"/>
                    <a:pt x="110901" y="75944"/>
                  </a:cubicBezTo>
                  <a:cubicBezTo>
                    <a:pt x="109871" y="78394"/>
                    <a:pt x="108753" y="80896"/>
                    <a:pt x="107546" y="83453"/>
                  </a:cubicBezTo>
                  <a:cubicBezTo>
                    <a:pt x="103744" y="91483"/>
                    <a:pt x="99141" y="99111"/>
                    <a:pt x="93807" y="106218"/>
                  </a:cubicBezTo>
                  <a:cubicBezTo>
                    <a:pt x="93488" y="106633"/>
                    <a:pt x="92998" y="106878"/>
                    <a:pt x="92476" y="106883"/>
                  </a:cubicBezTo>
                  <a:cubicBezTo>
                    <a:pt x="92114" y="106886"/>
                    <a:pt x="91760" y="106774"/>
                    <a:pt x="91464" y="106564"/>
                  </a:cubicBezTo>
                  <a:cubicBezTo>
                    <a:pt x="90724" y="106013"/>
                    <a:pt x="90567" y="104964"/>
                    <a:pt x="91118" y="104221"/>
                  </a:cubicBezTo>
                  <a:cubicBezTo>
                    <a:pt x="95956" y="97626"/>
                    <a:pt x="100198" y="90615"/>
                    <a:pt x="103792" y="83266"/>
                  </a:cubicBezTo>
                  <a:cubicBezTo>
                    <a:pt x="104964" y="80896"/>
                    <a:pt x="106082" y="78473"/>
                    <a:pt x="107147" y="76024"/>
                  </a:cubicBezTo>
                  <a:cubicBezTo>
                    <a:pt x="111572" y="65733"/>
                    <a:pt x="114911" y="55005"/>
                    <a:pt x="117105" y="44019"/>
                  </a:cubicBezTo>
                  <a:cubicBezTo>
                    <a:pt x="117318" y="43034"/>
                    <a:pt x="117505" y="42049"/>
                    <a:pt x="117691" y="41064"/>
                  </a:cubicBezTo>
                  <a:cubicBezTo>
                    <a:pt x="113593" y="40212"/>
                    <a:pt x="109333" y="40619"/>
                    <a:pt x="105470" y="42235"/>
                  </a:cubicBezTo>
                  <a:cubicBezTo>
                    <a:pt x="103995" y="42872"/>
                    <a:pt x="102650" y="43774"/>
                    <a:pt x="101502" y="44898"/>
                  </a:cubicBezTo>
                  <a:cubicBezTo>
                    <a:pt x="99868" y="46583"/>
                    <a:pt x="98632" y="48612"/>
                    <a:pt x="97881" y="50835"/>
                  </a:cubicBezTo>
                  <a:cubicBezTo>
                    <a:pt x="97881" y="51208"/>
                    <a:pt x="97615" y="51581"/>
                    <a:pt x="97509" y="51980"/>
                  </a:cubicBezTo>
                  <a:cubicBezTo>
                    <a:pt x="95812" y="56914"/>
                    <a:pt x="93802" y="61734"/>
                    <a:pt x="91491" y="66412"/>
                  </a:cubicBezTo>
                  <a:cubicBezTo>
                    <a:pt x="89190" y="71013"/>
                    <a:pt x="86594" y="75459"/>
                    <a:pt x="83716" y="79725"/>
                  </a:cubicBezTo>
                  <a:cubicBezTo>
                    <a:pt x="82944" y="80923"/>
                    <a:pt x="82119" y="82095"/>
                    <a:pt x="81266" y="83293"/>
                  </a:cubicBezTo>
                  <a:lnTo>
                    <a:pt x="79909" y="85130"/>
                  </a:lnTo>
                  <a:cubicBezTo>
                    <a:pt x="75257" y="91334"/>
                    <a:pt x="69956" y="97019"/>
                    <a:pt x="64093" y="102091"/>
                  </a:cubicBezTo>
                  <a:cubicBezTo>
                    <a:pt x="61124" y="104610"/>
                    <a:pt x="58011" y="106958"/>
                    <a:pt x="54774" y="109120"/>
                  </a:cubicBezTo>
                  <a:lnTo>
                    <a:pt x="53043" y="110292"/>
                  </a:lnTo>
                  <a:lnTo>
                    <a:pt x="53043" y="110292"/>
                  </a:lnTo>
                  <a:lnTo>
                    <a:pt x="51578" y="111250"/>
                  </a:lnTo>
                  <a:cubicBezTo>
                    <a:pt x="40757" y="118197"/>
                    <a:pt x="30909" y="126550"/>
                    <a:pt x="22290" y="136092"/>
                  </a:cubicBezTo>
                  <a:cubicBezTo>
                    <a:pt x="12654" y="147339"/>
                    <a:pt x="5406" y="160429"/>
                    <a:pt x="989" y="174567"/>
                  </a:cubicBezTo>
                  <a:lnTo>
                    <a:pt x="1468" y="174700"/>
                  </a:lnTo>
                  <a:cubicBezTo>
                    <a:pt x="7888" y="176636"/>
                    <a:pt x="14435" y="178114"/>
                    <a:pt x="21065" y="179120"/>
                  </a:cubicBezTo>
                  <a:cubicBezTo>
                    <a:pt x="28491" y="180278"/>
                    <a:pt x="35994" y="180856"/>
                    <a:pt x="43511" y="180851"/>
                  </a:cubicBezTo>
                  <a:lnTo>
                    <a:pt x="43910" y="180851"/>
                  </a:lnTo>
                  <a:cubicBezTo>
                    <a:pt x="83532" y="180798"/>
                    <a:pt x="121432" y="164652"/>
                    <a:pt x="148924" y="136119"/>
                  </a:cubicBezTo>
                  <a:cubicBezTo>
                    <a:pt x="156824" y="127947"/>
                    <a:pt x="163749" y="118889"/>
                    <a:pt x="169559" y="109120"/>
                  </a:cubicBezTo>
                  <a:cubicBezTo>
                    <a:pt x="173507" y="102466"/>
                    <a:pt x="176926" y="95514"/>
                    <a:pt x="179783" y="88325"/>
                  </a:cubicBezTo>
                  <a:cubicBezTo>
                    <a:pt x="180449" y="86674"/>
                    <a:pt x="181088" y="84970"/>
                    <a:pt x="181674" y="83293"/>
                  </a:cubicBezTo>
                  <a:cubicBezTo>
                    <a:pt x="184304" y="75880"/>
                    <a:pt x="186325" y="68268"/>
                    <a:pt x="187718" y="60527"/>
                  </a:cubicBezTo>
                  <a:cubicBezTo>
                    <a:pt x="189283" y="51874"/>
                    <a:pt x="190066" y="43095"/>
                    <a:pt x="190061" y="34301"/>
                  </a:cubicBezTo>
                  <a:cubicBezTo>
                    <a:pt x="190061" y="32810"/>
                    <a:pt x="190061" y="31318"/>
                    <a:pt x="190061" y="29854"/>
                  </a:cubicBezTo>
                </a:path>
              </a:pathLst>
            </a:custGeom>
            <a:solidFill>
              <a:srgbClr val="143DCF"/>
            </a:solidFill>
            <a:ln w="2661" cap="flat">
              <a:noFill/>
              <a:prstDash val="solid"/>
              <a:miter/>
            </a:ln>
          </p:spPr>
          <p:txBody>
            <a:bodyPr rtlCol="0" anchor="ctr"/>
            <a:lstStyle/>
            <a:p>
              <a:endParaRPr lang="pl-PL"/>
            </a:p>
          </p:txBody>
        </p:sp>
        <p:sp>
          <p:nvSpPr>
            <p:cNvPr id="111" name="Freeform: Shape 110">
              <a:extLst>
                <a:ext uri="{FF2B5EF4-FFF2-40B4-BE49-F238E27FC236}">
                  <a16:creationId xmlns:a16="http://schemas.microsoft.com/office/drawing/2014/main" id="{C180259C-CAF9-4854-9E9A-4BCE5A8A8B3B}"/>
                </a:ext>
              </a:extLst>
            </p:cNvPr>
            <p:cNvSpPr/>
            <p:nvPr/>
          </p:nvSpPr>
          <p:spPr>
            <a:xfrm>
              <a:off x="11502581" y="6714997"/>
              <a:ext cx="17090" cy="37099"/>
            </a:xfrm>
            <a:custGeom>
              <a:avLst/>
              <a:gdLst>
                <a:gd name="connsiteX0" fmla="*/ 31273 w 30283"/>
                <a:gd name="connsiteY0" fmla="*/ 400 h 65740"/>
                <a:gd name="connsiteX1" fmla="*/ 28024 w 30283"/>
                <a:gd name="connsiteY1" fmla="*/ -346 h 65740"/>
                <a:gd name="connsiteX2" fmla="*/ 27438 w 30283"/>
                <a:gd name="connsiteY2" fmla="*/ 2610 h 65740"/>
                <a:gd name="connsiteX3" fmla="*/ 17374 w 30283"/>
                <a:gd name="connsiteY3" fmla="*/ 34721 h 65740"/>
                <a:gd name="connsiteX4" fmla="*/ 13992 w 30283"/>
                <a:gd name="connsiteY4" fmla="*/ 41963 h 65740"/>
                <a:gd name="connsiteX5" fmla="*/ 1318 w 30283"/>
                <a:gd name="connsiteY5" fmla="*/ 62732 h 65740"/>
                <a:gd name="connsiteX6" fmla="*/ 1664 w 30283"/>
                <a:gd name="connsiteY6" fmla="*/ 65075 h 65740"/>
                <a:gd name="connsiteX7" fmla="*/ 2650 w 30283"/>
                <a:gd name="connsiteY7" fmla="*/ 65394 h 65740"/>
                <a:gd name="connsiteX8" fmla="*/ 4007 w 30283"/>
                <a:gd name="connsiteY8" fmla="*/ 64729 h 65740"/>
                <a:gd name="connsiteX9" fmla="*/ 17747 w 30283"/>
                <a:gd name="connsiteY9" fmla="*/ 41963 h 65740"/>
                <a:gd name="connsiteX10" fmla="*/ 21101 w 30283"/>
                <a:gd name="connsiteY10" fmla="*/ 34481 h 65740"/>
                <a:gd name="connsiteX11" fmla="*/ 30873 w 30283"/>
                <a:gd name="connsiteY11" fmla="*/ 2530 h 65740"/>
                <a:gd name="connsiteX12" fmla="*/ 31273 w 30283"/>
                <a:gd name="connsiteY12" fmla="*/ 347 h 6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283" h="65740">
                  <a:moveTo>
                    <a:pt x="31273" y="400"/>
                  </a:moveTo>
                  <a:cubicBezTo>
                    <a:pt x="30213" y="62"/>
                    <a:pt x="29126" y="-186"/>
                    <a:pt x="28024" y="-346"/>
                  </a:cubicBezTo>
                  <a:cubicBezTo>
                    <a:pt x="27838" y="640"/>
                    <a:pt x="27652" y="1625"/>
                    <a:pt x="27438" y="2610"/>
                  </a:cubicBezTo>
                  <a:cubicBezTo>
                    <a:pt x="25218" y="13636"/>
                    <a:pt x="21844" y="24398"/>
                    <a:pt x="17374" y="34721"/>
                  </a:cubicBezTo>
                  <a:cubicBezTo>
                    <a:pt x="16309" y="37171"/>
                    <a:pt x="15190" y="39594"/>
                    <a:pt x="13992" y="41963"/>
                  </a:cubicBezTo>
                  <a:cubicBezTo>
                    <a:pt x="10400" y="49254"/>
                    <a:pt x="6159" y="56203"/>
                    <a:pt x="1318" y="62732"/>
                  </a:cubicBezTo>
                  <a:cubicBezTo>
                    <a:pt x="767" y="63475"/>
                    <a:pt x="924" y="64524"/>
                    <a:pt x="1664" y="65075"/>
                  </a:cubicBezTo>
                  <a:cubicBezTo>
                    <a:pt x="1952" y="65283"/>
                    <a:pt x="2295" y="65394"/>
                    <a:pt x="2650" y="65394"/>
                  </a:cubicBezTo>
                  <a:cubicBezTo>
                    <a:pt x="3182" y="65405"/>
                    <a:pt x="3688" y="65157"/>
                    <a:pt x="4007" y="64729"/>
                  </a:cubicBezTo>
                  <a:cubicBezTo>
                    <a:pt x="9341" y="57622"/>
                    <a:pt x="13944" y="49994"/>
                    <a:pt x="17747" y="41963"/>
                  </a:cubicBezTo>
                  <a:cubicBezTo>
                    <a:pt x="18945" y="39301"/>
                    <a:pt x="20063" y="36931"/>
                    <a:pt x="21101" y="34481"/>
                  </a:cubicBezTo>
                  <a:cubicBezTo>
                    <a:pt x="25380" y="24172"/>
                    <a:pt x="28653" y="13471"/>
                    <a:pt x="30873" y="2530"/>
                  </a:cubicBezTo>
                  <a:cubicBezTo>
                    <a:pt x="31140" y="1145"/>
                    <a:pt x="31273" y="347"/>
                    <a:pt x="31273" y="347"/>
                  </a:cubicBezTo>
                </a:path>
              </a:pathLst>
            </a:custGeom>
            <a:solidFill>
              <a:srgbClr val="8FD942"/>
            </a:solidFill>
            <a:ln w="2661" cap="flat">
              <a:noFill/>
              <a:prstDash val="solid"/>
              <a:miter/>
            </a:ln>
          </p:spPr>
          <p:txBody>
            <a:bodyPr rtlCol="0" anchor="ctr"/>
            <a:lstStyle/>
            <a:p>
              <a:endParaRPr lang="pl-PL"/>
            </a:p>
          </p:txBody>
        </p:sp>
        <p:sp>
          <p:nvSpPr>
            <p:cNvPr id="112" name="Freeform: Shape 111">
              <a:extLst>
                <a:ext uri="{FF2B5EF4-FFF2-40B4-BE49-F238E27FC236}">
                  <a16:creationId xmlns:a16="http://schemas.microsoft.com/office/drawing/2014/main" id="{7F692448-313C-41ED-86BF-075D954EBD7F}"/>
                </a:ext>
              </a:extLst>
            </p:cNvPr>
            <p:cNvSpPr/>
            <p:nvPr/>
          </p:nvSpPr>
          <p:spPr>
            <a:xfrm>
              <a:off x="11517500" y="6699685"/>
              <a:ext cx="16773" cy="56738"/>
            </a:xfrm>
            <a:custGeom>
              <a:avLst/>
              <a:gdLst>
                <a:gd name="connsiteX0" fmla="*/ 27995 w 29722"/>
                <a:gd name="connsiteY0" fmla="*/ -239 h 100540"/>
                <a:gd name="connsiteX1" fmla="*/ 27542 w 29722"/>
                <a:gd name="connsiteY1" fmla="*/ -239 h 100540"/>
                <a:gd name="connsiteX2" fmla="*/ 27356 w 29722"/>
                <a:gd name="connsiteY2" fmla="*/ -239 h 100540"/>
                <a:gd name="connsiteX3" fmla="*/ 27356 w 29722"/>
                <a:gd name="connsiteY3" fmla="*/ -239 h 100540"/>
                <a:gd name="connsiteX4" fmla="*/ 24959 w 29722"/>
                <a:gd name="connsiteY4" fmla="*/ 31313 h 100540"/>
                <a:gd name="connsiteX5" fmla="*/ 17691 w 29722"/>
                <a:gd name="connsiteY5" fmla="*/ 62093 h 100540"/>
                <a:gd name="connsiteX6" fmla="*/ 15294 w 29722"/>
                <a:gd name="connsiteY6" fmla="*/ 69095 h 100540"/>
                <a:gd name="connsiteX7" fmla="*/ 3020 w 29722"/>
                <a:gd name="connsiteY7" fmla="*/ 94923 h 100540"/>
                <a:gd name="connsiteX8" fmla="*/ 1289 w 29722"/>
                <a:gd name="connsiteY8" fmla="*/ 97585 h 100540"/>
                <a:gd name="connsiteX9" fmla="*/ 1691 w 29722"/>
                <a:gd name="connsiteY9" fmla="*/ 99886 h 100540"/>
                <a:gd name="connsiteX10" fmla="*/ 1715 w 29722"/>
                <a:gd name="connsiteY10" fmla="*/ 99902 h 100540"/>
                <a:gd name="connsiteX11" fmla="*/ 2647 w 29722"/>
                <a:gd name="connsiteY11" fmla="*/ 100195 h 100540"/>
                <a:gd name="connsiteX12" fmla="*/ 4031 w 29722"/>
                <a:gd name="connsiteY12" fmla="*/ 99449 h 100540"/>
                <a:gd name="connsiteX13" fmla="*/ 6933 w 29722"/>
                <a:gd name="connsiteY13" fmla="*/ 94870 h 100540"/>
                <a:gd name="connsiteX14" fmla="*/ 18835 w 29722"/>
                <a:gd name="connsiteY14" fmla="*/ 69042 h 100540"/>
                <a:gd name="connsiteX15" fmla="*/ 21045 w 29722"/>
                <a:gd name="connsiteY15" fmla="*/ 62386 h 100540"/>
                <a:gd name="connsiteX16" fmla="*/ 28234 w 29722"/>
                <a:gd name="connsiteY16" fmla="*/ 31766 h 100540"/>
                <a:gd name="connsiteX17" fmla="*/ 30711 w 29722"/>
                <a:gd name="connsiteY17" fmla="*/ 293 h 100540"/>
                <a:gd name="connsiteX18" fmla="*/ 30711 w 29722"/>
                <a:gd name="connsiteY18" fmla="*/ 293 h 100540"/>
                <a:gd name="connsiteX19" fmla="*/ 30711 w 29722"/>
                <a:gd name="connsiteY19" fmla="*/ 293 h 100540"/>
                <a:gd name="connsiteX20" fmla="*/ 28048 w 29722"/>
                <a:gd name="connsiteY20" fmla="*/ -346 h 100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722" h="100540">
                  <a:moveTo>
                    <a:pt x="27995" y="-239"/>
                  </a:moveTo>
                  <a:lnTo>
                    <a:pt x="27542" y="-239"/>
                  </a:lnTo>
                  <a:lnTo>
                    <a:pt x="27356" y="-239"/>
                  </a:lnTo>
                  <a:lnTo>
                    <a:pt x="27356" y="-239"/>
                  </a:lnTo>
                  <a:cubicBezTo>
                    <a:pt x="27430" y="10326"/>
                    <a:pt x="26629" y="20881"/>
                    <a:pt x="24959" y="31313"/>
                  </a:cubicBezTo>
                  <a:cubicBezTo>
                    <a:pt x="23330" y="41745"/>
                    <a:pt x="20899" y="52033"/>
                    <a:pt x="17691" y="62093"/>
                  </a:cubicBezTo>
                  <a:cubicBezTo>
                    <a:pt x="16918" y="64462"/>
                    <a:pt x="16120" y="66806"/>
                    <a:pt x="15294" y="69095"/>
                  </a:cubicBezTo>
                  <a:cubicBezTo>
                    <a:pt x="12104" y="78106"/>
                    <a:pt x="7991" y="86759"/>
                    <a:pt x="3020" y="94923"/>
                  </a:cubicBezTo>
                  <a:cubicBezTo>
                    <a:pt x="2434" y="95855"/>
                    <a:pt x="1875" y="96760"/>
                    <a:pt x="1289" y="97585"/>
                  </a:cubicBezTo>
                  <a:cubicBezTo>
                    <a:pt x="764" y="98331"/>
                    <a:pt x="945" y="99361"/>
                    <a:pt x="1691" y="99886"/>
                  </a:cubicBezTo>
                  <a:cubicBezTo>
                    <a:pt x="1699" y="99891"/>
                    <a:pt x="1707" y="99897"/>
                    <a:pt x="1715" y="99902"/>
                  </a:cubicBezTo>
                  <a:cubicBezTo>
                    <a:pt x="1992" y="100086"/>
                    <a:pt x="2314" y="100187"/>
                    <a:pt x="2647" y="100195"/>
                  </a:cubicBezTo>
                  <a:cubicBezTo>
                    <a:pt x="3203" y="100195"/>
                    <a:pt x="3725" y="99915"/>
                    <a:pt x="4031" y="99449"/>
                  </a:cubicBezTo>
                  <a:cubicBezTo>
                    <a:pt x="5016" y="98011"/>
                    <a:pt x="5975" y="96494"/>
                    <a:pt x="6933" y="94870"/>
                  </a:cubicBezTo>
                  <a:cubicBezTo>
                    <a:pt x="11718" y="86661"/>
                    <a:pt x="15704" y="78013"/>
                    <a:pt x="18835" y="69042"/>
                  </a:cubicBezTo>
                  <a:cubicBezTo>
                    <a:pt x="19608" y="66859"/>
                    <a:pt x="20327" y="64649"/>
                    <a:pt x="21045" y="62386"/>
                  </a:cubicBezTo>
                  <a:cubicBezTo>
                    <a:pt x="24211" y="52374"/>
                    <a:pt x="26616" y="42139"/>
                    <a:pt x="28234" y="31766"/>
                  </a:cubicBezTo>
                  <a:cubicBezTo>
                    <a:pt x="29904" y="21357"/>
                    <a:pt x="30732" y="10835"/>
                    <a:pt x="30711" y="293"/>
                  </a:cubicBezTo>
                  <a:lnTo>
                    <a:pt x="30711" y="293"/>
                  </a:lnTo>
                  <a:lnTo>
                    <a:pt x="30711" y="293"/>
                  </a:lnTo>
                  <a:cubicBezTo>
                    <a:pt x="29840" y="19"/>
                    <a:pt x="28948" y="-194"/>
                    <a:pt x="28048" y="-346"/>
                  </a:cubicBezTo>
                </a:path>
              </a:pathLst>
            </a:custGeom>
            <a:solidFill>
              <a:srgbClr val="8FD942"/>
            </a:solidFill>
            <a:ln w="2661" cap="flat">
              <a:noFill/>
              <a:prstDash val="solid"/>
              <a:miter/>
            </a:ln>
          </p:spPr>
          <p:txBody>
            <a:bodyPr rtlCol="0" anchor="ctr"/>
            <a:lstStyle/>
            <a:p>
              <a:endParaRPr lang="pl-PL"/>
            </a:p>
          </p:txBody>
        </p:sp>
        <p:sp>
          <p:nvSpPr>
            <p:cNvPr id="113" name="Freeform: Shape 112">
              <a:extLst>
                <a:ext uri="{FF2B5EF4-FFF2-40B4-BE49-F238E27FC236}">
                  <a16:creationId xmlns:a16="http://schemas.microsoft.com/office/drawing/2014/main" id="{727A6007-BFD6-48E5-91FF-7694D4EF823F}"/>
                </a:ext>
              </a:extLst>
            </p:cNvPr>
            <p:cNvSpPr/>
            <p:nvPr/>
          </p:nvSpPr>
          <p:spPr>
            <a:xfrm>
              <a:off x="11531661" y="6691648"/>
              <a:ext cx="16507" cy="68726"/>
            </a:xfrm>
            <a:custGeom>
              <a:avLst/>
              <a:gdLst>
                <a:gd name="connsiteX0" fmla="*/ 30239 w 29251"/>
                <a:gd name="connsiteY0" fmla="*/ 21351 h 121784"/>
                <a:gd name="connsiteX1" fmla="*/ 28934 w 29251"/>
                <a:gd name="connsiteY1" fmla="*/ -296 h 121784"/>
                <a:gd name="connsiteX2" fmla="*/ 25526 w 29251"/>
                <a:gd name="connsiteY2" fmla="*/ -296 h 121784"/>
                <a:gd name="connsiteX3" fmla="*/ 26911 w 29251"/>
                <a:gd name="connsiteY3" fmla="*/ 20313 h 121784"/>
                <a:gd name="connsiteX4" fmla="*/ 24514 w 29251"/>
                <a:gd name="connsiteY4" fmla="*/ 51412 h 121784"/>
                <a:gd name="connsiteX5" fmla="*/ 17911 w 29251"/>
                <a:gd name="connsiteY5" fmla="*/ 81074 h 121784"/>
                <a:gd name="connsiteX6" fmla="*/ 17192 w 29251"/>
                <a:gd name="connsiteY6" fmla="*/ 83417 h 121784"/>
                <a:gd name="connsiteX7" fmla="*/ 6861 w 29251"/>
                <a:gd name="connsiteY7" fmla="*/ 109244 h 121784"/>
                <a:gd name="connsiteX8" fmla="*/ 1270 w 29251"/>
                <a:gd name="connsiteY8" fmla="*/ 118830 h 121784"/>
                <a:gd name="connsiteX9" fmla="*/ 1722 w 29251"/>
                <a:gd name="connsiteY9" fmla="*/ 121146 h 121784"/>
                <a:gd name="connsiteX10" fmla="*/ 2654 w 29251"/>
                <a:gd name="connsiteY10" fmla="*/ 121439 h 121784"/>
                <a:gd name="connsiteX11" fmla="*/ 4039 w 29251"/>
                <a:gd name="connsiteY11" fmla="*/ 120694 h 121784"/>
                <a:gd name="connsiteX12" fmla="*/ 10642 w 29251"/>
                <a:gd name="connsiteY12" fmla="*/ 109244 h 121784"/>
                <a:gd name="connsiteX13" fmla="*/ 20813 w 29251"/>
                <a:gd name="connsiteY13" fmla="*/ 83417 h 121784"/>
                <a:gd name="connsiteX14" fmla="*/ 21239 w 29251"/>
                <a:gd name="connsiteY14" fmla="*/ 82032 h 121784"/>
                <a:gd name="connsiteX15" fmla="*/ 27869 w 29251"/>
                <a:gd name="connsiteY15" fmla="*/ 52557 h 121784"/>
                <a:gd name="connsiteX16" fmla="*/ 30239 w 29251"/>
                <a:gd name="connsiteY16" fmla="*/ 21511 h 121784"/>
                <a:gd name="connsiteX17" fmla="*/ 30239 w 29251"/>
                <a:gd name="connsiteY17" fmla="*/ 21511 h 121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251" h="121784">
                  <a:moveTo>
                    <a:pt x="30239" y="21351"/>
                  </a:moveTo>
                  <a:cubicBezTo>
                    <a:pt x="30207" y="14117"/>
                    <a:pt x="29770" y="6891"/>
                    <a:pt x="28934" y="-296"/>
                  </a:cubicBezTo>
                  <a:cubicBezTo>
                    <a:pt x="27800" y="-362"/>
                    <a:pt x="26660" y="-362"/>
                    <a:pt x="25526" y="-296"/>
                  </a:cubicBezTo>
                  <a:cubicBezTo>
                    <a:pt x="26448" y="6534"/>
                    <a:pt x="26911" y="13419"/>
                    <a:pt x="26911" y="20313"/>
                  </a:cubicBezTo>
                  <a:cubicBezTo>
                    <a:pt x="26898" y="30724"/>
                    <a:pt x="26096" y="41121"/>
                    <a:pt x="24514" y="51412"/>
                  </a:cubicBezTo>
                  <a:cubicBezTo>
                    <a:pt x="22991" y="61437"/>
                    <a:pt x="20784" y="71347"/>
                    <a:pt x="17911" y="81074"/>
                  </a:cubicBezTo>
                  <a:lnTo>
                    <a:pt x="17192" y="83417"/>
                  </a:lnTo>
                  <a:cubicBezTo>
                    <a:pt x="14487" y="92302"/>
                    <a:pt x="11031" y="100942"/>
                    <a:pt x="6861" y="109244"/>
                  </a:cubicBezTo>
                  <a:cubicBezTo>
                    <a:pt x="5189" y="112549"/>
                    <a:pt x="3323" y="115749"/>
                    <a:pt x="1270" y="118830"/>
                  </a:cubicBezTo>
                  <a:cubicBezTo>
                    <a:pt x="761" y="119596"/>
                    <a:pt x="961" y="120630"/>
                    <a:pt x="1722" y="121146"/>
                  </a:cubicBezTo>
                  <a:cubicBezTo>
                    <a:pt x="1999" y="121330"/>
                    <a:pt x="2321" y="121431"/>
                    <a:pt x="2654" y="121439"/>
                  </a:cubicBezTo>
                  <a:cubicBezTo>
                    <a:pt x="3211" y="121436"/>
                    <a:pt x="3730" y="121157"/>
                    <a:pt x="4039" y="120694"/>
                  </a:cubicBezTo>
                  <a:cubicBezTo>
                    <a:pt x="6483" y="117024"/>
                    <a:pt x="8691" y="113198"/>
                    <a:pt x="10642" y="109244"/>
                  </a:cubicBezTo>
                  <a:cubicBezTo>
                    <a:pt x="14729" y="100926"/>
                    <a:pt x="18129" y="92289"/>
                    <a:pt x="20813" y="83417"/>
                  </a:cubicBezTo>
                  <a:cubicBezTo>
                    <a:pt x="20813" y="82938"/>
                    <a:pt x="21080" y="82485"/>
                    <a:pt x="21239" y="82032"/>
                  </a:cubicBezTo>
                  <a:cubicBezTo>
                    <a:pt x="24123" y="72370"/>
                    <a:pt x="26338" y="62523"/>
                    <a:pt x="27869" y="52557"/>
                  </a:cubicBezTo>
                  <a:cubicBezTo>
                    <a:pt x="29483" y="42287"/>
                    <a:pt x="30276" y="31906"/>
                    <a:pt x="30239" y="21511"/>
                  </a:cubicBezTo>
                  <a:lnTo>
                    <a:pt x="30239" y="21511"/>
                  </a:lnTo>
                  <a:close/>
                </a:path>
              </a:pathLst>
            </a:custGeom>
            <a:solidFill>
              <a:srgbClr val="8FD942"/>
            </a:solidFill>
            <a:ln w="2661" cap="flat">
              <a:noFill/>
              <a:prstDash val="solid"/>
              <a:miter/>
            </a:ln>
          </p:spPr>
          <p:txBody>
            <a:bodyPr rtlCol="0" anchor="ctr"/>
            <a:lstStyle/>
            <a:p>
              <a:endParaRPr lang="pl-PL"/>
            </a:p>
          </p:txBody>
        </p:sp>
        <p:sp>
          <p:nvSpPr>
            <p:cNvPr id="114" name="Freeform: Shape 113">
              <a:extLst>
                <a:ext uri="{FF2B5EF4-FFF2-40B4-BE49-F238E27FC236}">
                  <a16:creationId xmlns:a16="http://schemas.microsoft.com/office/drawing/2014/main" id="{3B1E02D6-09FA-4E9B-9830-97BE419CAAD2}"/>
                </a:ext>
              </a:extLst>
            </p:cNvPr>
            <p:cNvSpPr/>
            <p:nvPr/>
          </p:nvSpPr>
          <p:spPr>
            <a:xfrm>
              <a:off x="11646242" y="6644465"/>
              <a:ext cx="64654" cy="65032"/>
            </a:xfrm>
            <a:custGeom>
              <a:avLst/>
              <a:gdLst>
                <a:gd name="connsiteX0" fmla="*/ 989 w 114568"/>
                <a:gd name="connsiteY0" fmla="*/ 56475 h 115237"/>
                <a:gd name="connsiteX1" fmla="*/ 60738 w 114568"/>
                <a:gd name="connsiteY1" fmla="*/ 114892 h 115237"/>
                <a:gd name="connsiteX2" fmla="*/ 112233 w 114568"/>
                <a:gd name="connsiteY2" fmla="*/ 83340 h 115237"/>
                <a:gd name="connsiteX3" fmla="*/ 105550 w 114568"/>
                <a:gd name="connsiteY3" fmla="*/ 75219 h 115237"/>
                <a:gd name="connsiteX4" fmla="*/ 87870 w 114568"/>
                <a:gd name="connsiteY4" fmla="*/ 75219 h 115237"/>
                <a:gd name="connsiteX5" fmla="*/ 79057 w 114568"/>
                <a:gd name="connsiteY5" fmla="*/ 80545 h 115237"/>
                <a:gd name="connsiteX6" fmla="*/ 59833 w 114568"/>
                <a:gd name="connsiteY6" fmla="*/ 87361 h 115237"/>
                <a:gd name="connsiteX7" fmla="*/ 37440 w 114568"/>
                <a:gd name="connsiteY7" fmla="*/ 72850 h 115237"/>
                <a:gd name="connsiteX8" fmla="*/ 35523 w 114568"/>
                <a:gd name="connsiteY8" fmla="*/ 66646 h 115237"/>
                <a:gd name="connsiteX9" fmla="*/ 109011 w 114568"/>
                <a:gd name="connsiteY9" fmla="*/ 66646 h 115237"/>
                <a:gd name="connsiteX10" fmla="*/ 115447 w 114568"/>
                <a:gd name="connsiteY10" fmla="*/ 61488 h 115237"/>
                <a:gd name="connsiteX11" fmla="*/ 115481 w 114568"/>
                <a:gd name="connsiteY11" fmla="*/ 60895 h 115237"/>
                <a:gd name="connsiteX12" fmla="*/ 60685 w 114568"/>
                <a:gd name="connsiteY12" fmla="*/ -346 h 115237"/>
                <a:gd name="connsiteX13" fmla="*/ 989 w 114568"/>
                <a:gd name="connsiteY13" fmla="*/ 56368 h 115237"/>
                <a:gd name="connsiteX14" fmla="*/ 59380 w 114568"/>
                <a:gd name="connsiteY14" fmla="*/ 26946 h 115237"/>
                <a:gd name="connsiteX15" fmla="*/ 81533 w 114568"/>
                <a:gd name="connsiteY15" fmla="*/ 46303 h 115237"/>
                <a:gd name="connsiteX16" fmla="*/ 42605 w 114568"/>
                <a:gd name="connsiteY16" fmla="*/ 46303 h 115237"/>
                <a:gd name="connsiteX17" fmla="*/ 35683 w 114568"/>
                <a:gd name="connsiteY17" fmla="*/ 46303 h 115237"/>
                <a:gd name="connsiteX18" fmla="*/ 59380 w 114568"/>
                <a:gd name="connsiteY18" fmla="*/ 26973 h 11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4568" h="115237">
                  <a:moveTo>
                    <a:pt x="989" y="56475"/>
                  </a:moveTo>
                  <a:cubicBezTo>
                    <a:pt x="989" y="91089"/>
                    <a:pt x="27322" y="114892"/>
                    <a:pt x="60738" y="114892"/>
                  </a:cubicBezTo>
                  <a:cubicBezTo>
                    <a:pt x="87364" y="114892"/>
                    <a:pt x="105789" y="101446"/>
                    <a:pt x="112233" y="83340"/>
                  </a:cubicBezTo>
                  <a:cubicBezTo>
                    <a:pt x="113963" y="78415"/>
                    <a:pt x="110742" y="75219"/>
                    <a:pt x="105550" y="75219"/>
                  </a:cubicBezTo>
                  <a:lnTo>
                    <a:pt x="87870" y="75219"/>
                  </a:lnTo>
                  <a:cubicBezTo>
                    <a:pt x="83796" y="75219"/>
                    <a:pt x="81639" y="77350"/>
                    <a:pt x="79057" y="80545"/>
                  </a:cubicBezTo>
                  <a:cubicBezTo>
                    <a:pt x="75808" y="84379"/>
                    <a:pt x="69098" y="87361"/>
                    <a:pt x="59833" y="87361"/>
                  </a:cubicBezTo>
                  <a:cubicBezTo>
                    <a:pt x="50034" y="87806"/>
                    <a:pt x="41037" y="81975"/>
                    <a:pt x="37440" y="72850"/>
                  </a:cubicBezTo>
                  <a:cubicBezTo>
                    <a:pt x="36641" y="70834"/>
                    <a:pt x="35999" y="68760"/>
                    <a:pt x="35523" y="66646"/>
                  </a:cubicBezTo>
                  <a:lnTo>
                    <a:pt x="109011" y="66646"/>
                  </a:lnTo>
                  <a:cubicBezTo>
                    <a:pt x="112212" y="67000"/>
                    <a:pt x="115092" y="64689"/>
                    <a:pt x="115447" y="61488"/>
                  </a:cubicBezTo>
                  <a:cubicBezTo>
                    <a:pt x="115468" y="61291"/>
                    <a:pt x="115479" y="61094"/>
                    <a:pt x="115481" y="60895"/>
                  </a:cubicBezTo>
                  <a:cubicBezTo>
                    <a:pt x="117185" y="22926"/>
                    <a:pt x="89787" y="-346"/>
                    <a:pt x="60685" y="-346"/>
                  </a:cubicBezTo>
                  <a:cubicBezTo>
                    <a:pt x="26070" y="-346"/>
                    <a:pt x="989" y="22233"/>
                    <a:pt x="989" y="56368"/>
                  </a:cubicBezTo>
                  <a:moveTo>
                    <a:pt x="59380" y="26946"/>
                  </a:moveTo>
                  <a:cubicBezTo>
                    <a:pt x="79616" y="26946"/>
                    <a:pt x="81533" y="46303"/>
                    <a:pt x="81533" y="46303"/>
                  </a:cubicBezTo>
                  <a:lnTo>
                    <a:pt x="42605" y="46303"/>
                  </a:lnTo>
                  <a:lnTo>
                    <a:pt x="35683" y="46303"/>
                  </a:lnTo>
                  <a:cubicBezTo>
                    <a:pt x="35683" y="46303"/>
                    <a:pt x="39171" y="26973"/>
                    <a:pt x="59380" y="26973"/>
                  </a:cubicBezTo>
                </a:path>
              </a:pathLst>
            </a:custGeom>
            <a:solidFill>
              <a:srgbClr val="FFFFFF"/>
            </a:solidFill>
            <a:ln w="2661" cap="flat">
              <a:noFill/>
              <a:prstDash val="solid"/>
              <a:miter/>
            </a:ln>
          </p:spPr>
          <p:txBody>
            <a:bodyPr rtlCol="0" anchor="ctr"/>
            <a:lstStyle/>
            <a:p>
              <a:endParaRPr lang="pl-PL"/>
            </a:p>
          </p:txBody>
        </p:sp>
        <p:sp>
          <p:nvSpPr>
            <p:cNvPr id="115" name="Freeform: Shape 114">
              <a:extLst>
                <a:ext uri="{FF2B5EF4-FFF2-40B4-BE49-F238E27FC236}">
                  <a16:creationId xmlns:a16="http://schemas.microsoft.com/office/drawing/2014/main" id="{F1B3EA4E-CAC8-4314-8A77-58FA409698F2}"/>
                </a:ext>
              </a:extLst>
            </p:cNvPr>
            <p:cNvSpPr/>
            <p:nvPr/>
          </p:nvSpPr>
          <p:spPr>
            <a:xfrm>
              <a:off x="11719462" y="6644495"/>
              <a:ext cx="64897" cy="89810"/>
            </a:xfrm>
            <a:custGeom>
              <a:avLst/>
              <a:gdLst>
                <a:gd name="connsiteX0" fmla="*/ 115987 w 114998"/>
                <a:gd name="connsiteY0" fmla="*/ 57140 h 159144"/>
                <a:gd name="connsiteX1" fmla="*/ 58501 w 114998"/>
                <a:gd name="connsiteY1" fmla="*/ -346 h 159144"/>
                <a:gd name="connsiteX2" fmla="*/ 58475 w 114998"/>
                <a:gd name="connsiteY2" fmla="*/ -346 h 159144"/>
                <a:gd name="connsiteX3" fmla="*/ 29958 w 114998"/>
                <a:gd name="connsiteY3" fmla="*/ 7269 h 159144"/>
                <a:gd name="connsiteX4" fmla="*/ 23142 w 114998"/>
                <a:gd name="connsiteY4" fmla="*/ 1784 h 159144"/>
                <a:gd name="connsiteX5" fmla="*/ 8178 w 114998"/>
                <a:gd name="connsiteY5" fmla="*/ 1784 h 159144"/>
                <a:gd name="connsiteX6" fmla="*/ 989 w 114998"/>
                <a:gd name="connsiteY6" fmla="*/ 8947 h 159144"/>
                <a:gd name="connsiteX7" fmla="*/ 989 w 114998"/>
                <a:gd name="connsiteY7" fmla="*/ 57114 h 159144"/>
                <a:gd name="connsiteX8" fmla="*/ 989 w 114998"/>
                <a:gd name="connsiteY8" fmla="*/ 57114 h 159144"/>
                <a:gd name="connsiteX9" fmla="*/ 989 w 114998"/>
                <a:gd name="connsiteY9" fmla="*/ 151610 h 159144"/>
                <a:gd name="connsiteX10" fmla="*/ 8178 w 114998"/>
                <a:gd name="connsiteY10" fmla="*/ 158799 h 159144"/>
                <a:gd name="connsiteX11" fmla="*/ 23142 w 114998"/>
                <a:gd name="connsiteY11" fmla="*/ 158799 h 159144"/>
                <a:gd name="connsiteX12" fmla="*/ 30304 w 114998"/>
                <a:gd name="connsiteY12" fmla="*/ 151610 h 159144"/>
                <a:gd name="connsiteX13" fmla="*/ 30304 w 114998"/>
                <a:gd name="connsiteY13" fmla="*/ 107197 h 159144"/>
                <a:gd name="connsiteX14" fmla="*/ 58475 w 114998"/>
                <a:gd name="connsiteY14" fmla="*/ 114599 h 159144"/>
                <a:gd name="connsiteX15" fmla="*/ 115934 w 114998"/>
                <a:gd name="connsiteY15" fmla="*/ 57140 h 159144"/>
                <a:gd name="connsiteX16" fmla="*/ 86432 w 114998"/>
                <a:gd name="connsiteY16" fmla="*/ 57140 h 159144"/>
                <a:gd name="connsiteX17" fmla="*/ 58475 w 114998"/>
                <a:gd name="connsiteY17" fmla="*/ 85098 h 159144"/>
                <a:gd name="connsiteX18" fmla="*/ 30491 w 114998"/>
                <a:gd name="connsiteY18" fmla="*/ 57140 h 159144"/>
                <a:gd name="connsiteX19" fmla="*/ 58475 w 114998"/>
                <a:gd name="connsiteY19" fmla="*/ 29156 h 159144"/>
                <a:gd name="connsiteX20" fmla="*/ 86432 w 114998"/>
                <a:gd name="connsiteY20" fmla="*/ 57140 h 159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998" h="159144">
                  <a:moveTo>
                    <a:pt x="115987" y="57140"/>
                  </a:moveTo>
                  <a:cubicBezTo>
                    <a:pt x="115987" y="25391"/>
                    <a:pt x="90250" y="-346"/>
                    <a:pt x="58501" y="-346"/>
                  </a:cubicBezTo>
                  <a:cubicBezTo>
                    <a:pt x="58493" y="-346"/>
                    <a:pt x="58483" y="-346"/>
                    <a:pt x="58475" y="-346"/>
                  </a:cubicBezTo>
                  <a:cubicBezTo>
                    <a:pt x="48466" y="-346"/>
                    <a:pt x="38633" y="2280"/>
                    <a:pt x="29958" y="7269"/>
                  </a:cubicBezTo>
                  <a:cubicBezTo>
                    <a:pt x="29220" y="4088"/>
                    <a:pt x="26406" y="1824"/>
                    <a:pt x="23142" y="1784"/>
                  </a:cubicBezTo>
                  <a:lnTo>
                    <a:pt x="8178" y="1784"/>
                  </a:lnTo>
                  <a:cubicBezTo>
                    <a:pt x="4224" y="1798"/>
                    <a:pt x="1018" y="4993"/>
                    <a:pt x="989" y="8947"/>
                  </a:cubicBezTo>
                  <a:lnTo>
                    <a:pt x="989" y="57114"/>
                  </a:lnTo>
                  <a:lnTo>
                    <a:pt x="989" y="57114"/>
                  </a:lnTo>
                  <a:lnTo>
                    <a:pt x="989" y="151610"/>
                  </a:lnTo>
                  <a:cubicBezTo>
                    <a:pt x="1002" y="155574"/>
                    <a:pt x="4213" y="158786"/>
                    <a:pt x="8178" y="158799"/>
                  </a:cubicBezTo>
                  <a:lnTo>
                    <a:pt x="23142" y="158799"/>
                  </a:lnTo>
                  <a:cubicBezTo>
                    <a:pt x="27096" y="158770"/>
                    <a:pt x="30291" y="155564"/>
                    <a:pt x="30304" y="151610"/>
                  </a:cubicBezTo>
                  <a:lnTo>
                    <a:pt x="30304" y="107197"/>
                  </a:lnTo>
                  <a:cubicBezTo>
                    <a:pt x="38899" y="112051"/>
                    <a:pt x="48604" y="114602"/>
                    <a:pt x="58475" y="114599"/>
                  </a:cubicBezTo>
                  <a:cubicBezTo>
                    <a:pt x="90208" y="114599"/>
                    <a:pt x="115934" y="88873"/>
                    <a:pt x="115934" y="57140"/>
                  </a:cubicBezTo>
                  <a:moveTo>
                    <a:pt x="86432" y="57140"/>
                  </a:moveTo>
                  <a:cubicBezTo>
                    <a:pt x="86432" y="72581"/>
                    <a:pt x="73915" y="85098"/>
                    <a:pt x="58475" y="85098"/>
                  </a:cubicBezTo>
                  <a:cubicBezTo>
                    <a:pt x="43029" y="85098"/>
                    <a:pt x="30506" y="72586"/>
                    <a:pt x="30491" y="57140"/>
                  </a:cubicBezTo>
                  <a:cubicBezTo>
                    <a:pt x="30504" y="41692"/>
                    <a:pt x="43026" y="29172"/>
                    <a:pt x="58475" y="29156"/>
                  </a:cubicBezTo>
                  <a:cubicBezTo>
                    <a:pt x="73921" y="29172"/>
                    <a:pt x="86432" y="41694"/>
                    <a:pt x="86432" y="57140"/>
                  </a:cubicBezTo>
                </a:path>
              </a:pathLst>
            </a:custGeom>
            <a:solidFill>
              <a:srgbClr val="FFFFFF"/>
            </a:solidFill>
            <a:ln w="2661" cap="flat">
              <a:noFill/>
              <a:prstDash val="solid"/>
              <a:miter/>
            </a:ln>
          </p:spPr>
          <p:txBody>
            <a:bodyPr rtlCol="0" anchor="ctr"/>
            <a:lstStyle/>
            <a:p>
              <a:endParaRPr lang="pl-PL"/>
            </a:p>
          </p:txBody>
        </p:sp>
        <p:sp>
          <p:nvSpPr>
            <p:cNvPr id="116" name="Freeform: Shape 115">
              <a:extLst>
                <a:ext uri="{FF2B5EF4-FFF2-40B4-BE49-F238E27FC236}">
                  <a16:creationId xmlns:a16="http://schemas.microsoft.com/office/drawing/2014/main" id="{AF00CFDC-AFCA-4E00-BB96-CB895851BFCD}"/>
                </a:ext>
              </a:extLst>
            </p:cNvPr>
            <p:cNvSpPr/>
            <p:nvPr/>
          </p:nvSpPr>
          <p:spPr>
            <a:xfrm>
              <a:off x="11792669" y="6644495"/>
              <a:ext cx="64867" cy="64867"/>
            </a:xfrm>
            <a:custGeom>
              <a:avLst/>
              <a:gdLst>
                <a:gd name="connsiteX0" fmla="*/ 115934 w 114945"/>
                <a:gd name="connsiteY0" fmla="*/ 64596 h 114945"/>
                <a:gd name="connsiteX1" fmla="*/ 115934 w 114945"/>
                <a:gd name="connsiteY1" fmla="*/ 49632 h 114945"/>
                <a:gd name="connsiteX2" fmla="*/ 108745 w 114945"/>
                <a:gd name="connsiteY2" fmla="*/ 42443 h 114945"/>
                <a:gd name="connsiteX3" fmla="*/ 73119 w 114945"/>
                <a:gd name="connsiteY3" fmla="*/ 42443 h 114945"/>
                <a:gd name="connsiteX4" fmla="*/ 73119 w 114945"/>
                <a:gd name="connsiteY4" fmla="*/ 6843 h 114945"/>
                <a:gd name="connsiteX5" fmla="*/ 65930 w 114945"/>
                <a:gd name="connsiteY5" fmla="*/ -346 h 114945"/>
                <a:gd name="connsiteX6" fmla="*/ 50993 w 114945"/>
                <a:gd name="connsiteY6" fmla="*/ -346 h 114945"/>
                <a:gd name="connsiteX7" fmla="*/ 43804 w 114945"/>
                <a:gd name="connsiteY7" fmla="*/ 6843 h 114945"/>
                <a:gd name="connsiteX8" fmla="*/ 43804 w 114945"/>
                <a:gd name="connsiteY8" fmla="*/ 42469 h 114945"/>
                <a:gd name="connsiteX9" fmla="*/ 8178 w 114945"/>
                <a:gd name="connsiteY9" fmla="*/ 42469 h 114945"/>
                <a:gd name="connsiteX10" fmla="*/ 989 w 114945"/>
                <a:gd name="connsiteY10" fmla="*/ 49658 h 114945"/>
                <a:gd name="connsiteX11" fmla="*/ 989 w 114945"/>
                <a:gd name="connsiteY11" fmla="*/ 64596 h 114945"/>
                <a:gd name="connsiteX12" fmla="*/ 8178 w 114945"/>
                <a:gd name="connsiteY12" fmla="*/ 71785 h 114945"/>
                <a:gd name="connsiteX13" fmla="*/ 43804 w 114945"/>
                <a:gd name="connsiteY13" fmla="*/ 71785 h 114945"/>
                <a:gd name="connsiteX14" fmla="*/ 43804 w 114945"/>
                <a:gd name="connsiteY14" fmla="*/ 107410 h 114945"/>
                <a:gd name="connsiteX15" fmla="*/ 50993 w 114945"/>
                <a:gd name="connsiteY15" fmla="*/ 114599 h 114945"/>
                <a:gd name="connsiteX16" fmla="*/ 65930 w 114945"/>
                <a:gd name="connsiteY16" fmla="*/ 114599 h 114945"/>
                <a:gd name="connsiteX17" fmla="*/ 73119 w 114945"/>
                <a:gd name="connsiteY17" fmla="*/ 107410 h 114945"/>
                <a:gd name="connsiteX18" fmla="*/ 73119 w 114945"/>
                <a:gd name="connsiteY18" fmla="*/ 71785 h 114945"/>
                <a:gd name="connsiteX19" fmla="*/ 108745 w 114945"/>
                <a:gd name="connsiteY19" fmla="*/ 71785 h 114945"/>
                <a:gd name="connsiteX20" fmla="*/ 115934 w 114945"/>
                <a:gd name="connsiteY20" fmla="*/ 64596 h 114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945" h="114945">
                  <a:moveTo>
                    <a:pt x="115934" y="64596"/>
                  </a:moveTo>
                  <a:lnTo>
                    <a:pt x="115934" y="49632"/>
                  </a:lnTo>
                  <a:cubicBezTo>
                    <a:pt x="115918" y="45667"/>
                    <a:pt x="112709" y="42456"/>
                    <a:pt x="108745" y="42443"/>
                  </a:cubicBezTo>
                  <a:lnTo>
                    <a:pt x="73119" y="42443"/>
                  </a:lnTo>
                  <a:lnTo>
                    <a:pt x="73119" y="6843"/>
                  </a:lnTo>
                  <a:cubicBezTo>
                    <a:pt x="73103" y="2879"/>
                    <a:pt x="69894" y="-332"/>
                    <a:pt x="65930" y="-346"/>
                  </a:cubicBezTo>
                  <a:lnTo>
                    <a:pt x="50993" y="-346"/>
                  </a:lnTo>
                  <a:cubicBezTo>
                    <a:pt x="47028" y="-330"/>
                    <a:pt x="43817" y="2879"/>
                    <a:pt x="43804" y="6843"/>
                  </a:cubicBezTo>
                  <a:lnTo>
                    <a:pt x="43804" y="42469"/>
                  </a:lnTo>
                  <a:lnTo>
                    <a:pt x="8178" y="42469"/>
                  </a:lnTo>
                  <a:cubicBezTo>
                    <a:pt x="4213" y="42483"/>
                    <a:pt x="1002" y="45694"/>
                    <a:pt x="989" y="49658"/>
                  </a:cubicBezTo>
                  <a:lnTo>
                    <a:pt x="989" y="64596"/>
                  </a:lnTo>
                  <a:cubicBezTo>
                    <a:pt x="1002" y="68560"/>
                    <a:pt x="4213" y="71771"/>
                    <a:pt x="8178" y="71785"/>
                  </a:cubicBezTo>
                  <a:lnTo>
                    <a:pt x="43804" y="71785"/>
                  </a:lnTo>
                  <a:lnTo>
                    <a:pt x="43804" y="107410"/>
                  </a:lnTo>
                  <a:cubicBezTo>
                    <a:pt x="43820" y="111375"/>
                    <a:pt x="47028" y="114586"/>
                    <a:pt x="50993" y="114599"/>
                  </a:cubicBezTo>
                  <a:lnTo>
                    <a:pt x="65930" y="114599"/>
                  </a:lnTo>
                  <a:cubicBezTo>
                    <a:pt x="69900" y="114599"/>
                    <a:pt x="73119" y="111380"/>
                    <a:pt x="73119" y="107410"/>
                  </a:cubicBezTo>
                  <a:lnTo>
                    <a:pt x="73119" y="71785"/>
                  </a:lnTo>
                  <a:lnTo>
                    <a:pt x="108745" y="71785"/>
                  </a:lnTo>
                  <a:cubicBezTo>
                    <a:pt x="112709" y="71771"/>
                    <a:pt x="115918" y="68560"/>
                    <a:pt x="115934" y="64596"/>
                  </a:cubicBezTo>
                </a:path>
              </a:pathLst>
            </a:custGeom>
            <a:solidFill>
              <a:srgbClr val="8FDB42"/>
            </a:solidFill>
            <a:ln w="2661" cap="flat">
              <a:noFill/>
              <a:prstDash val="solid"/>
              <a:miter/>
            </a:ln>
          </p:spPr>
          <p:txBody>
            <a:bodyPr rtlCol="0" anchor="ctr"/>
            <a:lstStyle/>
            <a:p>
              <a:endParaRPr lang="pl-PL"/>
            </a:p>
          </p:txBody>
        </p:sp>
        <p:sp>
          <p:nvSpPr>
            <p:cNvPr id="117" name="Freeform: Shape 116">
              <a:extLst>
                <a:ext uri="{FF2B5EF4-FFF2-40B4-BE49-F238E27FC236}">
                  <a16:creationId xmlns:a16="http://schemas.microsoft.com/office/drawing/2014/main" id="{3FA9E83F-5469-481F-8445-6A566305451A}"/>
                </a:ext>
              </a:extLst>
            </p:cNvPr>
            <p:cNvSpPr/>
            <p:nvPr/>
          </p:nvSpPr>
          <p:spPr>
            <a:xfrm>
              <a:off x="11574954" y="6644781"/>
              <a:ext cx="64867" cy="89524"/>
            </a:xfrm>
            <a:custGeom>
              <a:avLst/>
              <a:gdLst>
                <a:gd name="connsiteX0" fmla="*/ 115934 w 114945"/>
                <a:gd name="connsiteY0" fmla="*/ 57114 h 158638"/>
                <a:gd name="connsiteX1" fmla="*/ 58475 w 114945"/>
                <a:gd name="connsiteY1" fmla="*/ -346 h 158638"/>
                <a:gd name="connsiteX2" fmla="*/ 29905 w 114945"/>
                <a:gd name="connsiteY2" fmla="*/ 7296 h 158638"/>
                <a:gd name="connsiteX3" fmla="*/ 23115 w 114945"/>
                <a:gd name="connsiteY3" fmla="*/ 2131 h 158638"/>
                <a:gd name="connsiteX4" fmla="*/ 8178 w 114945"/>
                <a:gd name="connsiteY4" fmla="*/ 2131 h 158638"/>
                <a:gd name="connsiteX5" fmla="*/ 989 w 114945"/>
                <a:gd name="connsiteY5" fmla="*/ 9320 h 158638"/>
                <a:gd name="connsiteX6" fmla="*/ 989 w 114945"/>
                <a:gd name="connsiteY6" fmla="*/ 57114 h 158638"/>
                <a:gd name="connsiteX7" fmla="*/ 989 w 114945"/>
                <a:gd name="connsiteY7" fmla="*/ 57114 h 158638"/>
                <a:gd name="connsiteX8" fmla="*/ 989 w 114945"/>
                <a:gd name="connsiteY8" fmla="*/ 151104 h 158638"/>
                <a:gd name="connsiteX9" fmla="*/ 8178 w 114945"/>
                <a:gd name="connsiteY9" fmla="*/ 158293 h 158638"/>
                <a:gd name="connsiteX10" fmla="*/ 23115 w 114945"/>
                <a:gd name="connsiteY10" fmla="*/ 158293 h 158638"/>
                <a:gd name="connsiteX11" fmla="*/ 30304 w 114945"/>
                <a:gd name="connsiteY11" fmla="*/ 151104 h 158638"/>
                <a:gd name="connsiteX12" fmla="*/ 30304 w 114945"/>
                <a:gd name="connsiteY12" fmla="*/ 107171 h 158638"/>
                <a:gd name="connsiteX13" fmla="*/ 58475 w 114945"/>
                <a:gd name="connsiteY13" fmla="*/ 114573 h 158638"/>
                <a:gd name="connsiteX14" fmla="*/ 115934 w 114945"/>
                <a:gd name="connsiteY14" fmla="*/ 57114 h 158638"/>
                <a:gd name="connsiteX15" fmla="*/ 86432 w 114945"/>
                <a:gd name="connsiteY15" fmla="*/ 57114 h 158638"/>
                <a:gd name="connsiteX16" fmla="*/ 58475 w 114945"/>
                <a:gd name="connsiteY16" fmla="*/ 85098 h 158638"/>
                <a:gd name="connsiteX17" fmla="*/ 30491 w 114945"/>
                <a:gd name="connsiteY17" fmla="*/ 57114 h 158638"/>
                <a:gd name="connsiteX18" fmla="*/ 58475 w 114945"/>
                <a:gd name="connsiteY18" fmla="*/ 29156 h 158638"/>
                <a:gd name="connsiteX19" fmla="*/ 86432 w 114945"/>
                <a:gd name="connsiteY19" fmla="*/ 57114 h 158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4945" h="158638">
                  <a:moveTo>
                    <a:pt x="115934" y="57114"/>
                  </a:moveTo>
                  <a:cubicBezTo>
                    <a:pt x="115934" y="25381"/>
                    <a:pt x="90208" y="-346"/>
                    <a:pt x="58475" y="-346"/>
                  </a:cubicBezTo>
                  <a:cubicBezTo>
                    <a:pt x="48447" y="-340"/>
                    <a:pt x="38596" y="2293"/>
                    <a:pt x="29905" y="7296"/>
                  </a:cubicBezTo>
                  <a:cubicBezTo>
                    <a:pt x="29034" y="4261"/>
                    <a:pt x="26273" y="2160"/>
                    <a:pt x="23115" y="2131"/>
                  </a:cubicBezTo>
                  <a:lnTo>
                    <a:pt x="8178" y="2131"/>
                  </a:lnTo>
                  <a:cubicBezTo>
                    <a:pt x="4213" y="2144"/>
                    <a:pt x="1002" y="5355"/>
                    <a:pt x="989" y="9320"/>
                  </a:cubicBezTo>
                  <a:lnTo>
                    <a:pt x="989" y="57114"/>
                  </a:lnTo>
                  <a:lnTo>
                    <a:pt x="989" y="57114"/>
                  </a:lnTo>
                  <a:lnTo>
                    <a:pt x="989" y="151104"/>
                  </a:lnTo>
                  <a:cubicBezTo>
                    <a:pt x="1002" y="155069"/>
                    <a:pt x="4213" y="158280"/>
                    <a:pt x="8178" y="158293"/>
                  </a:cubicBezTo>
                  <a:lnTo>
                    <a:pt x="23115" y="158293"/>
                  </a:lnTo>
                  <a:cubicBezTo>
                    <a:pt x="27080" y="158280"/>
                    <a:pt x="30291" y="155069"/>
                    <a:pt x="30304" y="151104"/>
                  </a:cubicBezTo>
                  <a:lnTo>
                    <a:pt x="30304" y="107171"/>
                  </a:lnTo>
                  <a:cubicBezTo>
                    <a:pt x="38899" y="112025"/>
                    <a:pt x="48604" y="114575"/>
                    <a:pt x="58475" y="114573"/>
                  </a:cubicBezTo>
                  <a:cubicBezTo>
                    <a:pt x="90202" y="114557"/>
                    <a:pt x="115918" y="88841"/>
                    <a:pt x="115934" y="57114"/>
                  </a:cubicBezTo>
                  <a:moveTo>
                    <a:pt x="86432" y="57114"/>
                  </a:moveTo>
                  <a:cubicBezTo>
                    <a:pt x="86432" y="72559"/>
                    <a:pt x="73920" y="85082"/>
                    <a:pt x="58475" y="85098"/>
                  </a:cubicBezTo>
                  <a:cubicBezTo>
                    <a:pt x="43026" y="85082"/>
                    <a:pt x="30506" y="72562"/>
                    <a:pt x="30491" y="57114"/>
                  </a:cubicBezTo>
                  <a:cubicBezTo>
                    <a:pt x="30506" y="41668"/>
                    <a:pt x="43029" y="29156"/>
                    <a:pt x="58475" y="29156"/>
                  </a:cubicBezTo>
                  <a:cubicBezTo>
                    <a:pt x="73915" y="29156"/>
                    <a:pt x="86432" y="41673"/>
                    <a:pt x="86432" y="57114"/>
                  </a:cubicBezTo>
                </a:path>
              </a:pathLst>
            </a:custGeom>
            <a:solidFill>
              <a:srgbClr val="FFFFFF"/>
            </a:solidFill>
            <a:ln w="2661" cap="flat">
              <a:noFill/>
              <a:prstDash val="solid"/>
              <a:miter/>
            </a:ln>
          </p:spPr>
          <p:txBody>
            <a:bodyPr rtlCol="0" anchor="ctr"/>
            <a:lstStyle/>
            <a:p>
              <a:endParaRPr lang="pl-PL"/>
            </a:p>
          </p:txBody>
        </p:sp>
        <p:sp>
          <p:nvSpPr>
            <p:cNvPr id="118" name="Freeform: Shape 117">
              <a:extLst>
                <a:ext uri="{FF2B5EF4-FFF2-40B4-BE49-F238E27FC236}">
                  <a16:creationId xmlns:a16="http://schemas.microsoft.com/office/drawing/2014/main" id="{83642B6E-AF90-41E4-9F27-DDD3D3E5AFE6}"/>
                </a:ext>
              </a:extLst>
            </p:cNvPr>
            <p:cNvSpPr/>
            <p:nvPr/>
          </p:nvSpPr>
          <p:spPr>
            <a:xfrm>
              <a:off x="11574969" y="6750860"/>
              <a:ext cx="19691" cy="26558"/>
            </a:xfrm>
            <a:custGeom>
              <a:avLst/>
              <a:gdLst>
                <a:gd name="connsiteX0" fmla="*/ 1103 w 34893"/>
                <a:gd name="connsiteY0" fmla="*/ 44632 h 47062"/>
                <a:gd name="connsiteX1" fmla="*/ 1103 w 34893"/>
                <a:gd name="connsiteY1" fmla="*/ 2270 h 47062"/>
                <a:gd name="connsiteX2" fmla="*/ 2765 w 34893"/>
                <a:gd name="connsiteY2" fmla="*/ 273 h 47062"/>
                <a:gd name="connsiteX3" fmla="*/ 3100 w 34893"/>
                <a:gd name="connsiteY3" fmla="*/ 273 h 47062"/>
                <a:gd name="connsiteX4" fmla="*/ 5124 w 34893"/>
                <a:gd name="connsiteY4" fmla="*/ 273 h 47062"/>
                <a:gd name="connsiteX5" fmla="*/ 7387 w 34893"/>
                <a:gd name="connsiteY5" fmla="*/ 1897 h 47062"/>
                <a:gd name="connsiteX6" fmla="*/ 9704 w 34893"/>
                <a:gd name="connsiteY6" fmla="*/ 2589 h 47062"/>
                <a:gd name="connsiteX7" fmla="*/ 19316 w 34893"/>
                <a:gd name="connsiteY7" fmla="*/ -339 h 47062"/>
                <a:gd name="connsiteX8" fmla="*/ 35880 w 34893"/>
                <a:gd name="connsiteY8" fmla="*/ 16060 h 47062"/>
                <a:gd name="connsiteX9" fmla="*/ 35877 w 34893"/>
                <a:gd name="connsiteY9" fmla="*/ 16462 h 47062"/>
                <a:gd name="connsiteX10" fmla="*/ 19667 w 34893"/>
                <a:gd name="connsiteY10" fmla="*/ 33524 h 47062"/>
                <a:gd name="connsiteX11" fmla="*/ 19182 w 34893"/>
                <a:gd name="connsiteY11" fmla="*/ 33529 h 47062"/>
                <a:gd name="connsiteX12" fmla="*/ 11195 w 34893"/>
                <a:gd name="connsiteY12" fmla="*/ 31585 h 47062"/>
                <a:gd name="connsiteX13" fmla="*/ 9118 w 34893"/>
                <a:gd name="connsiteY13" fmla="*/ 32597 h 47062"/>
                <a:gd name="connsiteX14" fmla="*/ 9118 w 34893"/>
                <a:gd name="connsiteY14" fmla="*/ 44712 h 47062"/>
                <a:gd name="connsiteX15" fmla="*/ 7456 w 34893"/>
                <a:gd name="connsiteY15" fmla="*/ 46709 h 47062"/>
                <a:gd name="connsiteX16" fmla="*/ 7121 w 34893"/>
                <a:gd name="connsiteY16" fmla="*/ 46709 h 47062"/>
                <a:gd name="connsiteX17" fmla="*/ 2994 w 34893"/>
                <a:gd name="connsiteY17" fmla="*/ 46709 h 47062"/>
                <a:gd name="connsiteX18" fmla="*/ 997 w 34893"/>
                <a:gd name="connsiteY18" fmla="*/ 45048 h 47062"/>
                <a:gd name="connsiteX19" fmla="*/ 997 w 34893"/>
                <a:gd name="connsiteY19" fmla="*/ 44712 h 47062"/>
                <a:gd name="connsiteX20" fmla="*/ 10236 w 34893"/>
                <a:gd name="connsiteY20" fmla="*/ 22106 h 47062"/>
                <a:gd name="connsiteX21" fmla="*/ 18224 w 34893"/>
                <a:gd name="connsiteY21" fmla="*/ 26127 h 47062"/>
                <a:gd name="connsiteX22" fmla="*/ 26968 w 34893"/>
                <a:gd name="connsiteY22" fmla="*/ 16571 h 47062"/>
                <a:gd name="connsiteX23" fmla="*/ 26957 w 34893"/>
                <a:gd name="connsiteY23" fmla="*/ 16382 h 47062"/>
                <a:gd name="connsiteX24" fmla="*/ 18250 w 34893"/>
                <a:gd name="connsiteY24" fmla="*/ 6983 h 47062"/>
                <a:gd name="connsiteX25" fmla="*/ 10263 w 34893"/>
                <a:gd name="connsiteY25" fmla="*/ 10977 h 47062"/>
                <a:gd name="connsiteX26" fmla="*/ 9677 w 34893"/>
                <a:gd name="connsiteY26" fmla="*/ 13133 h 47062"/>
                <a:gd name="connsiteX27" fmla="*/ 9677 w 34893"/>
                <a:gd name="connsiteY27" fmla="*/ 19896 h 47062"/>
                <a:gd name="connsiteX28" fmla="*/ 10263 w 34893"/>
                <a:gd name="connsiteY28" fmla="*/ 22027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893" h="47062">
                  <a:moveTo>
                    <a:pt x="1103" y="44632"/>
                  </a:moveTo>
                  <a:lnTo>
                    <a:pt x="1103" y="2270"/>
                  </a:lnTo>
                  <a:cubicBezTo>
                    <a:pt x="1010" y="1261"/>
                    <a:pt x="1756" y="366"/>
                    <a:pt x="2765" y="273"/>
                  </a:cubicBezTo>
                  <a:cubicBezTo>
                    <a:pt x="2877" y="262"/>
                    <a:pt x="2988" y="262"/>
                    <a:pt x="3100" y="273"/>
                  </a:cubicBezTo>
                  <a:lnTo>
                    <a:pt x="5124" y="273"/>
                  </a:lnTo>
                  <a:cubicBezTo>
                    <a:pt x="6170" y="201"/>
                    <a:pt x="7121" y="883"/>
                    <a:pt x="7387" y="1897"/>
                  </a:cubicBezTo>
                  <a:cubicBezTo>
                    <a:pt x="7707" y="3228"/>
                    <a:pt x="8638" y="3415"/>
                    <a:pt x="9704" y="2589"/>
                  </a:cubicBezTo>
                  <a:cubicBezTo>
                    <a:pt x="12502" y="592"/>
                    <a:pt x="15878" y="-435"/>
                    <a:pt x="19316" y="-339"/>
                  </a:cubicBezTo>
                  <a:cubicBezTo>
                    <a:pt x="28419" y="-385"/>
                    <a:pt x="35834" y="6956"/>
                    <a:pt x="35880" y="16060"/>
                  </a:cubicBezTo>
                  <a:cubicBezTo>
                    <a:pt x="35880" y="16193"/>
                    <a:pt x="35880" y="16329"/>
                    <a:pt x="35877" y="16462"/>
                  </a:cubicBezTo>
                  <a:cubicBezTo>
                    <a:pt x="36111" y="25650"/>
                    <a:pt x="28856" y="33289"/>
                    <a:pt x="19667" y="33524"/>
                  </a:cubicBezTo>
                  <a:cubicBezTo>
                    <a:pt x="19505" y="33529"/>
                    <a:pt x="19345" y="33529"/>
                    <a:pt x="19182" y="33529"/>
                  </a:cubicBezTo>
                  <a:cubicBezTo>
                    <a:pt x="16397" y="33582"/>
                    <a:pt x="13644" y="32914"/>
                    <a:pt x="11195" y="31585"/>
                  </a:cubicBezTo>
                  <a:cubicBezTo>
                    <a:pt x="9943" y="30840"/>
                    <a:pt x="9118" y="31213"/>
                    <a:pt x="9118" y="32597"/>
                  </a:cubicBezTo>
                  <a:lnTo>
                    <a:pt x="9118" y="44712"/>
                  </a:lnTo>
                  <a:cubicBezTo>
                    <a:pt x="9211" y="45721"/>
                    <a:pt x="8465" y="46616"/>
                    <a:pt x="7456" y="46709"/>
                  </a:cubicBezTo>
                  <a:cubicBezTo>
                    <a:pt x="7344" y="46720"/>
                    <a:pt x="7233" y="46720"/>
                    <a:pt x="7121" y="46709"/>
                  </a:cubicBezTo>
                  <a:lnTo>
                    <a:pt x="2994" y="46709"/>
                  </a:lnTo>
                  <a:cubicBezTo>
                    <a:pt x="1982" y="46802"/>
                    <a:pt x="1090" y="46057"/>
                    <a:pt x="997" y="45048"/>
                  </a:cubicBezTo>
                  <a:cubicBezTo>
                    <a:pt x="986" y="44936"/>
                    <a:pt x="986" y="44824"/>
                    <a:pt x="997" y="44712"/>
                  </a:cubicBezTo>
                  <a:moveTo>
                    <a:pt x="10236" y="22106"/>
                  </a:moveTo>
                  <a:cubicBezTo>
                    <a:pt x="12039" y="24721"/>
                    <a:pt x="15050" y="26236"/>
                    <a:pt x="18224" y="26127"/>
                  </a:cubicBezTo>
                  <a:cubicBezTo>
                    <a:pt x="23277" y="25903"/>
                    <a:pt x="27192" y="21625"/>
                    <a:pt x="26968" y="16571"/>
                  </a:cubicBezTo>
                  <a:cubicBezTo>
                    <a:pt x="26965" y="16507"/>
                    <a:pt x="26963" y="16446"/>
                    <a:pt x="26957" y="16382"/>
                  </a:cubicBezTo>
                  <a:cubicBezTo>
                    <a:pt x="27122" y="11392"/>
                    <a:pt x="23238" y="7198"/>
                    <a:pt x="18250" y="6983"/>
                  </a:cubicBezTo>
                  <a:cubicBezTo>
                    <a:pt x="15085" y="6884"/>
                    <a:pt x="12081" y="8386"/>
                    <a:pt x="10263" y="10977"/>
                  </a:cubicBezTo>
                  <a:cubicBezTo>
                    <a:pt x="9837" y="11613"/>
                    <a:pt x="9632" y="12369"/>
                    <a:pt x="9677" y="13133"/>
                  </a:cubicBezTo>
                  <a:lnTo>
                    <a:pt x="9677" y="19896"/>
                  </a:lnTo>
                  <a:cubicBezTo>
                    <a:pt x="9650" y="20650"/>
                    <a:pt x="9855" y="21393"/>
                    <a:pt x="10263" y="22027"/>
                  </a:cubicBezTo>
                </a:path>
              </a:pathLst>
            </a:custGeom>
            <a:solidFill>
              <a:srgbClr val="FFFFFF"/>
            </a:solidFill>
            <a:ln w="2661" cap="flat">
              <a:noFill/>
              <a:prstDash val="solid"/>
              <a:miter/>
            </a:ln>
          </p:spPr>
          <p:txBody>
            <a:bodyPr rtlCol="0" anchor="ctr"/>
            <a:lstStyle/>
            <a:p>
              <a:endParaRPr lang="pl-PL"/>
            </a:p>
          </p:txBody>
        </p:sp>
        <p:sp>
          <p:nvSpPr>
            <p:cNvPr id="119" name="Freeform: Shape 118">
              <a:extLst>
                <a:ext uri="{FF2B5EF4-FFF2-40B4-BE49-F238E27FC236}">
                  <a16:creationId xmlns:a16="http://schemas.microsoft.com/office/drawing/2014/main" id="{2428B100-C57F-4F1E-AF9E-83A00C5AF625}"/>
                </a:ext>
              </a:extLst>
            </p:cNvPr>
            <p:cNvSpPr/>
            <p:nvPr/>
          </p:nvSpPr>
          <p:spPr>
            <a:xfrm>
              <a:off x="11597252" y="6750822"/>
              <a:ext cx="18514" cy="19157"/>
            </a:xfrm>
            <a:custGeom>
              <a:avLst/>
              <a:gdLst>
                <a:gd name="connsiteX0" fmla="*/ 18038 w 32808"/>
                <a:gd name="connsiteY0" fmla="*/ -324 h 33946"/>
                <a:gd name="connsiteX1" fmla="*/ 33795 w 32808"/>
                <a:gd name="connsiteY1" fmla="*/ 15867 h 33946"/>
                <a:gd name="connsiteX2" fmla="*/ 33721 w 32808"/>
                <a:gd name="connsiteY2" fmla="*/ 17196 h 33946"/>
                <a:gd name="connsiteX3" fmla="*/ 31915 w 32808"/>
                <a:gd name="connsiteY3" fmla="*/ 19012 h 33946"/>
                <a:gd name="connsiteX4" fmla="*/ 31777 w 32808"/>
                <a:gd name="connsiteY4" fmla="*/ 19006 h 33946"/>
                <a:gd name="connsiteX5" fmla="*/ 11568 w 32808"/>
                <a:gd name="connsiteY5" fmla="*/ 19006 h 33946"/>
                <a:gd name="connsiteX6" fmla="*/ 10130 w 32808"/>
                <a:gd name="connsiteY6" fmla="*/ 20950 h 33946"/>
                <a:gd name="connsiteX7" fmla="*/ 18118 w 32808"/>
                <a:gd name="connsiteY7" fmla="*/ 26488 h 33946"/>
                <a:gd name="connsiteX8" fmla="*/ 24455 w 32808"/>
                <a:gd name="connsiteY8" fmla="*/ 23613 h 33946"/>
                <a:gd name="connsiteX9" fmla="*/ 26771 w 32808"/>
                <a:gd name="connsiteY9" fmla="*/ 22148 h 33946"/>
                <a:gd name="connsiteX10" fmla="*/ 31058 w 32808"/>
                <a:gd name="connsiteY10" fmla="*/ 22148 h 33946"/>
                <a:gd name="connsiteX11" fmla="*/ 32815 w 32808"/>
                <a:gd name="connsiteY11" fmla="*/ 24358 h 33946"/>
                <a:gd name="connsiteX12" fmla="*/ 18118 w 32808"/>
                <a:gd name="connsiteY12" fmla="*/ 33571 h 33946"/>
                <a:gd name="connsiteX13" fmla="*/ 994 w 32808"/>
                <a:gd name="connsiteY13" fmla="*/ 17371 h 33946"/>
                <a:gd name="connsiteX14" fmla="*/ 997 w 32808"/>
                <a:gd name="connsiteY14" fmla="*/ 16370 h 33946"/>
                <a:gd name="connsiteX15" fmla="*/ 16866 w 32808"/>
                <a:gd name="connsiteY15" fmla="*/ -340 h 33946"/>
                <a:gd name="connsiteX16" fmla="*/ 18118 w 32808"/>
                <a:gd name="connsiteY16" fmla="*/ -324 h 33946"/>
                <a:gd name="connsiteX17" fmla="*/ 12020 w 32808"/>
                <a:gd name="connsiteY17" fmla="*/ 13362 h 33946"/>
                <a:gd name="connsiteX18" fmla="*/ 23257 w 32808"/>
                <a:gd name="connsiteY18" fmla="*/ 13362 h 33946"/>
                <a:gd name="connsiteX19" fmla="*/ 24774 w 32808"/>
                <a:gd name="connsiteY19" fmla="*/ 11365 h 33946"/>
                <a:gd name="connsiteX20" fmla="*/ 17985 w 32808"/>
                <a:gd name="connsiteY20" fmla="*/ 6705 h 33946"/>
                <a:gd name="connsiteX21" fmla="*/ 10582 w 32808"/>
                <a:gd name="connsiteY21" fmla="*/ 11285 h 33946"/>
                <a:gd name="connsiteX22" fmla="*/ 12020 w 32808"/>
                <a:gd name="connsiteY22" fmla="*/ 13362 h 3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808" h="33946">
                  <a:moveTo>
                    <a:pt x="18038" y="-324"/>
                  </a:moveTo>
                  <a:cubicBezTo>
                    <a:pt x="26859" y="-204"/>
                    <a:pt x="33915" y="7046"/>
                    <a:pt x="33795" y="15867"/>
                  </a:cubicBezTo>
                  <a:cubicBezTo>
                    <a:pt x="33787" y="16312"/>
                    <a:pt x="33763" y="16754"/>
                    <a:pt x="33721" y="17196"/>
                  </a:cubicBezTo>
                  <a:cubicBezTo>
                    <a:pt x="33723" y="18197"/>
                    <a:pt x="32914" y="19009"/>
                    <a:pt x="31915" y="19012"/>
                  </a:cubicBezTo>
                  <a:cubicBezTo>
                    <a:pt x="31870" y="19012"/>
                    <a:pt x="31822" y="19009"/>
                    <a:pt x="31777" y="19006"/>
                  </a:cubicBezTo>
                  <a:lnTo>
                    <a:pt x="11568" y="19006"/>
                  </a:lnTo>
                  <a:cubicBezTo>
                    <a:pt x="10396" y="19006"/>
                    <a:pt x="9624" y="19778"/>
                    <a:pt x="10130" y="20950"/>
                  </a:cubicBezTo>
                  <a:cubicBezTo>
                    <a:pt x="11272" y="24361"/>
                    <a:pt x="14523" y="26616"/>
                    <a:pt x="18118" y="26488"/>
                  </a:cubicBezTo>
                  <a:cubicBezTo>
                    <a:pt x="20589" y="26709"/>
                    <a:pt x="22996" y="25618"/>
                    <a:pt x="24455" y="23613"/>
                  </a:cubicBezTo>
                  <a:cubicBezTo>
                    <a:pt x="24897" y="22734"/>
                    <a:pt x="25789" y="22172"/>
                    <a:pt x="26771" y="22148"/>
                  </a:cubicBezTo>
                  <a:lnTo>
                    <a:pt x="31058" y="22148"/>
                  </a:lnTo>
                  <a:cubicBezTo>
                    <a:pt x="32443" y="22148"/>
                    <a:pt x="33295" y="23027"/>
                    <a:pt x="32815" y="24358"/>
                  </a:cubicBezTo>
                  <a:cubicBezTo>
                    <a:pt x="30403" y="30267"/>
                    <a:pt x="24487" y="33975"/>
                    <a:pt x="18118" y="33571"/>
                  </a:cubicBezTo>
                  <a:cubicBezTo>
                    <a:pt x="8916" y="33826"/>
                    <a:pt x="1250" y="26573"/>
                    <a:pt x="994" y="17371"/>
                  </a:cubicBezTo>
                  <a:cubicBezTo>
                    <a:pt x="986" y="17036"/>
                    <a:pt x="986" y="16703"/>
                    <a:pt x="997" y="16370"/>
                  </a:cubicBezTo>
                  <a:cubicBezTo>
                    <a:pt x="765" y="7373"/>
                    <a:pt x="7869" y="-109"/>
                    <a:pt x="16866" y="-340"/>
                  </a:cubicBezTo>
                  <a:cubicBezTo>
                    <a:pt x="17284" y="-351"/>
                    <a:pt x="17702" y="-346"/>
                    <a:pt x="18118" y="-324"/>
                  </a:cubicBezTo>
                  <a:moveTo>
                    <a:pt x="12020" y="13362"/>
                  </a:moveTo>
                  <a:lnTo>
                    <a:pt x="23257" y="13362"/>
                  </a:lnTo>
                  <a:cubicBezTo>
                    <a:pt x="24508" y="13362"/>
                    <a:pt x="25280" y="12616"/>
                    <a:pt x="24774" y="11365"/>
                  </a:cubicBezTo>
                  <a:cubicBezTo>
                    <a:pt x="23707" y="8545"/>
                    <a:pt x="20999" y="6686"/>
                    <a:pt x="17985" y="6705"/>
                  </a:cubicBezTo>
                  <a:cubicBezTo>
                    <a:pt x="14859" y="6737"/>
                    <a:pt x="12007" y="8502"/>
                    <a:pt x="10582" y="11285"/>
                  </a:cubicBezTo>
                  <a:cubicBezTo>
                    <a:pt x="10023" y="12483"/>
                    <a:pt x="10716" y="13362"/>
                    <a:pt x="12020" y="13362"/>
                  </a:cubicBezTo>
                </a:path>
              </a:pathLst>
            </a:custGeom>
            <a:solidFill>
              <a:srgbClr val="FFFFFF"/>
            </a:solidFill>
            <a:ln w="2661" cap="flat">
              <a:noFill/>
              <a:prstDash val="solid"/>
              <a:miter/>
            </a:ln>
          </p:spPr>
          <p:txBody>
            <a:bodyPr rtlCol="0" anchor="ctr"/>
            <a:lstStyle/>
            <a:p>
              <a:endParaRPr lang="pl-PL"/>
            </a:p>
          </p:txBody>
        </p:sp>
        <p:sp>
          <p:nvSpPr>
            <p:cNvPr id="120" name="Freeform: Shape 119">
              <a:extLst>
                <a:ext uri="{FF2B5EF4-FFF2-40B4-BE49-F238E27FC236}">
                  <a16:creationId xmlns:a16="http://schemas.microsoft.com/office/drawing/2014/main" id="{FE150865-5015-422C-956C-3A42C2D90056}"/>
                </a:ext>
              </a:extLst>
            </p:cNvPr>
            <p:cNvSpPr/>
            <p:nvPr/>
          </p:nvSpPr>
          <p:spPr>
            <a:xfrm>
              <a:off x="11619475" y="6750860"/>
              <a:ext cx="19631" cy="26558"/>
            </a:xfrm>
            <a:custGeom>
              <a:avLst/>
              <a:gdLst>
                <a:gd name="connsiteX0" fmla="*/ 997 w 34787"/>
                <a:gd name="connsiteY0" fmla="*/ 44632 h 47062"/>
                <a:gd name="connsiteX1" fmla="*/ 997 w 34787"/>
                <a:gd name="connsiteY1" fmla="*/ 2270 h 47062"/>
                <a:gd name="connsiteX2" fmla="*/ 2658 w 34787"/>
                <a:gd name="connsiteY2" fmla="*/ 273 h 47062"/>
                <a:gd name="connsiteX3" fmla="*/ 2994 w 34787"/>
                <a:gd name="connsiteY3" fmla="*/ 273 h 47062"/>
                <a:gd name="connsiteX4" fmla="*/ 5017 w 34787"/>
                <a:gd name="connsiteY4" fmla="*/ 273 h 47062"/>
                <a:gd name="connsiteX5" fmla="*/ 7280 w 34787"/>
                <a:gd name="connsiteY5" fmla="*/ 1897 h 47062"/>
                <a:gd name="connsiteX6" fmla="*/ 9597 w 34787"/>
                <a:gd name="connsiteY6" fmla="*/ 2589 h 47062"/>
                <a:gd name="connsiteX7" fmla="*/ 19209 w 34787"/>
                <a:gd name="connsiteY7" fmla="*/ -339 h 47062"/>
                <a:gd name="connsiteX8" fmla="*/ 35773 w 34787"/>
                <a:gd name="connsiteY8" fmla="*/ 16060 h 47062"/>
                <a:gd name="connsiteX9" fmla="*/ 35770 w 34787"/>
                <a:gd name="connsiteY9" fmla="*/ 16462 h 47062"/>
                <a:gd name="connsiteX10" fmla="*/ 19560 w 34787"/>
                <a:gd name="connsiteY10" fmla="*/ 33524 h 47062"/>
                <a:gd name="connsiteX11" fmla="*/ 19076 w 34787"/>
                <a:gd name="connsiteY11" fmla="*/ 33529 h 47062"/>
                <a:gd name="connsiteX12" fmla="*/ 11088 w 34787"/>
                <a:gd name="connsiteY12" fmla="*/ 31585 h 47062"/>
                <a:gd name="connsiteX13" fmla="*/ 9011 w 34787"/>
                <a:gd name="connsiteY13" fmla="*/ 32597 h 47062"/>
                <a:gd name="connsiteX14" fmla="*/ 9011 w 34787"/>
                <a:gd name="connsiteY14" fmla="*/ 44712 h 47062"/>
                <a:gd name="connsiteX15" fmla="*/ 7350 w 34787"/>
                <a:gd name="connsiteY15" fmla="*/ 46709 h 47062"/>
                <a:gd name="connsiteX16" fmla="*/ 7014 w 34787"/>
                <a:gd name="connsiteY16" fmla="*/ 46709 h 47062"/>
                <a:gd name="connsiteX17" fmla="*/ 3100 w 34787"/>
                <a:gd name="connsiteY17" fmla="*/ 46709 h 47062"/>
                <a:gd name="connsiteX18" fmla="*/ 1103 w 34787"/>
                <a:gd name="connsiteY18" fmla="*/ 45048 h 47062"/>
                <a:gd name="connsiteX19" fmla="*/ 1103 w 34787"/>
                <a:gd name="connsiteY19" fmla="*/ 44712 h 47062"/>
                <a:gd name="connsiteX20" fmla="*/ 10342 w 34787"/>
                <a:gd name="connsiteY20" fmla="*/ 22106 h 47062"/>
                <a:gd name="connsiteX21" fmla="*/ 18330 w 34787"/>
                <a:gd name="connsiteY21" fmla="*/ 26127 h 47062"/>
                <a:gd name="connsiteX22" fmla="*/ 27042 w 34787"/>
                <a:gd name="connsiteY22" fmla="*/ 16539 h 47062"/>
                <a:gd name="connsiteX23" fmla="*/ 27037 w 34787"/>
                <a:gd name="connsiteY23" fmla="*/ 16462 h 47062"/>
                <a:gd name="connsiteX24" fmla="*/ 18330 w 34787"/>
                <a:gd name="connsiteY24" fmla="*/ 7063 h 47062"/>
                <a:gd name="connsiteX25" fmla="*/ 10342 w 34787"/>
                <a:gd name="connsiteY25" fmla="*/ 11057 h 47062"/>
                <a:gd name="connsiteX26" fmla="*/ 9757 w 34787"/>
                <a:gd name="connsiteY26" fmla="*/ 13213 h 47062"/>
                <a:gd name="connsiteX27" fmla="*/ 9757 w 34787"/>
                <a:gd name="connsiteY27" fmla="*/ 19976 h 47062"/>
                <a:gd name="connsiteX28" fmla="*/ 10342 w 34787"/>
                <a:gd name="connsiteY28" fmla="*/ 22106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787" h="47062">
                  <a:moveTo>
                    <a:pt x="997" y="44632"/>
                  </a:moveTo>
                  <a:lnTo>
                    <a:pt x="997" y="2270"/>
                  </a:lnTo>
                  <a:cubicBezTo>
                    <a:pt x="903" y="1261"/>
                    <a:pt x="1649" y="366"/>
                    <a:pt x="2658" y="273"/>
                  </a:cubicBezTo>
                  <a:cubicBezTo>
                    <a:pt x="2770" y="262"/>
                    <a:pt x="2882" y="262"/>
                    <a:pt x="2994" y="273"/>
                  </a:cubicBezTo>
                  <a:lnTo>
                    <a:pt x="5017" y="273"/>
                  </a:lnTo>
                  <a:cubicBezTo>
                    <a:pt x="6064" y="201"/>
                    <a:pt x="7014" y="883"/>
                    <a:pt x="7280" y="1897"/>
                  </a:cubicBezTo>
                  <a:cubicBezTo>
                    <a:pt x="7600" y="3228"/>
                    <a:pt x="8532" y="3415"/>
                    <a:pt x="9597" y="2589"/>
                  </a:cubicBezTo>
                  <a:cubicBezTo>
                    <a:pt x="12395" y="592"/>
                    <a:pt x="15771" y="-435"/>
                    <a:pt x="19209" y="-339"/>
                  </a:cubicBezTo>
                  <a:cubicBezTo>
                    <a:pt x="28312" y="-385"/>
                    <a:pt x="35728" y="6956"/>
                    <a:pt x="35773" y="16060"/>
                  </a:cubicBezTo>
                  <a:cubicBezTo>
                    <a:pt x="35773" y="16193"/>
                    <a:pt x="35773" y="16329"/>
                    <a:pt x="35770" y="16462"/>
                  </a:cubicBezTo>
                  <a:cubicBezTo>
                    <a:pt x="36005" y="25650"/>
                    <a:pt x="28749" y="33289"/>
                    <a:pt x="19560" y="33524"/>
                  </a:cubicBezTo>
                  <a:cubicBezTo>
                    <a:pt x="19398" y="33529"/>
                    <a:pt x="19238" y="33529"/>
                    <a:pt x="19076" y="33529"/>
                  </a:cubicBezTo>
                  <a:cubicBezTo>
                    <a:pt x="16291" y="33582"/>
                    <a:pt x="13538" y="32914"/>
                    <a:pt x="11088" y="31585"/>
                  </a:cubicBezTo>
                  <a:cubicBezTo>
                    <a:pt x="9836" y="30840"/>
                    <a:pt x="9011" y="31213"/>
                    <a:pt x="9011" y="32597"/>
                  </a:cubicBezTo>
                  <a:lnTo>
                    <a:pt x="9011" y="44712"/>
                  </a:lnTo>
                  <a:cubicBezTo>
                    <a:pt x="9104" y="45721"/>
                    <a:pt x="8359" y="46616"/>
                    <a:pt x="7350" y="46709"/>
                  </a:cubicBezTo>
                  <a:cubicBezTo>
                    <a:pt x="7238" y="46720"/>
                    <a:pt x="7126" y="46720"/>
                    <a:pt x="7014" y="46709"/>
                  </a:cubicBezTo>
                  <a:lnTo>
                    <a:pt x="3100" y="46709"/>
                  </a:lnTo>
                  <a:cubicBezTo>
                    <a:pt x="2088" y="46802"/>
                    <a:pt x="1196" y="46057"/>
                    <a:pt x="1103" y="45048"/>
                  </a:cubicBezTo>
                  <a:cubicBezTo>
                    <a:pt x="1092" y="44936"/>
                    <a:pt x="1092" y="44824"/>
                    <a:pt x="1103" y="44712"/>
                  </a:cubicBezTo>
                  <a:moveTo>
                    <a:pt x="10342" y="22106"/>
                  </a:moveTo>
                  <a:cubicBezTo>
                    <a:pt x="12145" y="24721"/>
                    <a:pt x="15156" y="26236"/>
                    <a:pt x="18330" y="26127"/>
                  </a:cubicBezTo>
                  <a:cubicBezTo>
                    <a:pt x="23384" y="25885"/>
                    <a:pt x="27282" y="21592"/>
                    <a:pt x="27042" y="16539"/>
                  </a:cubicBezTo>
                  <a:cubicBezTo>
                    <a:pt x="27040" y="16515"/>
                    <a:pt x="27040" y="16488"/>
                    <a:pt x="27037" y="16462"/>
                  </a:cubicBezTo>
                  <a:cubicBezTo>
                    <a:pt x="27202" y="11472"/>
                    <a:pt x="23317" y="7278"/>
                    <a:pt x="18330" y="7063"/>
                  </a:cubicBezTo>
                  <a:cubicBezTo>
                    <a:pt x="15164" y="6964"/>
                    <a:pt x="12161" y="8466"/>
                    <a:pt x="10342" y="11057"/>
                  </a:cubicBezTo>
                  <a:cubicBezTo>
                    <a:pt x="9919" y="11693"/>
                    <a:pt x="9711" y="12449"/>
                    <a:pt x="9757" y="13213"/>
                  </a:cubicBezTo>
                  <a:lnTo>
                    <a:pt x="9757" y="19976"/>
                  </a:lnTo>
                  <a:cubicBezTo>
                    <a:pt x="9730" y="20730"/>
                    <a:pt x="9935" y="21473"/>
                    <a:pt x="10342" y="22106"/>
                  </a:cubicBezTo>
                </a:path>
              </a:pathLst>
            </a:custGeom>
            <a:solidFill>
              <a:srgbClr val="FFFFFF"/>
            </a:solidFill>
            <a:ln w="2661" cap="flat">
              <a:noFill/>
              <a:prstDash val="solid"/>
              <a:miter/>
            </a:ln>
          </p:spPr>
          <p:txBody>
            <a:bodyPr rtlCol="0" anchor="ctr"/>
            <a:lstStyle/>
            <a:p>
              <a:endParaRPr lang="pl-PL"/>
            </a:p>
          </p:txBody>
        </p:sp>
        <p:sp>
          <p:nvSpPr>
            <p:cNvPr id="121" name="Freeform: Shape 120">
              <a:extLst>
                <a:ext uri="{FF2B5EF4-FFF2-40B4-BE49-F238E27FC236}">
                  <a16:creationId xmlns:a16="http://schemas.microsoft.com/office/drawing/2014/main" id="{CE7D74CD-CD44-4ED4-9AB8-CB71827A3810}"/>
                </a:ext>
              </a:extLst>
            </p:cNvPr>
            <p:cNvSpPr/>
            <p:nvPr/>
          </p:nvSpPr>
          <p:spPr>
            <a:xfrm>
              <a:off x="11641544" y="6750833"/>
              <a:ext cx="16868" cy="19128"/>
            </a:xfrm>
            <a:custGeom>
              <a:avLst/>
              <a:gdLst>
                <a:gd name="connsiteX0" fmla="*/ 16181 w 29890"/>
                <a:gd name="connsiteY0" fmla="*/ -346 h 33895"/>
                <a:gd name="connsiteX1" fmla="*/ 30186 w 29890"/>
                <a:gd name="connsiteY1" fmla="*/ 9400 h 33895"/>
                <a:gd name="connsiteX2" fmla="*/ 28296 w 29890"/>
                <a:gd name="connsiteY2" fmla="*/ 11476 h 33895"/>
                <a:gd name="connsiteX3" fmla="*/ 24275 w 29890"/>
                <a:gd name="connsiteY3" fmla="*/ 11476 h 33895"/>
                <a:gd name="connsiteX4" fmla="*/ 22092 w 29890"/>
                <a:gd name="connsiteY4" fmla="*/ 9719 h 33895"/>
                <a:gd name="connsiteX5" fmla="*/ 16048 w 29890"/>
                <a:gd name="connsiteY5" fmla="*/ 6444 h 33895"/>
                <a:gd name="connsiteX6" fmla="*/ 10723 w 29890"/>
                <a:gd name="connsiteY6" fmla="*/ 9266 h 33895"/>
                <a:gd name="connsiteX7" fmla="*/ 30879 w 29890"/>
                <a:gd name="connsiteY7" fmla="*/ 23591 h 33895"/>
                <a:gd name="connsiteX8" fmla="*/ 16687 w 29890"/>
                <a:gd name="connsiteY8" fmla="*/ 33550 h 33895"/>
                <a:gd name="connsiteX9" fmla="*/ 1057 w 29890"/>
                <a:gd name="connsiteY9" fmla="*/ 23511 h 33895"/>
                <a:gd name="connsiteX10" fmla="*/ 2895 w 29890"/>
                <a:gd name="connsiteY10" fmla="*/ 21381 h 33895"/>
                <a:gd name="connsiteX11" fmla="*/ 7155 w 29890"/>
                <a:gd name="connsiteY11" fmla="*/ 21381 h 33895"/>
                <a:gd name="connsiteX12" fmla="*/ 9338 w 29890"/>
                <a:gd name="connsiteY12" fmla="*/ 23006 h 33895"/>
                <a:gd name="connsiteX13" fmla="*/ 16873 w 29890"/>
                <a:gd name="connsiteY13" fmla="*/ 26786 h 33895"/>
                <a:gd name="connsiteX14" fmla="*/ 22411 w 29890"/>
                <a:gd name="connsiteY14" fmla="*/ 23645 h 33895"/>
                <a:gd name="connsiteX15" fmla="*/ 2256 w 29890"/>
                <a:gd name="connsiteY15" fmla="*/ 9453 h 33895"/>
                <a:gd name="connsiteX16" fmla="*/ 16128 w 29890"/>
                <a:gd name="connsiteY16" fmla="*/ -346 h 3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890" h="33895">
                  <a:moveTo>
                    <a:pt x="16181" y="-346"/>
                  </a:moveTo>
                  <a:cubicBezTo>
                    <a:pt x="24169" y="-346"/>
                    <a:pt x="28855" y="3622"/>
                    <a:pt x="30186" y="9400"/>
                  </a:cubicBezTo>
                  <a:cubicBezTo>
                    <a:pt x="30479" y="10704"/>
                    <a:pt x="29681" y="11476"/>
                    <a:pt x="28296" y="11476"/>
                  </a:cubicBezTo>
                  <a:lnTo>
                    <a:pt x="24275" y="11476"/>
                  </a:lnTo>
                  <a:cubicBezTo>
                    <a:pt x="23077" y="11476"/>
                    <a:pt x="22518" y="10837"/>
                    <a:pt x="22092" y="9719"/>
                  </a:cubicBezTo>
                  <a:cubicBezTo>
                    <a:pt x="21320" y="7642"/>
                    <a:pt x="19429" y="6444"/>
                    <a:pt x="16048" y="6444"/>
                  </a:cubicBezTo>
                  <a:cubicBezTo>
                    <a:pt x="12666" y="6444"/>
                    <a:pt x="10723" y="7562"/>
                    <a:pt x="10723" y="9266"/>
                  </a:cubicBezTo>
                  <a:cubicBezTo>
                    <a:pt x="10723" y="15364"/>
                    <a:pt x="30879" y="10971"/>
                    <a:pt x="30879" y="23591"/>
                  </a:cubicBezTo>
                  <a:cubicBezTo>
                    <a:pt x="30879" y="29982"/>
                    <a:pt x="25048" y="33550"/>
                    <a:pt x="16687" y="33550"/>
                  </a:cubicBezTo>
                  <a:cubicBezTo>
                    <a:pt x="8326" y="33550"/>
                    <a:pt x="2389" y="29928"/>
                    <a:pt x="1057" y="23511"/>
                  </a:cubicBezTo>
                  <a:cubicBezTo>
                    <a:pt x="738" y="22127"/>
                    <a:pt x="1563" y="21381"/>
                    <a:pt x="2895" y="21381"/>
                  </a:cubicBezTo>
                  <a:lnTo>
                    <a:pt x="7155" y="21381"/>
                  </a:lnTo>
                  <a:cubicBezTo>
                    <a:pt x="8172" y="21347"/>
                    <a:pt x="9077" y="22020"/>
                    <a:pt x="9338" y="23006"/>
                  </a:cubicBezTo>
                  <a:cubicBezTo>
                    <a:pt x="10858" y="25668"/>
                    <a:pt x="13830" y="27159"/>
                    <a:pt x="16873" y="26786"/>
                  </a:cubicBezTo>
                  <a:cubicBezTo>
                    <a:pt x="20281" y="26786"/>
                    <a:pt x="22411" y="25721"/>
                    <a:pt x="22411" y="23645"/>
                  </a:cubicBezTo>
                  <a:cubicBezTo>
                    <a:pt x="22411" y="17494"/>
                    <a:pt x="2256" y="22127"/>
                    <a:pt x="2256" y="9453"/>
                  </a:cubicBezTo>
                  <a:cubicBezTo>
                    <a:pt x="2256" y="3808"/>
                    <a:pt x="7101" y="-346"/>
                    <a:pt x="16128" y="-346"/>
                  </a:cubicBezTo>
                </a:path>
              </a:pathLst>
            </a:custGeom>
            <a:solidFill>
              <a:srgbClr val="FFFFFF"/>
            </a:solidFill>
            <a:ln w="2661" cap="flat">
              <a:noFill/>
              <a:prstDash val="solid"/>
              <a:miter/>
            </a:ln>
          </p:spPr>
          <p:txBody>
            <a:bodyPr rtlCol="0" anchor="ctr"/>
            <a:lstStyle/>
            <a:p>
              <a:endParaRPr lang="pl-PL"/>
            </a:p>
          </p:txBody>
        </p:sp>
        <p:sp>
          <p:nvSpPr>
            <p:cNvPr id="122" name="Freeform: Shape 121">
              <a:extLst>
                <a:ext uri="{FF2B5EF4-FFF2-40B4-BE49-F238E27FC236}">
                  <a16:creationId xmlns:a16="http://schemas.microsoft.com/office/drawing/2014/main" id="{B8022138-B4AE-4E9F-8A58-DD95325DDFD5}"/>
                </a:ext>
              </a:extLst>
            </p:cNvPr>
            <p:cNvSpPr/>
            <p:nvPr/>
          </p:nvSpPr>
          <p:spPr>
            <a:xfrm>
              <a:off x="11661657" y="6742209"/>
              <a:ext cx="6551" cy="27381"/>
            </a:xfrm>
            <a:custGeom>
              <a:avLst/>
              <a:gdLst>
                <a:gd name="connsiteX0" fmla="*/ 989 w 11609"/>
                <a:gd name="connsiteY0" fmla="*/ 5352 h 48520"/>
                <a:gd name="connsiteX1" fmla="*/ 6687 w 11609"/>
                <a:gd name="connsiteY1" fmla="*/ -346 h 48520"/>
                <a:gd name="connsiteX2" fmla="*/ 6767 w 11609"/>
                <a:gd name="connsiteY2" fmla="*/ -346 h 48520"/>
                <a:gd name="connsiteX3" fmla="*/ 12598 w 11609"/>
                <a:gd name="connsiteY3" fmla="*/ 5352 h 48520"/>
                <a:gd name="connsiteX4" fmla="*/ 6767 w 11609"/>
                <a:gd name="connsiteY4" fmla="*/ 11263 h 48520"/>
                <a:gd name="connsiteX5" fmla="*/ 989 w 11609"/>
                <a:gd name="connsiteY5" fmla="*/ 5432 h 48520"/>
                <a:gd name="connsiteX6" fmla="*/ 989 w 11609"/>
                <a:gd name="connsiteY6" fmla="*/ 5352 h 48520"/>
                <a:gd name="connsiteX7" fmla="*/ 10734 w 11609"/>
                <a:gd name="connsiteY7" fmla="*/ 17521 h 48520"/>
                <a:gd name="connsiteX8" fmla="*/ 10734 w 11609"/>
                <a:gd name="connsiteY8" fmla="*/ 46144 h 48520"/>
                <a:gd name="connsiteX9" fmla="*/ 9046 w 11609"/>
                <a:gd name="connsiteY9" fmla="*/ 48167 h 48520"/>
                <a:gd name="connsiteX10" fmla="*/ 8710 w 11609"/>
                <a:gd name="connsiteY10" fmla="*/ 48167 h 48520"/>
                <a:gd name="connsiteX11" fmla="*/ 3998 w 11609"/>
                <a:gd name="connsiteY11" fmla="*/ 48167 h 48520"/>
                <a:gd name="connsiteX12" fmla="*/ 1998 w 11609"/>
                <a:gd name="connsiteY12" fmla="*/ 46450 h 48520"/>
                <a:gd name="connsiteX13" fmla="*/ 2001 w 11609"/>
                <a:gd name="connsiteY13" fmla="*/ 46144 h 48520"/>
                <a:gd name="connsiteX14" fmla="*/ 2001 w 11609"/>
                <a:gd name="connsiteY14" fmla="*/ 17600 h 48520"/>
                <a:gd name="connsiteX15" fmla="*/ 3662 w 11609"/>
                <a:gd name="connsiteY15" fmla="*/ 15603 h 48520"/>
                <a:gd name="connsiteX16" fmla="*/ 3998 w 11609"/>
                <a:gd name="connsiteY16" fmla="*/ 15603 h 48520"/>
                <a:gd name="connsiteX17" fmla="*/ 8710 w 11609"/>
                <a:gd name="connsiteY17" fmla="*/ 15603 h 48520"/>
                <a:gd name="connsiteX18" fmla="*/ 10731 w 11609"/>
                <a:gd name="connsiteY18" fmla="*/ 17294 h 48520"/>
                <a:gd name="connsiteX19" fmla="*/ 10734 w 11609"/>
                <a:gd name="connsiteY19" fmla="*/ 17600 h 48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09" h="48520">
                  <a:moveTo>
                    <a:pt x="989" y="5352"/>
                  </a:moveTo>
                  <a:cubicBezTo>
                    <a:pt x="989" y="2205"/>
                    <a:pt x="3540" y="-346"/>
                    <a:pt x="6687" y="-346"/>
                  </a:cubicBezTo>
                  <a:cubicBezTo>
                    <a:pt x="6713" y="-346"/>
                    <a:pt x="6740" y="-346"/>
                    <a:pt x="6767" y="-346"/>
                  </a:cubicBezTo>
                  <a:cubicBezTo>
                    <a:pt x="9935" y="-346"/>
                    <a:pt x="12526" y="2184"/>
                    <a:pt x="12598" y="5352"/>
                  </a:cubicBezTo>
                  <a:cubicBezTo>
                    <a:pt x="12598" y="8585"/>
                    <a:pt x="9999" y="11221"/>
                    <a:pt x="6767" y="11263"/>
                  </a:cubicBezTo>
                  <a:cubicBezTo>
                    <a:pt x="3561" y="11250"/>
                    <a:pt x="973" y="8638"/>
                    <a:pt x="989" y="5432"/>
                  </a:cubicBezTo>
                  <a:cubicBezTo>
                    <a:pt x="989" y="5406"/>
                    <a:pt x="989" y="5379"/>
                    <a:pt x="989" y="5352"/>
                  </a:cubicBezTo>
                  <a:moveTo>
                    <a:pt x="10734" y="17521"/>
                  </a:moveTo>
                  <a:lnTo>
                    <a:pt x="10734" y="46144"/>
                  </a:lnTo>
                  <a:cubicBezTo>
                    <a:pt x="10827" y="47169"/>
                    <a:pt x="10071" y="48074"/>
                    <a:pt x="9046" y="48167"/>
                  </a:cubicBezTo>
                  <a:cubicBezTo>
                    <a:pt x="8934" y="48178"/>
                    <a:pt x="8822" y="48178"/>
                    <a:pt x="8710" y="48167"/>
                  </a:cubicBezTo>
                  <a:lnTo>
                    <a:pt x="3998" y="48167"/>
                  </a:lnTo>
                  <a:cubicBezTo>
                    <a:pt x="2972" y="48244"/>
                    <a:pt x="2075" y="47475"/>
                    <a:pt x="1998" y="46450"/>
                  </a:cubicBezTo>
                  <a:cubicBezTo>
                    <a:pt x="1990" y="46349"/>
                    <a:pt x="1993" y="46245"/>
                    <a:pt x="2001" y="46144"/>
                  </a:cubicBezTo>
                  <a:lnTo>
                    <a:pt x="2001" y="17600"/>
                  </a:lnTo>
                  <a:cubicBezTo>
                    <a:pt x="1907" y="16591"/>
                    <a:pt x="2653" y="15697"/>
                    <a:pt x="3662" y="15603"/>
                  </a:cubicBezTo>
                  <a:cubicBezTo>
                    <a:pt x="3774" y="15593"/>
                    <a:pt x="3886" y="15593"/>
                    <a:pt x="3998" y="15603"/>
                  </a:cubicBezTo>
                  <a:lnTo>
                    <a:pt x="8710" y="15603"/>
                  </a:lnTo>
                  <a:cubicBezTo>
                    <a:pt x="9735" y="15513"/>
                    <a:pt x="10641" y="16269"/>
                    <a:pt x="10731" y="17294"/>
                  </a:cubicBezTo>
                  <a:cubicBezTo>
                    <a:pt x="10742" y="17395"/>
                    <a:pt x="10742" y="17499"/>
                    <a:pt x="10734" y="17600"/>
                  </a:cubicBezTo>
                </a:path>
              </a:pathLst>
            </a:custGeom>
            <a:solidFill>
              <a:srgbClr val="FFFFFF"/>
            </a:solidFill>
            <a:ln w="2661" cap="flat">
              <a:noFill/>
              <a:prstDash val="solid"/>
              <a:miter/>
            </a:ln>
          </p:spPr>
          <p:txBody>
            <a:bodyPr rtlCol="0" anchor="ctr"/>
            <a:lstStyle/>
            <a:p>
              <a:endParaRPr lang="pl-PL"/>
            </a:p>
          </p:txBody>
        </p:sp>
        <p:sp>
          <p:nvSpPr>
            <p:cNvPr id="123" name="Freeform: Shape 122">
              <a:extLst>
                <a:ext uri="{FF2B5EF4-FFF2-40B4-BE49-F238E27FC236}">
                  <a16:creationId xmlns:a16="http://schemas.microsoft.com/office/drawing/2014/main" id="{4892EF28-34EA-4032-9730-54B5FC4EAA9C}"/>
                </a:ext>
              </a:extLst>
            </p:cNvPr>
            <p:cNvSpPr/>
            <p:nvPr/>
          </p:nvSpPr>
          <p:spPr>
            <a:xfrm>
              <a:off x="11670912" y="6750850"/>
              <a:ext cx="18928" cy="19154"/>
            </a:xfrm>
            <a:custGeom>
              <a:avLst/>
              <a:gdLst>
                <a:gd name="connsiteX0" fmla="*/ 25781 w 33540"/>
                <a:gd name="connsiteY0" fmla="*/ 11128 h 33942"/>
                <a:gd name="connsiteX1" fmla="*/ 18672 w 33540"/>
                <a:gd name="connsiteY1" fmla="*/ 7001 h 33942"/>
                <a:gd name="connsiteX2" fmla="*/ 9850 w 33540"/>
                <a:gd name="connsiteY2" fmla="*/ 15699 h 33942"/>
                <a:gd name="connsiteX3" fmla="*/ 9885 w 33540"/>
                <a:gd name="connsiteY3" fmla="*/ 16533 h 33942"/>
                <a:gd name="connsiteX4" fmla="*/ 17838 w 33540"/>
                <a:gd name="connsiteY4" fmla="*/ 26030 h 33942"/>
                <a:gd name="connsiteX5" fmla="*/ 18618 w 33540"/>
                <a:gd name="connsiteY5" fmla="*/ 26065 h 33942"/>
                <a:gd name="connsiteX6" fmla="*/ 25514 w 33540"/>
                <a:gd name="connsiteY6" fmla="*/ 22364 h 33942"/>
                <a:gd name="connsiteX7" fmla="*/ 27778 w 33540"/>
                <a:gd name="connsiteY7" fmla="*/ 20793 h 33942"/>
                <a:gd name="connsiteX8" fmla="*/ 32411 w 33540"/>
                <a:gd name="connsiteY8" fmla="*/ 20793 h 33942"/>
                <a:gd name="connsiteX9" fmla="*/ 34301 w 33540"/>
                <a:gd name="connsiteY9" fmla="*/ 22923 h 33942"/>
                <a:gd name="connsiteX10" fmla="*/ 18805 w 33540"/>
                <a:gd name="connsiteY10" fmla="*/ 33573 h 33942"/>
                <a:gd name="connsiteX11" fmla="*/ 1013 w 33540"/>
                <a:gd name="connsiteY11" fmla="*/ 17545 h 33942"/>
                <a:gd name="connsiteX12" fmla="*/ 992 w 33540"/>
                <a:gd name="connsiteY12" fmla="*/ 16373 h 33942"/>
                <a:gd name="connsiteX13" fmla="*/ 17503 w 33540"/>
                <a:gd name="connsiteY13" fmla="*/ -346 h 33942"/>
                <a:gd name="connsiteX14" fmla="*/ 18485 w 33540"/>
                <a:gd name="connsiteY14" fmla="*/ -322 h 33942"/>
                <a:gd name="connsiteX15" fmla="*/ 34461 w 33540"/>
                <a:gd name="connsiteY15" fmla="*/ 10728 h 33942"/>
                <a:gd name="connsiteX16" fmla="*/ 33324 w 33540"/>
                <a:gd name="connsiteY16" fmla="*/ 12810 h 33942"/>
                <a:gd name="connsiteX17" fmla="*/ 32597 w 33540"/>
                <a:gd name="connsiteY17" fmla="*/ 12858 h 33942"/>
                <a:gd name="connsiteX18" fmla="*/ 28124 w 33540"/>
                <a:gd name="connsiteY18" fmla="*/ 12858 h 33942"/>
                <a:gd name="connsiteX19" fmla="*/ 25887 w 33540"/>
                <a:gd name="connsiteY19" fmla="*/ 11234 h 33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3540" h="33942">
                  <a:moveTo>
                    <a:pt x="25781" y="11128"/>
                  </a:moveTo>
                  <a:cubicBezTo>
                    <a:pt x="24463" y="8441"/>
                    <a:pt x="21656" y="6814"/>
                    <a:pt x="18672" y="7001"/>
                  </a:cubicBezTo>
                  <a:cubicBezTo>
                    <a:pt x="13834" y="6966"/>
                    <a:pt x="9885" y="10861"/>
                    <a:pt x="9850" y="15699"/>
                  </a:cubicBezTo>
                  <a:cubicBezTo>
                    <a:pt x="9850" y="15979"/>
                    <a:pt x="9861" y="16256"/>
                    <a:pt x="9885" y="16533"/>
                  </a:cubicBezTo>
                  <a:cubicBezTo>
                    <a:pt x="9459" y="21352"/>
                    <a:pt x="13019" y="25604"/>
                    <a:pt x="17838" y="26030"/>
                  </a:cubicBezTo>
                  <a:cubicBezTo>
                    <a:pt x="18099" y="26054"/>
                    <a:pt x="18357" y="26065"/>
                    <a:pt x="18618" y="26065"/>
                  </a:cubicBezTo>
                  <a:cubicBezTo>
                    <a:pt x="21441" y="26281"/>
                    <a:pt x="24133" y="24835"/>
                    <a:pt x="25514" y="22364"/>
                  </a:cubicBezTo>
                  <a:cubicBezTo>
                    <a:pt x="25869" y="21421"/>
                    <a:pt x="26771" y="20796"/>
                    <a:pt x="27778" y="20793"/>
                  </a:cubicBezTo>
                  <a:lnTo>
                    <a:pt x="32411" y="20793"/>
                  </a:lnTo>
                  <a:cubicBezTo>
                    <a:pt x="33742" y="20793"/>
                    <a:pt x="34621" y="21618"/>
                    <a:pt x="34301" y="22923"/>
                  </a:cubicBezTo>
                  <a:cubicBezTo>
                    <a:pt x="32810" y="29340"/>
                    <a:pt x="26313" y="33573"/>
                    <a:pt x="18805" y="33573"/>
                  </a:cubicBezTo>
                  <a:cubicBezTo>
                    <a:pt x="9464" y="34061"/>
                    <a:pt x="1498" y="26882"/>
                    <a:pt x="1013" y="17545"/>
                  </a:cubicBezTo>
                  <a:cubicBezTo>
                    <a:pt x="992" y="17153"/>
                    <a:pt x="984" y="16764"/>
                    <a:pt x="992" y="16373"/>
                  </a:cubicBezTo>
                  <a:cubicBezTo>
                    <a:pt x="936" y="7198"/>
                    <a:pt x="8327" y="-287"/>
                    <a:pt x="17503" y="-346"/>
                  </a:cubicBezTo>
                  <a:cubicBezTo>
                    <a:pt x="17830" y="-346"/>
                    <a:pt x="18158" y="-340"/>
                    <a:pt x="18485" y="-322"/>
                  </a:cubicBezTo>
                  <a:cubicBezTo>
                    <a:pt x="27724" y="-322"/>
                    <a:pt x="32996" y="4578"/>
                    <a:pt x="34461" y="10728"/>
                  </a:cubicBezTo>
                  <a:cubicBezTo>
                    <a:pt x="34722" y="11618"/>
                    <a:pt x="34213" y="12549"/>
                    <a:pt x="33324" y="12810"/>
                  </a:cubicBezTo>
                  <a:cubicBezTo>
                    <a:pt x="33087" y="12880"/>
                    <a:pt x="32839" y="12896"/>
                    <a:pt x="32597" y="12858"/>
                  </a:cubicBezTo>
                  <a:lnTo>
                    <a:pt x="28124" y="12858"/>
                  </a:lnTo>
                  <a:cubicBezTo>
                    <a:pt x="27006" y="12858"/>
                    <a:pt x="26446" y="12299"/>
                    <a:pt x="25887" y="11234"/>
                  </a:cubicBezTo>
                </a:path>
              </a:pathLst>
            </a:custGeom>
            <a:solidFill>
              <a:srgbClr val="FFFFFF"/>
            </a:solidFill>
            <a:ln w="2661" cap="flat">
              <a:noFill/>
              <a:prstDash val="solid"/>
              <a:miter/>
            </a:ln>
          </p:spPr>
          <p:txBody>
            <a:bodyPr rtlCol="0" anchor="ctr"/>
            <a:lstStyle/>
            <a:p>
              <a:endParaRPr lang="pl-PL"/>
            </a:p>
          </p:txBody>
        </p:sp>
        <p:sp>
          <p:nvSpPr>
            <p:cNvPr id="124" name="Freeform: Shape 123">
              <a:extLst>
                <a:ext uri="{FF2B5EF4-FFF2-40B4-BE49-F238E27FC236}">
                  <a16:creationId xmlns:a16="http://schemas.microsoft.com/office/drawing/2014/main" id="{197DA4E3-B005-419D-A184-B7A738353530}"/>
                </a:ext>
              </a:extLst>
            </p:cNvPr>
            <p:cNvSpPr/>
            <p:nvPr/>
          </p:nvSpPr>
          <p:spPr>
            <a:xfrm>
              <a:off x="11692340" y="6750833"/>
              <a:ext cx="20150" cy="19139"/>
            </a:xfrm>
            <a:custGeom>
              <a:avLst/>
              <a:gdLst>
                <a:gd name="connsiteX0" fmla="*/ 18856 w 35707"/>
                <a:gd name="connsiteY0" fmla="*/ -346 h 33914"/>
                <a:gd name="connsiteX1" fmla="*/ 36695 w 35707"/>
                <a:gd name="connsiteY1" fmla="*/ 16349 h 33914"/>
                <a:gd name="connsiteX2" fmla="*/ 19833 w 35707"/>
                <a:gd name="connsiteY2" fmla="*/ 33568 h 33914"/>
                <a:gd name="connsiteX3" fmla="*/ 18856 w 35707"/>
                <a:gd name="connsiteY3" fmla="*/ 33550 h 33914"/>
                <a:gd name="connsiteX4" fmla="*/ 1008 w 35707"/>
                <a:gd name="connsiteY4" fmla="*/ 17300 h 33914"/>
                <a:gd name="connsiteX5" fmla="*/ 989 w 35707"/>
                <a:gd name="connsiteY5" fmla="*/ 16349 h 33914"/>
                <a:gd name="connsiteX6" fmla="*/ 18856 w 35707"/>
                <a:gd name="connsiteY6" fmla="*/ -346 h 33914"/>
                <a:gd name="connsiteX7" fmla="*/ 18856 w 35707"/>
                <a:gd name="connsiteY7" fmla="*/ 26147 h 33914"/>
                <a:gd name="connsiteX8" fmla="*/ 28028 w 35707"/>
                <a:gd name="connsiteY8" fmla="*/ 17214 h 33914"/>
                <a:gd name="connsiteX9" fmla="*/ 28015 w 35707"/>
                <a:gd name="connsiteY9" fmla="*/ 16615 h 33914"/>
                <a:gd name="connsiteX10" fmla="*/ 19455 w 35707"/>
                <a:gd name="connsiteY10" fmla="*/ 7096 h 33914"/>
                <a:gd name="connsiteX11" fmla="*/ 18856 w 35707"/>
                <a:gd name="connsiteY11" fmla="*/ 7083 h 33914"/>
                <a:gd name="connsiteX12" fmla="*/ 9683 w 35707"/>
                <a:gd name="connsiteY12" fmla="*/ 15960 h 33914"/>
                <a:gd name="connsiteX13" fmla="*/ 9696 w 35707"/>
                <a:gd name="connsiteY13" fmla="*/ 16615 h 33914"/>
                <a:gd name="connsiteX14" fmla="*/ 18200 w 35707"/>
                <a:gd name="connsiteY14" fmla="*/ 26134 h 33914"/>
                <a:gd name="connsiteX15" fmla="*/ 18856 w 35707"/>
                <a:gd name="connsiteY15" fmla="*/ 26147 h 33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07" h="33914">
                  <a:moveTo>
                    <a:pt x="18856" y="-346"/>
                  </a:moveTo>
                  <a:cubicBezTo>
                    <a:pt x="29346" y="-346"/>
                    <a:pt x="36695" y="7003"/>
                    <a:pt x="36695" y="16349"/>
                  </a:cubicBezTo>
                  <a:cubicBezTo>
                    <a:pt x="36794" y="25759"/>
                    <a:pt x="29245" y="33470"/>
                    <a:pt x="19833" y="33568"/>
                  </a:cubicBezTo>
                  <a:cubicBezTo>
                    <a:pt x="19508" y="33571"/>
                    <a:pt x="19180" y="33565"/>
                    <a:pt x="18856" y="33550"/>
                  </a:cubicBezTo>
                  <a:cubicBezTo>
                    <a:pt x="9440" y="33991"/>
                    <a:pt x="1450" y="26717"/>
                    <a:pt x="1008" y="17300"/>
                  </a:cubicBezTo>
                  <a:cubicBezTo>
                    <a:pt x="992" y="16983"/>
                    <a:pt x="987" y="16666"/>
                    <a:pt x="989" y="16349"/>
                  </a:cubicBezTo>
                  <a:cubicBezTo>
                    <a:pt x="989" y="7003"/>
                    <a:pt x="8391" y="-346"/>
                    <a:pt x="18856" y="-346"/>
                  </a:cubicBezTo>
                  <a:moveTo>
                    <a:pt x="18856" y="26147"/>
                  </a:moveTo>
                  <a:cubicBezTo>
                    <a:pt x="23856" y="26214"/>
                    <a:pt x="27962" y="22215"/>
                    <a:pt x="28028" y="17214"/>
                  </a:cubicBezTo>
                  <a:cubicBezTo>
                    <a:pt x="28031" y="17015"/>
                    <a:pt x="28026" y="16815"/>
                    <a:pt x="28015" y="16615"/>
                  </a:cubicBezTo>
                  <a:cubicBezTo>
                    <a:pt x="28281" y="11623"/>
                    <a:pt x="24447" y="7360"/>
                    <a:pt x="19455" y="7096"/>
                  </a:cubicBezTo>
                  <a:cubicBezTo>
                    <a:pt x="19255" y="7086"/>
                    <a:pt x="19055" y="7080"/>
                    <a:pt x="18856" y="7083"/>
                  </a:cubicBezTo>
                  <a:cubicBezTo>
                    <a:pt x="13871" y="7001"/>
                    <a:pt x="9765" y="10976"/>
                    <a:pt x="9683" y="15960"/>
                  </a:cubicBezTo>
                  <a:cubicBezTo>
                    <a:pt x="9680" y="16179"/>
                    <a:pt x="9683" y="16397"/>
                    <a:pt x="9696" y="16615"/>
                  </a:cubicBezTo>
                  <a:cubicBezTo>
                    <a:pt x="9417" y="21592"/>
                    <a:pt x="13224" y="25855"/>
                    <a:pt x="18200" y="26134"/>
                  </a:cubicBezTo>
                  <a:cubicBezTo>
                    <a:pt x="18419" y="26147"/>
                    <a:pt x="18637" y="26150"/>
                    <a:pt x="18856" y="26147"/>
                  </a:cubicBezTo>
                </a:path>
              </a:pathLst>
            </a:custGeom>
            <a:solidFill>
              <a:srgbClr val="FFFFFF"/>
            </a:solidFill>
            <a:ln w="2661" cap="flat">
              <a:noFill/>
              <a:prstDash val="solid"/>
              <a:miter/>
            </a:ln>
          </p:spPr>
          <p:txBody>
            <a:bodyPr rtlCol="0" anchor="ctr"/>
            <a:lstStyle/>
            <a:p>
              <a:endParaRPr lang="pl-PL"/>
            </a:p>
          </p:txBody>
        </p:sp>
        <p:sp>
          <p:nvSpPr>
            <p:cNvPr id="125" name="Freeform: Shape 124">
              <a:extLst>
                <a:ext uri="{FF2B5EF4-FFF2-40B4-BE49-F238E27FC236}">
                  <a16:creationId xmlns:a16="http://schemas.microsoft.com/office/drawing/2014/main" id="{CCA14373-23BE-4A03-A9A0-8374DAAF5487}"/>
                </a:ext>
              </a:extLst>
            </p:cNvPr>
            <p:cNvSpPr/>
            <p:nvPr/>
          </p:nvSpPr>
          <p:spPr>
            <a:xfrm>
              <a:off x="11719549" y="6750860"/>
              <a:ext cx="19630" cy="26558"/>
            </a:xfrm>
            <a:custGeom>
              <a:avLst/>
              <a:gdLst>
                <a:gd name="connsiteX0" fmla="*/ 994 w 34784"/>
                <a:gd name="connsiteY0" fmla="*/ 44632 h 47062"/>
                <a:gd name="connsiteX1" fmla="*/ 994 w 34784"/>
                <a:gd name="connsiteY1" fmla="*/ 2270 h 47062"/>
                <a:gd name="connsiteX2" fmla="*/ 2711 w 34784"/>
                <a:gd name="connsiteY2" fmla="*/ 270 h 47062"/>
                <a:gd name="connsiteX3" fmla="*/ 3018 w 34784"/>
                <a:gd name="connsiteY3" fmla="*/ 273 h 47062"/>
                <a:gd name="connsiteX4" fmla="*/ 5015 w 34784"/>
                <a:gd name="connsiteY4" fmla="*/ 273 h 47062"/>
                <a:gd name="connsiteX5" fmla="*/ 7278 w 34784"/>
                <a:gd name="connsiteY5" fmla="*/ 1897 h 47062"/>
                <a:gd name="connsiteX6" fmla="*/ 9594 w 34784"/>
                <a:gd name="connsiteY6" fmla="*/ 2589 h 47062"/>
                <a:gd name="connsiteX7" fmla="*/ 19206 w 34784"/>
                <a:gd name="connsiteY7" fmla="*/ -339 h 47062"/>
                <a:gd name="connsiteX8" fmla="*/ 35771 w 34784"/>
                <a:gd name="connsiteY8" fmla="*/ 16060 h 47062"/>
                <a:gd name="connsiteX9" fmla="*/ 35768 w 34784"/>
                <a:gd name="connsiteY9" fmla="*/ 16462 h 47062"/>
                <a:gd name="connsiteX10" fmla="*/ 19558 w 34784"/>
                <a:gd name="connsiteY10" fmla="*/ 33524 h 47062"/>
                <a:gd name="connsiteX11" fmla="*/ 19073 w 34784"/>
                <a:gd name="connsiteY11" fmla="*/ 33529 h 47062"/>
                <a:gd name="connsiteX12" fmla="*/ 11085 w 34784"/>
                <a:gd name="connsiteY12" fmla="*/ 31585 h 47062"/>
                <a:gd name="connsiteX13" fmla="*/ 9009 w 34784"/>
                <a:gd name="connsiteY13" fmla="*/ 32597 h 47062"/>
                <a:gd name="connsiteX14" fmla="*/ 9009 w 34784"/>
                <a:gd name="connsiteY14" fmla="*/ 44712 h 47062"/>
                <a:gd name="connsiteX15" fmla="*/ 7347 w 34784"/>
                <a:gd name="connsiteY15" fmla="*/ 46709 h 47062"/>
                <a:gd name="connsiteX16" fmla="*/ 7012 w 34784"/>
                <a:gd name="connsiteY16" fmla="*/ 46709 h 47062"/>
                <a:gd name="connsiteX17" fmla="*/ 3124 w 34784"/>
                <a:gd name="connsiteY17" fmla="*/ 46709 h 47062"/>
                <a:gd name="connsiteX18" fmla="*/ 1103 w 34784"/>
                <a:gd name="connsiteY18" fmla="*/ 45018 h 47062"/>
                <a:gd name="connsiteX19" fmla="*/ 1101 w 34784"/>
                <a:gd name="connsiteY19" fmla="*/ 44712 h 47062"/>
                <a:gd name="connsiteX20" fmla="*/ 10340 w 34784"/>
                <a:gd name="connsiteY20" fmla="*/ 22106 h 47062"/>
                <a:gd name="connsiteX21" fmla="*/ 18328 w 34784"/>
                <a:gd name="connsiteY21" fmla="*/ 26127 h 47062"/>
                <a:gd name="connsiteX22" fmla="*/ 27064 w 34784"/>
                <a:gd name="connsiteY22" fmla="*/ 16512 h 47062"/>
                <a:gd name="connsiteX23" fmla="*/ 27061 w 34784"/>
                <a:gd name="connsiteY23" fmla="*/ 16462 h 47062"/>
                <a:gd name="connsiteX24" fmla="*/ 18328 w 34784"/>
                <a:gd name="connsiteY24" fmla="*/ 7063 h 47062"/>
                <a:gd name="connsiteX25" fmla="*/ 10340 w 34784"/>
                <a:gd name="connsiteY25" fmla="*/ 11057 h 47062"/>
                <a:gd name="connsiteX26" fmla="*/ 9781 w 34784"/>
                <a:gd name="connsiteY26" fmla="*/ 13213 h 47062"/>
                <a:gd name="connsiteX27" fmla="*/ 9781 w 34784"/>
                <a:gd name="connsiteY27" fmla="*/ 19976 h 47062"/>
                <a:gd name="connsiteX28" fmla="*/ 10340 w 34784"/>
                <a:gd name="connsiteY28" fmla="*/ 22106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784" h="47062">
                  <a:moveTo>
                    <a:pt x="994" y="44632"/>
                  </a:moveTo>
                  <a:lnTo>
                    <a:pt x="994" y="2270"/>
                  </a:lnTo>
                  <a:cubicBezTo>
                    <a:pt x="917" y="1245"/>
                    <a:pt x="1686" y="348"/>
                    <a:pt x="2711" y="270"/>
                  </a:cubicBezTo>
                  <a:cubicBezTo>
                    <a:pt x="2813" y="262"/>
                    <a:pt x="2917" y="265"/>
                    <a:pt x="3018" y="273"/>
                  </a:cubicBezTo>
                  <a:lnTo>
                    <a:pt x="5015" y="273"/>
                  </a:lnTo>
                  <a:cubicBezTo>
                    <a:pt x="6064" y="190"/>
                    <a:pt x="7022" y="875"/>
                    <a:pt x="7278" y="1897"/>
                  </a:cubicBezTo>
                  <a:cubicBezTo>
                    <a:pt x="7597" y="3228"/>
                    <a:pt x="8529" y="3415"/>
                    <a:pt x="9594" y="2589"/>
                  </a:cubicBezTo>
                  <a:cubicBezTo>
                    <a:pt x="12393" y="592"/>
                    <a:pt x="15769" y="-435"/>
                    <a:pt x="19206" y="-339"/>
                  </a:cubicBezTo>
                  <a:cubicBezTo>
                    <a:pt x="28310" y="-385"/>
                    <a:pt x="35725" y="6956"/>
                    <a:pt x="35771" y="16060"/>
                  </a:cubicBezTo>
                  <a:cubicBezTo>
                    <a:pt x="35771" y="16193"/>
                    <a:pt x="35771" y="16329"/>
                    <a:pt x="35768" y="16462"/>
                  </a:cubicBezTo>
                  <a:cubicBezTo>
                    <a:pt x="36002" y="25650"/>
                    <a:pt x="28747" y="33289"/>
                    <a:pt x="19558" y="33524"/>
                  </a:cubicBezTo>
                  <a:cubicBezTo>
                    <a:pt x="19395" y="33529"/>
                    <a:pt x="19236" y="33529"/>
                    <a:pt x="19073" y="33529"/>
                  </a:cubicBezTo>
                  <a:cubicBezTo>
                    <a:pt x="16288" y="33580"/>
                    <a:pt x="13538" y="32909"/>
                    <a:pt x="11085" y="31585"/>
                  </a:cubicBezTo>
                  <a:cubicBezTo>
                    <a:pt x="9834" y="30840"/>
                    <a:pt x="9009" y="31213"/>
                    <a:pt x="9009" y="32597"/>
                  </a:cubicBezTo>
                  <a:lnTo>
                    <a:pt x="9009" y="44712"/>
                  </a:lnTo>
                  <a:cubicBezTo>
                    <a:pt x="9102" y="45721"/>
                    <a:pt x="8356" y="46616"/>
                    <a:pt x="7347" y="46709"/>
                  </a:cubicBezTo>
                  <a:cubicBezTo>
                    <a:pt x="7235" y="46720"/>
                    <a:pt x="7123" y="46720"/>
                    <a:pt x="7012" y="46709"/>
                  </a:cubicBezTo>
                  <a:lnTo>
                    <a:pt x="3124" y="46709"/>
                  </a:lnTo>
                  <a:cubicBezTo>
                    <a:pt x="2099" y="46799"/>
                    <a:pt x="1194" y="46043"/>
                    <a:pt x="1103" y="45018"/>
                  </a:cubicBezTo>
                  <a:cubicBezTo>
                    <a:pt x="1093" y="44917"/>
                    <a:pt x="1093" y="44813"/>
                    <a:pt x="1101" y="44712"/>
                  </a:cubicBezTo>
                  <a:moveTo>
                    <a:pt x="10340" y="22106"/>
                  </a:moveTo>
                  <a:cubicBezTo>
                    <a:pt x="12148" y="24716"/>
                    <a:pt x="15154" y="26231"/>
                    <a:pt x="18328" y="26127"/>
                  </a:cubicBezTo>
                  <a:cubicBezTo>
                    <a:pt x="23395" y="25885"/>
                    <a:pt x="27306" y="21579"/>
                    <a:pt x="27064" y="16512"/>
                  </a:cubicBezTo>
                  <a:cubicBezTo>
                    <a:pt x="27064" y="16496"/>
                    <a:pt x="27061" y="16478"/>
                    <a:pt x="27061" y="16462"/>
                  </a:cubicBezTo>
                  <a:cubicBezTo>
                    <a:pt x="27210" y="11467"/>
                    <a:pt x="23320" y="7278"/>
                    <a:pt x="18328" y="7063"/>
                  </a:cubicBezTo>
                  <a:cubicBezTo>
                    <a:pt x="15165" y="6972"/>
                    <a:pt x="12166" y="8471"/>
                    <a:pt x="10340" y="11057"/>
                  </a:cubicBezTo>
                  <a:cubicBezTo>
                    <a:pt x="9924" y="11696"/>
                    <a:pt x="9727" y="12452"/>
                    <a:pt x="9781" y="13213"/>
                  </a:cubicBezTo>
                  <a:lnTo>
                    <a:pt x="9781" y="19976"/>
                  </a:lnTo>
                  <a:cubicBezTo>
                    <a:pt x="9746" y="20727"/>
                    <a:pt x="9941" y="21470"/>
                    <a:pt x="10340" y="22106"/>
                  </a:cubicBezTo>
                </a:path>
              </a:pathLst>
            </a:custGeom>
            <a:solidFill>
              <a:srgbClr val="8FDB42"/>
            </a:solidFill>
            <a:ln w="2661" cap="flat">
              <a:noFill/>
              <a:prstDash val="solid"/>
              <a:miter/>
            </a:ln>
          </p:spPr>
          <p:txBody>
            <a:bodyPr rtlCol="0" anchor="ctr"/>
            <a:lstStyle/>
            <a:p>
              <a:endParaRPr lang="pl-PL"/>
            </a:p>
          </p:txBody>
        </p:sp>
        <p:sp>
          <p:nvSpPr>
            <p:cNvPr id="126" name="Freeform: Shape 125">
              <a:extLst>
                <a:ext uri="{FF2B5EF4-FFF2-40B4-BE49-F238E27FC236}">
                  <a16:creationId xmlns:a16="http://schemas.microsoft.com/office/drawing/2014/main" id="{98E0CD3E-D9E3-422F-B6C2-89FC438F95EB}"/>
                </a:ext>
              </a:extLst>
            </p:cNvPr>
            <p:cNvSpPr/>
            <p:nvPr/>
          </p:nvSpPr>
          <p:spPr>
            <a:xfrm>
              <a:off x="11741806" y="6750833"/>
              <a:ext cx="20150" cy="19139"/>
            </a:xfrm>
            <a:custGeom>
              <a:avLst/>
              <a:gdLst>
                <a:gd name="connsiteX0" fmla="*/ 18882 w 35707"/>
                <a:gd name="connsiteY0" fmla="*/ -346 h 33914"/>
                <a:gd name="connsiteX1" fmla="*/ 36695 w 35707"/>
                <a:gd name="connsiteY1" fmla="*/ 16349 h 33914"/>
                <a:gd name="connsiteX2" fmla="*/ 19833 w 35707"/>
                <a:gd name="connsiteY2" fmla="*/ 33565 h 33914"/>
                <a:gd name="connsiteX3" fmla="*/ 18882 w 35707"/>
                <a:gd name="connsiteY3" fmla="*/ 33550 h 33914"/>
                <a:gd name="connsiteX4" fmla="*/ 1008 w 35707"/>
                <a:gd name="connsiteY4" fmla="*/ 17273 h 33914"/>
                <a:gd name="connsiteX5" fmla="*/ 989 w 35707"/>
                <a:gd name="connsiteY5" fmla="*/ 16349 h 33914"/>
                <a:gd name="connsiteX6" fmla="*/ 18882 w 35707"/>
                <a:gd name="connsiteY6" fmla="*/ -346 h 33914"/>
                <a:gd name="connsiteX7" fmla="*/ 18882 w 35707"/>
                <a:gd name="connsiteY7" fmla="*/ 26147 h 33914"/>
                <a:gd name="connsiteX8" fmla="*/ 28052 w 35707"/>
                <a:gd name="connsiteY8" fmla="*/ 17158 h 33914"/>
                <a:gd name="connsiteX9" fmla="*/ 28041 w 35707"/>
                <a:gd name="connsiteY9" fmla="*/ 16615 h 33914"/>
                <a:gd name="connsiteX10" fmla="*/ 19425 w 35707"/>
                <a:gd name="connsiteY10" fmla="*/ 7094 h 33914"/>
                <a:gd name="connsiteX11" fmla="*/ 18882 w 35707"/>
                <a:gd name="connsiteY11" fmla="*/ 7083 h 33914"/>
                <a:gd name="connsiteX12" fmla="*/ 9709 w 35707"/>
                <a:gd name="connsiteY12" fmla="*/ 15960 h 33914"/>
                <a:gd name="connsiteX13" fmla="*/ 9723 w 35707"/>
                <a:gd name="connsiteY13" fmla="*/ 16615 h 33914"/>
                <a:gd name="connsiteX14" fmla="*/ 18227 w 35707"/>
                <a:gd name="connsiteY14" fmla="*/ 26134 h 33914"/>
                <a:gd name="connsiteX15" fmla="*/ 18882 w 35707"/>
                <a:gd name="connsiteY15" fmla="*/ 26147 h 33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07" h="33914">
                  <a:moveTo>
                    <a:pt x="18882" y="-346"/>
                  </a:moveTo>
                  <a:cubicBezTo>
                    <a:pt x="29346" y="-346"/>
                    <a:pt x="36695" y="7003"/>
                    <a:pt x="36695" y="16349"/>
                  </a:cubicBezTo>
                  <a:cubicBezTo>
                    <a:pt x="36793" y="25759"/>
                    <a:pt x="29242" y="33467"/>
                    <a:pt x="19833" y="33565"/>
                  </a:cubicBezTo>
                  <a:cubicBezTo>
                    <a:pt x="19516" y="33568"/>
                    <a:pt x="19199" y="33563"/>
                    <a:pt x="18882" y="33550"/>
                  </a:cubicBezTo>
                  <a:cubicBezTo>
                    <a:pt x="9451" y="33991"/>
                    <a:pt x="1450" y="26704"/>
                    <a:pt x="1008" y="17273"/>
                  </a:cubicBezTo>
                  <a:cubicBezTo>
                    <a:pt x="992" y="16967"/>
                    <a:pt x="987" y="16658"/>
                    <a:pt x="989" y="16349"/>
                  </a:cubicBezTo>
                  <a:cubicBezTo>
                    <a:pt x="989" y="7003"/>
                    <a:pt x="8391" y="-346"/>
                    <a:pt x="18882" y="-346"/>
                  </a:cubicBezTo>
                  <a:moveTo>
                    <a:pt x="18882" y="26147"/>
                  </a:moveTo>
                  <a:cubicBezTo>
                    <a:pt x="23896" y="26198"/>
                    <a:pt x="28002" y="22175"/>
                    <a:pt x="28052" y="17158"/>
                  </a:cubicBezTo>
                  <a:cubicBezTo>
                    <a:pt x="28055" y="16977"/>
                    <a:pt x="28049" y="16796"/>
                    <a:pt x="28041" y="16615"/>
                  </a:cubicBezTo>
                  <a:cubicBezTo>
                    <a:pt x="28292" y="11607"/>
                    <a:pt x="24434" y="7344"/>
                    <a:pt x="19425" y="7094"/>
                  </a:cubicBezTo>
                  <a:cubicBezTo>
                    <a:pt x="19244" y="7086"/>
                    <a:pt x="19063" y="7080"/>
                    <a:pt x="18882" y="7083"/>
                  </a:cubicBezTo>
                  <a:cubicBezTo>
                    <a:pt x="13898" y="7001"/>
                    <a:pt x="9792" y="10976"/>
                    <a:pt x="9709" y="15960"/>
                  </a:cubicBezTo>
                  <a:cubicBezTo>
                    <a:pt x="9707" y="16179"/>
                    <a:pt x="9709" y="16397"/>
                    <a:pt x="9723" y="16615"/>
                  </a:cubicBezTo>
                  <a:cubicBezTo>
                    <a:pt x="9443" y="21592"/>
                    <a:pt x="13251" y="25855"/>
                    <a:pt x="18227" y="26134"/>
                  </a:cubicBezTo>
                  <a:cubicBezTo>
                    <a:pt x="18445" y="26147"/>
                    <a:pt x="18664" y="26150"/>
                    <a:pt x="18882" y="26147"/>
                  </a:cubicBezTo>
                </a:path>
              </a:pathLst>
            </a:custGeom>
            <a:solidFill>
              <a:srgbClr val="8FDB42"/>
            </a:solidFill>
            <a:ln w="2661" cap="flat">
              <a:noFill/>
              <a:prstDash val="solid"/>
              <a:miter/>
            </a:ln>
          </p:spPr>
          <p:txBody>
            <a:bodyPr rtlCol="0" anchor="ctr"/>
            <a:lstStyle/>
            <a:p>
              <a:endParaRPr lang="pl-PL"/>
            </a:p>
          </p:txBody>
        </p:sp>
        <p:sp>
          <p:nvSpPr>
            <p:cNvPr id="127" name="Freeform: Shape 126">
              <a:extLst>
                <a:ext uri="{FF2B5EF4-FFF2-40B4-BE49-F238E27FC236}">
                  <a16:creationId xmlns:a16="http://schemas.microsoft.com/office/drawing/2014/main" id="{8B9A125B-AC16-4297-AAE8-52DC7D23B813}"/>
                </a:ext>
              </a:extLst>
            </p:cNvPr>
            <p:cNvSpPr/>
            <p:nvPr/>
          </p:nvSpPr>
          <p:spPr>
            <a:xfrm>
              <a:off x="11764305" y="6750833"/>
              <a:ext cx="16853" cy="19128"/>
            </a:xfrm>
            <a:custGeom>
              <a:avLst/>
              <a:gdLst>
                <a:gd name="connsiteX0" fmla="*/ 16288 w 29863"/>
                <a:gd name="connsiteY0" fmla="*/ -346 h 33895"/>
                <a:gd name="connsiteX1" fmla="*/ 30266 w 29863"/>
                <a:gd name="connsiteY1" fmla="*/ 9400 h 33895"/>
                <a:gd name="connsiteX2" fmla="*/ 28376 w 29863"/>
                <a:gd name="connsiteY2" fmla="*/ 11476 h 33895"/>
                <a:gd name="connsiteX3" fmla="*/ 24275 w 29863"/>
                <a:gd name="connsiteY3" fmla="*/ 11476 h 33895"/>
                <a:gd name="connsiteX4" fmla="*/ 22065 w 29863"/>
                <a:gd name="connsiteY4" fmla="*/ 9719 h 33895"/>
                <a:gd name="connsiteX5" fmla="*/ 16048 w 29863"/>
                <a:gd name="connsiteY5" fmla="*/ 6444 h 33895"/>
                <a:gd name="connsiteX6" fmla="*/ 10723 w 29863"/>
                <a:gd name="connsiteY6" fmla="*/ 9266 h 33895"/>
                <a:gd name="connsiteX7" fmla="*/ 30852 w 29863"/>
                <a:gd name="connsiteY7" fmla="*/ 23591 h 33895"/>
                <a:gd name="connsiteX8" fmla="*/ 16687 w 29863"/>
                <a:gd name="connsiteY8" fmla="*/ 33550 h 33895"/>
                <a:gd name="connsiteX9" fmla="*/ 1058 w 29863"/>
                <a:gd name="connsiteY9" fmla="*/ 23511 h 33895"/>
                <a:gd name="connsiteX10" fmla="*/ 2868 w 29863"/>
                <a:gd name="connsiteY10" fmla="*/ 21381 h 33895"/>
                <a:gd name="connsiteX11" fmla="*/ 7128 w 29863"/>
                <a:gd name="connsiteY11" fmla="*/ 21381 h 33895"/>
                <a:gd name="connsiteX12" fmla="*/ 9338 w 29863"/>
                <a:gd name="connsiteY12" fmla="*/ 23006 h 33895"/>
                <a:gd name="connsiteX13" fmla="*/ 16873 w 29863"/>
                <a:gd name="connsiteY13" fmla="*/ 26786 h 33895"/>
                <a:gd name="connsiteX14" fmla="*/ 22385 w 29863"/>
                <a:gd name="connsiteY14" fmla="*/ 23645 h 33895"/>
                <a:gd name="connsiteX15" fmla="*/ 2256 w 29863"/>
                <a:gd name="connsiteY15" fmla="*/ 9453 h 33895"/>
                <a:gd name="connsiteX16" fmla="*/ 16128 w 29863"/>
                <a:gd name="connsiteY16" fmla="*/ -346 h 3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863" h="33895">
                  <a:moveTo>
                    <a:pt x="16288" y="-346"/>
                  </a:moveTo>
                  <a:cubicBezTo>
                    <a:pt x="24275" y="-346"/>
                    <a:pt x="28962" y="3622"/>
                    <a:pt x="30266" y="9400"/>
                  </a:cubicBezTo>
                  <a:cubicBezTo>
                    <a:pt x="30586" y="10704"/>
                    <a:pt x="29760" y="11476"/>
                    <a:pt x="28376" y="11476"/>
                  </a:cubicBezTo>
                  <a:lnTo>
                    <a:pt x="24275" y="11476"/>
                  </a:lnTo>
                  <a:cubicBezTo>
                    <a:pt x="23077" y="11476"/>
                    <a:pt x="22518" y="10837"/>
                    <a:pt x="22065" y="9719"/>
                  </a:cubicBezTo>
                  <a:cubicBezTo>
                    <a:pt x="21320" y="7642"/>
                    <a:pt x="19403" y="6444"/>
                    <a:pt x="16048" y="6444"/>
                  </a:cubicBezTo>
                  <a:cubicBezTo>
                    <a:pt x="12693" y="6444"/>
                    <a:pt x="10723" y="7562"/>
                    <a:pt x="10723" y="9266"/>
                  </a:cubicBezTo>
                  <a:cubicBezTo>
                    <a:pt x="10723" y="15364"/>
                    <a:pt x="30852" y="10971"/>
                    <a:pt x="30852" y="23591"/>
                  </a:cubicBezTo>
                  <a:cubicBezTo>
                    <a:pt x="30852" y="29982"/>
                    <a:pt x="25021" y="33550"/>
                    <a:pt x="16687" y="33550"/>
                  </a:cubicBezTo>
                  <a:cubicBezTo>
                    <a:pt x="8353" y="33550"/>
                    <a:pt x="2362" y="29928"/>
                    <a:pt x="1058" y="23511"/>
                  </a:cubicBezTo>
                  <a:cubicBezTo>
                    <a:pt x="738" y="22127"/>
                    <a:pt x="1563" y="21381"/>
                    <a:pt x="2868" y="21381"/>
                  </a:cubicBezTo>
                  <a:lnTo>
                    <a:pt x="7128" y="21381"/>
                  </a:lnTo>
                  <a:cubicBezTo>
                    <a:pt x="8153" y="21344"/>
                    <a:pt x="9067" y="22018"/>
                    <a:pt x="9338" y="23006"/>
                  </a:cubicBezTo>
                  <a:cubicBezTo>
                    <a:pt x="10853" y="25673"/>
                    <a:pt x="13827" y="27165"/>
                    <a:pt x="16873" y="26786"/>
                  </a:cubicBezTo>
                  <a:cubicBezTo>
                    <a:pt x="20255" y="26786"/>
                    <a:pt x="22385" y="25721"/>
                    <a:pt x="22385" y="23645"/>
                  </a:cubicBezTo>
                  <a:cubicBezTo>
                    <a:pt x="22385" y="17494"/>
                    <a:pt x="2256" y="22127"/>
                    <a:pt x="2256" y="9453"/>
                  </a:cubicBezTo>
                  <a:cubicBezTo>
                    <a:pt x="2256" y="3808"/>
                    <a:pt x="7075" y="-346"/>
                    <a:pt x="16128" y="-346"/>
                  </a:cubicBezTo>
                </a:path>
              </a:pathLst>
            </a:custGeom>
            <a:solidFill>
              <a:srgbClr val="8FDB42"/>
            </a:solidFill>
            <a:ln w="2661" cap="flat">
              <a:noFill/>
              <a:prstDash val="solid"/>
              <a:miter/>
            </a:ln>
          </p:spPr>
          <p:txBody>
            <a:bodyPr rtlCol="0" anchor="ctr"/>
            <a:lstStyle/>
            <a:p>
              <a:endParaRPr lang="pl-PL"/>
            </a:p>
          </p:txBody>
        </p:sp>
        <p:sp>
          <p:nvSpPr>
            <p:cNvPr id="128" name="Freeform: Shape 127">
              <a:extLst>
                <a:ext uri="{FF2B5EF4-FFF2-40B4-BE49-F238E27FC236}">
                  <a16:creationId xmlns:a16="http://schemas.microsoft.com/office/drawing/2014/main" id="{20EB99BF-BAA0-43CF-82A3-C3CD0063AF92}"/>
                </a:ext>
              </a:extLst>
            </p:cNvPr>
            <p:cNvSpPr/>
            <p:nvPr/>
          </p:nvSpPr>
          <p:spPr>
            <a:xfrm>
              <a:off x="11784416" y="6742209"/>
              <a:ext cx="6552" cy="27380"/>
            </a:xfrm>
            <a:custGeom>
              <a:avLst/>
              <a:gdLst>
                <a:gd name="connsiteX0" fmla="*/ 1098 w 11611"/>
                <a:gd name="connsiteY0" fmla="*/ 5352 h 48518"/>
                <a:gd name="connsiteX1" fmla="*/ 6796 w 11611"/>
                <a:gd name="connsiteY1" fmla="*/ -346 h 48518"/>
                <a:gd name="connsiteX2" fmla="*/ 6876 w 11611"/>
                <a:gd name="connsiteY2" fmla="*/ -346 h 48518"/>
                <a:gd name="connsiteX3" fmla="*/ 12600 w 11611"/>
                <a:gd name="connsiteY3" fmla="*/ 5352 h 48518"/>
                <a:gd name="connsiteX4" fmla="*/ 6769 w 11611"/>
                <a:gd name="connsiteY4" fmla="*/ 11263 h 48518"/>
                <a:gd name="connsiteX5" fmla="*/ 989 w 11611"/>
                <a:gd name="connsiteY5" fmla="*/ 5488 h 48518"/>
                <a:gd name="connsiteX6" fmla="*/ 991 w 11611"/>
                <a:gd name="connsiteY6" fmla="*/ 5352 h 48518"/>
                <a:gd name="connsiteX7" fmla="*/ 10710 w 11611"/>
                <a:gd name="connsiteY7" fmla="*/ 17521 h 48518"/>
                <a:gd name="connsiteX8" fmla="*/ 10710 w 11611"/>
                <a:gd name="connsiteY8" fmla="*/ 46144 h 48518"/>
                <a:gd name="connsiteX9" fmla="*/ 9019 w 11611"/>
                <a:gd name="connsiteY9" fmla="*/ 48165 h 48518"/>
                <a:gd name="connsiteX10" fmla="*/ 8713 w 11611"/>
                <a:gd name="connsiteY10" fmla="*/ 48167 h 48518"/>
                <a:gd name="connsiteX11" fmla="*/ 4000 w 11611"/>
                <a:gd name="connsiteY11" fmla="*/ 48167 h 48518"/>
                <a:gd name="connsiteX12" fmla="*/ 2001 w 11611"/>
                <a:gd name="connsiteY12" fmla="*/ 46450 h 48518"/>
                <a:gd name="connsiteX13" fmla="*/ 2003 w 11611"/>
                <a:gd name="connsiteY13" fmla="*/ 46144 h 48518"/>
                <a:gd name="connsiteX14" fmla="*/ 2003 w 11611"/>
                <a:gd name="connsiteY14" fmla="*/ 17600 h 48518"/>
                <a:gd name="connsiteX15" fmla="*/ 3665 w 11611"/>
                <a:gd name="connsiteY15" fmla="*/ 15603 h 48518"/>
                <a:gd name="connsiteX16" fmla="*/ 4000 w 11611"/>
                <a:gd name="connsiteY16" fmla="*/ 15603 h 48518"/>
                <a:gd name="connsiteX17" fmla="*/ 8713 w 11611"/>
                <a:gd name="connsiteY17" fmla="*/ 15603 h 48518"/>
                <a:gd name="connsiteX18" fmla="*/ 10710 w 11611"/>
                <a:gd name="connsiteY18" fmla="*/ 17265 h 48518"/>
                <a:gd name="connsiteX19" fmla="*/ 10710 w 11611"/>
                <a:gd name="connsiteY19" fmla="*/ 17600 h 48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11" h="48518">
                  <a:moveTo>
                    <a:pt x="1098" y="5352"/>
                  </a:moveTo>
                  <a:cubicBezTo>
                    <a:pt x="1098" y="2205"/>
                    <a:pt x="3649" y="-346"/>
                    <a:pt x="6796" y="-346"/>
                  </a:cubicBezTo>
                  <a:cubicBezTo>
                    <a:pt x="6823" y="-346"/>
                    <a:pt x="6849" y="-346"/>
                    <a:pt x="6876" y="-346"/>
                  </a:cubicBezTo>
                  <a:cubicBezTo>
                    <a:pt x="10004" y="-290"/>
                    <a:pt x="12529" y="2224"/>
                    <a:pt x="12600" y="5352"/>
                  </a:cubicBezTo>
                  <a:cubicBezTo>
                    <a:pt x="12600" y="8585"/>
                    <a:pt x="10002" y="11221"/>
                    <a:pt x="6769" y="11263"/>
                  </a:cubicBezTo>
                  <a:cubicBezTo>
                    <a:pt x="3579" y="11263"/>
                    <a:pt x="991" y="8678"/>
                    <a:pt x="989" y="5488"/>
                  </a:cubicBezTo>
                  <a:cubicBezTo>
                    <a:pt x="989" y="5443"/>
                    <a:pt x="991" y="5398"/>
                    <a:pt x="991" y="5352"/>
                  </a:cubicBezTo>
                  <a:moveTo>
                    <a:pt x="10710" y="17521"/>
                  </a:moveTo>
                  <a:lnTo>
                    <a:pt x="10710" y="46144"/>
                  </a:lnTo>
                  <a:cubicBezTo>
                    <a:pt x="10800" y="47169"/>
                    <a:pt x="10044" y="48074"/>
                    <a:pt x="9019" y="48165"/>
                  </a:cubicBezTo>
                  <a:cubicBezTo>
                    <a:pt x="8918" y="48175"/>
                    <a:pt x="8814" y="48175"/>
                    <a:pt x="8713" y="48167"/>
                  </a:cubicBezTo>
                  <a:lnTo>
                    <a:pt x="4000" y="48167"/>
                  </a:lnTo>
                  <a:cubicBezTo>
                    <a:pt x="2975" y="48244"/>
                    <a:pt x="2078" y="47475"/>
                    <a:pt x="2001" y="46450"/>
                  </a:cubicBezTo>
                  <a:cubicBezTo>
                    <a:pt x="1993" y="46349"/>
                    <a:pt x="1995" y="46245"/>
                    <a:pt x="2003" y="46144"/>
                  </a:cubicBezTo>
                  <a:lnTo>
                    <a:pt x="2003" y="17600"/>
                  </a:lnTo>
                  <a:cubicBezTo>
                    <a:pt x="1910" y="16591"/>
                    <a:pt x="2656" y="15697"/>
                    <a:pt x="3665" y="15603"/>
                  </a:cubicBezTo>
                  <a:cubicBezTo>
                    <a:pt x="3776" y="15593"/>
                    <a:pt x="3888" y="15593"/>
                    <a:pt x="4000" y="15603"/>
                  </a:cubicBezTo>
                  <a:lnTo>
                    <a:pt x="8713" y="15603"/>
                  </a:lnTo>
                  <a:cubicBezTo>
                    <a:pt x="9722" y="15510"/>
                    <a:pt x="10617" y="16256"/>
                    <a:pt x="10710" y="17265"/>
                  </a:cubicBezTo>
                  <a:cubicBezTo>
                    <a:pt x="10721" y="17377"/>
                    <a:pt x="10721" y="17489"/>
                    <a:pt x="10710" y="17600"/>
                  </a:cubicBezTo>
                </a:path>
              </a:pathLst>
            </a:custGeom>
            <a:solidFill>
              <a:srgbClr val="8FDB42"/>
            </a:solidFill>
            <a:ln w="2661" cap="flat">
              <a:noFill/>
              <a:prstDash val="solid"/>
              <a:miter/>
            </a:ln>
          </p:spPr>
          <p:txBody>
            <a:bodyPr rtlCol="0" anchor="ctr"/>
            <a:lstStyle/>
            <a:p>
              <a:endParaRPr lang="pl-PL"/>
            </a:p>
          </p:txBody>
        </p:sp>
        <p:sp>
          <p:nvSpPr>
            <p:cNvPr id="129" name="Freeform: Shape 128">
              <a:extLst>
                <a:ext uri="{FF2B5EF4-FFF2-40B4-BE49-F238E27FC236}">
                  <a16:creationId xmlns:a16="http://schemas.microsoft.com/office/drawing/2014/main" id="{4485EF15-31F6-4FB3-B149-93A5154B974C}"/>
                </a:ext>
              </a:extLst>
            </p:cNvPr>
            <p:cNvSpPr/>
            <p:nvPr/>
          </p:nvSpPr>
          <p:spPr>
            <a:xfrm>
              <a:off x="11793381" y="6746197"/>
              <a:ext cx="13675" cy="23794"/>
            </a:xfrm>
            <a:custGeom>
              <a:avLst/>
              <a:gdLst>
                <a:gd name="connsiteX0" fmla="*/ 1029 w 24233"/>
                <a:gd name="connsiteY0" fmla="*/ 13782 h 42164"/>
                <a:gd name="connsiteX1" fmla="*/ 1029 w 24233"/>
                <a:gd name="connsiteY1" fmla="*/ 10533 h 42164"/>
                <a:gd name="connsiteX2" fmla="*/ 2608 w 24233"/>
                <a:gd name="connsiteY2" fmla="*/ 8518 h 42164"/>
                <a:gd name="connsiteX3" fmla="*/ 2972 w 24233"/>
                <a:gd name="connsiteY3" fmla="*/ 8510 h 42164"/>
                <a:gd name="connsiteX4" fmla="*/ 5049 w 24233"/>
                <a:gd name="connsiteY4" fmla="*/ 8510 h 42164"/>
                <a:gd name="connsiteX5" fmla="*/ 5741 w 24233"/>
                <a:gd name="connsiteY5" fmla="*/ 7817 h 42164"/>
                <a:gd name="connsiteX6" fmla="*/ 5741 w 24233"/>
                <a:gd name="connsiteY6" fmla="*/ 3105 h 42164"/>
                <a:gd name="connsiteX7" fmla="*/ 7419 w 24233"/>
                <a:gd name="connsiteY7" fmla="*/ 921 h 42164"/>
                <a:gd name="connsiteX8" fmla="*/ 11892 w 24233"/>
                <a:gd name="connsiteY8" fmla="*/ -224 h 42164"/>
                <a:gd name="connsiteX9" fmla="*/ 14043 w 24233"/>
                <a:gd name="connsiteY9" fmla="*/ 684 h 42164"/>
                <a:gd name="connsiteX10" fmla="*/ 14155 w 24233"/>
                <a:gd name="connsiteY10" fmla="*/ 1480 h 42164"/>
                <a:gd name="connsiteX11" fmla="*/ 14155 w 24233"/>
                <a:gd name="connsiteY11" fmla="*/ 7871 h 42164"/>
                <a:gd name="connsiteX12" fmla="*/ 14794 w 24233"/>
                <a:gd name="connsiteY12" fmla="*/ 8563 h 42164"/>
                <a:gd name="connsiteX13" fmla="*/ 14848 w 24233"/>
                <a:gd name="connsiteY13" fmla="*/ 8563 h 42164"/>
                <a:gd name="connsiteX14" fmla="*/ 22835 w 24233"/>
                <a:gd name="connsiteY14" fmla="*/ 8563 h 42164"/>
                <a:gd name="connsiteX15" fmla="*/ 24859 w 24233"/>
                <a:gd name="connsiteY15" fmla="*/ 10251 h 42164"/>
                <a:gd name="connsiteX16" fmla="*/ 24859 w 24233"/>
                <a:gd name="connsiteY16" fmla="*/ 10587 h 42164"/>
                <a:gd name="connsiteX17" fmla="*/ 24859 w 24233"/>
                <a:gd name="connsiteY17" fmla="*/ 13888 h 42164"/>
                <a:gd name="connsiteX18" fmla="*/ 23171 w 24233"/>
                <a:gd name="connsiteY18" fmla="*/ 15912 h 42164"/>
                <a:gd name="connsiteX19" fmla="*/ 22835 w 24233"/>
                <a:gd name="connsiteY19" fmla="*/ 15912 h 42164"/>
                <a:gd name="connsiteX20" fmla="*/ 14848 w 24233"/>
                <a:gd name="connsiteY20" fmla="*/ 15912 h 42164"/>
                <a:gd name="connsiteX21" fmla="*/ 14150 w 24233"/>
                <a:gd name="connsiteY21" fmla="*/ 16545 h 42164"/>
                <a:gd name="connsiteX22" fmla="*/ 14155 w 24233"/>
                <a:gd name="connsiteY22" fmla="*/ 16657 h 42164"/>
                <a:gd name="connsiteX23" fmla="*/ 14155 w 24233"/>
                <a:gd name="connsiteY23" fmla="*/ 30157 h 42164"/>
                <a:gd name="connsiteX24" fmla="*/ 17590 w 24233"/>
                <a:gd name="connsiteY24" fmla="*/ 34177 h 42164"/>
                <a:gd name="connsiteX25" fmla="*/ 22436 w 24233"/>
                <a:gd name="connsiteY25" fmla="*/ 33485 h 42164"/>
                <a:gd name="connsiteX26" fmla="*/ 24683 w 24233"/>
                <a:gd name="connsiteY26" fmla="*/ 34454 h 42164"/>
                <a:gd name="connsiteX27" fmla="*/ 24806 w 24233"/>
                <a:gd name="connsiteY27" fmla="*/ 35109 h 42164"/>
                <a:gd name="connsiteX28" fmla="*/ 25178 w 24233"/>
                <a:gd name="connsiteY28" fmla="*/ 38384 h 42164"/>
                <a:gd name="connsiteX29" fmla="*/ 23639 w 24233"/>
                <a:gd name="connsiteY29" fmla="*/ 40754 h 42164"/>
                <a:gd name="connsiteX30" fmla="*/ 23634 w 24233"/>
                <a:gd name="connsiteY30" fmla="*/ 40754 h 42164"/>
                <a:gd name="connsiteX31" fmla="*/ 15966 w 24233"/>
                <a:gd name="connsiteY31" fmla="*/ 41819 h 42164"/>
                <a:gd name="connsiteX32" fmla="*/ 5315 w 24233"/>
                <a:gd name="connsiteY32" fmla="*/ 30343 h 42164"/>
                <a:gd name="connsiteX33" fmla="*/ 5315 w 24233"/>
                <a:gd name="connsiteY33" fmla="*/ 16657 h 42164"/>
                <a:gd name="connsiteX34" fmla="*/ 4703 w 24233"/>
                <a:gd name="connsiteY34" fmla="*/ 15859 h 42164"/>
                <a:gd name="connsiteX35" fmla="*/ 2946 w 24233"/>
                <a:gd name="connsiteY35" fmla="*/ 15859 h 42164"/>
                <a:gd name="connsiteX36" fmla="*/ 994 w 24233"/>
                <a:gd name="connsiteY36" fmla="*/ 14200 h 42164"/>
                <a:gd name="connsiteX37" fmla="*/ 1002 w 24233"/>
                <a:gd name="connsiteY37" fmla="*/ 13835 h 42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233" h="42164">
                  <a:moveTo>
                    <a:pt x="1029" y="13782"/>
                  </a:moveTo>
                  <a:lnTo>
                    <a:pt x="1029" y="10533"/>
                  </a:lnTo>
                  <a:cubicBezTo>
                    <a:pt x="909" y="9540"/>
                    <a:pt x="1614" y="8637"/>
                    <a:pt x="2608" y="8518"/>
                  </a:cubicBezTo>
                  <a:cubicBezTo>
                    <a:pt x="2727" y="8502"/>
                    <a:pt x="2850" y="8499"/>
                    <a:pt x="2972" y="8510"/>
                  </a:cubicBezTo>
                  <a:lnTo>
                    <a:pt x="5049" y="8510"/>
                  </a:lnTo>
                  <a:cubicBezTo>
                    <a:pt x="5432" y="8510"/>
                    <a:pt x="5741" y="8201"/>
                    <a:pt x="5741" y="7817"/>
                  </a:cubicBezTo>
                  <a:lnTo>
                    <a:pt x="5741" y="3105"/>
                  </a:lnTo>
                  <a:cubicBezTo>
                    <a:pt x="5630" y="2045"/>
                    <a:pt x="6367" y="1086"/>
                    <a:pt x="7419" y="921"/>
                  </a:cubicBezTo>
                  <a:lnTo>
                    <a:pt x="11892" y="-224"/>
                  </a:lnTo>
                  <a:cubicBezTo>
                    <a:pt x="12736" y="-567"/>
                    <a:pt x="13700" y="-160"/>
                    <a:pt x="14043" y="684"/>
                  </a:cubicBezTo>
                  <a:cubicBezTo>
                    <a:pt x="14145" y="937"/>
                    <a:pt x="14184" y="1209"/>
                    <a:pt x="14155" y="1480"/>
                  </a:cubicBezTo>
                  <a:lnTo>
                    <a:pt x="14155" y="7871"/>
                  </a:lnTo>
                  <a:cubicBezTo>
                    <a:pt x="14139" y="8238"/>
                    <a:pt x="14427" y="8547"/>
                    <a:pt x="14794" y="8563"/>
                  </a:cubicBezTo>
                  <a:cubicBezTo>
                    <a:pt x="14810" y="8563"/>
                    <a:pt x="14829" y="8563"/>
                    <a:pt x="14848" y="8563"/>
                  </a:cubicBezTo>
                  <a:lnTo>
                    <a:pt x="22835" y="8563"/>
                  </a:lnTo>
                  <a:cubicBezTo>
                    <a:pt x="23861" y="8470"/>
                    <a:pt x="24766" y="9226"/>
                    <a:pt x="24859" y="10251"/>
                  </a:cubicBezTo>
                  <a:cubicBezTo>
                    <a:pt x="24870" y="10363"/>
                    <a:pt x="24870" y="10475"/>
                    <a:pt x="24859" y="10587"/>
                  </a:cubicBezTo>
                  <a:lnTo>
                    <a:pt x="24859" y="13888"/>
                  </a:lnTo>
                  <a:cubicBezTo>
                    <a:pt x="24952" y="14913"/>
                    <a:pt x="24196" y="15819"/>
                    <a:pt x="23171" y="15912"/>
                  </a:cubicBezTo>
                  <a:cubicBezTo>
                    <a:pt x="23059" y="15922"/>
                    <a:pt x="22947" y="15922"/>
                    <a:pt x="22835" y="15912"/>
                  </a:cubicBezTo>
                  <a:lnTo>
                    <a:pt x="14848" y="15912"/>
                  </a:lnTo>
                  <a:cubicBezTo>
                    <a:pt x="14480" y="15893"/>
                    <a:pt x="14169" y="16178"/>
                    <a:pt x="14150" y="16545"/>
                  </a:cubicBezTo>
                  <a:cubicBezTo>
                    <a:pt x="14150" y="16583"/>
                    <a:pt x="14150" y="16620"/>
                    <a:pt x="14155" y="16657"/>
                  </a:cubicBezTo>
                  <a:lnTo>
                    <a:pt x="14155" y="30157"/>
                  </a:lnTo>
                  <a:cubicBezTo>
                    <a:pt x="14155" y="32819"/>
                    <a:pt x="15034" y="34177"/>
                    <a:pt x="17590" y="34177"/>
                  </a:cubicBezTo>
                  <a:cubicBezTo>
                    <a:pt x="19230" y="34175"/>
                    <a:pt x="20860" y="33940"/>
                    <a:pt x="22436" y="33485"/>
                  </a:cubicBezTo>
                  <a:cubicBezTo>
                    <a:pt x="23325" y="33131"/>
                    <a:pt x="24332" y="33565"/>
                    <a:pt x="24683" y="34454"/>
                  </a:cubicBezTo>
                  <a:cubicBezTo>
                    <a:pt x="24766" y="34662"/>
                    <a:pt x="24808" y="34886"/>
                    <a:pt x="24806" y="35109"/>
                  </a:cubicBezTo>
                  <a:lnTo>
                    <a:pt x="25178" y="38384"/>
                  </a:lnTo>
                  <a:cubicBezTo>
                    <a:pt x="25407" y="39463"/>
                    <a:pt x="24718" y="40522"/>
                    <a:pt x="23639" y="40754"/>
                  </a:cubicBezTo>
                  <a:cubicBezTo>
                    <a:pt x="23639" y="40754"/>
                    <a:pt x="23637" y="40754"/>
                    <a:pt x="23634" y="40754"/>
                  </a:cubicBezTo>
                  <a:cubicBezTo>
                    <a:pt x="21139" y="41462"/>
                    <a:pt x="18559" y="41822"/>
                    <a:pt x="15966" y="41819"/>
                  </a:cubicBezTo>
                  <a:cubicBezTo>
                    <a:pt x="10241" y="41819"/>
                    <a:pt x="5315" y="38943"/>
                    <a:pt x="5315" y="30343"/>
                  </a:cubicBezTo>
                  <a:lnTo>
                    <a:pt x="5315" y="16657"/>
                  </a:lnTo>
                  <a:cubicBezTo>
                    <a:pt x="5363" y="16269"/>
                    <a:pt x="5092" y="15914"/>
                    <a:pt x="4703" y="15859"/>
                  </a:cubicBezTo>
                  <a:lnTo>
                    <a:pt x="2946" y="15859"/>
                  </a:lnTo>
                  <a:cubicBezTo>
                    <a:pt x="1950" y="15938"/>
                    <a:pt x="1076" y="15198"/>
                    <a:pt x="994" y="14200"/>
                  </a:cubicBezTo>
                  <a:cubicBezTo>
                    <a:pt x="986" y="14080"/>
                    <a:pt x="986" y="13957"/>
                    <a:pt x="1002" y="13835"/>
                  </a:cubicBezTo>
                </a:path>
              </a:pathLst>
            </a:custGeom>
            <a:solidFill>
              <a:srgbClr val="8FDB42"/>
            </a:solidFill>
            <a:ln w="2661" cap="flat">
              <a:noFill/>
              <a:prstDash val="solid"/>
              <a:miter/>
            </a:ln>
          </p:spPr>
          <p:txBody>
            <a:bodyPr rtlCol="0" anchor="ctr"/>
            <a:lstStyle/>
            <a:p>
              <a:endParaRPr lang="pl-PL"/>
            </a:p>
          </p:txBody>
        </p:sp>
        <p:sp>
          <p:nvSpPr>
            <p:cNvPr id="130" name="Freeform: Shape 129">
              <a:extLst>
                <a:ext uri="{FF2B5EF4-FFF2-40B4-BE49-F238E27FC236}">
                  <a16:creationId xmlns:a16="http://schemas.microsoft.com/office/drawing/2014/main" id="{C8005B94-E445-4269-8F47-FDF28BFB6343}"/>
                </a:ext>
              </a:extLst>
            </p:cNvPr>
            <p:cNvSpPr/>
            <p:nvPr/>
          </p:nvSpPr>
          <p:spPr>
            <a:xfrm>
              <a:off x="11809766" y="6742209"/>
              <a:ext cx="6552" cy="27380"/>
            </a:xfrm>
            <a:custGeom>
              <a:avLst/>
              <a:gdLst>
                <a:gd name="connsiteX0" fmla="*/ 991 w 11611"/>
                <a:gd name="connsiteY0" fmla="*/ 5352 h 48518"/>
                <a:gd name="connsiteX1" fmla="*/ 6689 w 11611"/>
                <a:gd name="connsiteY1" fmla="*/ -346 h 48518"/>
                <a:gd name="connsiteX2" fmla="*/ 6769 w 11611"/>
                <a:gd name="connsiteY2" fmla="*/ -346 h 48518"/>
                <a:gd name="connsiteX3" fmla="*/ 12600 w 11611"/>
                <a:gd name="connsiteY3" fmla="*/ 5352 h 48518"/>
                <a:gd name="connsiteX4" fmla="*/ 6769 w 11611"/>
                <a:gd name="connsiteY4" fmla="*/ 11263 h 48518"/>
                <a:gd name="connsiteX5" fmla="*/ 989 w 11611"/>
                <a:gd name="connsiteY5" fmla="*/ 5488 h 48518"/>
                <a:gd name="connsiteX6" fmla="*/ 991 w 11611"/>
                <a:gd name="connsiteY6" fmla="*/ 5352 h 48518"/>
                <a:gd name="connsiteX7" fmla="*/ 10710 w 11611"/>
                <a:gd name="connsiteY7" fmla="*/ 17521 h 48518"/>
                <a:gd name="connsiteX8" fmla="*/ 10710 w 11611"/>
                <a:gd name="connsiteY8" fmla="*/ 46144 h 48518"/>
                <a:gd name="connsiteX9" fmla="*/ 9019 w 11611"/>
                <a:gd name="connsiteY9" fmla="*/ 48165 h 48518"/>
                <a:gd name="connsiteX10" fmla="*/ 8713 w 11611"/>
                <a:gd name="connsiteY10" fmla="*/ 48167 h 48518"/>
                <a:gd name="connsiteX11" fmla="*/ 4000 w 11611"/>
                <a:gd name="connsiteY11" fmla="*/ 48167 h 48518"/>
                <a:gd name="connsiteX12" fmla="*/ 2001 w 11611"/>
                <a:gd name="connsiteY12" fmla="*/ 46450 h 48518"/>
                <a:gd name="connsiteX13" fmla="*/ 2003 w 11611"/>
                <a:gd name="connsiteY13" fmla="*/ 46144 h 48518"/>
                <a:gd name="connsiteX14" fmla="*/ 2003 w 11611"/>
                <a:gd name="connsiteY14" fmla="*/ 17600 h 48518"/>
                <a:gd name="connsiteX15" fmla="*/ 3665 w 11611"/>
                <a:gd name="connsiteY15" fmla="*/ 15603 h 48518"/>
                <a:gd name="connsiteX16" fmla="*/ 4000 w 11611"/>
                <a:gd name="connsiteY16" fmla="*/ 15603 h 48518"/>
                <a:gd name="connsiteX17" fmla="*/ 8713 w 11611"/>
                <a:gd name="connsiteY17" fmla="*/ 15603 h 48518"/>
                <a:gd name="connsiteX18" fmla="*/ 10710 w 11611"/>
                <a:gd name="connsiteY18" fmla="*/ 17265 h 48518"/>
                <a:gd name="connsiteX19" fmla="*/ 10710 w 11611"/>
                <a:gd name="connsiteY19" fmla="*/ 17600 h 48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11" h="48518">
                  <a:moveTo>
                    <a:pt x="991" y="5352"/>
                  </a:moveTo>
                  <a:cubicBezTo>
                    <a:pt x="991" y="2205"/>
                    <a:pt x="3542" y="-346"/>
                    <a:pt x="6689" y="-346"/>
                  </a:cubicBezTo>
                  <a:cubicBezTo>
                    <a:pt x="6716" y="-346"/>
                    <a:pt x="6743" y="-346"/>
                    <a:pt x="6769" y="-346"/>
                  </a:cubicBezTo>
                  <a:cubicBezTo>
                    <a:pt x="9938" y="-346"/>
                    <a:pt x="12529" y="2184"/>
                    <a:pt x="12600" y="5352"/>
                  </a:cubicBezTo>
                  <a:cubicBezTo>
                    <a:pt x="12600" y="8585"/>
                    <a:pt x="10002" y="11221"/>
                    <a:pt x="6769" y="11263"/>
                  </a:cubicBezTo>
                  <a:cubicBezTo>
                    <a:pt x="3579" y="11263"/>
                    <a:pt x="991" y="8678"/>
                    <a:pt x="989" y="5488"/>
                  </a:cubicBezTo>
                  <a:cubicBezTo>
                    <a:pt x="989" y="5443"/>
                    <a:pt x="991" y="5398"/>
                    <a:pt x="991" y="5352"/>
                  </a:cubicBezTo>
                  <a:moveTo>
                    <a:pt x="10710" y="17521"/>
                  </a:moveTo>
                  <a:lnTo>
                    <a:pt x="10710" y="46144"/>
                  </a:lnTo>
                  <a:cubicBezTo>
                    <a:pt x="10800" y="47169"/>
                    <a:pt x="10044" y="48074"/>
                    <a:pt x="9019" y="48165"/>
                  </a:cubicBezTo>
                  <a:cubicBezTo>
                    <a:pt x="8918" y="48175"/>
                    <a:pt x="8814" y="48175"/>
                    <a:pt x="8713" y="48167"/>
                  </a:cubicBezTo>
                  <a:lnTo>
                    <a:pt x="4000" y="48167"/>
                  </a:lnTo>
                  <a:cubicBezTo>
                    <a:pt x="2975" y="48244"/>
                    <a:pt x="2078" y="47475"/>
                    <a:pt x="2001" y="46450"/>
                  </a:cubicBezTo>
                  <a:cubicBezTo>
                    <a:pt x="1993" y="46349"/>
                    <a:pt x="1995" y="46245"/>
                    <a:pt x="2003" y="46144"/>
                  </a:cubicBezTo>
                  <a:lnTo>
                    <a:pt x="2003" y="17600"/>
                  </a:lnTo>
                  <a:cubicBezTo>
                    <a:pt x="1910" y="16591"/>
                    <a:pt x="2656" y="15697"/>
                    <a:pt x="3665" y="15603"/>
                  </a:cubicBezTo>
                  <a:cubicBezTo>
                    <a:pt x="3777" y="15593"/>
                    <a:pt x="3888" y="15593"/>
                    <a:pt x="4000" y="15603"/>
                  </a:cubicBezTo>
                  <a:lnTo>
                    <a:pt x="8713" y="15603"/>
                  </a:lnTo>
                  <a:cubicBezTo>
                    <a:pt x="9722" y="15510"/>
                    <a:pt x="10617" y="16256"/>
                    <a:pt x="10710" y="17265"/>
                  </a:cubicBezTo>
                  <a:cubicBezTo>
                    <a:pt x="10721" y="17377"/>
                    <a:pt x="10721" y="17489"/>
                    <a:pt x="10710" y="17600"/>
                  </a:cubicBezTo>
                </a:path>
              </a:pathLst>
            </a:custGeom>
            <a:solidFill>
              <a:srgbClr val="8FDB42"/>
            </a:solidFill>
            <a:ln w="2661" cap="flat">
              <a:noFill/>
              <a:prstDash val="solid"/>
              <a:miter/>
            </a:ln>
          </p:spPr>
          <p:txBody>
            <a:bodyPr rtlCol="0" anchor="ctr"/>
            <a:lstStyle/>
            <a:p>
              <a:endParaRPr lang="pl-PL"/>
            </a:p>
          </p:txBody>
        </p:sp>
        <p:sp>
          <p:nvSpPr>
            <p:cNvPr id="131" name="Freeform: Shape 130">
              <a:extLst>
                <a:ext uri="{FF2B5EF4-FFF2-40B4-BE49-F238E27FC236}">
                  <a16:creationId xmlns:a16="http://schemas.microsoft.com/office/drawing/2014/main" id="{D2A1709B-024F-4A08-AA11-BF8D188F3BE6}"/>
                </a:ext>
              </a:extLst>
            </p:cNvPr>
            <p:cNvSpPr/>
            <p:nvPr/>
          </p:nvSpPr>
          <p:spPr>
            <a:xfrm>
              <a:off x="11818135" y="6751161"/>
              <a:ext cx="19391" cy="18427"/>
            </a:xfrm>
            <a:custGeom>
              <a:avLst/>
              <a:gdLst>
                <a:gd name="connsiteX0" fmla="*/ 3041 w 34361"/>
                <a:gd name="connsiteY0" fmla="*/ -340 h 32653"/>
                <a:gd name="connsiteX1" fmla="*/ 8766 w 34361"/>
                <a:gd name="connsiteY1" fmla="*/ -340 h 32653"/>
                <a:gd name="connsiteX2" fmla="*/ 11029 w 34361"/>
                <a:gd name="connsiteY2" fmla="*/ 1364 h 32653"/>
                <a:gd name="connsiteX3" fmla="*/ 17606 w 34361"/>
                <a:gd name="connsiteY3" fmla="*/ 22665 h 32653"/>
                <a:gd name="connsiteX4" fmla="*/ 19257 w 34361"/>
                <a:gd name="connsiteY4" fmla="*/ 22665 h 32653"/>
                <a:gd name="connsiteX5" fmla="*/ 26020 w 34361"/>
                <a:gd name="connsiteY5" fmla="*/ 1364 h 32653"/>
                <a:gd name="connsiteX6" fmla="*/ 28230 w 34361"/>
                <a:gd name="connsiteY6" fmla="*/ -340 h 32653"/>
                <a:gd name="connsiteX7" fmla="*/ 33555 w 34361"/>
                <a:gd name="connsiteY7" fmla="*/ -340 h 32653"/>
                <a:gd name="connsiteX8" fmla="*/ 35179 w 34361"/>
                <a:gd name="connsiteY8" fmla="*/ 1976 h 32653"/>
                <a:gd name="connsiteX9" fmla="*/ 23623 w 34361"/>
                <a:gd name="connsiteY9" fmla="*/ 30546 h 32653"/>
                <a:gd name="connsiteX10" fmla="*/ 20961 w 34361"/>
                <a:gd name="connsiteY10" fmla="*/ 32304 h 32653"/>
                <a:gd name="connsiteX11" fmla="*/ 15130 w 34361"/>
                <a:gd name="connsiteY11" fmla="*/ 32304 h 32653"/>
                <a:gd name="connsiteX12" fmla="*/ 12467 w 34361"/>
                <a:gd name="connsiteY12" fmla="*/ 30546 h 32653"/>
                <a:gd name="connsiteX13" fmla="*/ 1178 w 34361"/>
                <a:gd name="connsiteY13" fmla="*/ 1923 h 32653"/>
                <a:gd name="connsiteX14" fmla="*/ 2748 w 34361"/>
                <a:gd name="connsiteY14" fmla="*/ -340 h 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361" h="32653">
                  <a:moveTo>
                    <a:pt x="3041" y="-340"/>
                  </a:moveTo>
                  <a:lnTo>
                    <a:pt x="8766" y="-340"/>
                  </a:lnTo>
                  <a:cubicBezTo>
                    <a:pt x="9839" y="-417"/>
                    <a:pt x="10806" y="310"/>
                    <a:pt x="11029" y="1364"/>
                  </a:cubicBezTo>
                  <a:lnTo>
                    <a:pt x="17606" y="22665"/>
                  </a:lnTo>
                  <a:cubicBezTo>
                    <a:pt x="18005" y="23757"/>
                    <a:pt x="18884" y="23757"/>
                    <a:pt x="19257" y="22665"/>
                  </a:cubicBezTo>
                  <a:lnTo>
                    <a:pt x="26020" y="1364"/>
                  </a:lnTo>
                  <a:cubicBezTo>
                    <a:pt x="26230" y="326"/>
                    <a:pt x="27173" y="-401"/>
                    <a:pt x="28230" y="-340"/>
                  </a:cubicBezTo>
                  <a:lnTo>
                    <a:pt x="33555" y="-340"/>
                  </a:lnTo>
                  <a:cubicBezTo>
                    <a:pt x="35046" y="-340"/>
                    <a:pt x="35685" y="592"/>
                    <a:pt x="35179" y="1976"/>
                  </a:cubicBezTo>
                  <a:lnTo>
                    <a:pt x="23623" y="30546"/>
                  </a:lnTo>
                  <a:cubicBezTo>
                    <a:pt x="23224" y="31657"/>
                    <a:pt x="22140" y="32373"/>
                    <a:pt x="20961" y="32304"/>
                  </a:cubicBezTo>
                  <a:lnTo>
                    <a:pt x="15130" y="32304"/>
                  </a:lnTo>
                  <a:cubicBezTo>
                    <a:pt x="13950" y="32373"/>
                    <a:pt x="12866" y="31657"/>
                    <a:pt x="12467" y="30546"/>
                  </a:cubicBezTo>
                  <a:lnTo>
                    <a:pt x="1178" y="1923"/>
                  </a:lnTo>
                  <a:cubicBezTo>
                    <a:pt x="672" y="592"/>
                    <a:pt x="1178" y="-340"/>
                    <a:pt x="2748" y="-340"/>
                  </a:cubicBezTo>
                </a:path>
              </a:pathLst>
            </a:custGeom>
            <a:solidFill>
              <a:srgbClr val="8FDB42"/>
            </a:solidFill>
            <a:ln w="2661" cap="flat">
              <a:noFill/>
              <a:prstDash val="solid"/>
              <a:miter/>
            </a:ln>
          </p:spPr>
          <p:txBody>
            <a:bodyPr rtlCol="0" anchor="ctr"/>
            <a:lstStyle/>
            <a:p>
              <a:endParaRPr lang="pl-PL"/>
            </a:p>
          </p:txBody>
        </p:sp>
        <p:sp>
          <p:nvSpPr>
            <p:cNvPr id="132" name="Freeform: Shape 131">
              <a:extLst>
                <a:ext uri="{FF2B5EF4-FFF2-40B4-BE49-F238E27FC236}">
                  <a16:creationId xmlns:a16="http://schemas.microsoft.com/office/drawing/2014/main" id="{69453EFE-E2C9-4C20-AD11-2F9E93391A6B}"/>
                </a:ext>
              </a:extLst>
            </p:cNvPr>
            <p:cNvSpPr/>
            <p:nvPr/>
          </p:nvSpPr>
          <p:spPr>
            <a:xfrm>
              <a:off x="11839093" y="6750822"/>
              <a:ext cx="18454" cy="19157"/>
            </a:xfrm>
            <a:custGeom>
              <a:avLst/>
              <a:gdLst>
                <a:gd name="connsiteX0" fmla="*/ 17931 w 32701"/>
                <a:gd name="connsiteY0" fmla="*/ -324 h 33946"/>
                <a:gd name="connsiteX1" fmla="*/ 33689 w 32701"/>
                <a:gd name="connsiteY1" fmla="*/ 15867 h 33946"/>
                <a:gd name="connsiteX2" fmla="*/ 33614 w 32701"/>
                <a:gd name="connsiteY2" fmla="*/ 17196 h 33946"/>
                <a:gd name="connsiteX3" fmla="*/ 31809 w 32701"/>
                <a:gd name="connsiteY3" fmla="*/ 19012 h 33946"/>
                <a:gd name="connsiteX4" fmla="*/ 31670 w 32701"/>
                <a:gd name="connsiteY4" fmla="*/ 19006 h 33946"/>
                <a:gd name="connsiteX5" fmla="*/ 11568 w 32701"/>
                <a:gd name="connsiteY5" fmla="*/ 19006 h 33946"/>
                <a:gd name="connsiteX6" fmla="*/ 10130 w 32701"/>
                <a:gd name="connsiteY6" fmla="*/ 20950 h 33946"/>
                <a:gd name="connsiteX7" fmla="*/ 18118 w 32701"/>
                <a:gd name="connsiteY7" fmla="*/ 26488 h 33946"/>
                <a:gd name="connsiteX8" fmla="*/ 24455 w 32701"/>
                <a:gd name="connsiteY8" fmla="*/ 23613 h 33946"/>
                <a:gd name="connsiteX9" fmla="*/ 26771 w 32701"/>
                <a:gd name="connsiteY9" fmla="*/ 22148 h 33946"/>
                <a:gd name="connsiteX10" fmla="*/ 31058 w 32701"/>
                <a:gd name="connsiteY10" fmla="*/ 22148 h 33946"/>
                <a:gd name="connsiteX11" fmla="*/ 32789 w 32701"/>
                <a:gd name="connsiteY11" fmla="*/ 24358 h 33946"/>
                <a:gd name="connsiteX12" fmla="*/ 18118 w 32701"/>
                <a:gd name="connsiteY12" fmla="*/ 33571 h 33946"/>
                <a:gd name="connsiteX13" fmla="*/ 994 w 32701"/>
                <a:gd name="connsiteY13" fmla="*/ 17371 h 33946"/>
                <a:gd name="connsiteX14" fmla="*/ 997 w 32701"/>
                <a:gd name="connsiteY14" fmla="*/ 16370 h 33946"/>
                <a:gd name="connsiteX15" fmla="*/ 16866 w 32701"/>
                <a:gd name="connsiteY15" fmla="*/ -340 h 33946"/>
                <a:gd name="connsiteX16" fmla="*/ 18118 w 32701"/>
                <a:gd name="connsiteY16" fmla="*/ -324 h 33946"/>
                <a:gd name="connsiteX17" fmla="*/ 12020 w 32701"/>
                <a:gd name="connsiteY17" fmla="*/ 13362 h 33946"/>
                <a:gd name="connsiteX18" fmla="*/ 23257 w 32701"/>
                <a:gd name="connsiteY18" fmla="*/ 13362 h 33946"/>
                <a:gd name="connsiteX19" fmla="*/ 24774 w 32701"/>
                <a:gd name="connsiteY19" fmla="*/ 11365 h 33946"/>
                <a:gd name="connsiteX20" fmla="*/ 17984 w 32701"/>
                <a:gd name="connsiteY20" fmla="*/ 6705 h 33946"/>
                <a:gd name="connsiteX21" fmla="*/ 10582 w 32701"/>
                <a:gd name="connsiteY21" fmla="*/ 11285 h 33946"/>
                <a:gd name="connsiteX22" fmla="*/ 12020 w 32701"/>
                <a:gd name="connsiteY22" fmla="*/ 13362 h 3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701" h="33946">
                  <a:moveTo>
                    <a:pt x="17931" y="-324"/>
                  </a:moveTo>
                  <a:cubicBezTo>
                    <a:pt x="26753" y="-204"/>
                    <a:pt x="33809" y="7046"/>
                    <a:pt x="33689" y="15867"/>
                  </a:cubicBezTo>
                  <a:cubicBezTo>
                    <a:pt x="33681" y="16312"/>
                    <a:pt x="33657" y="16754"/>
                    <a:pt x="33614" y="17196"/>
                  </a:cubicBezTo>
                  <a:cubicBezTo>
                    <a:pt x="33617" y="18197"/>
                    <a:pt x="32807" y="19009"/>
                    <a:pt x="31809" y="19012"/>
                  </a:cubicBezTo>
                  <a:cubicBezTo>
                    <a:pt x="31764" y="19012"/>
                    <a:pt x="31716" y="19009"/>
                    <a:pt x="31670" y="19006"/>
                  </a:cubicBezTo>
                  <a:lnTo>
                    <a:pt x="11568" y="19006"/>
                  </a:lnTo>
                  <a:cubicBezTo>
                    <a:pt x="10369" y="19006"/>
                    <a:pt x="9624" y="19778"/>
                    <a:pt x="10130" y="20950"/>
                  </a:cubicBezTo>
                  <a:cubicBezTo>
                    <a:pt x="11272" y="24361"/>
                    <a:pt x="14523" y="26616"/>
                    <a:pt x="18118" y="26488"/>
                  </a:cubicBezTo>
                  <a:cubicBezTo>
                    <a:pt x="20589" y="26709"/>
                    <a:pt x="22996" y="25618"/>
                    <a:pt x="24455" y="23613"/>
                  </a:cubicBezTo>
                  <a:cubicBezTo>
                    <a:pt x="24897" y="22734"/>
                    <a:pt x="25789" y="22172"/>
                    <a:pt x="26771" y="22148"/>
                  </a:cubicBezTo>
                  <a:lnTo>
                    <a:pt x="31058" y="22148"/>
                  </a:lnTo>
                  <a:cubicBezTo>
                    <a:pt x="32416" y="22148"/>
                    <a:pt x="33295" y="23027"/>
                    <a:pt x="32789" y="24358"/>
                  </a:cubicBezTo>
                  <a:cubicBezTo>
                    <a:pt x="30387" y="30264"/>
                    <a:pt x="24479" y="33973"/>
                    <a:pt x="18118" y="33571"/>
                  </a:cubicBezTo>
                  <a:cubicBezTo>
                    <a:pt x="8916" y="33826"/>
                    <a:pt x="1250" y="26573"/>
                    <a:pt x="994" y="17371"/>
                  </a:cubicBezTo>
                  <a:cubicBezTo>
                    <a:pt x="986" y="17036"/>
                    <a:pt x="986" y="16703"/>
                    <a:pt x="997" y="16370"/>
                  </a:cubicBezTo>
                  <a:cubicBezTo>
                    <a:pt x="765" y="7373"/>
                    <a:pt x="7869" y="-109"/>
                    <a:pt x="16866" y="-340"/>
                  </a:cubicBezTo>
                  <a:cubicBezTo>
                    <a:pt x="17284" y="-351"/>
                    <a:pt x="17700" y="-346"/>
                    <a:pt x="18118" y="-324"/>
                  </a:cubicBezTo>
                  <a:moveTo>
                    <a:pt x="12020" y="13362"/>
                  </a:moveTo>
                  <a:lnTo>
                    <a:pt x="23257" y="13362"/>
                  </a:lnTo>
                  <a:cubicBezTo>
                    <a:pt x="24508" y="13362"/>
                    <a:pt x="25280" y="12616"/>
                    <a:pt x="24774" y="11365"/>
                  </a:cubicBezTo>
                  <a:cubicBezTo>
                    <a:pt x="23707" y="8545"/>
                    <a:pt x="20999" y="6686"/>
                    <a:pt x="17984" y="6705"/>
                  </a:cubicBezTo>
                  <a:cubicBezTo>
                    <a:pt x="14859" y="6737"/>
                    <a:pt x="12007" y="8502"/>
                    <a:pt x="10582" y="11285"/>
                  </a:cubicBezTo>
                  <a:cubicBezTo>
                    <a:pt x="10023" y="12483"/>
                    <a:pt x="10716" y="13362"/>
                    <a:pt x="12020" y="13362"/>
                  </a:cubicBezTo>
                </a:path>
              </a:pathLst>
            </a:custGeom>
            <a:solidFill>
              <a:srgbClr val="8FDB42"/>
            </a:solidFill>
            <a:ln w="2661" cap="flat">
              <a:noFill/>
              <a:prstDash val="solid"/>
              <a:miter/>
            </a:ln>
          </p:spPr>
          <p:txBody>
            <a:bodyPr rtlCol="0" anchor="ctr"/>
            <a:lstStyle/>
            <a:p>
              <a:endParaRPr lang="pl-PL"/>
            </a:p>
          </p:txBody>
        </p:sp>
        <p:sp>
          <p:nvSpPr>
            <p:cNvPr id="133" name="Freeform: Shape 132">
              <a:extLst>
                <a:ext uri="{FF2B5EF4-FFF2-40B4-BE49-F238E27FC236}">
                  <a16:creationId xmlns:a16="http://schemas.microsoft.com/office/drawing/2014/main" id="{89F870CA-B973-4D9D-8ADE-7508FA22A996}"/>
                </a:ext>
              </a:extLst>
            </p:cNvPr>
            <p:cNvSpPr/>
            <p:nvPr/>
          </p:nvSpPr>
          <p:spPr>
            <a:xfrm>
              <a:off x="11575064" y="6784526"/>
              <a:ext cx="208318" cy="27505"/>
            </a:xfrm>
            <a:custGeom>
              <a:avLst/>
              <a:gdLst>
                <a:gd name="connsiteX0" fmla="*/ 2220 w 369143"/>
                <a:gd name="connsiteY0" fmla="*/ 48333 h 48740"/>
                <a:gd name="connsiteX1" fmla="*/ 4004 w 369143"/>
                <a:gd name="connsiteY1" fmla="*/ 48333 h 48740"/>
                <a:gd name="connsiteX2" fmla="*/ 5226 w 369143"/>
                <a:gd name="connsiteY2" fmla="*/ 47390 h 48740"/>
                <a:gd name="connsiteX3" fmla="*/ 5229 w 369143"/>
                <a:gd name="connsiteY3" fmla="*/ 47135 h 48740"/>
                <a:gd name="connsiteX4" fmla="*/ 5229 w 369143"/>
                <a:gd name="connsiteY4" fmla="*/ 37043 h 48740"/>
                <a:gd name="connsiteX5" fmla="*/ 7172 w 369143"/>
                <a:gd name="connsiteY5" fmla="*/ 36165 h 48740"/>
                <a:gd name="connsiteX6" fmla="*/ 14202 w 369143"/>
                <a:gd name="connsiteY6" fmla="*/ 38109 h 48740"/>
                <a:gd name="connsiteX7" fmla="*/ 26961 w 369143"/>
                <a:gd name="connsiteY7" fmla="*/ 25096 h 48740"/>
                <a:gd name="connsiteX8" fmla="*/ 26955 w 369143"/>
                <a:gd name="connsiteY8" fmla="*/ 24795 h 48740"/>
                <a:gd name="connsiteX9" fmla="*/ 14444 w 369143"/>
                <a:gd name="connsiteY9" fmla="*/ 11751 h 48740"/>
                <a:gd name="connsiteX10" fmla="*/ 14281 w 369143"/>
                <a:gd name="connsiteY10" fmla="*/ 11749 h 48740"/>
                <a:gd name="connsiteX11" fmla="*/ 6533 w 369143"/>
                <a:gd name="connsiteY11" fmla="*/ 14198 h 48740"/>
                <a:gd name="connsiteX12" fmla="*/ 4403 w 369143"/>
                <a:gd name="connsiteY12" fmla="*/ 13453 h 48740"/>
                <a:gd name="connsiteX13" fmla="*/ 4403 w 369143"/>
                <a:gd name="connsiteY13" fmla="*/ 13453 h 48740"/>
                <a:gd name="connsiteX14" fmla="*/ 3098 w 369143"/>
                <a:gd name="connsiteY14" fmla="*/ 12334 h 48740"/>
                <a:gd name="connsiteX15" fmla="*/ 2220 w 369143"/>
                <a:gd name="connsiteY15" fmla="*/ 12334 h 48740"/>
                <a:gd name="connsiteX16" fmla="*/ 998 w 369143"/>
                <a:gd name="connsiteY16" fmla="*/ 13277 h 48740"/>
                <a:gd name="connsiteX17" fmla="*/ 995 w 369143"/>
                <a:gd name="connsiteY17" fmla="*/ 13533 h 48740"/>
                <a:gd name="connsiteX18" fmla="*/ 995 w 369143"/>
                <a:gd name="connsiteY18" fmla="*/ 47135 h 48740"/>
                <a:gd name="connsiteX19" fmla="*/ 1964 w 369143"/>
                <a:gd name="connsiteY19" fmla="*/ 48336 h 48740"/>
                <a:gd name="connsiteX20" fmla="*/ 2220 w 369143"/>
                <a:gd name="connsiteY20" fmla="*/ 48333 h 48740"/>
                <a:gd name="connsiteX21" fmla="*/ 5575 w 369143"/>
                <a:gd name="connsiteY21" fmla="*/ 27991 h 48740"/>
                <a:gd name="connsiteX22" fmla="*/ 5575 w 369143"/>
                <a:gd name="connsiteY22" fmla="*/ 21920 h 48740"/>
                <a:gd name="connsiteX23" fmla="*/ 6107 w 369143"/>
                <a:gd name="connsiteY23" fmla="*/ 19816 h 48740"/>
                <a:gd name="connsiteX24" fmla="*/ 13749 w 369143"/>
                <a:gd name="connsiteY24" fmla="*/ 15769 h 48740"/>
                <a:gd name="connsiteX25" fmla="*/ 22269 w 369143"/>
                <a:gd name="connsiteY25" fmla="*/ 24875 h 48740"/>
                <a:gd name="connsiteX26" fmla="*/ 13749 w 369143"/>
                <a:gd name="connsiteY26" fmla="*/ 34195 h 48740"/>
                <a:gd name="connsiteX27" fmla="*/ 6107 w 369143"/>
                <a:gd name="connsiteY27" fmla="*/ 30094 h 48740"/>
                <a:gd name="connsiteX28" fmla="*/ 5575 w 369143"/>
                <a:gd name="connsiteY28" fmla="*/ 27991 h 48740"/>
                <a:gd name="connsiteX29" fmla="*/ 36967 w 369143"/>
                <a:gd name="connsiteY29" fmla="*/ -340 h 48740"/>
                <a:gd name="connsiteX30" fmla="*/ 34837 w 369143"/>
                <a:gd name="connsiteY30" fmla="*/ -340 h 48740"/>
                <a:gd name="connsiteX31" fmla="*/ 33612 w 369143"/>
                <a:gd name="connsiteY31" fmla="*/ 662 h 48740"/>
                <a:gd name="connsiteX32" fmla="*/ 33612 w 369143"/>
                <a:gd name="connsiteY32" fmla="*/ 885 h 48740"/>
                <a:gd name="connsiteX33" fmla="*/ 33612 w 369143"/>
                <a:gd name="connsiteY33" fmla="*/ 36431 h 48740"/>
                <a:gd name="connsiteX34" fmla="*/ 34581 w 369143"/>
                <a:gd name="connsiteY34" fmla="*/ 37632 h 48740"/>
                <a:gd name="connsiteX35" fmla="*/ 34837 w 369143"/>
                <a:gd name="connsiteY35" fmla="*/ 37629 h 48740"/>
                <a:gd name="connsiteX36" fmla="*/ 36967 w 369143"/>
                <a:gd name="connsiteY36" fmla="*/ 37629 h 48740"/>
                <a:gd name="connsiteX37" fmla="*/ 38189 w 369143"/>
                <a:gd name="connsiteY37" fmla="*/ 36687 h 48740"/>
                <a:gd name="connsiteX38" fmla="*/ 38192 w 369143"/>
                <a:gd name="connsiteY38" fmla="*/ 36431 h 48740"/>
                <a:gd name="connsiteX39" fmla="*/ 38192 w 369143"/>
                <a:gd name="connsiteY39" fmla="*/ 885 h 48740"/>
                <a:gd name="connsiteX40" fmla="*/ 37191 w 369143"/>
                <a:gd name="connsiteY40" fmla="*/ -340 h 48740"/>
                <a:gd name="connsiteX41" fmla="*/ 36967 w 369143"/>
                <a:gd name="connsiteY41" fmla="*/ -340 h 48740"/>
                <a:gd name="connsiteX42" fmla="*/ 44768 w 369143"/>
                <a:gd name="connsiteY42" fmla="*/ 30680 h 48740"/>
                <a:gd name="connsiteX43" fmla="*/ 52485 w 369143"/>
                <a:gd name="connsiteY43" fmla="*/ 38141 h 48740"/>
                <a:gd name="connsiteX44" fmla="*/ 53049 w 369143"/>
                <a:gd name="connsiteY44" fmla="*/ 38109 h 48740"/>
                <a:gd name="connsiteX45" fmla="*/ 61756 w 369143"/>
                <a:gd name="connsiteY45" fmla="*/ 35446 h 48740"/>
                <a:gd name="connsiteX46" fmla="*/ 63992 w 369143"/>
                <a:gd name="connsiteY46" fmla="*/ 36218 h 48740"/>
                <a:gd name="connsiteX47" fmla="*/ 64152 w 369143"/>
                <a:gd name="connsiteY47" fmla="*/ 36724 h 48740"/>
                <a:gd name="connsiteX48" fmla="*/ 65510 w 369143"/>
                <a:gd name="connsiteY48" fmla="*/ 37736 h 48740"/>
                <a:gd name="connsiteX49" fmla="*/ 66096 w 369143"/>
                <a:gd name="connsiteY49" fmla="*/ 37736 h 48740"/>
                <a:gd name="connsiteX50" fmla="*/ 67294 w 369143"/>
                <a:gd name="connsiteY50" fmla="*/ 36761 h 48740"/>
                <a:gd name="connsiteX51" fmla="*/ 67294 w 369143"/>
                <a:gd name="connsiteY51" fmla="*/ 36538 h 48740"/>
                <a:gd name="connsiteX52" fmla="*/ 67294 w 369143"/>
                <a:gd name="connsiteY52" fmla="*/ 22905 h 48740"/>
                <a:gd name="connsiteX53" fmla="*/ 56644 w 369143"/>
                <a:gd name="connsiteY53" fmla="*/ 11935 h 48740"/>
                <a:gd name="connsiteX54" fmla="*/ 45993 w 369143"/>
                <a:gd name="connsiteY54" fmla="*/ 19497 h 48740"/>
                <a:gd name="connsiteX55" fmla="*/ 46712 w 369143"/>
                <a:gd name="connsiteY55" fmla="*/ 20778 h 48740"/>
                <a:gd name="connsiteX56" fmla="*/ 47165 w 369143"/>
                <a:gd name="connsiteY56" fmla="*/ 20802 h 48740"/>
                <a:gd name="connsiteX57" fmla="*/ 49055 w 369143"/>
                <a:gd name="connsiteY57" fmla="*/ 20802 h 48740"/>
                <a:gd name="connsiteX58" fmla="*/ 50386 w 369143"/>
                <a:gd name="connsiteY58" fmla="*/ 19736 h 48740"/>
                <a:gd name="connsiteX59" fmla="*/ 56510 w 369143"/>
                <a:gd name="connsiteY59" fmla="*/ 15929 h 48740"/>
                <a:gd name="connsiteX60" fmla="*/ 62938 w 369143"/>
                <a:gd name="connsiteY60" fmla="*/ 20791 h 48740"/>
                <a:gd name="connsiteX61" fmla="*/ 62981 w 369143"/>
                <a:gd name="connsiteY61" fmla="*/ 21920 h 48740"/>
                <a:gd name="connsiteX62" fmla="*/ 61277 w 369143"/>
                <a:gd name="connsiteY62" fmla="*/ 23491 h 48740"/>
                <a:gd name="connsiteX63" fmla="*/ 55632 w 369143"/>
                <a:gd name="connsiteY63" fmla="*/ 23491 h 48740"/>
                <a:gd name="connsiteX64" fmla="*/ 44981 w 369143"/>
                <a:gd name="connsiteY64" fmla="*/ 30840 h 48740"/>
                <a:gd name="connsiteX65" fmla="*/ 49561 w 369143"/>
                <a:gd name="connsiteY65" fmla="*/ 30840 h 48740"/>
                <a:gd name="connsiteX66" fmla="*/ 55792 w 369143"/>
                <a:gd name="connsiteY66" fmla="*/ 27325 h 48740"/>
                <a:gd name="connsiteX67" fmla="*/ 61330 w 369143"/>
                <a:gd name="connsiteY67" fmla="*/ 27325 h 48740"/>
                <a:gd name="connsiteX68" fmla="*/ 63034 w 369143"/>
                <a:gd name="connsiteY68" fmla="*/ 28691 h 48740"/>
                <a:gd name="connsiteX69" fmla="*/ 63034 w 369143"/>
                <a:gd name="connsiteY69" fmla="*/ 29029 h 48740"/>
                <a:gd name="connsiteX70" fmla="*/ 63034 w 369143"/>
                <a:gd name="connsiteY70" fmla="*/ 29535 h 48740"/>
                <a:gd name="connsiteX71" fmla="*/ 62022 w 369143"/>
                <a:gd name="connsiteY71" fmla="*/ 31585 h 48740"/>
                <a:gd name="connsiteX72" fmla="*/ 54274 w 369143"/>
                <a:gd name="connsiteY72" fmla="*/ 34248 h 48740"/>
                <a:gd name="connsiteX73" fmla="*/ 49561 w 369143"/>
                <a:gd name="connsiteY73" fmla="*/ 30733 h 48740"/>
                <a:gd name="connsiteX74" fmla="*/ 76826 w 369143"/>
                <a:gd name="connsiteY74" fmla="*/ 37789 h 48740"/>
                <a:gd name="connsiteX75" fmla="*/ 78956 w 369143"/>
                <a:gd name="connsiteY75" fmla="*/ 37789 h 48740"/>
                <a:gd name="connsiteX76" fmla="*/ 80179 w 369143"/>
                <a:gd name="connsiteY76" fmla="*/ 36846 h 48740"/>
                <a:gd name="connsiteX77" fmla="*/ 80181 w 369143"/>
                <a:gd name="connsiteY77" fmla="*/ 36591 h 48740"/>
                <a:gd name="connsiteX78" fmla="*/ 80181 w 369143"/>
                <a:gd name="connsiteY78" fmla="*/ 20988 h 48740"/>
                <a:gd name="connsiteX79" fmla="*/ 81299 w 369143"/>
                <a:gd name="connsiteY79" fmla="*/ 18964 h 48740"/>
                <a:gd name="connsiteX80" fmla="*/ 89580 w 369143"/>
                <a:gd name="connsiteY80" fmla="*/ 16035 h 48740"/>
                <a:gd name="connsiteX81" fmla="*/ 95140 w 369143"/>
                <a:gd name="connsiteY81" fmla="*/ 20658 h 48740"/>
                <a:gd name="connsiteX82" fmla="*/ 95118 w 369143"/>
                <a:gd name="connsiteY82" fmla="*/ 21787 h 48740"/>
                <a:gd name="connsiteX83" fmla="*/ 95118 w 369143"/>
                <a:gd name="connsiteY83" fmla="*/ 36591 h 48740"/>
                <a:gd name="connsiteX84" fmla="*/ 96088 w 369143"/>
                <a:gd name="connsiteY84" fmla="*/ 37792 h 48740"/>
                <a:gd name="connsiteX85" fmla="*/ 96343 w 369143"/>
                <a:gd name="connsiteY85" fmla="*/ 37789 h 48740"/>
                <a:gd name="connsiteX86" fmla="*/ 98473 w 369143"/>
                <a:gd name="connsiteY86" fmla="*/ 37789 h 48740"/>
                <a:gd name="connsiteX87" fmla="*/ 99696 w 369143"/>
                <a:gd name="connsiteY87" fmla="*/ 36846 h 48740"/>
                <a:gd name="connsiteX88" fmla="*/ 99698 w 369143"/>
                <a:gd name="connsiteY88" fmla="*/ 36591 h 48740"/>
                <a:gd name="connsiteX89" fmla="*/ 99698 w 369143"/>
                <a:gd name="connsiteY89" fmla="*/ 21574 h 48740"/>
                <a:gd name="connsiteX90" fmla="*/ 90885 w 369143"/>
                <a:gd name="connsiteY90" fmla="*/ 11988 h 48740"/>
                <a:gd name="connsiteX91" fmla="*/ 81326 w 369143"/>
                <a:gd name="connsiteY91" fmla="*/ 14811 h 48740"/>
                <a:gd name="connsiteX92" fmla="*/ 79143 w 369143"/>
                <a:gd name="connsiteY92" fmla="*/ 13932 h 48740"/>
                <a:gd name="connsiteX93" fmla="*/ 79143 w 369143"/>
                <a:gd name="connsiteY93" fmla="*/ 13559 h 48740"/>
                <a:gd name="connsiteX94" fmla="*/ 77758 w 369143"/>
                <a:gd name="connsiteY94" fmla="*/ 12494 h 48740"/>
                <a:gd name="connsiteX95" fmla="*/ 76906 w 369143"/>
                <a:gd name="connsiteY95" fmla="*/ 12494 h 48740"/>
                <a:gd name="connsiteX96" fmla="*/ 75684 w 369143"/>
                <a:gd name="connsiteY96" fmla="*/ 13437 h 48740"/>
                <a:gd name="connsiteX97" fmla="*/ 75681 w 369143"/>
                <a:gd name="connsiteY97" fmla="*/ 13692 h 48740"/>
                <a:gd name="connsiteX98" fmla="*/ 75681 w 369143"/>
                <a:gd name="connsiteY98" fmla="*/ 36591 h 48740"/>
                <a:gd name="connsiteX99" fmla="*/ 76651 w 369143"/>
                <a:gd name="connsiteY99" fmla="*/ 37792 h 48740"/>
                <a:gd name="connsiteX100" fmla="*/ 76906 w 369143"/>
                <a:gd name="connsiteY100" fmla="*/ 37789 h 48740"/>
                <a:gd name="connsiteX101" fmla="*/ 106195 w 369143"/>
                <a:gd name="connsiteY101" fmla="*/ 24982 h 48740"/>
                <a:gd name="connsiteX102" fmla="*/ 118323 w 369143"/>
                <a:gd name="connsiteY102" fmla="*/ 38282 h 48740"/>
                <a:gd name="connsiteX103" fmla="*/ 119055 w 369143"/>
                <a:gd name="connsiteY103" fmla="*/ 38295 h 48740"/>
                <a:gd name="connsiteX104" fmla="*/ 129945 w 369143"/>
                <a:gd name="connsiteY104" fmla="*/ 31212 h 48740"/>
                <a:gd name="connsiteX105" fmla="*/ 128880 w 369143"/>
                <a:gd name="connsiteY105" fmla="*/ 29828 h 48740"/>
                <a:gd name="connsiteX106" fmla="*/ 127043 w 369143"/>
                <a:gd name="connsiteY106" fmla="*/ 29828 h 48740"/>
                <a:gd name="connsiteX107" fmla="*/ 125632 w 369143"/>
                <a:gd name="connsiteY107" fmla="*/ 30813 h 48740"/>
                <a:gd name="connsiteX108" fmla="*/ 119055 w 369143"/>
                <a:gd name="connsiteY108" fmla="*/ 34381 h 48740"/>
                <a:gd name="connsiteX109" fmla="*/ 111068 w 369143"/>
                <a:gd name="connsiteY109" fmla="*/ 28177 h 48740"/>
                <a:gd name="connsiteX110" fmla="*/ 112638 w 369143"/>
                <a:gd name="connsiteY110" fmla="*/ 26340 h 48740"/>
                <a:gd name="connsiteX111" fmla="*/ 129173 w 369143"/>
                <a:gd name="connsiteY111" fmla="*/ 26340 h 48740"/>
                <a:gd name="connsiteX112" fmla="*/ 130821 w 369143"/>
                <a:gd name="connsiteY112" fmla="*/ 24905 h 48740"/>
                <a:gd name="connsiteX113" fmla="*/ 130824 w 369143"/>
                <a:gd name="connsiteY113" fmla="*/ 24769 h 48740"/>
                <a:gd name="connsiteX114" fmla="*/ 119372 w 369143"/>
                <a:gd name="connsiteY114" fmla="*/ 11975 h 48740"/>
                <a:gd name="connsiteX115" fmla="*/ 119055 w 369143"/>
                <a:gd name="connsiteY115" fmla="*/ 11962 h 48740"/>
                <a:gd name="connsiteX116" fmla="*/ 106245 w 369143"/>
                <a:gd name="connsiteY116" fmla="*/ 24444 h 48740"/>
                <a:gd name="connsiteX117" fmla="*/ 106248 w 369143"/>
                <a:gd name="connsiteY117" fmla="*/ 24955 h 48740"/>
                <a:gd name="connsiteX118" fmla="*/ 111707 w 369143"/>
                <a:gd name="connsiteY118" fmla="*/ 20535 h 48740"/>
                <a:gd name="connsiteX119" fmla="*/ 119002 w 369143"/>
                <a:gd name="connsiteY119" fmla="*/ 15849 h 48740"/>
                <a:gd name="connsiteX120" fmla="*/ 125792 w 369143"/>
                <a:gd name="connsiteY120" fmla="*/ 20589 h 48740"/>
                <a:gd name="connsiteX121" fmla="*/ 124327 w 369143"/>
                <a:gd name="connsiteY121" fmla="*/ 22532 h 48740"/>
                <a:gd name="connsiteX122" fmla="*/ 113065 w 369143"/>
                <a:gd name="connsiteY122" fmla="*/ 22532 h 48740"/>
                <a:gd name="connsiteX123" fmla="*/ 111707 w 369143"/>
                <a:gd name="connsiteY123" fmla="*/ 20589 h 48740"/>
                <a:gd name="connsiteX124" fmla="*/ 135670 w 369143"/>
                <a:gd name="connsiteY124" fmla="*/ 16408 h 48740"/>
                <a:gd name="connsiteX125" fmla="*/ 137720 w 369143"/>
                <a:gd name="connsiteY125" fmla="*/ 16408 h 48740"/>
                <a:gd name="connsiteX126" fmla="*/ 138200 w 369143"/>
                <a:gd name="connsiteY126" fmla="*/ 16832 h 48740"/>
                <a:gd name="connsiteX127" fmla="*/ 138200 w 369143"/>
                <a:gd name="connsiteY127" fmla="*/ 16888 h 48740"/>
                <a:gd name="connsiteX128" fmla="*/ 138200 w 369143"/>
                <a:gd name="connsiteY128" fmla="*/ 30414 h 48740"/>
                <a:gd name="connsiteX129" fmla="*/ 145495 w 369143"/>
                <a:gd name="connsiteY129" fmla="*/ 38401 h 48740"/>
                <a:gd name="connsiteX130" fmla="*/ 151592 w 369143"/>
                <a:gd name="connsiteY130" fmla="*/ 37443 h 48740"/>
                <a:gd name="connsiteX131" fmla="*/ 151939 w 369143"/>
                <a:gd name="connsiteY131" fmla="*/ 35819 h 48740"/>
                <a:gd name="connsiteX132" fmla="*/ 151779 w 369143"/>
                <a:gd name="connsiteY132" fmla="*/ 34354 h 48740"/>
                <a:gd name="connsiteX133" fmla="*/ 150314 w 369143"/>
                <a:gd name="connsiteY133" fmla="*/ 33476 h 48740"/>
                <a:gd name="connsiteX134" fmla="*/ 145735 w 369143"/>
                <a:gd name="connsiteY134" fmla="*/ 34221 h 48740"/>
                <a:gd name="connsiteX135" fmla="*/ 142247 w 369143"/>
                <a:gd name="connsiteY135" fmla="*/ 30281 h 48740"/>
                <a:gd name="connsiteX136" fmla="*/ 142247 w 369143"/>
                <a:gd name="connsiteY136" fmla="*/ 16834 h 48740"/>
                <a:gd name="connsiteX137" fmla="*/ 142670 w 369143"/>
                <a:gd name="connsiteY137" fmla="*/ 16355 h 48740"/>
                <a:gd name="connsiteX138" fmla="*/ 142726 w 369143"/>
                <a:gd name="connsiteY138" fmla="*/ 16355 h 48740"/>
                <a:gd name="connsiteX139" fmla="*/ 150714 w 369143"/>
                <a:gd name="connsiteY139" fmla="*/ 16355 h 48740"/>
                <a:gd name="connsiteX140" fmla="*/ 151939 w 369143"/>
                <a:gd name="connsiteY140" fmla="*/ 15354 h 48740"/>
                <a:gd name="connsiteX141" fmla="*/ 151939 w 369143"/>
                <a:gd name="connsiteY141" fmla="*/ 15130 h 48740"/>
                <a:gd name="connsiteX142" fmla="*/ 151939 w 369143"/>
                <a:gd name="connsiteY142" fmla="*/ 13666 h 48740"/>
                <a:gd name="connsiteX143" fmla="*/ 150969 w 369143"/>
                <a:gd name="connsiteY143" fmla="*/ 12465 h 48740"/>
                <a:gd name="connsiteX144" fmla="*/ 150714 w 369143"/>
                <a:gd name="connsiteY144" fmla="*/ 12468 h 48740"/>
                <a:gd name="connsiteX145" fmla="*/ 142726 w 369143"/>
                <a:gd name="connsiteY145" fmla="*/ 12468 h 48740"/>
                <a:gd name="connsiteX146" fmla="*/ 142247 w 369143"/>
                <a:gd name="connsiteY146" fmla="*/ 11988 h 48740"/>
                <a:gd name="connsiteX147" fmla="*/ 142247 w 369143"/>
                <a:gd name="connsiteY147" fmla="*/ 11962 h 48740"/>
                <a:gd name="connsiteX148" fmla="*/ 142247 w 369143"/>
                <a:gd name="connsiteY148" fmla="*/ 6636 h 48740"/>
                <a:gd name="connsiteX149" fmla="*/ 140889 w 369143"/>
                <a:gd name="connsiteY149" fmla="*/ 5571 h 48740"/>
                <a:gd name="connsiteX150" fmla="*/ 138839 w 369143"/>
                <a:gd name="connsiteY150" fmla="*/ 6104 h 48740"/>
                <a:gd name="connsiteX151" fmla="*/ 137827 w 369143"/>
                <a:gd name="connsiteY151" fmla="*/ 7462 h 48740"/>
                <a:gd name="connsiteX152" fmla="*/ 137827 w 369143"/>
                <a:gd name="connsiteY152" fmla="*/ 11855 h 48740"/>
                <a:gd name="connsiteX153" fmla="*/ 137377 w 369143"/>
                <a:gd name="connsiteY153" fmla="*/ 12361 h 48740"/>
                <a:gd name="connsiteX154" fmla="*/ 137321 w 369143"/>
                <a:gd name="connsiteY154" fmla="*/ 12361 h 48740"/>
                <a:gd name="connsiteX155" fmla="*/ 135138 w 369143"/>
                <a:gd name="connsiteY155" fmla="*/ 12361 h 48740"/>
                <a:gd name="connsiteX156" fmla="*/ 133915 w 369143"/>
                <a:gd name="connsiteY156" fmla="*/ 13304 h 48740"/>
                <a:gd name="connsiteX157" fmla="*/ 133913 w 369143"/>
                <a:gd name="connsiteY157" fmla="*/ 13559 h 48740"/>
                <a:gd name="connsiteX158" fmla="*/ 133913 w 369143"/>
                <a:gd name="connsiteY158" fmla="*/ 15024 h 48740"/>
                <a:gd name="connsiteX159" fmla="*/ 134914 w 369143"/>
                <a:gd name="connsiteY159" fmla="*/ 16248 h 48740"/>
                <a:gd name="connsiteX160" fmla="*/ 135138 w 369143"/>
                <a:gd name="connsiteY160" fmla="*/ 16248 h 48740"/>
                <a:gd name="connsiteX161" fmla="*/ 168820 w 369143"/>
                <a:gd name="connsiteY161" fmla="*/ 24023 h 48740"/>
                <a:gd name="connsiteX162" fmla="*/ 169821 w 369143"/>
                <a:gd name="connsiteY162" fmla="*/ 25248 h 48740"/>
                <a:gd name="connsiteX163" fmla="*/ 170044 w 369143"/>
                <a:gd name="connsiteY163" fmla="*/ 25248 h 48740"/>
                <a:gd name="connsiteX164" fmla="*/ 175609 w 369143"/>
                <a:gd name="connsiteY164" fmla="*/ 25248 h 48740"/>
                <a:gd name="connsiteX165" fmla="*/ 176674 w 369143"/>
                <a:gd name="connsiteY165" fmla="*/ 26087 h 48740"/>
                <a:gd name="connsiteX166" fmla="*/ 176674 w 369143"/>
                <a:gd name="connsiteY166" fmla="*/ 26313 h 48740"/>
                <a:gd name="connsiteX167" fmla="*/ 176674 w 369143"/>
                <a:gd name="connsiteY167" fmla="*/ 31772 h 48740"/>
                <a:gd name="connsiteX168" fmla="*/ 177556 w 369143"/>
                <a:gd name="connsiteY168" fmla="*/ 32994 h 48740"/>
                <a:gd name="connsiteX169" fmla="*/ 177872 w 369143"/>
                <a:gd name="connsiteY169" fmla="*/ 32996 h 48740"/>
                <a:gd name="connsiteX170" fmla="*/ 179230 w 369143"/>
                <a:gd name="connsiteY170" fmla="*/ 32996 h 48740"/>
                <a:gd name="connsiteX171" fmla="*/ 180455 w 369143"/>
                <a:gd name="connsiteY171" fmla="*/ 31995 h 48740"/>
                <a:gd name="connsiteX172" fmla="*/ 180455 w 369143"/>
                <a:gd name="connsiteY172" fmla="*/ 31772 h 48740"/>
                <a:gd name="connsiteX173" fmla="*/ 180455 w 369143"/>
                <a:gd name="connsiteY173" fmla="*/ 26313 h 48740"/>
                <a:gd name="connsiteX174" fmla="*/ 181353 w 369143"/>
                <a:gd name="connsiteY174" fmla="*/ 25248 h 48740"/>
                <a:gd name="connsiteX175" fmla="*/ 181520 w 369143"/>
                <a:gd name="connsiteY175" fmla="*/ 25248 h 48740"/>
                <a:gd name="connsiteX176" fmla="*/ 186979 w 369143"/>
                <a:gd name="connsiteY176" fmla="*/ 25248 h 48740"/>
                <a:gd name="connsiteX177" fmla="*/ 188203 w 369143"/>
                <a:gd name="connsiteY177" fmla="*/ 24247 h 48740"/>
                <a:gd name="connsiteX178" fmla="*/ 188203 w 369143"/>
                <a:gd name="connsiteY178" fmla="*/ 24023 h 48740"/>
                <a:gd name="connsiteX179" fmla="*/ 188203 w 369143"/>
                <a:gd name="connsiteY179" fmla="*/ 22665 h 48740"/>
                <a:gd name="connsiteX180" fmla="*/ 187234 w 369143"/>
                <a:gd name="connsiteY180" fmla="*/ 21465 h 48740"/>
                <a:gd name="connsiteX181" fmla="*/ 186979 w 369143"/>
                <a:gd name="connsiteY181" fmla="*/ 21467 h 48740"/>
                <a:gd name="connsiteX182" fmla="*/ 181520 w 369143"/>
                <a:gd name="connsiteY182" fmla="*/ 21467 h 48740"/>
                <a:gd name="connsiteX183" fmla="*/ 180453 w 369143"/>
                <a:gd name="connsiteY183" fmla="*/ 20573 h 48740"/>
                <a:gd name="connsiteX184" fmla="*/ 180455 w 369143"/>
                <a:gd name="connsiteY184" fmla="*/ 20376 h 48740"/>
                <a:gd name="connsiteX185" fmla="*/ 180455 w 369143"/>
                <a:gd name="connsiteY185" fmla="*/ 15050 h 48740"/>
                <a:gd name="connsiteX186" fmla="*/ 179515 w 369143"/>
                <a:gd name="connsiteY186" fmla="*/ 13825 h 48740"/>
                <a:gd name="connsiteX187" fmla="*/ 179230 w 369143"/>
                <a:gd name="connsiteY187" fmla="*/ 13825 h 48740"/>
                <a:gd name="connsiteX188" fmla="*/ 177846 w 369143"/>
                <a:gd name="connsiteY188" fmla="*/ 13825 h 48740"/>
                <a:gd name="connsiteX189" fmla="*/ 176621 w 369143"/>
                <a:gd name="connsiteY189" fmla="*/ 14702 h 48740"/>
                <a:gd name="connsiteX190" fmla="*/ 176621 w 369143"/>
                <a:gd name="connsiteY190" fmla="*/ 15050 h 48740"/>
                <a:gd name="connsiteX191" fmla="*/ 176621 w 369143"/>
                <a:gd name="connsiteY191" fmla="*/ 20376 h 48740"/>
                <a:gd name="connsiteX192" fmla="*/ 175814 w 369143"/>
                <a:gd name="connsiteY192" fmla="*/ 21465 h 48740"/>
                <a:gd name="connsiteX193" fmla="*/ 175556 w 369143"/>
                <a:gd name="connsiteY193" fmla="*/ 21467 h 48740"/>
                <a:gd name="connsiteX194" fmla="*/ 170044 w 369143"/>
                <a:gd name="connsiteY194" fmla="*/ 21467 h 48740"/>
                <a:gd name="connsiteX195" fmla="*/ 168822 w 369143"/>
                <a:gd name="connsiteY195" fmla="*/ 22410 h 48740"/>
                <a:gd name="connsiteX196" fmla="*/ 168820 w 369143"/>
                <a:gd name="connsiteY196" fmla="*/ 22665 h 48740"/>
                <a:gd name="connsiteX197" fmla="*/ 209185 w 369143"/>
                <a:gd name="connsiteY197" fmla="*/ 48360 h 48740"/>
                <a:gd name="connsiteX198" fmla="*/ 210995 w 369143"/>
                <a:gd name="connsiteY198" fmla="*/ 48360 h 48740"/>
                <a:gd name="connsiteX199" fmla="*/ 212194 w 369143"/>
                <a:gd name="connsiteY199" fmla="*/ 47385 h 48740"/>
                <a:gd name="connsiteX200" fmla="*/ 212194 w 369143"/>
                <a:gd name="connsiteY200" fmla="*/ 47161 h 48740"/>
                <a:gd name="connsiteX201" fmla="*/ 212194 w 369143"/>
                <a:gd name="connsiteY201" fmla="*/ 37070 h 48740"/>
                <a:gd name="connsiteX202" fmla="*/ 214137 w 369143"/>
                <a:gd name="connsiteY202" fmla="*/ 36192 h 48740"/>
                <a:gd name="connsiteX203" fmla="*/ 221167 w 369143"/>
                <a:gd name="connsiteY203" fmla="*/ 38135 h 48740"/>
                <a:gd name="connsiteX204" fmla="*/ 233926 w 369143"/>
                <a:gd name="connsiteY204" fmla="*/ 25123 h 48740"/>
                <a:gd name="connsiteX205" fmla="*/ 233921 w 369143"/>
                <a:gd name="connsiteY205" fmla="*/ 24822 h 48740"/>
                <a:gd name="connsiteX206" fmla="*/ 221409 w 369143"/>
                <a:gd name="connsiteY206" fmla="*/ 11778 h 48740"/>
                <a:gd name="connsiteX207" fmla="*/ 221247 w 369143"/>
                <a:gd name="connsiteY207" fmla="*/ 11775 h 48740"/>
                <a:gd name="connsiteX208" fmla="*/ 213525 w 369143"/>
                <a:gd name="connsiteY208" fmla="*/ 14225 h 48740"/>
                <a:gd name="connsiteX209" fmla="*/ 211368 w 369143"/>
                <a:gd name="connsiteY209" fmla="*/ 13479 h 48740"/>
                <a:gd name="connsiteX210" fmla="*/ 211368 w 369143"/>
                <a:gd name="connsiteY210" fmla="*/ 13479 h 48740"/>
                <a:gd name="connsiteX211" fmla="*/ 210064 w 369143"/>
                <a:gd name="connsiteY211" fmla="*/ 12361 h 48740"/>
                <a:gd name="connsiteX212" fmla="*/ 209185 w 369143"/>
                <a:gd name="connsiteY212" fmla="*/ 12361 h 48740"/>
                <a:gd name="connsiteX213" fmla="*/ 207963 w 369143"/>
                <a:gd name="connsiteY213" fmla="*/ 13304 h 48740"/>
                <a:gd name="connsiteX214" fmla="*/ 207960 w 369143"/>
                <a:gd name="connsiteY214" fmla="*/ 13559 h 48740"/>
                <a:gd name="connsiteX215" fmla="*/ 207960 w 369143"/>
                <a:gd name="connsiteY215" fmla="*/ 47161 h 48740"/>
                <a:gd name="connsiteX216" fmla="*/ 208929 w 369143"/>
                <a:gd name="connsiteY216" fmla="*/ 48362 h 48740"/>
                <a:gd name="connsiteX217" fmla="*/ 209185 w 369143"/>
                <a:gd name="connsiteY217" fmla="*/ 48360 h 48740"/>
                <a:gd name="connsiteX218" fmla="*/ 212540 w 369143"/>
                <a:gd name="connsiteY218" fmla="*/ 28017 h 48740"/>
                <a:gd name="connsiteX219" fmla="*/ 212540 w 369143"/>
                <a:gd name="connsiteY219" fmla="*/ 21947 h 48740"/>
                <a:gd name="connsiteX220" fmla="*/ 213072 w 369143"/>
                <a:gd name="connsiteY220" fmla="*/ 19843 h 48740"/>
                <a:gd name="connsiteX221" fmla="*/ 220714 w 369143"/>
                <a:gd name="connsiteY221" fmla="*/ 15796 h 48740"/>
                <a:gd name="connsiteX222" fmla="*/ 229234 w 369143"/>
                <a:gd name="connsiteY222" fmla="*/ 24902 h 48740"/>
                <a:gd name="connsiteX223" fmla="*/ 220714 w 369143"/>
                <a:gd name="connsiteY223" fmla="*/ 34221 h 48740"/>
                <a:gd name="connsiteX224" fmla="*/ 213072 w 369143"/>
                <a:gd name="connsiteY224" fmla="*/ 30121 h 48740"/>
                <a:gd name="connsiteX225" fmla="*/ 212540 w 369143"/>
                <a:gd name="connsiteY225" fmla="*/ 28017 h 48740"/>
                <a:gd name="connsiteX226" fmla="*/ 238740 w 369143"/>
                <a:gd name="connsiteY226" fmla="*/ 24849 h 48740"/>
                <a:gd name="connsiteX227" fmla="*/ 250868 w 369143"/>
                <a:gd name="connsiteY227" fmla="*/ 38148 h 48740"/>
                <a:gd name="connsiteX228" fmla="*/ 251600 w 369143"/>
                <a:gd name="connsiteY228" fmla="*/ 38162 h 48740"/>
                <a:gd name="connsiteX229" fmla="*/ 262491 w 369143"/>
                <a:gd name="connsiteY229" fmla="*/ 31079 h 48740"/>
                <a:gd name="connsiteX230" fmla="*/ 261425 w 369143"/>
                <a:gd name="connsiteY230" fmla="*/ 29695 h 48740"/>
                <a:gd name="connsiteX231" fmla="*/ 259588 w 369143"/>
                <a:gd name="connsiteY231" fmla="*/ 29695 h 48740"/>
                <a:gd name="connsiteX232" fmla="*/ 258177 w 369143"/>
                <a:gd name="connsiteY232" fmla="*/ 30680 h 48740"/>
                <a:gd name="connsiteX233" fmla="*/ 251600 w 369143"/>
                <a:gd name="connsiteY233" fmla="*/ 34248 h 48740"/>
                <a:gd name="connsiteX234" fmla="*/ 243612 w 369143"/>
                <a:gd name="connsiteY234" fmla="*/ 28044 h 48740"/>
                <a:gd name="connsiteX235" fmla="*/ 245184 w 369143"/>
                <a:gd name="connsiteY235" fmla="*/ 26207 h 48740"/>
                <a:gd name="connsiteX236" fmla="*/ 261718 w 369143"/>
                <a:gd name="connsiteY236" fmla="*/ 26207 h 48740"/>
                <a:gd name="connsiteX237" fmla="*/ 263366 w 369143"/>
                <a:gd name="connsiteY237" fmla="*/ 24774 h 48740"/>
                <a:gd name="connsiteX238" fmla="*/ 263369 w 369143"/>
                <a:gd name="connsiteY238" fmla="*/ 24636 h 48740"/>
                <a:gd name="connsiteX239" fmla="*/ 251917 w 369143"/>
                <a:gd name="connsiteY239" fmla="*/ 11842 h 48740"/>
                <a:gd name="connsiteX240" fmla="*/ 251600 w 369143"/>
                <a:gd name="connsiteY240" fmla="*/ 11829 h 48740"/>
                <a:gd name="connsiteX241" fmla="*/ 238791 w 369143"/>
                <a:gd name="connsiteY241" fmla="*/ 24311 h 48740"/>
                <a:gd name="connsiteX242" fmla="*/ 238793 w 369143"/>
                <a:gd name="connsiteY242" fmla="*/ 24822 h 48740"/>
                <a:gd name="connsiteX243" fmla="*/ 244118 w 369143"/>
                <a:gd name="connsiteY243" fmla="*/ 20402 h 48740"/>
                <a:gd name="connsiteX244" fmla="*/ 251414 w 369143"/>
                <a:gd name="connsiteY244" fmla="*/ 15716 h 48740"/>
                <a:gd name="connsiteX245" fmla="*/ 258204 w 369143"/>
                <a:gd name="connsiteY245" fmla="*/ 20455 h 48740"/>
                <a:gd name="connsiteX246" fmla="*/ 256739 w 369143"/>
                <a:gd name="connsiteY246" fmla="*/ 22399 h 48740"/>
                <a:gd name="connsiteX247" fmla="*/ 245476 w 369143"/>
                <a:gd name="connsiteY247" fmla="*/ 22399 h 48740"/>
                <a:gd name="connsiteX248" fmla="*/ 244118 w 369143"/>
                <a:gd name="connsiteY248" fmla="*/ 20455 h 48740"/>
                <a:gd name="connsiteX249" fmla="*/ 268082 w 369143"/>
                <a:gd name="connsiteY249" fmla="*/ 24875 h 48740"/>
                <a:gd name="connsiteX250" fmla="*/ 280801 w 369143"/>
                <a:gd name="connsiteY250" fmla="*/ 38188 h 48740"/>
                <a:gd name="connsiteX251" fmla="*/ 281395 w 369143"/>
                <a:gd name="connsiteY251" fmla="*/ 38188 h 48740"/>
                <a:gd name="connsiteX252" fmla="*/ 294708 w 369143"/>
                <a:gd name="connsiteY252" fmla="*/ 25469 h 48740"/>
                <a:gd name="connsiteX253" fmla="*/ 294708 w 369143"/>
                <a:gd name="connsiteY253" fmla="*/ 24875 h 48740"/>
                <a:gd name="connsiteX254" fmla="*/ 281989 w 369143"/>
                <a:gd name="connsiteY254" fmla="*/ 11874 h 48740"/>
                <a:gd name="connsiteX255" fmla="*/ 281395 w 369143"/>
                <a:gd name="connsiteY255" fmla="*/ 11882 h 48740"/>
                <a:gd name="connsiteX256" fmla="*/ 268087 w 369143"/>
                <a:gd name="connsiteY256" fmla="*/ 24335 h 48740"/>
                <a:gd name="connsiteX257" fmla="*/ 268082 w 369143"/>
                <a:gd name="connsiteY257" fmla="*/ 24875 h 48740"/>
                <a:gd name="connsiteX258" fmla="*/ 272662 w 369143"/>
                <a:gd name="connsiteY258" fmla="*/ 25035 h 48740"/>
                <a:gd name="connsiteX259" fmla="*/ 281012 w 369143"/>
                <a:gd name="connsiteY259" fmla="*/ 15833 h 48740"/>
                <a:gd name="connsiteX260" fmla="*/ 281528 w 369143"/>
                <a:gd name="connsiteY260" fmla="*/ 15822 h 48740"/>
                <a:gd name="connsiteX261" fmla="*/ 290349 w 369143"/>
                <a:gd name="connsiteY261" fmla="*/ 24628 h 48740"/>
                <a:gd name="connsiteX262" fmla="*/ 290341 w 369143"/>
                <a:gd name="connsiteY262" fmla="*/ 25035 h 48740"/>
                <a:gd name="connsiteX263" fmla="*/ 281882 w 369143"/>
                <a:gd name="connsiteY263" fmla="*/ 34240 h 48740"/>
                <a:gd name="connsiteX264" fmla="*/ 281528 w 369143"/>
                <a:gd name="connsiteY264" fmla="*/ 34248 h 48740"/>
                <a:gd name="connsiteX265" fmla="*/ 272654 w 369143"/>
                <a:gd name="connsiteY265" fmla="*/ 25442 h 48740"/>
                <a:gd name="connsiteX266" fmla="*/ 272662 w 369143"/>
                <a:gd name="connsiteY266" fmla="*/ 25035 h 48740"/>
                <a:gd name="connsiteX267" fmla="*/ 302749 w 369143"/>
                <a:gd name="connsiteY267" fmla="*/ 48386 h 48740"/>
                <a:gd name="connsiteX268" fmla="*/ 304533 w 369143"/>
                <a:gd name="connsiteY268" fmla="*/ 48386 h 48740"/>
                <a:gd name="connsiteX269" fmla="*/ 305755 w 369143"/>
                <a:gd name="connsiteY269" fmla="*/ 47444 h 48740"/>
                <a:gd name="connsiteX270" fmla="*/ 305758 w 369143"/>
                <a:gd name="connsiteY270" fmla="*/ 47188 h 48740"/>
                <a:gd name="connsiteX271" fmla="*/ 305758 w 369143"/>
                <a:gd name="connsiteY271" fmla="*/ 37097 h 48740"/>
                <a:gd name="connsiteX272" fmla="*/ 307702 w 369143"/>
                <a:gd name="connsiteY272" fmla="*/ 36218 h 48740"/>
                <a:gd name="connsiteX273" fmla="*/ 314731 w 369143"/>
                <a:gd name="connsiteY273" fmla="*/ 38162 h 48740"/>
                <a:gd name="connsiteX274" fmla="*/ 327490 w 369143"/>
                <a:gd name="connsiteY274" fmla="*/ 25096 h 48740"/>
                <a:gd name="connsiteX275" fmla="*/ 327485 w 369143"/>
                <a:gd name="connsiteY275" fmla="*/ 24849 h 48740"/>
                <a:gd name="connsiteX276" fmla="*/ 314973 w 369143"/>
                <a:gd name="connsiteY276" fmla="*/ 11805 h 48740"/>
                <a:gd name="connsiteX277" fmla="*/ 314811 w 369143"/>
                <a:gd name="connsiteY277" fmla="*/ 11802 h 48740"/>
                <a:gd name="connsiteX278" fmla="*/ 307063 w 369143"/>
                <a:gd name="connsiteY278" fmla="*/ 14252 h 48740"/>
                <a:gd name="connsiteX279" fmla="*/ 304933 w 369143"/>
                <a:gd name="connsiteY279" fmla="*/ 13506 h 48740"/>
                <a:gd name="connsiteX280" fmla="*/ 304933 w 369143"/>
                <a:gd name="connsiteY280" fmla="*/ 13506 h 48740"/>
                <a:gd name="connsiteX281" fmla="*/ 303628 w 369143"/>
                <a:gd name="connsiteY281" fmla="*/ 12388 h 48740"/>
                <a:gd name="connsiteX282" fmla="*/ 302749 w 369143"/>
                <a:gd name="connsiteY282" fmla="*/ 12388 h 48740"/>
                <a:gd name="connsiteX283" fmla="*/ 301527 w 369143"/>
                <a:gd name="connsiteY283" fmla="*/ 13330 h 48740"/>
                <a:gd name="connsiteX284" fmla="*/ 301524 w 369143"/>
                <a:gd name="connsiteY284" fmla="*/ 13586 h 48740"/>
                <a:gd name="connsiteX285" fmla="*/ 301524 w 369143"/>
                <a:gd name="connsiteY285" fmla="*/ 47188 h 48740"/>
                <a:gd name="connsiteX286" fmla="*/ 302494 w 369143"/>
                <a:gd name="connsiteY286" fmla="*/ 48389 h 48740"/>
                <a:gd name="connsiteX287" fmla="*/ 302749 w 369143"/>
                <a:gd name="connsiteY287" fmla="*/ 48386 h 48740"/>
                <a:gd name="connsiteX288" fmla="*/ 306104 w 369143"/>
                <a:gd name="connsiteY288" fmla="*/ 28044 h 48740"/>
                <a:gd name="connsiteX289" fmla="*/ 306104 w 369143"/>
                <a:gd name="connsiteY289" fmla="*/ 21973 h 48740"/>
                <a:gd name="connsiteX290" fmla="*/ 306637 w 369143"/>
                <a:gd name="connsiteY290" fmla="*/ 19870 h 48740"/>
                <a:gd name="connsiteX291" fmla="*/ 314278 w 369143"/>
                <a:gd name="connsiteY291" fmla="*/ 15822 h 48740"/>
                <a:gd name="connsiteX292" fmla="*/ 322799 w 369143"/>
                <a:gd name="connsiteY292" fmla="*/ 24929 h 48740"/>
                <a:gd name="connsiteX293" fmla="*/ 314278 w 369143"/>
                <a:gd name="connsiteY293" fmla="*/ 34248 h 48740"/>
                <a:gd name="connsiteX294" fmla="*/ 306637 w 369143"/>
                <a:gd name="connsiteY294" fmla="*/ 30147 h 48740"/>
                <a:gd name="connsiteX295" fmla="*/ 306104 w 369143"/>
                <a:gd name="connsiteY295" fmla="*/ 28044 h 48740"/>
                <a:gd name="connsiteX296" fmla="*/ 337496 w 369143"/>
                <a:gd name="connsiteY296" fmla="*/ -286 h 48740"/>
                <a:gd name="connsiteX297" fmla="*/ 335366 w 369143"/>
                <a:gd name="connsiteY297" fmla="*/ -286 h 48740"/>
                <a:gd name="connsiteX298" fmla="*/ 334141 w 369143"/>
                <a:gd name="connsiteY298" fmla="*/ 715 h 48740"/>
                <a:gd name="connsiteX299" fmla="*/ 334141 w 369143"/>
                <a:gd name="connsiteY299" fmla="*/ 938 h 48740"/>
                <a:gd name="connsiteX300" fmla="*/ 334141 w 369143"/>
                <a:gd name="connsiteY300" fmla="*/ 36484 h 48740"/>
                <a:gd name="connsiteX301" fmla="*/ 335111 w 369143"/>
                <a:gd name="connsiteY301" fmla="*/ 37685 h 48740"/>
                <a:gd name="connsiteX302" fmla="*/ 335366 w 369143"/>
                <a:gd name="connsiteY302" fmla="*/ 37683 h 48740"/>
                <a:gd name="connsiteX303" fmla="*/ 337496 w 369143"/>
                <a:gd name="connsiteY303" fmla="*/ 37683 h 48740"/>
                <a:gd name="connsiteX304" fmla="*/ 338718 w 369143"/>
                <a:gd name="connsiteY304" fmla="*/ 36740 h 48740"/>
                <a:gd name="connsiteX305" fmla="*/ 338721 w 369143"/>
                <a:gd name="connsiteY305" fmla="*/ 36484 h 48740"/>
                <a:gd name="connsiteX306" fmla="*/ 338721 w 369143"/>
                <a:gd name="connsiteY306" fmla="*/ 885 h 48740"/>
                <a:gd name="connsiteX307" fmla="*/ 337720 w 369143"/>
                <a:gd name="connsiteY307" fmla="*/ -340 h 48740"/>
                <a:gd name="connsiteX308" fmla="*/ 337496 w 369143"/>
                <a:gd name="connsiteY308" fmla="*/ -340 h 48740"/>
                <a:gd name="connsiteX309" fmla="*/ 345484 w 369143"/>
                <a:gd name="connsiteY309" fmla="*/ 24822 h 48740"/>
                <a:gd name="connsiteX310" fmla="*/ 357612 w 369143"/>
                <a:gd name="connsiteY310" fmla="*/ 38122 h 48740"/>
                <a:gd name="connsiteX311" fmla="*/ 358345 w 369143"/>
                <a:gd name="connsiteY311" fmla="*/ 38135 h 48740"/>
                <a:gd name="connsiteX312" fmla="*/ 369235 w 369143"/>
                <a:gd name="connsiteY312" fmla="*/ 31053 h 48740"/>
                <a:gd name="connsiteX313" fmla="*/ 368170 w 369143"/>
                <a:gd name="connsiteY313" fmla="*/ 29668 h 48740"/>
                <a:gd name="connsiteX314" fmla="*/ 366333 w 369143"/>
                <a:gd name="connsiteY314" fmla="*/ 29668 h 48740"/>
                <a:gd name="connsiteX315" fmla="*/ 364921 w 369143"/>
                <a:gd name="connsiteY315" fmla="*/ 30653 h 48740"/>
                <a:gd name="connsiteX316" fmla="*/ 358345 w 369143"/>
                <a:gd name="connsiteY316" fmla="*/ 34221 h 48740"/>
                <a:gd name="connsiteX317" fmla="*/ 350357 w 369143"/>
                <a:gd name="connsiteY317" fmla="*/ 28017 h 48740"/>
                <a:gd name="connsiteX318" fmla="*/ 351928 w 369143"/>
                <a:gd name="connsiteY318" fmla="*/ 26180 h 48740"/>
                <a:gd name="connsiteX319" fmla="*/ 368463 w 369143"/>
                <a:gd name="connsiteY319" fmla="*/ 26180 h 48740"/>
                <a:gd name="connsiteX320" fmla="*/ 370111 w 369143"/>
                <a:gd name="connsiteY320" fmla="*/ 24745 h 48740"/>
                <a:gd name="connsiteX321" fmla="*/ 370113 w 369143"/>
                <a:gd name="connsiteY321" fmla="*/ 24609 h 48740"/>
                <a:gd name="connsiteX322" fmla="*/ 358661 w 369143"/>
                <a:gd name="connsiteY322" fmla="*/ 11815 h 48740"/>
                <a:gd name="connsiteX323" fmla="*/ 358371 w 369143"/>
                <a:gd name="connsiteY323" fmla="*/ 11802 h 48740"/>
                <a:gd name="connsiteX324" fmla="*/ 345535 w 369143"/>
                <a:gd name="connsiteY324" fmla="*/ 24311 h 48740"/>
                <a:gd name="connsiteX325" fmla="*/ 345538 w 369143"/>
                <a:gd name="connsiteY325" fmla="*/ 24795 h 48740"/>
                <a:gd name="connsiteX326" fmla="*/ 350863 w 369143"/>
                <a:gd name="connsiteY326" fmla="*/ 20376 h 48740"/>
                <a:gd name="connsiteX327" fmla="*/ 358185 w 369143"/>
                <a:gd name="connsiteY327" fmla="*/ 15689 h 48740"/>
                <a:gd name="connsiteX328" fmla="*/ 364948 w 369143"/>
                <a:gd name="connsiteY328" fmla="*/ 20429 h 48740"/>
                <a:gd name="connsiteX329" fmla="*/ 363484 w 369143"/>
                <a:gd name="connsiteY329" fmla="*/ 22373 h 48740"/>
                <a:gd name="connsiteX330" fmla="*/ 352221 w 369143"/>
                <a:gd name="connsiteY330" fmla="*/ 22373 h 48740"/>
                <a:gd name="connsiteX331" fmla="*/ 350863 w 369143"/>
                <a:gd name="connsiteY331" fmla="*/ 20429 h 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Lst>
              <a:rect l="l" t="t" r="r" b="b"/>
              <a:pathLst>
                <a:path w="369143" h="48740">
                  <a:moveTo>
                    <a:pt x="2220" y="48333"/>
                  </a:moveTo>
                  <a:lnTo>
                    <a:pt x="4004" y="48333"/>
                  </a:lnTo>
                  <a:cubicBezTo>
                    <a:pt x="4603" y="48410"/>
                    <a:pt x="5149" y="47987"/>
                    <a:pt x="5226" y="47390"/>
                  </a:cubicBezTo>
                  <a:cubicBezTo>
                    <a:pt x="5237" y="47305"/>
                    <a:pt x="5237" y="47220"/>
                    <a:pt x="5229" y="47135"/>
                  </a:cubicBezTo>
                  <a:lnTo>
                    <a:pt x="5229" y="37043"/>
                  </a:lnTo>
                  <a:cubicBezTo>
                    <a:pt x="5229" y="35632"/>
                    <a:pt x="6001" y="35339"/>
                    <a:pt x="7172" y="36165"/>
                  </a:cubicBezTo>
                  <a:cubicBezTo>
                    <a:pt x="9265" y="37507"/>
                    <a:pt x="11717" y="38183"/>
                    <a:pt x="14202" y="38109"/>
                  </a:cubicBezTo>
                  <a:cubicBezTo>
                    <a:pt x="21319" y="38039"/>
                    <a:pt x="27033" y="32214"/>
                    <a:pt x="26961" y="25096"/>
                  </a:cubicBezTo>
                  <a:cubicBezTo>
                    <a:pt x="26961" y="24995"/>
                    <a:pt x="26958" y="24897"/>
                    <a:pt x="26955" y="24795"/>
                  </a:cubicBezTo>
                  <a:cubicBezTo>
                    <a:pt x="27102" y="17740"/>
                    <a:pt x="21502" y="11898"/>
                    <a:pt x="14444" y="11751"/>
                  </a:cubicBezTo>
                  <a:cubicBezTo>
                    <a:pt x="14391" y="11749"/>
                    <a:pt x="14335" y="11749"/>
                    <a:pt x="14281" y="11749"/>
                  </a:cubicBezTo>
                  <a:cubicBezTo>
                    <a:pt x="11496" y="11671"/>
                    <a:pt x="8767" y="12534"/>
                    <a:pt x="6533" y="14198"/>
                  </a:cubicBezTo>
                  <a:cubicBezTo>
                    <a:pt x="5468" y="15024"/>
                    <a:pt x="4643" y="14837"/>
                    <a:pt x="4403" y="13453"/>
                  </a:cubicBezTo>
                  <a:lnTo>
                    <a:pt x="4403" y="13453"/>
                  </a:lnTo>
                  <a:cubicBezTo>
                    <a:pt x="4347" y="12787"/>
                    <a:pt x="3767" y="12289"/>
                    <a:pt x="3098" y="12334"/>
                  </a:cubicBezTo>
                  <a:lnTo>
                    <a:pt x="2220" y="12334"/>
                  </a:lnTo>
                  <a:cubicBezTo>
                    <a:pt x="1621" y="12257"/>
                    <a:pt x="1075" y="12681"/>
                    <a:pt x="998" y="13277"/>
                  </a:cubicBezTo>
                  <a:cubicBezTo>
                    <a:pt x="987" y="13362"/>
                    <a:pt x="987" y="13447"/>
                    <a:pt x="995" y="13533"/>
                  </a:cubicBezTo>
                  <a:lnTo>
                    <a:pt x="995" y="47135"/>
                  </a:lnTo>
                  <a:cubicBezTo>
                    <a:pt x="931" y="47734"/>
                    <a:pt x="1365" y="48272"/>
                    <a:pt x="1964" y="48336"/>
                  </a:cubicBezTo>
                  <a:cubicBezTo>
                    <a:pt x="2049" y="48344"/>
                    <a:pt x="2134" y="48344"/>
                    <a:pt x="2220" y="48333"/>
                  </a:cubicBezTo>
                  <a:moveTo>
                    <a:pt x="5575" y="27991"/>
                  </a:moveTo>
                  <a:lnTo>
                    <a:pt x="5575" y="21920"/>
                  </a:lnTo>
                  <a:cubicBezTo>
                    <a:pt x="5535" y="21180"/>
                    <a:pt x="5721" y="20447"/>
                    <a:pt x="6107" y="19816"/>
                  </a:cubicBezTo>
                  <a:cubicBezTo>
                    <a:pt x="7777" y="17228"/>
                    <a:pt x="10671" y="15695"/>
                    <a:pt x="13749" y="15769"/>
                  </a:cubicBezTo>
                  <a:cubicBezTo>
                    <a:pt x="18606" y="15958"/>
                    <a:pt x="22405" y="20019"/>
                    <a:pt x="22269" y="24875"/>
                  </a:cubicBezTo>
                  <a:cubicBezTo>
                    <a:pt x="22480" y="29799"/>
                    <a:pt x="18672" y="33965"/>
                    <a:pt x="13749" y="34195"/>
                  </a:cubicBezTo>
                  <a:cubicBezTo>
                    <a:pt x="10655" y="34285"/>
                    <a:pt x="7745" y="32722"/>
                    <a:pt x="6107" y="30094"/>
                  </a:cubicBezTo>
                  <a:cubicBezTo>
                    <a:pt x="5721" y="29463"/>
                    <a:pt x="5535" y="28731"/>
                    <a:pt x="5575" y="27991"/>
                  </a:cubicBezTo>
                  <a:moveTo>
                    <a:pt x="36967" y="-340"/>
                  </a:moveTo>
                  <a:lnTo>
                    <a:pt x="34837" y="-340"/>
                  </a:lnTo>
                  <a:cubicBezTo>
                    <a:pt x="34222" y="-401"/>
                    <a:pt x="33673" y="46"/>
                    <a:pt x="33612" y="662"/>
                  </a:cubicBezTo>
                  <a:cubicBezTo>
                    <a:pt x="33604" y="736"/>
                    <a:pt x="33604" y="811"/>
                    <a:pt x="33612" y="885"/>
                  </a:cubicBezTo>
                  <a:lnTo>
                    <a:pt x="33612" y="36431"/>
                  </a:lnTo>
                  <a:cubicBezTo>
                    <a:pt x="33548" y="37030"/>
                    <a:pt x="33982" y="37568"/>
                    <a:pt x="34581" y="37632"/>
                  </a:cubicBezTo>
                  <a:cubicBezTo>
                    <a:pt x="34666" y="37640"/>
                    <a:pt x="34752" y="37640"/>
                    <a:pt x="34837" y="37629"/>
                  </a:cubicBezTo>
                  <a:lnTo>
                    <a:pt x="36967" y="37629"/>
                  </a:lnTo>
                  <a:cubicBezTo>
                    <a:pt x="37566" y="37707"/>
                    <a:pt x="38112" y="37283"/>
                    <a:pt x="38189" y="36687"/>
                  </a:cubicBezTo>
                  <a:cubicBezTo>
                    <a:pt x="38200" y="36602"/>
                    <a:pt x="38200" y="36516"/>
                    <a:pt x="38192" y="36431"/>
                  </a:cubicBezTo>
                  <a:lnTo>
                    <a:pt x="38192" y="885"/>
                  </a:lnTo>
                  <a:cubicBezTo>
                    <a:pt x="38253" y="270"/>
                    <a:pt x="37806" y="-278"/>
                    <a:pt x="37191" y="-340"/>
                  </a:cubicBezTo>
                  <a:cubicBezTo>
                    <a:pt x="37116" y="-348"/>
                    <a:pt x="37041" y="-348"/>
                    <a:pt x="36967" y="-340"/>
                  </a:cubicBezTo>
                  <a:moveTo>
                    <a:pt x="44768" y="30680"/>
                  </a:moveTo>
                  <a:cubicBezTo>
                    <a:pt x="44840" y="34871"/>
                    <a:pt x="48294" y="38210"/>
                    <a:pt x="52485" y="38141"/>
                  </a:cubicBezTo>
                  <a:cubicBezTo>
                    <a:pt x="52674" y="38135"/>
                    <a:pt x="52860" y="38125"/>
                    <a:pt x="53049" y="38109"/>
                  </a:cubicBezTo>
                  <a:cubicBezTo>
                    <a:pt x="56154" y="38127"/>
                    <a:pt x="59192" y="37198"/>
                    <a:pt x="61756" y="35446"/>
                  </a:cubicBezTo>
                  <a:cubicBezTo>
                    <a:pt x="62821" y="34780"/>
                    <a:pt x="63646" y="35020"/>
                    <a:pt x="63992" y="36218"/>
                  </a:cubicBezTo>
                  <a:lnTo>
                    <a:pt x="64152" y="36724"/>
                  </a:lnTo>
                  <a:cubicBezTo>
                    <a:pt x="64275" y="37363"/>
                    <a:pt x="64863" y="37802"/>
                    <a:pt x="65510" y="37736"/>
                  </a:cubicBezTo>
                  <a:lnTo>
                    <a:pt x="66096" y="37736"/>
                  </a:lnTo>
                  <a:cubicBezTo>
                    <a:pt x="66695" y="37797"/>
                    <a:pt x="67233" y="37363"/>
                    <a:pt x="67294" y="36761"/>
                  </a:cubicBezTo>
                  <a:cubicBezTo>
                    <a:pt x="67302" y="36687"/>
                    <a:pt x="67302" y="36612"/>
                    <a:pt x="67294" y="36538"/>
                  </a:cubicBezTo>
                  <a:lnTo>
                    <a:pt x="67294" y="22905"/>
                  </a:lnTo>
                  <a:cubicBezTo>
                    <a:pt x="67294" y="15982"/>
                    <a:pt x="63353" y="11935"/>
                    <a:pt x="56644" y="11935"/>
                  </a:cubicBezTo>
                  <a:cubicBezTo>
                    <a:pt x="50892" y="11935"/>
                    <a:pt x="46872" y="14864"/>
                    <a:pt x="45993" y="19497"/>
                  </a:cubicBezTo>
                  <a:cubicBezTo>
                    <a:pt x="45839" y="20048"/>
                    <a:pt x="46161" y="20623"/>
                    <a:pt x="46712" y="20778"/>
                  </a:cubicBezTo>
                  <a:cubicBezTo>
                    <a:pt x="46858" y="20818"/>
                    <a:pt x="47013" y="20825"/>
                    <a:pt x="47165" y="20802"/>
                  </a:cubicBezTo>
                  <a:lnTo>
                    <a:pt x="49055" y="20802"/>
                  </a:lnTo>
                  <a:cubicBezTo>
                    <a:pt x="49702" y="20825"/>
                    <a:pt x="50269" y="20373"/>
                    <a:pt x="50386" y="19736"/>
                  </a:cubicBezTo>
                  <a:cubicBezTo>
                    <a:pt x="51305" y="17207"/>
                    <a:pt x="53835" y="15633"/>
                    <a:pt x="56510" y="15929"/>
                  </a:cubicBezTo>
                  <a:cubicBezTo>
                    <a:pt x="59628" y="15498"/>
                    <a:pt x="62504" y="17673"/>
                    <a:pt x="62938" y="20791"/>
                  </a:cubicBezTo>
                  <a:cubicBezTo>
                    <a:pt x="62989" y="21164"/>
                    <a:pt x="63005" y="21542"/>
                    <a:pt x="62981" y="21920"/>
                  </a:cubicBezTo>
                  <a:cubicBezTo>
                    <a:pt x="62981" y="22958"/>
                    <a:pt x="62368" y="23491"/>
                    <a:pt x="61277" y="23491"/>
                  </a:cubicBezTo>
                  <a:lnTo>
                    <a:pt x="55632" y="23491"/>
                  </a:lnTo>
                  <a:cubicBezTo>
                    <a:pt x="48975" y="23491"/>
                    <a:pt x="44981" y="26606"/>
                    <a:pt x="44981" y="30840"/>
                  </a:cubicBezTo>
                  <a:moveTo>
                    <a:pt x="49561" y="30840"/>
                  </a:moveTo>
                  <a:cubicBezTo>
                    <a:pt x="49561" y="28417"/>
                    <a:pt x="51638" y="27325"/>
                    <a:pt x="55792" y="27325"/>
                  </a:cubicBezTo>
                  <a:lnTo>
                    <a:pt x="61330" y="27325"/>
                  </a:lnTo>
                  <a:cubicBezTo>
                    <a:pt x="62177" y="27232"/>
                    <a:pt x="62941" y="27844"/>
                    <a:pt x="63034" y="28691"/>
                  </a:cubicBezTo>
                  <a:cubicBezTo>
                    <a:pt x="63047" y="28803"/>
                    <a:pt x="63047" y="28917"/>
                    <a:pt x="63034" y="29029"/>
                  </a:cubicBezTo>
                  <a:lnTo>
                    <a:pt x="63034" y="29535"/>
                  </a:lnTo>
                  <a:cubicBezTo>
                    <a:pt x="63071" y="30347"/>
                    <a:pt x="62688" y="31119"/>
                    <a:pt x="62022" y="31585"/>
                  </a:cubicBezTo>
                  <a:cubicBezTo>
                    <a:pt x="59767" y="33233"/>
                    <a:pt x="57067" y="34160"/>
                    <a:pt x="54274" y="34248"/>
                  </a:cubicBezTo>
                  <a:cubicBezTo>
                    <a:pt x="51611" y="34248"/>
                    <a:pt x="49561" y="33129"/>
                    <a:pt x="49561" y="30733"/>
                  </a:cubicBezTo>
                  <a:moveTo>
                    <a:pt x="76826" y="37789"/>
                  </a:moveTo>
                  <a:lnTo>
                    <a:pt x="78956" y="37789"/>
                  </a:lnTo>
                  <a:cubicBezTo>
                    <a:pt x="79555" y="37866"/>
                    <a:pt x="80101" y="37443"/>
                    <a:pt x="80179" y="36846"/>
                  </a:cubicBezTo>
                  <a:cubicBezTo>
                    <a:pt x="80189" y="36761"/>
                    <a:pt x="80189" y="36676"/>
                    <a:pt x="80181" y="36591"/>
                  </a:cubicBezTo>
                  <a:lnTo>
                    <a:pt x="80181" y="20988"/>
                  </a:lnTo>
                  <a:cubicBezTo>
                    <a:pt x="80123" y="20152"/>
                    <a:pt x="80562" y="19361"/>
                    <a:pt x="81299" y="18964"/>
                  </a:cubicBezTo>
                  <a:cubicBezTo>
                    <a:pt x="83752" y="17274"/>
                    <a:pt x="86609" y="16264"/>
                    <a:pt x="89580" y="16035"/>
                  </a:cubicBezTo>
                  <a:cubicBezTo>
                    <a:pt x="92392" y="15777"/>
                    <a:pt x="94881" y="17846"/>
                    <a:pt x="95140" y="20658"/>
                  </a:cubicBezTo>
                  <a:cubicBezTo>
                    <a:pt x="95174" y="21033"/>
                    <a:pt x="95166" y="21411"/>
                    <a:pt x="95118" y="21787"/>
                  </a:cubicBezTo>
                  <a:lnTo>
                    <a:pt x="95118" y="36591"/>
                  </a:lnTo>
                  <a:cubicBezTo>
                    <a:pt x="95054" y="37190"/>
                    <a:pt x="95489" y="37728"/>
                    <a:pt x="96088" y="37792"/>
                  </a:cubicBezTo>
                  <a:cubicBezTo>
                    <a:pt x="96173" y="37800"/>
                    <a:pt x="96258" y="37800"/>
                    <a:pt x="96343" y="37789"/>
                  </a:cubicBezTo>
                  <a:lnTo>
                    <a:pt x="98473" y="37789"/>
                  </a:lnTo>
                  <a:cubicBezTo>
                    <a:pt x="99072" y="37866"/>
                    <a:pt x="99618" y="37443"/>
                    <a:pt x="99696" y="36846"/>
                  </a:cubicBezTo>
                  <a:cubicBezTo>
                    <a:pt x="99706" y="36761"/>
                    <a:pt x="99706" y="36676"/>
                    <a:pt x="99698" y="36591"/>
                  </a:cubicBezTo>
                  <a:lnTo>
                    <a:pt x="99698" y="21574"/>
                  </a:lnTo>
                  <a:cubicBezTo>
                    <a:pt x="99698" y="15343"/>
                    <a:pt x="96397" y="11988"/>
                    <a:pt x="90885" y="11988"/>
                  </a:cubicBezTo>
                  <a:cubicBezTo>
                    <a:pt x="87495" y="11996"/>
                    <a:pt x="84178" y="12976"/>
                    <a:pt x="81326" y="14811"/>
                  </a:cubicBezTo>
                  <a:cubicBezTo>
                    <a:pt x="80261" y="15503"/>
                    <a:pt x="79436" y="15210"/>
                    <a:pt x="79143" y="13932"/>
                  </a:cubicBezTo>
                  <a:lnTo>
                    <a:pt x="79143" y="13559"/>
                  </a:lnTo>
                  <a:cubicBezTo>
                    <a:pt x="79023" y="12902"/>
                    <a:pt x="78424" y="12444"/>
                    <a:pt x="77758" y="12494"/>
                  </a:cubicBezTo>
                  <a:lnTo>
                    <a:pt x="76906" y="12494"/>
                  </a:lnTo>
                  <a:cubicBezTo>
                    <a:pt x="76307" y="12417"/>
                    <a:pt x="75761" y="12840"/>
                    <a:pt x="75684" y="13437"/>
                  </a:cubicBezTo>
                  <a:cubicBezTo>
                    <a:pt x="75673" y="13522"/>
                    <a:pt x="75673" y="13607"/>
                    <a:pt x="75681" y="13692"/>
                  </a:cubicBezTo>
                  <a:lnTo>
                    <a:pt x="75681" y="36591"/>
                  </a:lnTo>
                  <a:cubicBezTo>
                    <a:pt x="75617" y="37190"/>
                    <a:pt x="76051" y="37728"/>
                    <a:pt x="76651" y="37792"/>
                  </a:cubicBezTo>
                  <a:cubicBezTo>
                    <a:pt x="76736" y="37800"/>
                    <a:pt x="76821" y="37800"/>
                    <a:pt x="76906" y="37789"/>
                  </a:cubicBezTo>
                  <a:moveTo>
                    <a:pt x="106195" y="24982"/>
                  </a:moveTo>
                  <a:cubicBezTo>
                    <a:pt x="105870" y="32003"/>
                    <a:pt x="111299" y="37959"/>
                    <a:pt x="118323" y="38282"/>
                  </a:cubicBezTo>
                  <a:cubicBezTo>
                    <a:pt x="118565" y="38292"/>
                    <a:pt x="118810" y="38298"/>
                    <a:pt x="119055" y="38295"/>
                  </a:cubicBezTo>
                  <a:cubicBezTo>
                    <a:pt x="123824" y="38492"/>
                    <a:pt x="128193" y="35651"/>
                    <a:pt x="129945" y="31212"/>
                  </a:cubicBezTo>
                  <a:cubicBezTo>
                    <a:pt x="130238" y="30387"/>
                    <a:pt x="129706" y="29828"/>
                    <a:pt x="128880" y="29828"/>
                  </a:cubicBezTo>
                  <a:lnTo>
                    <a:pt x="127043" y="29828"/>
                  </a:lnTo>
                  <a:cubicBezTo>
                    <a:pt x="126409" y="29817"/>
                    <a:pt x="125840" y="30214"/>
                    <a:pt x="125632" y="30813"/>
                  </a:cubicBezTo>
                  <a:cubicBezTo>
                    <a:pt x="124357" y="33217"/>
                    <a:pt x="121766" y="34623"/>
                    <a:pt x="119055" y="34381"/>
                  </a:cubicBezTo>
                  <a:cubicBezTo>
                    <a:pt x="115256" y="34477"/>
                    <a:pt x="111914" y="31881"/>
                    <a:pt x="111068" y="28177"/>
                  </a:cubicBezTo>
                  <a:cubicBezTo>
                    <a:pt x="110775" y="27059"/>
                    <a:pt x="111467" y="26340"/>
                    <a:pt x="112638" y="26340"/>
                  </a:cubicBezTo>
                  <a:lnTo>
                    <a:pt x="129173" y="26340"/>
                  </a:lnTo>
                  <a:cubicBezTo>
                    <a:pt x="130025" y="26398"/>
                    <a:pt x="130763" y="25757"/>
                    <a:pt x="130821" y="24905"/>
                  </a:cubicBezTo>
                  <a:cubicBezTo>
                    <a:pt x="130824" y="24859"/>
                    <a:pt x="130824" y="24814"/>
                    <a:pt x="130824" y="24769"/>
                  </a:cubicBezTo>
                  <a:cubicBezTo>
                    <a:pt x="131194" y="18072"/>
                    <a:pt x="126069" y="12345"/>
                    <a:pt x="119372" y="11975"/>
                  </a:cubicBezTo>
                  <a:cubicBezTo>
                    <a:pt x="119266" y="11970"/>
                    <a:pt x="119162" y="11964"/>
                    <a:pt x="119055" y="11962"/>
                  </a:cubicBezTo>
                  <a:cubicBezTo>
                    <a:pt x="112071" y="11871"/>
                    <a:pt x="106336" y="17460"/>
                    <a:pt x="106245" y="24444"/>
                  </a:cubicBezTo>
                  <a:cubicBezTo>
                    <a:pt x="106243" y="24614"/>
                    <a:pt x="106243" y="24785"/>
                    <a:pt x="106248" y="24955"/>
                  </a:cubicBezTo>
                  <a:moveTo>
                    <a:pt x="111707" y="20535"/>
                  </a:moveTo>
                  <a:cubicBezTo>
                    <a:pt x="113006" y="17676"/>
                    <a:pt x="115860" y="15841"/>
                    <a:pt x="119002" y="15849"/>
                  </a:cubicBezTo>
                  <a:cubicBezTo>
                    <a:pt x="122038" y="15844"/>
                    <a:pt x="124751" y="17737"/>
                    <a:pt x="125792" y="20589"/>
                  </a:cubicBezTo>
                  <a:cubicBezTo>
                    <a:pt x="126218" y="21760"/>
                    <a:pt x="125526" y="22532"/>
                    <a:pt x="124327" y="22532"/>
                  </a:cubicBezTo>
                  <a:lnTo>
                    <a:pt x="113065" y="22532"/>
                  </a:lnTo>
                  <a:cubicBezTo>
                    <a:pt x="111786" y="22532"/>
                    <a:pt x="111121" y="21707"/>
                    <a:pt x="111707" y="20589"/>
                  </a:cubicBezTo>
                  <a:moveTo>
                    <a:pt x="135670" y="16408"/>
                  </a:moveTo>
                  <a:lnTo>
                    <a:pt x="137720" y="16408"/>
                  </a:lnTo>
                  <a:cubicBezTo>
                    <a:pt x="137971" y="16392"/>
                    <a:pt x="138184" y="16584"/>
                    <a:pt x="138200" y="16832"/>
                  </a:cubicBezTo>
                  <a:cubicBezTo>
                    <a:pt x="138200" y="16850"/>
                    <a:pt x="138200" y="16869"/>
                    <a:pt x="138200" y="16888"/>
                  </a:cubicBezTo>
                  <a:lnTo>
                    <a:pt x="138200" y="30414"/>
                  </a:lnTo>
                  <a:cubicBezTo>
                    <a:pt x="138200" y="36218"/>
                    <a:pt x="141475" y="38401"/>
                    <a:pt x="145495" y="38401"/>
                  </a:cubicBezTo>
                  <a:cubicBezTo>
                    <a:pt x="147564" y="38404"/>
                    <a:pt x="149622" y="38079"/>
                    <a:pt x="151592" y="37443"/>
                  </a:cubicBezTo>
                  <a:cubicBezTo>
                    <a:pt x="152090" y="37059"/>
                    <a:pt x="152239" y="36373"/>
                    <a:pt x="151939" y="35819"/>
                  </a:cubicBezTo>
                  <a:lnTo>
                    <a:pt x="151779" y="34354"/>
                  </a:lnTo>
                  <a:cubicBezTo>
                    <a:pt x="151779" y="33529"/>
                    <a:pt x="151140" y="33183"/>
                    <a:pt x="150314" y="33476"/>
                  </a:cubicBezTo>
                  <a:cubicBezTo>
                    <a:pt x="148837" y="33963"/>
                    <a:pt x="147292" y="34216"/>
                    <a:pt x="145735" y="34221"/>
                  </a:cubicBezTo>
                  <a:cubicBezTo>
                    <a:pt x="143472" y="34221"/>
                    <a:pt x="142247" y="32996"/>
                    <a:pt x="142247" y="30281"/>
                  </a:cubicBezTo>
                  <a:lnTo>
                    <a:pt x="142247" y="16834"/>
                  </a:lnTo>
                  <a:cubicBezTo>
                    <a:pt x="142231" y="16584"/>
                    <a:pt x="142423" y="16371"/>
                    <a:pt x="142670" y="16355"/>
                  </a:cubicBezTo>
                  <a:cubicBezTo>
                    <a:pt x="142689" y="16355"/>
                    <a:pt x="142707" y="16355"/>
                    <a:pt x="142726" y="16355"/>
                  </a:cubicBezTo>
                  <a:lnTo>
                    <a:pt x="150714" y="16355"/>
                  </a:lnTo>
                  <a:cubicBezTo>
                    <a:pt x="151329" y="16416"/>
                    <a:pt x="151877" y="15969"/>
                    <a:pt x="151939" y="15354"/>
                  </a:cubicBezTo>
                  <a:cubicBezTo>
                    <a:pt x="151947" y="15279"/>
                    <a:pt x="151947" y="15205"/>
                    <a:pt x="151939" y="15130"/>
                  </a:cubicBezTo>
                  <a:lnTo>
                    <a:pt x="151939" y="13666"/>
                  </a:lnTo>
                  <a:cubicBezTo>
                    <a:pt x="152003" y="13067"/>
                    <a:pt x="151569" y="12529"/>
                    <a:pt x="150969" y="12465"/>
                  </a:cubicBezTo>
                  <a:cubicBezTo>
                    <a:pt x="150884" y="12457"/>
                    <a:pt x="150799" y="12457"/>
                    <a:pt x="150714" y="12468"/>
                  </a:cubicBezTo>
                  <a:lnTo>
                    <a:pt x="142726" y="12468"/>
                  </a:lnTo>
                  <a:cubicBezTo>
                    <a:pt x="142462" y="12468"/>
                    <a:pt x="142247" y="12255"/>
                    <a:pt x="142247" y="11988"/>
                  </a:cubicBezTo>
                  <a:cubicBezTo>
                    <a:pt x="142247" y="11980"/>
                    <a:pt x="142247" y="11970"/>
                    <a:pt x="142247" y="11962"/>
                  </a:cubicBezTo>
                  <a:lnTo>
                    <a:pt x="142247" y="6636"/>
                  </a:lnTo>
                  <a:cubicBezTo>
                    <a:pt x="142247" y="5811"/>
                    <a:pt x="141767" y="5332"/>
                    <a:pt x="140889" y="5571"/>
                  </a:cubicBezTo>
                  <a:lnTo>
                    <a:pt x="138839" y="6104"/>
                  </a:lnTo>
                  <a:cubicBezTo>
                    <a:pt x="138200" y="6224"/>
                    <a:pt x="137760" y="6815"/>
                    <a:pt x="137827" y="7462"/>
                  </a:cubicBezTo>
                  <a:lnTo>
                    <a:pt x="137827" y="11855"/>
                  </a:lnTo>
                  <a:cubicBezTo>
                    <a:pt x="137843" y="12119"/>
                    <a:pt x="137640" y="12345"/>
                    <a:pt x="137377" y="12361"/>
                  </a:cubicBezTo>
                  <a:cubicBezTo>
                    <a:pt x="137358" y="12361"/>
                    <a:pt x="137340" y="12361"/>
                    <a:pt x="137321" y="12361"/>
                  </a:cubicBezTo>
                  <a:lnTo>
                    <a:pt x="135138" y="12361"/>
                  </a:lnTo>
                  <a:cubicBezTo>
                    <a:pt x="134539" y="12284"/>
                    <a:pt x="133993" y="12707"/>
                    <a:pt x="133915" y="13304"/>
                  </a:cubicBezTo>
                  <a:cubicBezTo>
                    <a:pt x="133905" y="13389"/>
                    <a:pt x="133905" y="13474"/>
                    <a:pt x="133913" y="13559"/>
                  </a:cubicBezTo>
                  <a:lnTo>
                    <a:pt x="133913" y="15024"/>
                  </a:lnTo>
                  <a:cubicBezTo>
                    <a:pt x="133851" y="15639"/>
                    <a:pt x="134299" y="16187"/>
                    <a:pt x="134914" y="16248"/>
                  </a:cubicBezTo>
                  <a:cubicBezTo>
                    <a:pt x="134988" y="16257"/>
                    <a:pt x="135063" y="16257"/>
                    <a:pt x="135138" y="16248"/>
                  </a:cubicBezTo>
                  <a:moveTo>
                    <a:pt x="168820" y="24023"/>
                  </a:moveTo>
                  <a:cubicBezTo>
                    <a:pt x="168758" y="24638"/>
                    <a:pt x="169206" y="25187"/>
                    <a:pt x="169821" y="25248"/>
                  </a:cubicBezTo>
                  <a:cubicBezTo>
                    <a:pt x="169895" y="25256"/>
                    <a:pt x="169970" y="25256"/>
                    <a:pt x="170044" y="25248"/>
                  </a:cubicBezTo>
                  <a:lnTo>
                    <a:pt x="175609" y="25248"/>
                  </a:lnTo>
                  <a:cubicBezTo>
                    <a:pt x="176134" y="25187"/>
                    <a:pt x="176613" y="25562"/>
                    <a:pt x="176674" y="26087"/>
                  </a:cubicBezTo>
                  <a:cubicBezTo>
                    <a:pt x="176682" y="26161"/>
                    <a:pt x="176682" y="26239"/>
                    <a:pt x="176674" y="26313"/>
                  </a:cubicBezTo>
                  <a:lnTo>
                    <a:pt x="176674" y="31772"/>
                  </a:lnTo>
                  <a:cubicBezTo>
                    <a:pt x="176581" y="32352"/>
                    <a:pt x="176975" y="32898"/>
                    <a:pt x="177556" y="32994"/>
                  </a:cubicBezTo>
                  <a:cubicBezTo>
                    <a:pt x="177659" y="33010"/>
                    <a:pt x="177769" y="33010"/>
                    <a:pt x="177872" y="32996"/>
                  </a:cubicBezTo>
                  <a:lnTo>
                    <a:pt x="179230" y="32996"/>
                  </a:lnTo>
                  <a:cubicBezTo>
                    <a:pt x="179846" y="33058"/>
                    <a:pt x="180394" y="32610"/>
                    <a:pt x="180455" y="31995"/>
                  </a:cubicBezTo>
                  <a:cubicBezTo>
                    <a:pt x="180463" y="31921"/>
                    <a:pt x="180463" y="31846"/>
                    <a:pt x="180455" y="31772"/>
                  </a:cubicBezTo>
                  <a:lnTo>
                    <a:pt x="180455" y="26313"/>
                  </a:lnTo>
                  <a:cubicBezTo>
                    <a:pt x="180410" y="25770"/>
                    <a:pt x="180812" y="25293"/>
                    <a:pt x="181353" y="25248"/>
                  </a:cubicBezTo>
                  <a:cubicBezTo>
                    <a:pt x="181408" y="25243"/>
                    <a:pt x="181464" y="25243"/>
                    <a:pt x="181520" y="25248"/>
                  </a:cubicBezTo>
                  <a:lnTo>
                    <a:pt x="186979" y="25248"/>
                  </a:lnTo>
                  <a:cubicBezTo>
                    <a:pt x="187594" y="25309"/>
                    <a:pt x="188142" y="24862"/>
                    <a:pt x="188203" y="24247"/>
                  </a:cubicBezTo>
                  <a:cubicBezTo>
                    <a:pt x="188211" y="24172"/>
                    <a:pt x="188211" y="24098"/>
                    <a:pt x="188203" y="24023"/>
                  </a:cubicBezTo>
                  <a:lnTo>
                    <a:pt x="188203" y="22665"/>
                  </a:lnTo>
                  <a:cubicBezTo>
                    <a:pt x="188267" y="22066"/>
                    <a:pt x="187833" y="21528"/>
                    <a:pt x="187234" y="21465"/>
                  </a:cubicBezTo>
                  <a:cubicBezTo>
                    <a:pt x="187149" y="21457"/>
                    <a:pt x="187064" y="21457"/>
                    <a:pt x="186979" y="21467"/>
                  </a:cubicBezTo>
                  <a:lnTo>
                    <a:pt x="181520" y="21467"/>
                  </a:lnTo>
                  <a:cubicBezTo>
                    <a:pt x="180977" y="21515"/>
                    <a:pt x="180500" y="21113"/>
                    <a:pt x="180453" y="20573"/>
                  </a:cubicBezTo>
                  <a:cubicBezTo>
                    <a:pt x="180447" y="20506"/>
                    <a:pt x="180447" y="20439"/>
                    <a:pt x="180455" y="20376"/>
                  </a:cubicBezTo>
                  <a:lnTo>
                    <a:pt x="180455" y="15050"/>
                  </a:lnTo>
                  <a:cubicBezTo>
                    <a:pt x="180535" y="14454"/>
                    <a:pt x="180114" y="13905"/>
                    <a:pt x="179515" y="13825"/>
                  </a:cubicBezTo>
                  <a:cubicBezTo>
                    <a:pt x="179422" y="13812"/>
                    <a:pt x="179326" y="13812"/>
                    <a:pt x="179230" y="13825"/>
                  </a:cubicBezTo>
                  <a:lnTo>
                    <a:pt x="177846" y="13825"/>
                  </a:lnTo>
                  <a:cubicBezTo>
                    <a:pt x="177266" y="13730"/>
                    <a:pt x="176717" y="14121"/>
                    <a:pt x="176621" y="14702"/>
                  </a:cubicBezTo>
                  <a:cubicBezTo>
                    <a:pt x="176602" y="14819"/>
                    <a:pt x="176602" y="14936"/>
                    <a:pt x="176621" y="15050"/>
                  </a:cubicBezTo>
                  <a:lnTo>
                    <a:pt x="176621" y="20376"/>
                  </a:lnTo>
                  <a:cubicBezTo>
                    <a:pt x="176698" y="20900"/>
                    <a:pt x="176336" y="21387"/>
                    <a:pt x="175814" y="21465"/>
                  </a:cubicBezTo>
                  <a:cubicBezTo>
                    <a:pt x="175729" y="21478"/>
                    <a:pt x="175641" y="21478"/>
                    <a:pt x="175556" y="21467"/>
                  </a:cubicBezTo>
                  <a:lnTo>
                    <a:pt x="170044" y="21467"/>
                  </a:lnTo>
                  <a:cubicBezTo>
                    <a:pt x="169445" y="21390"/>
                    <a:pt x="168899" y="21813"/>
                    <a:pt x="168822" y="22410"/>
                  </a:cubicBezTo>
                  <a:cubicBezTo>
                    <a:pt x="168812" y="22495"/>
                    <a:pt x="168812" y="22580"/>
                    <a:pt x="168820" y="22665"/>
                  </a:cubicBezTo>
                  <a:close/>
                  <a:moveTo>
                    <a:pt x="209185" y="48360"/>
                  </a:moveTo>
                  <a:lnTo>
                    <a:pt x="210995" y="48360"/>
                  </a:lnTo>
                  <a:cubicBezTo>
                    <a:pt x="211595" y="48421"/>
                    <a:pt x="212132" y="47987"/>
                    <a:pt x="212194" y="47385"/>
                  </a:cubicBezTo>
                  <a:cubicBezTo>
                    <a:pt x="212202" y="47311"/>
                    <a:pt x="212202" y="47236"/>
                    <a:pt x="212194" y="47161"/>
                  </a:cubicBezTo>
                  <a:lnTo>
                    <a:pt x="212194" y="37070"/>
                  </a:lnTo>
                  <a:cubicBezTo>
                    <a:pt x="212194" y="35659"/>
                    <a:pt x="212966" y="35366"/>
                    <a:pt x="214137" y="36192"/>
                  </a:cubicBezTo>
                  <a:cubicBezTo>
                    <a:pt x="216233" y="37528"/>
                    <a:pt x="218682" y="38207"/>
                    <a:pt x="221167" y="38135"/>
                  </a:cubicBezTo>
                  <a:cubicBezTo>
                    <a:pt x="228284" y="38066"/>
                    <a:pt x="233998" y="32240"/>
                    <a:pt x="233926" y="25123"/>
                  </a:cubicBezTo>
                  <a:cubicBezTo>
                    <a:pt x="233926" y="25022"/>
                    <a:pt x="233923" y="24923"/>
                    <a:pt x="233921" y="24822"/>
                  </a:cubicBezTo>
                  <a:cubicBezTo>
                    <a:pt x="234067" y="17766"/>
                    <a:pt x="228468" y="11924"/>
                    <a:pt x="221409" y="11778"/>
                  </a:cubicBezTo>
                  <a:cubicBezTo>
                    <a:pt x="221356" y="11775"/>
                    <a:pt x="221300" y="11775"/>
                    <a:pt x="221247" y="11775"/>
                  </a:cubicBezTo>
                  <a:cubicBezTo>
                    <a:pt x="218469" y="11695"/>
                    <a:pt x="215748" y="12558"/>
                    <a:pt x="213525" y="14225"/>
                  </a:cubicBezTo>
                  <a:cubicBezTo>
                    <a:pt x="212433" y="15050"/>
                    <a:pt x="211608" y="14864"/>
                    <a:pt x="211368" y="13479"/>
                  </a:cubicBezTo>
                  <a:lnTo>
                    <a:pt x="211368" y="13479"/>
                  </a:lnTo>
                  <a:cubicBezTo>
                    <a:pt x="211312" y="12814"/>
                    <a:pt x="210732" y="12316"/>
                    <a:pt x="210064" y="12361"/>
                  </a:cubicBezTo>
                  <a:lnTo>
                    <a:pt x="209185" y="12361"/>
                  </a:lnTo>
                  <a:cubicBezTo>
                    <a:pt x="208586" y="12284"/>
                    <a:pt x="208040" y="12707"/>
                    <a:pt x="207963" y="13304"/>
                  </a:cubicBezTo>
                  <a:cubicBezTo>
                    <a:pt x="207952" y="13389"/>
                    <a:pt x="207952" y="13474"/>
                    <a:pt x="207960" y="13559"/>
                  </a:cubicBezTo>
                  <a:lnTo>
                    <a:pt x="207960" y="47161"/>
                  </a:lnTo>
                  <a:cubicBezTo>
                    <a:pt x="207896" y="47760"/>
                    <a:pt x="208330" y="48298"/>
                    <a:pt x="208929" y="48362"/>
                  </a:cubicBezTo>
                  <a:cubicBezTo>
                    <a:pt x="209014" y="48370"/>
                    <a:pt x="209100" y="48370"/>
                    <a:pt x="209185" y="48360"/>
                  </a:cubicBezTo>
                  <a:moveTo>
                    <a:pt x="212540" y="28017"/>
                  </a:moveTo>
                  <a:lnTo>
                    <a:pt x="212540" y="21947"/>
                  </a:lnTo>
                  <a:cubicBezTo>
                    <a:pt x="212500" y="21206"/>
                    <a:pt x="212686" y="20474"/>
                    <a:pt x="213072" y="19843"/>
                  </a:cubicBezTo>
                  <a:cubicBezTo>
                    <a:pt x="214744" y="17260"/>
                    <a:pt x="217636" y="15727"/>
                    <a:pt x="220714" y="15796"/>
                  </a:cubicBezTo>
                  <a:cubicBezTo>
                    <a:pt x="225571" y="15985"/>
                    <a:pt x="229370" y="20045"/>
                    <a:pt x="229234" y="24902"/>
                  </a:cubicBezTo>
                  <a:cubicBezTo>
                    <a:pt x="229445" y="29825"/>
                    <a:pt x="225637" y="33992"/>
                    <a:pt x="220714" y="34221"/>
                  </a:cubicBezTo>
                  <a:cubicBezTo>
                    <a:pt x="217620" y="34304"/>
                    <a:pt x="214712" y="32746"/>
                    <a:pt x="213072" y="30121"/>
                  </a:cubicBezTo>
                  <a:cubicBezTo>
                    <a:pt x="212686" y="29490"/>
                    <a:pt x="212500" y="28757"/>
                    <a:pt x="212540" y="28017"/>
                  </a:cubicBezTo>
                  <a:moveTo>
                    <a:pt x="238740" y="24849"/>
                  </a:moveTo>
                  <a:cubicBezTo>
                    <a:pt x="238415" y="31870"/>
                    <a:pt x="243844" y="37826"/>
                    <a:pt x="250868" y="38148"/>
                  </a:cubicBezTo>
                  <a:cubicBezTo>
                    <a:pt x="251110" y="38159"/>
                    <a:pt x="251355" y="38165"/>
                    <a:pt x="251600" y="38162"/>
                  </a:cubicBezTo>
                  <a:cubicBezTo>
                    <a:pt x="256369" y="38359"/>
                    <a:pt x="260738" y="35518"/>
                    <a:pt x="262491" y="31079"/>
                  </a:cubicBezTo>
                  <a:cubicBezTo>
                    <a:pt x="262783" y="30254"/>
                    <a:pt x="262251" y="29695"/>
                    <a:pt x="261425" y="29695"/>
                  </a:cubicBezTo>
                  <a:lnTo>
                    <a:pt x="259588" y="29695"/>
                  </a:lnTo>
                  <a:cubicBezTo>
                    <a:pt x="258955" y="29684"/>
                    <a:pt x="258385" y="30081"/>
                    <a:pt x="258177" y="30680"/>
                  </a:cubicBezTo>
                  <a:cubicBezTo>
                    <a:pt x="256907" y="33090"/>
                    <a:pt x="254311" y="34498"/>
                    <a:pt x="251600" y="34248"/>
                  </a:cubicBezTo>
                  <a:cubicBezTo>
                    <a:pt x="247801" y="34344"/>
                    <a:pt x="244459" y="31748"/>
                    <a:pt x="243612" y="28044"/>
                  </a:cubicBezTo>
                  <a:cubicBezTo>
                    <a:pt x="243320" y="26926"/>
                    <a:pt x="244012" y="26207"/>
                    <a:pt x="245184" y="26207"/>
                  </a:cubicBezTo>
                  <a:lnTo>
                    <a:pt x="261718" y="26207"/>
                  </a:lnTo>
                  <a:cubicBezTo>
                    <a:pt x="262570" y="26265"/>
                    <a:pt x="263308" y="25624"/>
                    <a:pt x="263366" y="24774"/>
                  </a:cubicBezTo>
                  <a:cubicBezTo>
                    <a:pt x="263369" y="24726"/>
                    <a:pt x="263369" y="24681"/>
                    <a:pt x="263369" y="24636"/>
                  </a:cubicBezTo>
                  <a:cubicBezTo>
                    <a:pt x="263739" y="17939"/>
                    <a:pt x="258611" y="12212"/>
                    <a:pt x="251917" y="11842"/>
                  </a:cubicBezTo>
                  <a:cubicBezTo>
                    <a:pt x="251811" y="11837"/>
                    <a:pt x="251707" y="11831"/>
                    <a:pt x="251600" y="11829"/>
                  </a:cubicBezTo>
                  <a:cubicBezTo>
                    <a:pt x="244616" y="11738"/>
                    <a:pt x="238881" y="17327"/>
                    <a:pt x="238791" y="24311"/>
                  </a:cubicBezTo>
                  <a:cubicBezTo>
                    <a:pt x="238788" y="24481"/>
                    <a:pt x="238788" y="24652"/>
                    <a:pt x="238793" y="24822"/>
                  </a:cubicBezTo>
                  <a:moveTo>
                    <a:pt x="244118" y="20402"/>
                  </a:moveTo>
                  <a:cubicBezTo>
                    <a:pt x="245418" y="17542"/>
                    <a:pt x="248272" y="15708"/>
                    <a:pt x="251414" y="15716"/>
                  </a:cubicBezTo>
                  <a:cubicBezTo>
                    <a:pt x="254449" y="15711"/>
                    <a:pt x="257163" y="17604"/>
                    <a:pt x="258204" y="20455"/>
                  </a:cubicBezTo>
                  <a:cubicBezTo>
                    <a:pt x="258630" y="21627"/>
                    <a:pt x="257964" y="22399"/>
                    <a:pt x="256739" y="22399"/>
                  </a:cubicBezTo>
                  <a:lnTo>
                    <a:pt x="245476" y="22399"/>
                  </a:lnTo>
                  <a:cubicBezTo>
                    <a:pt x="244225" y="22399"/>
                    <a:pt x="243533" y="21574"/>
                    <a:pt x="244118" y="20455"/>
                  </a:cubicBezTo>
                  <a:moveTo>
                    <a:pt x="268082" y="24875"/>
                  </a:moveTo>
                  <a:cubicBezTo>
                    <a:pt x="267920" y="32064"/>
                    <a:pt x="273615" y="38026"/>
                    <a:pt x="280801" y="38188"/>
                  </a:cubicBezTo>
                  <a:cubicBezTo>
                    <a:pt x="281001" y="38194"/>
                    <a:pt x="281198" y="38194"/>
                    <a:pt x="281395" y="38188"/>
                  </a:cubicBezTo>
                  <a:cubicBezTo>
                    <a:pt x="288584" y="38351"/>
                    <a:pt x="294546" y="32658"/>
                    <a:pt x="294708" y="25469"/>
                  </a:cubicBezTo>
                  <a:cubicBezTo>
                    <a:pt x="294713" y="25269"/>
                    <a:pt x="294713" y="25072"/>
                    <a:pt x="294708" y="24875"/>
                  </a:cubicBezTo>
                  <a:cubicBezTo>
                    <a:pt x="294785" y="17774"/>
                    <a:pt x="289093" y="11954"/>
                    <a:pt x="281989" y="11874"/>
                  </a:cubicBezTo>
                  <a:cubicBezTo>
                    <a:pt x="281792" y="11871"/>
                    <a:pt x="281592" y="11874"/>
                    <a:pt x="281395" y="11882"/>
                  </a:cubicBezTo>
                  <a:cubicBezTo>
                    <a:pt x="274281" y="11647"/>
                    <a:pt x="268324" y="17223"/>
                    <a:pt x="268087" y="24335"/>
                  </a:cubicBezTo>
                  <a:cubicBezTo>
                    <a:pt x="268082" y="24516"/>
                    <a:pt x="268079" y="24694"/>
                    <a:pt x="268082" y="24875"/>
                  </a:cubicBezTo>
                  <a:moveTo>
                    <a:pt x="272662" y="25035"/>
                  </a:moveTo>
                  <a:cubicBezTo>
                    <a:pt x="272427" y="20189"/>
                    <a:pt x="276166" y="16067"/>
                    <a:pt x="281012" y="15833"/>
                  </a:cubicBezTo>
                  <a:cubicBezTo>
                    <a:pt x="281185" y="15825"/>
                    <a:pt x="281355" y="15820"/>
                    <a:pt x="281528" y="15822"/>
                  </a:cubicBezTo>
                  <a:cubicBezTo>
                    <a:pt x="286395" y="15817"/>
                    <a:pt x="290347" y="19760"/>
                    <a:pt x="290349" y="24628"/>
                  </a:cubicBezTo>
                  <a:cubicBezTo>
                    <a:pt x="290352" y="24764"/>
                    <a:pt x="290347" y="24899"/>
                    <a:pt x="290341" y="25035"/>
                  </a:cubicBezTo>
                  <a:cubicBezTo>
                    <a:pt x="290546" y="29913"/>
                    <a:pt x="286760" y="34035"/>
                    <a:pt x="281882" y="34240"/>
                  </a:cubicBezTo>
                  <a:cubicBezTo>
                    <a:pt x="281765" y="34245"/>
                    <a:pt x="281645" y="34248"/>
                    <a:pt x="281528" y="34248"/>
                  </a:cubicBezTo>
                  <a:cubicBezTo>
                    <a:pt x="276645" y="34266"/>
                    <a:pt x="272672" y="30326"/>
                    <a:pt x="272654" y="25442"/>
                  </a:cubicBezTo>
                  <a:cubicBezTo>
                    <a:pt x="272654" y="25307"/>
                    <a:pt x="272656" y="25171"/>
                    <a:pt x="272662" y="25035"/>
                  </a:cubicBezTo>
                  <a:moveTo>
                    <a:pt x="302749" y="48386"/>
                  </a:moveTo>
                  <a:lnTo>
                    <a:pt x="304533" y="48386"/>
                  </a:lnTo>
                  <a:cubicBezTo>
                    <a:pt x="305132" y="48463"/>
                    <a:pt x="305678" y="48040"/>
                    <a:pt x="305755" y="47444"/>
                  </a:cubicBezTo>
                  <a:cubicBezTo>
                    <a:pt x="305766" y="47359"/>
                    <a:pt x="305766" y="47273"/>
                    <a:pt x="305758" y="47188"/>
                  </a:cubicBezTo>
                  <a:lnTo>
                    <a:pt x="305758" y="37097"/>
                  </a:lnTo>
                  <a:cubicBezTo>
                    <a:pt x="305758" y="35686"/>
                    <a:pt x="306530" y="35393"/>
                    <a:pt x="307702" y="36218"/>
                  </a:cubicBezTo>
                  <a:cubicBezTo>
                    <a:pt x="309795" y="37560"/>
                    <a:pt x="312247" y="38236"/>
                    <a:pt x="314731" y="38162"/>
                  </a:cubicBezTo>
                  <a:cubicBezTo>
                    <a:pt x="321861" y="38077"/>
                    <a:pt x="327575" y="32227"/>
                    <a:pt x="327490" y="25096"/>
                  </a:cubicBezTo>
                  <a:cubicBezTo>
                    <a:pt x="327490" y="25014"/>
                    <a:pt x="327488" y="24931"/>
                    <a:pt x="327485" y="24849"/>
                  </a:cubicBezTo>
                  <a:cubicBezTo>
                    <a:pt x="327631" y="17793"/>
                    <a:pt x="322032" y="11951"/>
                    <a:pt x="314973" y="11805"/>
                  </a:cubicBezTo>
                  <a:cubicBezTo>
                    <a:pt x="314920" y="11802"/>
                    <a:pt x="314864" y="11802"/>
                    <a:pt x="314811" y="11802"/>
                  </a:cubicBezTo>
                  <a:cubicBezTo>
                    <a:pt x="312026" y="11725"/>
                    <a:pt x="309297" y="12587"/>
                    <a:pt x="307063" y="14252"/>
                  </a:cubicBezTo>
                  <a:cubicBezTo>
                    <a:pt x="305998" y="15077"/>
                    <a:pt x="305172" y="14891"/>
                    <a:pt x="304933" y="13506"/>
                  </a:cubicBezTo>
                  <a:lnTo>
                    <a:pt x="304933" y="13506"/>
                  </a:lnTo>
                  <a:cubicBezTo>
                    <a:pt x="304877" y="12840"/>
                    <a:pt x="304296" y="12342"/>
                    <a:pt x="303628" y="12388"/>
                  </a:cubicBezTo>
                  <a:lnTo>
                    <a:pt x="302749" y="12388"/>
                  </a:lnTo>
                  <a:cubicBezTo>
                    <a:pt x="302150" y="12310"/>
                    <a:pt x="301604" y="12734"/>
                    <a:pt x="301527" y="13330"/>
                  </a:cubicBezTo>
                  <a:cubicBezTo>
                    <a:pt x="301516" y="13415"/>
                    <a:pt x="301516" y="13501"/>
                    <a:pt x="301524" y="13586"/>
                  </a:cubicBezTo>
                  <a:lnTo>
                    <a:pt x="301524" y="47188"/>
                  </a:lnTo>
                  <a:cubicBezTo>
                    <a:pt x="301461" y="47787"/>
                    <a:pt x="301894" y="48325"/>
                    <a:pt x="302494" y="48389"/>
                  </a:cubicBezTo>
                  <a:cubicBezTo>
                    <a:pt x="302579" y="48397"/>
                    <a:pt x="302664" y="48397"/>
                    <a:pt x="302749" y="48386"/>
                  </a:cubicBezTo>
                  <a:moveTo>
                    <a:pt x="306104" y="28044"/>
                  </a:moveTo>
                  <a:lnTo>
                    <a:pt x="306104" y="21973"/>
                  </a:lnTo>
                  <a:cubicBezTo>
                    <a:pt x="306051" y="21233"/>
                    <a:pt x="306237" y="20495"/>
                    <a:pt x="306637" y="19870"/>
                  </a:cubicBezTo>
                  <a:cubicBezTo>
                    <a:pt x="308306" y="17282"/>
                    <a:pt x="311200" y="15748"/>
                    <a:pt x="314278" y="15822"/>
                  </a:cubicBezTo>
                  <a:cubicBezTo>
                    <a:pt x="319135" y="16012"/>
                    <a:pt x="322935" y="20072"/>
                    <a:pt x="322799" y="24929"/>
                  </a:cubicBezTo>
                  <a:cubicBezTo>
                    <a:pt x="323009" y="29852"/>
                    <a:pt x="319201" y="34019"/>
                    <a:pt x="314278" y="34248"/>
                  </a:cubicBezTo>
                  <a:cubicBezTo>
                    <a:pt x="311184" y="34338"/>
                    <a:pt x="308274" y="32775"/>
                    <a:pt x="306637" y="30147"/>
                  </a:cubicBezTo>
                  <a:cubicBezTo>
                    <a:pt x="306237" y="29522"/>
                    <a:pt x="306051" y="28784"/>
                    <a:pt x="306104" y="28044"/>
                  </a:cubicBezTo>
                  <a:moveTo>
                    <a:pt x="337496" y="-286"/>
                  </a:moveTo>
                  <a:lnTo>
                    <a:pt x="335366" y="-286"/>
                  </a:lnTo>
                  <a:cubicBezTo>
                    <a:pt x="334751" y="-348"/>
                    <a:pt x="334203" y="100"/>
                    <a:pt x="334141" y="715"/>
                  </a:cubicBezTo>
                  <a:cubicBezTo>
                    <a:pt x="334133" y="789"/>
                    <a:pt x="334133" y="864"/>
                    <a:pt x="334141" y="938"/>
                  </a:cubicBezTo>
                  <a:lnTo>
                    <a:pt x="334141" y="36484"/>
                  </a:lnTo>
                  <a:cubicBezTo>
                    <a:pt x="334078" y="37083"/>
                    <a:pt x="334511" y="37621"/>
                    <a:pt x="335111" y="37685"/>
                  </a:cubicBezTo>
                  <a:cubicBezTo>
                    <a:pt x="335196" y="37693"/>
                    <a:pt x="335281" y="37693"/>
                    <a:pt x="335366" y="37683"/>
                  </a:cubicBezTo>
                  <a:lnTo>
                    <a:pt x="337496" y="37683"/>
                  </a:lnTo>
                  <a:cubicBezTo>
                    <a:pt x="338095" y="37760"/>
                    <a:pt x="338641" y="37336"/>
                    <a:pt x="338718" y="36740"/>
                  </a:cubicBezTo>
                  <a:cubicBezTo>
                    <a:pt x="338729" y="36655"/>
                    <a:pt x="338729" y="36570"/>
                    <a:pt x="338721" y="36484"/>
                  </a:cubicBezTo>
                  <a:lnTo>
                    <a:pt x="338721" y="885"/>
                  </a:lnTo>
                  <a:cubicBezTo>
                    <a:pt x="338782" y="270"/>
                    <a:pt x="338335" y="-278"/>
                    <a:pt x="337720" y="-340"/>
                  </a:cubicBezTo>
                  <a:cubicBezTo>
                    <a:pt x="337645" y="-348"/>
                    <a:pt x="337571" y="-348"/>
                    <a:pt x="337496" y="-340"/>
                  </a:cubicBezTo>
                  <a:moveTo>
                    <a:pt x="345484" y="24822"/>
                  </a:moveTo>
                  <a:cubicBezTo>
                    <a:pt x="345159" y="31843"/>
                    <a:pt x="350588" y="37800"/>
                    <a:pt x="357612" y="38122"/>
                  </a:cubicBezTo>
                  <a:cubicBezTo>
                    <a:pt x="357855" y="38132"/>
                    <a:pt x="358100" y="38138"/>
                    <a:pt x="358345" y="38135"/>
                  </a:cubicBezTo>
                  <a:cubicBezTo>
                    <a:pt x="363113" y="38332"/>
                    <a:pt x="367483" y="35491"/>
                    <a:pt x="369235" y="31053"/>
                  </a:cubicBezTo>
                  <a:cubicBezTo>
                    <a:pt x="369528" y="30227"/>
                    <a:pt x="368995" y="29668"/>
                    <a:pt x="368170" y="29668"/>
                  </a:cubicBezTo>
                  <a:lnTo>
                    <a:pt x="366333" y="29668"/>
                  </a:lnTo>
                  <a:cubicBezTo>
                    <a:pt x="365699" y="29657"/>
                    <a:pt x="365129" y="30054"/>
                    <a:pt x="364921" y="30653"/>
                  </a:cubicBezTo>
                  <a:cubicBezTo>
                    <a:pt x="363651" y="33063"/>
                    <a:pt x="361058" y="34471"/>
                    <a:pt x="358345" y="34221"/>
                  </a:cubicBezTo>
                  <a:cubicBezTo>
                    <a:pt x="354561" y="34266"/>
                    <a:pt x="351249" y="31694"/>
                    <a:pt x="350357" y="28017"/>
                  </a:cubicBezTo>
                  <a:cubicBezTo>
                    <a:pt x="350064" y="26899"/>
                    <a:pt x="350756" y="26180"/>
                    <a:pt x="351928" y="26180"/>
                  </a:cubicBezTo>
                  <a:lnTo>
                    <a:pt x="368463" y="26180"/>
                  </a:lnTo>
                  <a:cubicBezTo>
                    <a:pt x="369315" y="26239"/>
                    <a:pt x="370052" y="25597"/>
                    <a:pt x="370111" y="24745"/>
                  </a:cubicBezTo>
                  <a:cubicBezTo>
                    <a:pt x="370113" y="24700"/>
                    <a:pt x="370113" y="24654"/>
                    <a:pt x="370113" y="24609"/>
                  </a:cubicBezTo>
                  <a:cubicBezTo>
                    <a:pt x="370483" y="17913"/>
                    <a:pt x="365358" y="12185"/>
                    <a:pt x="358661" y="11815"/>
                  </a:cubicBezTo>
                  <a:cubicBezTo>
                    <a:pt x="358566" y="11810"/>
                    <a:pt x="358467" y="11805"/>
                    <a:pt x="358371" y="11802"/>
                  </a:cubicBezTo>
                  <a:cubicBezTo>
                    <a:pt x="351371" y="11711"/>
                    <a:pt x="345625" y="17311"/>
                    <a:pt x="345535" y="24311"/>
                  </a:cubicBezTo>
                  <a:cubicBezTo>
                    <a:pt x="345532" y="24473"/>
                    <a:pt x="345532" y="24633"/>
                    <a:pt x="345538" y="24795"/>
                  </a:cubicBezTo>
                  <a:moveTo>
                    <a:pt x="350863" y="20376"/>
                  </a:moveTo>
                  <a:cubicBezTo>
                    <a:pt x="352165" y="17505"/>
                    <a:pt x="355032" y="15671"/>
                    <a:pt x="358185" y="15689"/>
                  </a:cubicBezTo>
                  <a:cubicBezTo>
                    <a:pt x="361215" y="15679"/>
                    <a:pt x="363923" y="17577"/>
                    <a:pt x="364948" y="20429"/>
                  </a:cubicBezTo>
                  <a:cubicBezTo>
                    <a:pt x="365401" y="21600"/>
                    <a:pt x="364708" y="22373"/>
                    <a:pt x="363484" y="22373"/>
                  </a:cubicBezTo>
                  <a:lnTo>
                    <a:pt x="352221" y="22373"/>
                  </a:lnTo>
                  <a:cubicBezTo>
                    <a:pt x="350969" y="22373"/>
                    <a:pt x="350277" y="21547"/>
                    <a:pt x="350863" y="20429"/>
                  </a:cubicBezTo>
                </a:path>
              </a:pathLst>
            </a:custGeom>
            <a:solidFill>
              <a:srgbClr val="FFFFFF"/>
            </a:solidFill>
            <a:ln w="2661" cap="flat">
              <a:noFill/>
              <a:prstDash val="solid"/>
              <a:miter/>
            </a:ln>
          </p:spPr>
          <p:txBody>
            <a:bodyPr rtlCol="0" anchor="ctr"/>
            <a:lstStyle/>
            <a:p>
              <a:endParaRPr lang="pl-PL"/>
            </a:p>
          </p:txBody>
        </p:sp>
        <p:sp>
          <p:nvSpPr>
            <p:cNvPr id="134" name="Freeform: Shape 133">
              <a:extLst>
                <a:ext uri="{FF2B5EF4-FFF2-40B4-BE49-F238E27FC236}">
                  <a16:creationId xmlns:a16="http://schemas.microsoft.com/office/drawing/2014/main" id="{0CCDE1FF-DFA6-49C0-8A4B-39EBC11B7C77}"/>
                </a:ext>
              </a:extLst>
            </p:cNvPr>
            <p:cNvSpPr/>
            <p:nvPr/>
          </p:nvSpPr>
          <p:spPr>
            <a:xfrm>
              <a:off x="11848503" y="6635533"/>
              <a:ext cx="6855" cy="8973"/>
            </a:xfrm>
            <a:custGeom>
              <a:avLst/>
              <a:gdLst>
                <a:gd name="connsiteX0" fmla="*/ 992 w 12147"/>
                <a:gd name="connsiteY0" fmla="*/ 1467 h 15900"/>
                <a:gd name="connsiteX1" fmla="*/ 992 w 12147"/>
                <a:gd name="connsiteY1" fmla="*/ 295 h 15900"/>
                <a:gd name="connsiteX2" fmla="*/ 1519 w 12147"/>
                <a:gd name="connsiteY2" fmla="*/ -344 h 15900"/>
                <a:gd name="connsiteX3" fmla="*/ 1631 w 12147"/>
                <a:gd name="connsiteY3" fmla="*/ -344 h 15900"/>
                <a:gd name="connsiteX4" fmla="*/ 12521 w 12147"/>
                <a:gd name="connsiteY4" fmla="*/ -344 h 15900"/>
                <a:gd name="connsiteX5" fmla="*/ 13136 w 12147"/>
                <a:gd name="connsiteY5" fmla="*/ 213 h 15900"/>
                <a:gd name="connsiteX6" fmla="*/ 13133 w 12147"/>
                <a:gd name="connsiteY6" fmla="*/ 295 h 15900"/>
                <a:gd name="connsiteX7" fmla="*/ 13133 w 12147"/>
                <a:gd name="connsiteY7" fmla="*/ 1467 h 15900"/>
                <a:gd name="connsiteX8" fmla="*/ 12603 w 12147"/>
                <a:gd name="connsiteY8" fmla="*/ 2103 h 15900"/>
                <a:gd name="connsiteX9" fmla="*/ 12521 w 12147"/>
                <a:gd name="connsiteY9" fmla="*/ 2106 h 15900"/>
                <a:gd name="connsiteX10" fmla="*/ 8926 w 12147"/>
                <a:gd name="connsiteY10" fmla="*/ 2106 h 15900"/>
                <a:gd name="connsiteX11" fmla="*/ 8447 w 12147"/>
                <a:gd name="connsiteY11" fmla="*/ 2471 h 15900"/>
                <a:gd name="connsiteX12" fmla="*/ 8447 w 12147"/>
                <a:gd name="connsiteY12" fmla="*/ 2585 h 15900"/>
                <a:gd name="connsiteX13" fmla="*/ 8447 w 12147"/>
                <a:gd name="connsiteY13" fmla="*/ 14940 h 15900"/>
                <a:gd name="connsiteX14" fmla="*/ 7890 w 12147"/>
                <a:gd name="connsiteY14" fmla="*/ 15555 h 15900"/>
                <a:gd name="connsiteX15" fmla="*/ 7808 w 12147"/>
                <a:gd name="connsiteY15" fmla="*/ 15552 h 15900"/>
                <a:gd name="connsiteX16" fmla="*/ 6184 w 12147"/>
                <a:gd name="connsiteY16" fmla="*/ 15552 h 15900"/>
                <a:gd name="connsiteX17" fmla="*/ 5547 w 12147"/>
                <a:gd name="connsiteY17" fmla="*/ 15022 h 15900"/>
                <a:gd name="connsiteX18" fmla="*/ 5545 w 12147"/>
                <a:gd name="connsiteY18" fmla="*/ 14940 h 15900"/>
                <a:gd name="connsiteX19" fmla="*/ 5545 w 12147"/>
                <a:gd name="connsiteY19" fmla="*/ 2585 h 15900"/>
                <a:gd name="connsiteX20" fmla="*/ 5180 w 12147"/>
                <a:gd name="connsiteY20" fmla="*/ 2106 h 15900"/>
                <a:gd name="connsiteX21" fmla="*/ 5065 w 12147"/>
                <a:gd name="connsiteY21" fmla="*/ 2106 h 15900"/>
                <a:gd name="connsiteX22" fmla="*/ 1631 w 12147"/>
                <a:gd name="connsiteY22" fmla="*/ 2106 h 15900"/>
                <a:gd name="connsiteX23" fmla="*/ 992 w 12147"/>
                <a:gd name="connsiteY23" fmla="*/ 1579 h 15900"/>
                <a:gd name="connsiteX24" fmla="*/ 992 w 12147"/>
                <a:gd name="connsiteY24" fmla="*/ 1467 h 1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147" h="15900">
                  <a:moveTo>
                    <a:pt x="992" y="1467"/>
                  </a:moveTo>
                  <a:lnTo>
                    <a:pt x="992" y="295"/>
                  </a:lnTo>
                  <a:cubicBezTo>
                    <a:pt x="960" y="-27"/>
                    <a:pt x="1197" y="-312"/>
                    <a:pt x="1519" y="-344"/>
                  </a:cubicBezTo>
                  <a:cubicBezTo>
                    <a:pt x="1556" y="-346"/>
                    <a:pt x="1593" y="-346"/>
                    <a:pt x="1631" y="-344"/>
                  </a:cubicBezTo>
                  <a:lnTo>
                    <a:pt x="12521" y="-344"/>
                  </a:lnTo>
                  <a:cubicBezTo>
                    <a:pt x="12843" y="-360"/>
                    <a:pt x="13120" y="-112"/>
                    <a:pt x="13136" y="213"/>
                  </a:cubicBezTo>
                  <a:cubicBezTo>
                    <a:pt x="13136" y="240"/>
                    <a:pt x="13136" y="269"/>
                    <a:pt x="13133" y="295"/>
                  </a:cubicBezTo>
                  <a:lnTo>
                    <a:pt x="13133" y="1467"/>
                  </a:lnTo>
                  <a:cubicBezTo>
                    <a:pt x="13163" y="1789"/>
                    <a:pt x="12925" y="2074"/>
                    <a:pt x="12603" y="2103"/>
                  </a:cubicBezTo>
                  <a:cubicBezTo>
                    <a:pt x="12577" y="2106"/>
                    <a:pt x="12547" y="2109"/>
                    <a:pt x="12521" y="2106"/>
                  </a:cubicBezTo>
                  <a:lnTo>
                    <a:pt x="8926" y="2106"/>
                  </a:lnTo>
                  <a:cubicBezTo>
                    <a:pt x="8692" y="2074"/>
                    <a:pt x="8479" y="2239"/>
                    <a:pt x="8447" y="2471"/>
                  </a:cubicBezTo>
                  <a:cubicBezTo>
                    <a:pt x="8442" y="2508"/>
                    <a:pt x="8442" y="2548"/>
                    <a:pt x="8447" y="2585"/>
                  </a:cubicBezTo>
                  <a:lnTo>
                    <a:pt x="8447" y="14940"/>
                  </a:lnTo>
                  <a:cubicBezTo>
                    <a:pt x="8463" y="15262"/>
                    <a:pt x="8215" y="15539"/>
                    <a:pt x="7890" y="15555"/>
                  </a:cubicBezTo>
                  <a:cubicBezTo>
                    <a:pt x="7864" y="15555"/>
                    <a:pt x="7835" y="15555"/>
                    <a:pt x="7808" y="15552"/>
                  </a:cubicBezTo>
                  <a:lnTo>
                    <a:pt x="6184" y="15552"/>
                  </a:lnTo>
                  <a:cubicBezTo>
                    <a:pt x="5862" y="15581"/>
                    <a:pt x="5577" y="15345"/>
                    <a:pt x="5547" y="15022"/>
                  </a:cubicBezTo>
                  <a:cubicBezTo>
                    <a:pt x="5545" y="14996"/>
                    <a:pt x="5545" y="14966"/>
                    <a:pt x="5545" y="14940"/>
                  </a:cubicBezTo>
                  <a:lnTo>
                    <a:pt x="5545" y="2585"/>
                  </a:lnTo>
                  <a:cubicBezTo>
                    <a:pt x="5577" y="2351"/>
                    <a:pt x="5412" y="2138"/>
                    <a:pt x="5180" y="2106"/>
                  </a:cubicBezTo>
                  <a:cubicBezTo>
                    <a:pt x="5143" y="2101"/>
                    <a:pt x="5103" y="2101"/>
                    <a:pt x="5065" y="2106"/>
                  </a:cubicBezTo>
                  <a:lnTo>
                    <a:pt x="1631" y="2106"/>
                  </a:lnTo>
                  <a:cubicBezTo>
                    <a:pt x="1308" y="2138"/>
                    <a:pt x="1024" y="1901"/>
                    <a:pt x="992" y="1579"/>
                  </a:cubicBezTo>
                  <a:cubicBezTo>
                    <a:pt x="989" y="1542"/>
                    <a:pt x="989" y="1504"/>
                    <a:pt x="992" y="1467"/>
                  </a:cubicBezTo>
                </a:path>
              </a:pathLst>
            </a:custGeom>
            <a:solidFill>
              <a:srgbClr val="FFFFFF"/>
            </a:solidFill>
            <a:ln w="2661" cap="flat">
              <a:noFill/>
              <a:prstDash val="solid"/>
              <a:miter/>
            </a:ln>
          </p:spPr>
          <p:txBody>
            <a:bodyPr rtlCol="0" anchor="ctr"/>
            <a:lstStyle/>
            <a:p>
              <a:endParaRPr lang="pl-PL"/>
            </a:p>
          </p:txBody>
        </p:sp>
        <p:sp>
          <p:nvSpPr>
            <p:cNvPr id="135" name="Freeform: Shape 134">
              <a:extLst>
                <a:ext uri="{FF2B5EF4-FFF2-40B4-BE49-F238E27FC236}">
                  <a16:creationId xmlns:a16="http://schemas.microsoft.com/office/drawing/2014/main" id="{D8F6BA9F-63A0-47FF-ACEB-57C8DD8ACD7E}"/>
                </a:ext>
              </a:extLst>
            </p:cNvPr>
            <p:cNvSpPr/>
            <p:nvPr/>
          </p:nvSpPr>
          <p:spPr>
            <a:xfrm>
              <a:off x="11857776" y="6635662"/>
              <a:ext cx="8810" cy="8977"/>
            </a:xfrm>
            <a:custGeom>
              <a:avLst/>
              <a:gdLst>
                <a:gd name="connsiteX0" fmla="*/ 991 w 15611"/>
                <a:gd name="connsiteY0" fmla="*/ 14943 h 15907"/>
                <a:gd name="connsiteX1" fmla="*/ 991 w 15611"/>
                <a:gd name="connsiteY1" fmla="*/ 458 h 15907"/>
                <a:gd name="connsiteX2" fmla="*/ 1675 w 15611"/>
                <a:gd name="connsiteY2" fmla="*/ -343 h 15907"/>
                <a:gd name="connsiteX3" fmla="*/ 1816 w 15611"/>
                <a:gd name="connsiteY3" fmla="*/ -340 h 15907"/>
                <a:gd name="connsiteX4" fmla="*/ 2668 w 15611"/>
                <a:gd name="connsiteY4" fmla="*/ -340 h 15907"/>
                <a:gd name="connsiteX5" fmla="*/ 3627 w 15611"/>
                <a:gd name="connsiteY5" fmla="*/ 192 h 15907"/>
                <a:gd name="connsiteX6" fmla="*/ 8526 w 15611"/>
                <a:gd name="connsiteY6" fmla="*/ 7381 h 15907"/>
                <a:gd name="connsiteX7" fmla="*/ 8915 w 15611"/>
                <a:gd name="connsiteY7" fmla="*/ 7525 h 15907"/>
                <a:gd name="connsiteX8" fmla="*/ 9059 w 15611"/>
                <a:gd name="connsiteY8" fmla="*/ 7381 h 15907"/>
                <a:gd name="connsiteX9" fmla="*/ 14064 w 15611"/>
                <a:gd name="connsiteY9" fmla="*/ 166 h 15907"/>
                <a:gd name="connsiteX10" fmla="*/ 15050 w 15611"/>
                <a:gd name="connsiteY10" fmla="*/ -340 h 15907"/>
                <a:gd name="connsiteX11" fmla="*/ 15795 w 15611"/>
                <a:gd name="connsiteY11" fmla="*/ -340 h 15907"/>
                <a:gd name="connsiteX12" fmla="*/ 16594 w 15611"/>
                <a:gd name="connsiteY12" fmla="*/ 288 h 15907"/>
                <a:gd name="connsiteX13" fmla="*/ 16594 w 15611"/>
                <a:gd name="connsiteY13" fmla="*/ 458 h 15907"/>
                <a:gd name="connsiteX14" fmla="*/ 16594 w 15611"/>
                <a:gd name="connsiteY14" fmla="*/ 14943 h 15907"/>
                <a:gd name="connsiteX15" fmla="*/ 16035 w 15611"/>
                <a:gd name="connsiteY15" fmla="*/ 15556 h 15907"/>
                <a:gd name="connsiteX16" fmla="*/ 15982 w 15611"/>
                <a:gd name="connsiteY16" fmla="*/ 15556 h 15907"/>
                <a:gd name="connsiteX17" fmla="*/ 14677 w 15611"/>
                <a:gd name="connsiteY17" fmla="*/ 15556 h 15907"/>
                <a:gd name="connsiteX18" fmla="*/ 14064 w 15611"/>
                <a:gd name="connsiteY18" fmla="*/ 15055 h 15907"/>
                <a:gd name="connsiteX19" fmla="*/ 14064 w 15611"/>
                <a:gd name="connsiteY19" fmla="*/ 14943 h 15907"/>
                <a:gd name="connsiteX20" fmla="*/ 14064 w 15611"/>
                <a:gd name="connsiteY20" fmla="*/ 4878 h 15907"/>
                <a:gd name="connsiteX21" fmla="*/ 13585 w 15611"/>
                <a:gd name="connsiteY21" fmla="*/ 4745 h 15907"/>
                <a:gd name="connsiteX22" fmla="*/ 9804 w 15611"/>
                <a:gd name="connsiteY22" fmla="*/ 10284 h 15907"/>
                <a:gd name="connsiteX23" fmla="*/ 8846 w 15611"/>
                <a:gd name="connsiteY23" fmla="*/ 10789 h 15907"/>
                <a:gd name="connsiteX24" fmla="*/ 8846 w 15611"/>
                <a:gd name="connsiteY24" fmla="*/ 10789 h 15907"/>
                <a:gd name="connsiteX25" fmla="*/ 7914 w 15611"/>
                <a:gd name="connsiteY25" fmla="*/ 10284 h 15907"/>
                <a:gd name="connsiteX26" fmla="*/ 4133 w 15611"/>
                <a:gd name="connsiteY26" fmla="*/ 4745 h 15907"/>
                <a:gd name="connsiteX27" fmla="*/ 3654 w 15611"/>
                <a:gd name="connsiteY27" fmla="*/ 4905 h 15907"/>
                <a:gd name="connsiteX28" fmla="*/ 3654 w 15611"/>
                <a:gd name="connsiteY28" fmla="*/ 14943 h 15907"/>
                <a:gd name="connsiteX29" fmla="*/ 3097 w 15611"/>
                <a:gd name="connsiteY29" fmla="*/ 15558 h 15907"/>
                <a:gd name="connsiteX30" fmla="*/ 3015 w 15611"/>
                <a:gd name="connsiteY30" fmla="*/ 15556 h 15907"/>
                <a:gd name="connsiteX31" fmla="*/ 1736 w 15611"/>
                <a:gd name="connsiteY31" fmla="*/ 15556 h 15907"/>
                <a:gd name="connsiteX32" fmla="*/ 1100 w 15611"/>
                <a:gd name="connsiteY32" fmla="*/ 15087 h 15907"/>
                <a:gd name="connsiteX33" fmla="*/ 1097 w 15611"/>
                <a:gd name="connsiteY33" fmla="*/ 14943 h 15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611" h="15907">
                  <a:moveTo>
                    <a:pt x="991" y="14943"/>
                  </a:moveTo>
                  <a:lnTo>
                    <a:pt x="991" y="458"/>
                  </a:lnTo>
                  <a:cubicBezTo>
                    <a:pt x="959" y="48"/>
                    <a:pt x="1265" y="-311"/>
                    <a:pt x="1675" y="-343"/>
                  </a:cubicBezTo>
                  <a:cubicBezTo>
                    <a:pt x="1723" y="-346"/>
                    <a:pt x="1771" y="-346"/>
                    <a:pt x="1816" y="-340"/>
                  </a:cubicBezTo>
                  <a:lnTo>
                    <a:pt x="2668" y="-340"/>
                  </a:lnTo>
                  <a:cubicBezTo>
                    <a:pt x="3062" y="-359"/>
                    <a:pt x="3435" y="-154"/>
                    <a:pt x="3627" y="192"/>
                  </a:cubicBezTo>
                  <a:lnTo>
                    <a:pt x="8526" y="7381"/>
                  </a:lnTo>
                  <a:cubicBezTo>
                    <a:pt x="8593" y="7528"/>
                    <a:pt x="8768" y="7592"/>
                    <a:pt x="8915" y="7525"/>
                  </a:cubicBezTo>
                  <a:cubicBezTo>
                    <a:pt x="8979" y="7496"/>
                    <a:pt x="9029" y="7445"/>
                    <a:pt x="9059" y="7381"/>
                  </a:cubicBezTo>
                  <a:lnTo>
                    <a:pt x="14064" y="166"/>
                  </a:lnTo>
                  <a:cubicBezTo>
                    <a:pt x="14280" y="-165"/>
                    <a:pt x="14655" y="-356"/>
                    <a:pt x="15050" y="-340"/>
                  </a:cubicBezTo>
                  <a:lnTo>
                    <a:pt x="15795" y="-340"/>
                  </a:lnTo>
                  <a:cubicBezTo>
                    <a:pt x="16189" y="-388"/>
                    <a:pt x="16546" y="-106"/>
                    <a:pt x="16594" y="288"/>
                  </a:cubicBezTo>
                  <a:cubicBezTo>
                    <a:pt x="16602" y="344"/>
                    <a:pt x="16602" y="403"/>
                    <a:pt x="16594" y="458"/>
                  </a:cubicBezTo>
                  <a:lnTo>
                    <a:pt x="16594" y="14943"/>
                  </a:lnTo>
                  <a:cubicBezTo>
                    <a:pt x="16610" y="15265"/>
                    <a:pt x="16360" y="15540"/>
                    <a:pt x="16035" y="15556"/>
                  </a:cubicBezTo>
                  <a:cubicBezTo>
                    <a:pt x="16019" y="15556"/>
                    <a:pt x="16000" y="15556"/>
                    <a:pt x="15982" y="15556"/>
                  </a:cubicBezTo>
                  <a:lnTo>
                    <a:pt x="14677" y="15556"/>
                  </a:lnTo>
                  <a:cubicBezTo>
                    <a:pt x="14371" y="15587"/>
                    <a:pt x="14096" y="15364"/>
                    <a:pt x="14064" y="15055"/>
                  </a:cubicBezTo>
                  <a:cubicBezTo>
                    <a:pt x="14062" y="15018"/>
                    <a:pt x="14062" y="14980"/>
                    <a:pt x="14064" y="14943"/>
                  </a:cubicBezTo>
                  <a:lnTo>
                    <a:pt x="14064" y="4878"/>
                  </a:lnTo>
                  <a:cubicBezTo>
                    <a:pt x="14064" y="4506"/>
                    <a:pt x="13798" y="4399"/>
                    <a:pt x="13585" y="4745"/>
                  </a:cubicBezTo>
                  <a:lnTo>
                    <a:pt x="9804" y="10284"/>
                  </a:lnTo>
                  <a:cubicBezTo>
                    <a:pt x="9602" y="10614"/>
                    <a:pt x="9234" y="10808"/>
                    <a:pt x="8846" y="10789"/>
                  </a:cubicBezTo>
                  <a:lnTo>
                    <a:pt x="8846" y="10789"/>
                  </a:lnTo>
                  <a:cubicBezTo>
                    <a:pt x="8465" y="10803"/>
                    <a:pt x="8108" y="10611"/>
                    <a:pt x="7914" y="10284"/>
                  </a:cubicBezTo>
                  <a:lnTo>
                    <a:pt x="4133" y="4745"/>
                  </a:lnTo>
                  <a:cubicBezTo>
                    <a:pt x="3920" y="4452"/>
                    <a:pt x="3654" y="4532"/>
                    <a:pt x="3654" y="4905"/>
                  </a:cubicBezTo>
                  <a:lnTo>
                    <a:pt x="3654" y="14943"/>
                  </a:lnTo>
                  <a:cubicBezTo>
                    <a:pt x="3670" y="15265"/>
                    <a:pt x="3422" y="15542"/>
                    <a:pt x="3097" y="15558"/>
                  </a:cubicBezTo>
                  <a:cubicBezTo>
                    <a:pt x="3071" y="15558"/>
                    <a:pt x="3041" y="15558"/>
                    <a:pt x="3015" y="15556"/>
                  </a:cubicBezTo>
                  <a:lnTo>
                    <a:pt x="1736" y="15556"/>
                  </a:lnTo>
                  <a:cubicBezTo>
                    <a:pt x="1430" y="15601"/>
                    <a:pt x="1145" y="15390"/>
                    <a:pt x="1100" y="15087"/>
                  </a:cubicBezTo>
                  <a:cubicBezTo>
                    <a:pt x="1092" y="15039"/>
                    <a:pt x="1092" y="14991"/>
                    <a:pt x="1097" y="14943"/>
                  </a:cubicBezTo>
                </a:path>
              </a:pathLst>
            </a:custGeom>
            <a:solidFill>
              <a:srgbClr val="FFFFFF"/>
            </a:solidFill>
            <a:ln w="2661" cap="flat">
              <a:noFill/>
              <a:prstDash val="solid"/>
              <a:miter/>
            </a:ln>
          </p:spPr>
          <p:txBody>
            <a:bodyPr rtlCol="0" anchor="ctr"/>
            <a:lstStyle/>
            <a:p>
              <a:endParaRPr lang="pl-PL"/>
            </a:p>
          </p:txBody>
        </p:sp>
      </p:grpSp>
      <p:grpSp>
        <p:nvGrpSpPr>
          <p:cNvPr id="136" name="Group 135">
            <a:extLst>
              <a:ext uri="{FF2B5EF4-FFF2-40B4-BE49-F238E27FC236}">
                <a16:creationId xmlns:a16="http://schemas.microsoft.com/office/drawing/2014/main" id="{503BED4D-3BD2-4C02-98C0-6D58963FBF75}"/>
              </a:ext>
            </a:extLst>
          </p:cNvPr>
          <p:cNvGrpSpPr/>
          <p:nvPr userDrawn="1"/>
        </p:nvGrpSpPr>
        <p:grpSpPr>
          <a:xfrm>
            <a:off x="10855488" y="6628477"/>
            <a:ext cx="218951" cy="162658"/>
            <a:chOff x="10506075" y="6628477"/>
            <a:chExt cx="218951" cy="162658"/>
          </a:xfrm>
        </p:grpSpPr>
        <p:sp>
          <p:nvSpPr>
            <p:cNvPr id="137" name="Rectangle: Rounded Corners 136">
              <a:hlinkClick r:id="" action="ppaction://noaction"/>
              <a:extLst>
                <a:ext uri="{FF2B5EF4-FFF2-40B4-BE49-F238E27FC236}">
                  <a16:creationId xmlns:a16="http://schemas.microsoft.com/office/drawing/2014/main" id="{3C062AE2-53B9-4F9B-994F-02024B0D6798}"/>
                </a:ext>
              </a:extLst>
            </p:cNvPr>
            <p:cNvSpPr/>
            <p:nvPr userDrawn="1"/>
          </p:nvSpPr>
          <p:spPr>
            <a:xfrm>
              <a:off x="10506075" y="6628477"/>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38" name="Rectangle: Rounded Corners 137">
              <a:hlinkClick r:id="" action="ppaction://noaction"/>
              <a:extLst>
                <a:ext uri="{FF2B5EF4-FFF2-40B4-BE49-F238E27FC236}">
                  <a16:creationId xmlns:a16="http://schemas.microsoft.com/office/drawing/2014/main" id="{BDBD6CA0-5C81-463B-8650-6DE1F28ABF21}"/>
                </a:ext>
              </a:extLst>
            </p:cNvPr>
            <p:cNvSpPr/>
            <p:nvPr userDrawn="1"/>
          </p:nvSpPr>
          <p:spPr>
            <a:xfrm>
              <a:off x="10506075" y="6691806"/>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39" name="Rectangle: Rounded Corners 138">
              <a:hlinkClick r:id="" action="ppaction://noaction"/>
              <a:extLst>
                <a:ext uri="{FF2B5EF4-FFF2-40B4-BE49-F238E27FC236}">
                  <a16:creationId xmlns:a16="http://schemas.microsoft.com/office/drawing/2014/main" id="{A51D0850-92C1-4093-A453-85977F7F4B96}"/>
                </a:ext>
              </a:extLst>
            </p:cNvPr>
            <p:cNvSpPr/>
            <p:nvPr userDrawn="1"/>
          </p:nvSpPr>
          <p:spPr>
            <a:xfrm>
              <a:off x="10506075" y="6755135"/>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grpSp>
      <p:sp>
        <p:nvSpPr>
          <p:cNvPr id="140" name="Rectangle 139">
            <a:hlinkClick r:id="" action="ppaction://noaction"/>
            <a:extLst>
              <a:ext uri="{FF2B5EF4-FFF2-40B4-BE49-F238E27FC236}">
                <a16:creationId xmlns:a16="http://schemas.microsoft.com/office/drawing/2014/main" id="{3487A5C9-EE02-480A-82CC-92D4A03A5782}"/>
              </a:ext>
            </a:extLst>
          </p:cNvPr>
          <p:cNvSpPr/>
          <p:nvPr userDrawn="1"/>
        </p:nvSpPr>
        <p:spPr>
          <a:xfrm>
            <a:off x="10760869" y="6579908"/>
            <a:ext cx="406177" cy="273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cxnSp>
        <p:nvCxnSpPr>
          <p:cNvPr id="141" name="Straight Connector 140">
            <a:extLst>
              <a:ext uri="{FF2B5EF4-FFF2-40B4-BE49-F238E27FC236}">
                <a16:creationId xmlns:a16="http://schemas.microsoft.com/office/drawing/2014/main" id="{5A5933C5-F37E-4F1A-BAFD-6B2FA5A92A1A}"/>
              </a:ext>
            </a:extLst>
          </p:cNvPr>
          <p:cNvCxnSpPr/>
          <p:nvPr userDrawn="1"/>
        </p:nvCxnSpPr>
        <p:spPr>
          <a:xfrm>
            <a:off x="521472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42" name="Rectangle 141">
            <a:hlinkClick r:id="" action="ppaction://noaction"/>
            <a:hlinkHover r:id="" action="ppaction://noaction" highlightClick="1"/>
            <a:extLst>
              <a:ext uri="{FF2B5EF4-FFF2-40B4-BE49-F238E27FC236}">
                <a16:creationId xmlns:a16="http://schemas.microsoft.com/office/drawing/2014/main" id="{F99F187B-3FD9-4B49-90BE-AFBBE021BCAD}"/>
              </a:ext>
            </a:extLst>
          </p:cNvPr>
          <p:cNvSpPr/>
          <p:nvPr userDrawn="1"/>
        </p:nvSpPr>
        <p:spPr>
          <a:xfrm>
            <a:off x="9539162" y="6570000"/>
            <a:ext cx="1200924"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GB" sz="800" b="0" noProof="0">
                <a:solidFill>
                  <a:schemeClr val="bg1">
                    <a:alpha val="50000"/>
                  </a:schemeClr>
                </a:solidFill>
                <a:latin typeface="Leelawadee" panose="020B0502040204020203" pitchFamily="34" charset="-34"/>
                <a:cs typeface="Leelawadee" panose="020B0502040204020203" pitchFamily="34" charset="-34"/>
              </a:rPr>
              <a:t>Additional </a:t>
            </a:r>
            <a:br>
              <a:rPr lang="en-GB" sz="800" b="0" noProof="0">
                <a:solidFill>
                  <a:schemeClr val="bg1">
                    <a:alpha val="50000"/>
                  </a:schemeClr>
                </a:solidFill>
                <a:latin typeface="Leelawadee" panose="020B0502040204020203" pitchFamily="34" charset="-34"/>
                <a:cs typeface="Leelawadee" panose="020B0502040204020203" pitchFamily="34" charset="-34"/>
              </a:rPr>
            </a:br>
            <a:r>
              <a:rPr lang="en-GB" sz="800" b="0" noProof="0">
                <a:solidFill>
                  <a:schemeClr val="bg1">
                    <a:alpha val="50000"/>
                  </a:schemeClr>
                </a:solidFill>
                <a:latin typeface="Leelawadee" panose="020B0502040204020203" pitchFamily="34" charset="-34"/>
                <a:cs typeface="Leelawadee" panose="020B0502040204020203" pitchFamily="34" charset="-34"/>
              </a:rPr>
              <a:t>Supporting content</a:t>
            </a:r>
          </a:p>
        </p:txBody>
      </p:sp>
      <p:cxnSp>
        <p:nvCxnSpPr>
          <p:cNvPr id="143" name="Straight Connector 142">
            <a:extLst>
              <a:ext uri="{FF2B5EF4-FFF2-40B4-BE49-F238E27FC236}">
                <a16:creationId xmlns:a16="http://schemas.microsoft.com/office/drawing/2014/main" id="{AC306341-0978-4C8B-B12F-441A3FCE2FAA}"/>
              </a:ext>
            </a:extLst>
          </p:cNvPr>
          <p:cNvCxnSpPr/>
          <p:nvPr userDrawn="1"/>
        </p:nvCxnSpPr>
        <p:spPr>
          <a:xfrm>
            <a:off x="10737865"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44" name="TextBox 143">
            <a:extLst>
              <a:ext uri="{FF2B5EF4-FFF2-40B4-BE49-F238E27FC236}">
                <a16:creationId xmlns:a16="http://schemas.microsoft.com/office/drawing/2014/main" id="{85B9E930-8DC3-4710-B411-20FD76116327}"/>
              </a:ext>
            </a:extLst>
          </p:cNvPr>
          <p:cNvSpPr txBox="1"/>
          <p:nvPr userDrawn="1"/>
        </p:nvSpPr>
        <p:spPr>
          <a:xfrm>
            <a:off x="208348" y="6587078"/>
            <a:ext cx="428589" cy="261610"/>
          </a:xfrm>
          <a:prstGeom prst="rect">
            <a:avLst/>
          </a:prstGeom>
          <a:noFill/>
        </p:spPr>
        <p:txBody>
          <a:bodyPr wrap="square" rtlCol="0">
            <a:spAutoFit/>
          </a:bodyPr>
          <a:lstStyle/>
          <a:p>
            <a:fld id="{2AD15D81-AC1A-4BFA-95F9-38C1BF89B685}" type="slidenum">
              <a:rPr lang="pl-PL" sz="1050" smtClean="0">
                <a:solidFill>
                  <a:schemeClr val="bg1"/>
                </a:solidFill>
                <a:latin typeface="Leelawadee" panose="020B0502040204020203" pitchFamily="34" charset="-34"/>
                <a:cs typeface="Leelawadee" panose="020B0502040204020203" pitchFamily="34" charset="-34"/>
              </a:rPr>
              <a:t>‹#›</a:t>
            </a:fld>
            <a:endParaRPr lang="pl-PL" sz="1200">
              <a:solidFill>
                <a:schemeClr val="bg1"/>
              </a:solidFill>
              <a:latin typeface="Leelawadee" panose="020B0502040204020203" pitchFamily="34" charset="-34"/>
              <a:cs typeface="Leelawadee" panose="020B0502040204020203" pitchFamily="34" charset="-34"/>
            </a:endParaRPr>
          </a:p>
        </p:txBody>
      </p:sp>
    </p:spTree>
    <p:extLst>
      <p:ext uri="{BB962C8B-B14F-4D97-AF65-F5344CB8AC3E}">
        <p14:creationId xmlns:p14="http://schemas.microsoft.com/office/powerpoint/2010/main" val="391730521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ctures + text Placeholder ">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58B34489-7642-4205-873E-F3492F562001}"/>
              </a:ext>
            </a:extLst>
          </p:cNvPr>
          <p:cNvGraphicFramePr>
            <a:graphicFrameLocks noChangeAspect="1"/>
          </p:cNvGraphicFramePr>
          <p:nvPr userDrawn="1">
            <p:custDataLst>
              <p:tags r:id="rId1"/>
            </p:custDataLst>
            <p:extLst>
              <p:ext uri="{D42A27DB-BD31-4B8C-83A1-F6EECF244321}">
                <p14:modId xmlns:p14="http://schemas.microsoft.com/office/powerpoint/2010/main" val="2404881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0" name="Object 19" hidden="1">
                        <a:extLst>
                          <a:ext uri="{FF2B5EF4-FFF2-40B4-BE49-F238E27FC236}">
                            <a16:creationId xmlns:a16="http://schemas.microsoft.com/office/drawing/2014/main" id="{58B34489-7642-4205-873E-F3492F5620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object 5">
            <a:extLst>
              <a:ext uri="{FF2B5EF4-FFF2-40B4-BE49-F238E27FC236}">
                <a16:creationId xmlns:a16="http://schemas.microsoft.com/office/drawing/2014/main" id="{47086C8A-84DB-1940-BEA7-DBBB9D5AD42D}"/>
              </a:ext>
            </a:extLst>
          </p:cNvPr>
          <p:cNvSpPr/>
          <p:nvPr userDrawn="1"/>
        </p:nvSpPr>
        <p:spPr>
          <a:xfrm>
            <a:off x="-34288" y="0"/>
            <a:ext cx="12226288" cy="6858000"/>
          </a:xfrm>
          <a:custGeom>
            <a:avLst/>
            <a:gdLst/>
            <a:ahLst/>
            <a:cxnLst/>
            <a:rect l="l" t="t" r="r" b="b"/>
            <a:pathLst>
              <a:path w="4212590" h="6849109">
                <a:moveTo>
                  <a:pt x="4212005" y="0"/>
                </a:moveTo>
                <a:lnTo>
                  <a:pt x="0" y="0"/>
                </a:lnTo>
                <a:lnTo>
                  <a:pt x="0" y="6848995"/>
                </a:lnTo>
                <a:lnTo>
                  <a:pt x="4212005" y="6848995"/>
                </a:lnTo>
                <a:lnTo>
                  <a:pt x="4212005" y="0"/>
                </a:lnTo>
                <a:close/>
              </a:path>
            </a:pathLst>
          </a:custGeom>
          <a:solidFill>
            <a:srgbClr val="0052DB"/>
          </a:solidFill>
        </p:spPr>
        <p:txBody>
          <a:bodyPr wrap="square" lIns="0" tIns="0" rIns="0" bIns="0" rtlCol="0"/>
          <a:lstStyle/>
          <a:p>
            <a:pPr rtl="0"/>
            <a:endParaRPr lang="en-US" noProof="0"/>
          </a:p>
        </p:txBody>
      </p:sp>
      <p:sp>
        <p:nvSpPr>
          <p:cNvPr id="10" name="Rectangle 9">
            <a:extLst>
              <a:ext uri="{FF2B5EF4-FFF2-40B4-BE49-F238E27FC236}">
                <a16:creationId xmlns:a16="http://schemas.microsoft.com/office/drawing/2014/main" id="{71ED43BA-A683-49EB-A471-CC2FF2517659}"/>
              </a:ext>
            </a:extLst>
          </p:cNvPr>
          <p:cNvSpPr/>
          <p:nvPr userDrawn="1"/>
        </p:nvSpPr>
        <p:spPr>
          <a:xfrm>
            <a:off x="3040802" y="3429000"/>
            <a:ext cx="3054096" cy="3429000"/>
          </a:xfrm>
          <a:prstGeom prst="rect">
            <a:avLst/>
          </a:prstGeom>
          <a:solidFill>
            <a:srgbClr val="8EDB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36" name="Freeform: Shape 35">
            <a:extLst>
              <a:ext uri="{FF2B5EF4-FFF2-40B4-BE49-F238E27FC236}">
                <a16:creationId xmlns:a16="http://schemas.microsoft.com/office/drawing/2014/main" id="{DC9FC4A4-D378-486E-8BC6-E816D5C4C606}"/>
              </a:ext>
            </a:extLst>
          </p:cNvPr>
          <p:cNvSpPr/>
          <p:nvPr userDrawn="1"/>
        </p:nvSpPr>
        <p:spPr>
          <a:xfrm>
            <a:off x="-1" y="2269894"/>
            <a:ext cx="6125865" cy="3826106"/>
          </a:xfrm>
          <a:custGeom>
            <a:avLst/>
            <a:gdLst>
              <a:gd name="connsiteX0" fmla="*/ 6257483 w 6322790"/>
              <a:gd name="connsiteY0" fmla="*/ 0 h 3826106"/>
              <a:gd name="connsiteX1" fmla="*/ 6258144 w 6322790"/>
              <a:gd name="connsiteY1" fmla="*/ 2864 h 3826106"/>
              <a:gd name="connsiteX2" fmla="*/ 6322790 w 6322790"/>
              <a:gd name="connsiteY2" fmla="*/ 644141 h 3826106"/>
              <a:gd name="connsiteX3" fmla="*/ 3140825 w 6322790"/>
              <a:gd name="connsiteY3" fmla="*/ 3826106 h 3826106"/>
              <a:gd name="connsiteX4" fmla="*/ 23506 w 6322790"/>
              <a:gd name="connsiteY4" fmla="*/ 1285418 h 3826106"/>
              <a:gd name="connsiteX5" fmla="*/ 0 w 6322790"/>
              <a:gd name="connsiteY5" fmla="*/ 1153790 h 3826106"/>
              <a:gd name="connsiteX6" fmla="*/ 6257483 w 6322790"/>
              <a:gd name="connsiteY6" fmla="*/ 1153790 h 3826106"/>
              <a:gd name="connsiteX7" fmla="*/ 6257483 w 6322790"/>
              <a:gd name="connsiteY7" fmla="*/ 0 h 382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22790" h="3826106">
                <a:moveTo>
                  <a:pt x="6257483" y="0"/>
                </a:moveTo>
                <a:lnTo>
                  <a:pt x="6258144" y="2864"/>
                </a:lnTo>
                <a:cubicBezTo>
                  <a:pt x="6300531" y="210002"/>
                  <a:pt x="6322790" y="424472"/>
                  <a:pt x="6322790" y="644141"/>
                </a:cubicBezTo>
                <a:cubicBezTo>
                  <a:pt x="6322790" y="2401492"/>
                  <a:pt x="4898176" y="3826106"/>
                  <a:pt x="3140825" y="3826106"/>
                </a:cubicBezTo>
                <a:cubicBezTo>
                  <a:pt x="1603143" y="3826106"/>
                  <a:pt x="320213" y="2735386"/>
                  <a:pt x="23506" y="1285418"/>
                </a:cubicBezTo>
                <a:lnTo>
                  <a:pt x="0" y="1153790"/>
                </a:lnTo>
                <a:lnTo>
                  <a:pt x="6257483" y="1153790"/>
                </a:lnTo>
                <a:lnTo>
                  <a:pt x="6257483" y="0"/>
                </a:lnTo>
                <a:close/>
              </a:path>
            </a:pathLst>
          </a:custGeom>
          <a:solidFill>
            <a:srgbClr val="00C14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23" name="Rectangle 22">
            <a:extLst>
              <a:ext uri="{FF2B5EF4-FFF2-40B4-BE49-F238E27FC236}">
                <a16:creationId xmlns:a16="http://schemas.microsoft.com/office/drawing/2014/main" id="{0D5542DB-5259-466A-986A-299B630CA3C1}"/>
              </a:ext>
            </a:extLst>
          </p:cNvPr>
          <p:cNvSpPr/>
          <p:nvPr userDrawn="1"/>
        </p:nvSpPr>
        <p:spPr>
          <a:xfrm>
            <a:off x="3050634" y="0"/>
            <a:ext cx="3054096" cy="3429000"/>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noProof="0"/>
          </a:p>
        </p:txBody>
      </p:sp>
      <p:sp>
        <p:nvSpPr>
          <p:cNvPr id="2" name="Rectangle 1">
            <a:extLst>
              <a:ext uri="{FF2B5EF4-FFF2-40B4-BE49-F238E27FC236}">
                <a16:creationId xmlns:a16="http://schemas.microsoft.com/office/drawing/2014/main" id="{6286ACBA-89A8-488A-A42B-E8D20FF88E31}"/>
              </a:ext>
            </a:extLst>
          </p:cNvPr>
          <p:cNvSpPr/>
          <p:nvPr userDrawn="1"/>
        </p:nvSpPr>
        <p:spPr>
          <a:xfrm>
            <a:off x="3044043" y="0"/>
            <a:ext cx="3074546" cy="3429000"/>
          </a:xfrm>
          <a:prstGeom prst="rect">
            <a:avLst/>
          </a:prstGeom>
          <a:solidFill>
            <a:srgbClr val="5B9B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9" name="Rectangle 8">
            <a:extLst>
              <a:ext uri="{FF2B5EF4-FFF2-40B4-BE49-F238E27FC236}">
                <a16:creationId xmlns:a16="http://schemas.microsoft.com/office/drawing/2014/main" id="{299ACC6E-E237-4D26-8B09-E50B73D4F9B0}"/>
              </a:ext>
            </a:extLst>
          </p:cNvPr>
          <p:cNvSpPr/>
          <p:nvPr userDrawn="1"/>
        </p:nvSpPr>
        <p:spPr>
          <a:xfrm>
            <a:off x="-35071" y="3429000"/>
            <a:ext cx="3084922" cy="3429000"/>
          </a:xfrm>
          <a:prstGeom prst="rect">
            <a:avLst/>
          </a:prstGeom>
          <a:solidFill>
            <a:srgbClr val="00A6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35" name="Freeform: Shape 34">
            <a:extLst>
              <a:ext uri="{FF2B5EF4-FFF2-40B4-BE49-F238E27FC236}">
                <a16:creationId xmlns:a16="http://schemas.microsoft.com/office/drawing/2014/main" id="{2CAAC235-0BD1-4DEA-BB4F-D52AFFFDF722}"/>
              </a:ext>
            </a:extLst>
          </p:cNvPr>
          <p:cNvSpPr/>
          <p:nvPr userDrawn="1"/>
        </p:nvSpPr>
        <p:spPr>
          <a:xfrm>
            <a:off x="9161291" y="-1"/>
            <a:ext cx="3030836" cy="3429000"/>
          </a:xfrm>
          <a:custGeom>
            <a:avLst/>
            <a:gdLst>
              <a:gd name="connsiteX0" fmla="*/ 0 w 3030836"/>
              <a:gd name="connsiteY0" fmla="*/ 0 h 3429000"/>
              <a:gd name="connsiteX1" fmla="*/ 3030836 w 3030836"/>
              <a:gd name="connsiteY1" fmla="*/ 0 h 3429000"/>
              <a:gd name="connsiteX2" fmla="*/ 3030836 w 3030836"/>
              <a:gd name="connsiteY2" fmla="*/ 717755 h 3429000"/>
              <a:gd name="connsiteX3" fmla="*/ 1236547 w 3030836"/>
              <a:gd name="connsiteY3" fmla="*/ 3429000 h 3429000"/>
              <a:gd name="connsiteX4" fmla="*/ 0 w 3030836"/>
              <a:gd name="connsiteY4" fmla="*/ 342900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0836" h="3429000">
                <a:moveTo>
                  <a:pt x="0" y="0"/>
                </a:moveTo>
                <a:lnTo>
                  <a:pt x="3030836" y="0"/>
                </a:lnTo>
                <a:lnTo>
                  <a:pt x="3030836" y="717755"/>
                </a:lnTo>
                <a:lnTo>
                  <a:pt x="1236547" y="3429000"/>
                </a:lnTo>
                <a:lnTo>
                  <a:pt x="0" y="3429000"/>
                </a:lnTo>
                <a:close/>
              </a:path>
            </a:pathLst>
          </a:cu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11" name="Rectangle 10">
            <a:extLst>
              <a:ext uri="{FF2B5EF4-FFF2-40B4-BE49-F238E27FC236}">
                <a16:creationId xmlns:a16="http://schemas.microsoft.com/office/drawing/2014/main" id="{3315AD95-D09E-4F5B-91A6-B047CD1284E0}"/>
              </a:ext>
            </a:extLst>
          </p:cNvPr>
          <p:cNvSpPr/>
          <p:nvPr userDrawn="1"/>
        </p:nvSpPr>
        <p:spPr>
          <a:xfrm>
            <a:off x="6115348" y="0"/>
            <a:ext cx="3054096" cy="3429000"/>
          </a:xfrm>
          <a:prstGeom prst="rect">
            <a:avLst/>
          </a:prstGeom>
          <a:solidFill>
            <a:srgbClr val="00A6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8" name="Picture Placeholder 7">
            <a:extLst>
              <a:ext uri="{FF2B5EF4-FFF2-40B4-BE49-F238E27FC236}">
                <a16:creationId xmlns:a16="http://schemas.microsoft.com/office/drawing/2014/main" id="{8E4EBD94-2DEE-4D75-AA70-500C87022171}"/>
              </a:ext>
            </a:extLst>
          </p:cNvPr>
          <p:cNvSpPr>
            <a:spLocks noGrp="1"/>
          </p:cNvSpPr>
          <p:nvPr>
            <p:ph type="pic" sz="quarter" idx="11"/>
          </p:nvPr>
        </p:nvSpPr>
        <p:spPr>
          <a:xfrm>
            <a:off x="6102605" y="3429001"/>
            <a:ext cx="6089395" cy="3200588"/>
          </a:xfrm>
          <a:prstGeom prst="rect">
            <a:avLst/>
          </a:prstGeom>
        </p:spPr>
        <p:txBody>
          <a:bodyPr wrap="square" anchor="ctr">
            <a:noAutofit/>
          </a:bodyPr>
          <a:lstStyle>
            <a:lvl1pPr>
              <a:defRPr lang="pl-PL" sz="3600" b="1" dirty="0">
                <a:solidFill>
                  <a:schemeClr val="bg1"/>
                </a:solidFill>
                <a:latin typeface="Leelawadee" panose="020B0502040204020203" pitchFamily="34" charset="-34"/>
                <a:cs typeface="Leelawadee" panose="020B0502040204020203" pitchFamily="34" charset="-34"/>
              </a:defRPr>
            </a:lvl1pPr>
          </a:lstStyle>
          <a:p>
            <a:pPr marL="0" lvl="0" indent="0" algn="ctr">
              <a:buNone/>
            </a:pPr>
            <a:endParaRPr lang="en-US" noProof="0"/>
          </a:p>
        </p:txBody>
      </p:sp>
      <p:sp>
        <p:nvSpPr>
          <p:cNvPr id="19" name="Picture Placeholder 18">
            <a:extLst>
              <a:ext uri="{FF2B5EF4-FFF2-40B4-BE49-F238E27FC236}">
                <a16:creationId xmlns:a16="http://schemas.microsoft.com/office/drawing/2014/main" id="{548A6283-32F5-4567-A6FB-DE6F33C3166C}"/>
              </a:ext>
            </a:extLst>
          </p:cNvPr>
          <p:cNvSpPr>
            <a:spLocks noGrp="1"/>
          </p:cNvSpPr>
          <p:nvPr>
            <p:ph type="pic" sz="quarter" idx="13"/>
          </p:nvPr>
        </p:nvSpPr>
        <p:spPr>
          <a:xfrm>
            <a:off x="3029468" y="0"/>
            <a:ext cx="3089275" cy="3429000"/>
          </a:xfrm>
          <a:prstGeom prst="rect">
            <a:avLst/>
          </a:prstGeom>
        </p:spPr>
        <p:txBody>
          <a:bodyPr wrap="square" anchor="ctr">
            <a:noAutofit/>
          </a:bodyPr>
          <a:lstStyle>
            <a:lvl1pPr>
              <a:defRPr lang="pl-PL" sz="3600" b="1">
                <a:solidFill>
                  <a:schemeClr val="bg1"/>
                </a:solidFill>
                <a:latin typeface="Leelawadee" panose="020B0502040204020203" pitchFamily="34" charset="-34"/>
                <a:cs typeface="Leelawadee" panose="020B0502040204020203" pitchFamily="34" charset="-34"/>
              </a:defRPr>
            </a:lvl1pPr>
          </a:lstStyle>
          <a:p>
            <a:pPr marL="0" lvl="0" indent="0" algn="ctr">
              <a:buNone/>
            </a:pPr>
            <a:endParaRPr lang="en-US" noProof="0"/>
          </a:p>
        </p:txBody>
      </p:sp>
      <p:sp>
        <p:nvSpPr>
          <p:cNvPr id="26" name="Picture Placeholder 18">
            <a:extLst>
              <a:ext uri="{FF2B5EF4-FFF2-40B4-BE49-F238E27FC236}">
                <a16:creationId xmlns:a16="http://schemas.microsoft.com/office/drawing/2014/main" id="{381105CD-8785-4369-8229-519A641A361C}"/>
              </a:ext>
            </a:extLst>
          </p:cNvPr>
          <p:cNvSpPr>
            <a:spLocks noGrp="1"/>
          </p:cNvSpPr>
          <p:nvPr>
            <p:ph type="pic" sz="quarter" idx="14"/>
          </p:nvPr>
        </p:nvSpPr>
        <p:spPr>
          <a:xfrm>
            <a:off x="-24576" y="3445042"/>
            <a:ext cx="3051838" cy="2900195"/>
          </a:xfrm>
          <a:prstGeom prst="rect">
            <a:avLst/>
          </a:prstGeom>
        </p:spPr>
        <p:txBody>
          <a:bodyPr wrap="square" anchor="ctr">
            <a:noAutofit/>
          </a:bodyPr>
          <a:lstStyle>
            <a:lvl1pPr>
              <a:defRPr lang="pl-PL" sz="3600" b="1" dirty="0">
                <a:solidFill>
                  <a:schemeClr val="bg1"/>
                </a:solidFill>
                <a:latin typeface="Leelawadee" panose="020B0502040204020203" pitchFamily="34" charset="-34"/>
                <a:cs typeface="Leelawadee" panose="020B0502040204020203" pitchFamily="34" charset="-34"/>
              </a:defRPr>
            </a:lvl1pPr>
          </a:lstStyle>
          <a:p>
            <a:pPr marL="0" lvl="0" indent="0" algn="ctr">
              <a:buNone/>
            </a:pPr>
            <a:endParaRPr lang="en-US" noProof="0"/>
          </a:p>
        </p:txBody>
      </p:sp>
      <p:sp>
        <p:nvSpPr>
          <p:cNvPr id="27" name="Text Placeholder 3">
            <a:extLst>
              <a:ext uri="{FF2B5EF4-FFF2-40B4-BE49-F238E27FC236}">
                <a16:creationId xmlns:a16="http://schemas.microsoft.com/office/drawing/2014/main" id="{73045945-5335-4618-B4A1-B3CA7FF04D73}"/>
              </a:ext>
            </a:extLst>
          </p:cNvPr>
          <p:cNvSpPr>
            <a:spLocks noGrp="1"/>
          </p:cNvSpPr>
          <p:nvPr>
            <p:ph type="body" sz="quarter" idx="15" hasCustomPrompt="1"/>
          </p:nvPr>
        </p:nvSpPr>
        <p:spPr>
          <a:xfrm>
            <a:off x="290350" y="297712"/>
            <a:ext cx="2414480" cy="2828259"/>
          </a:xfrm>
          <a:prstGeom prst="rect">
            <a:avLst/>
          </a:prstGeom>
        </p:spPr>
        <p:txBody>
          <a:bodyPr lIns="0" tIns="0" rIns="0" bIns="0" anchor="t">
            <a:noAutofit/>
          </a:bodyPr>
          <a:lstStyle>
            <a:lvl1pPr rtl="0">
              <a:defRPr lang="en-US" sz="2000" b="0" i="0" dirty="0">
                <a:solidFill>
                  <a:schemeClr val="bg1"/>
                </a:solidFill>
                <a:latin typeface="Leelawadee" panose="020B0502040204020203" pitchFamily="34" charset="-34"/>
                <a:cs typeface="Leelawadee" panose="020B0502040204020203" pitchFamily="34" charset="-34"/>
              </a:defRPr>
            </a:lvl1pPr>
          </a:lstStyle>
          <a:p>
            <a:pPr marL="7938" lvl="0" indent="-7938">
              <a:spcBef>
                <a:spcPts val="0"/>
              </a:spcBef>
              <a:buNone/>
              <a:tabLst/>
            </a:pPr>
            <a:r>
              <a:rPr lang="en-US" noProof="0"/>
              <a:t>Text Box </a:t>
            </a:r>
          </a:p>
        </p:txBody>
      </p:sp>
      <p:sp>
        <p:nvSpPr>
          <p:cNvPr id="29" name="Text Placeholder 3">
            <a:extLst>
              <a:ext uri="{FF2B5EF4-FFF2-40B4-BE49-F238E27FC236}">
                <a16:creationId xmlns:a16="http://schemas.microsoft.com/office/drawing/2014/main" id="{1729CF7F-74B3-4B7F-B8AC-973C2B0EC724}"/>
              </a:ext>
            </a:extLst>
          </p:cNvPr>
          <p:cNvSpPr>
            <a:spLocks noGrp="1"/>
          </p:cNvSpPr>
          <p:nvPr>
            <p:ph type="body" sz="quarter" idx="16" hasCustomPrompt="1"/>
          </p:nvPr>
        </p:nvSpPr>
        <p:spPr>
          <a:xfrm>
            <a:off x="3337735" y="3726712"/>
            <a:ext cx="2414480" cy="2343413"/>
          </a:xfrm>
          <a:prstGeom prst="rect">
            <a:avLst/>
          </a:prstGeom>
        </p:spPr>
        <p:txBody>
          <a:bodyPr lIns="0" tIns="0" rIns="0" bIns="0" anchor="t">
            <a:noAutofit/>
          </a:bodyPr>
          <a:lstStyle>
            <a:lvl1pPr marL="7938" indent="-7938" algn="l" rtl="0">
              <a:spcBef>
                <a:spcPts val="0"/>
              </a:spcBef>
              <a:buNone/>
              <a:tabLst/>
              <a:defRPr sz="2000" b="0" i="0">
                <a:solidFill>
                  <a:schemeClr val="bg1"/>
                </a:solidFill>
                <a:latin typeface="Leelawadee" panose="020B0502040204020203" pitchFamily="34" charset="-34"/>
                <a:cs typeface="Leelawadee" panose="020B0502040204020203" pitchFamily="34" charset="-34"/>
              </a:defRPr>
            </a:lvl1pPr>
          </a:lstStyle>
          <a:p>
            <a:pPr lvl="0"/>
            <a:r>
              <a:rPr lang="en-US" noProof="0"/>
              <a:t>Text Box</a:t>
            </a:r>
          </a:p>
        </p:txBody>
      </p:sp>
      <p:sp>
        <p:nvSpPr>
          <p:cNvPr id="30" name="Text Placeholder 3">
            <a:extLst>
              <a:ext uri="{FF2B5EF4-FFF2-40B4-BE49-F238E27FC236}">
                <a16:creationId xmlns:a16="http://schemas.microsoft.com/office/drawing/2014/main" id="{DF723D81-38FB-44AC-9BC9-A06B6B2D2C2E}"/>
              </a:ext>
            </a:extLst>
          </p:cNvPr>
          <p:cNvSpPr>
            <a:spLocks noGrp="1"/>
          </p:cNvSpPr>
          <p:nvPr>
            <p:ph type="body" sz="quarter" idx="17" hasCustomPrompt="1"/>
          </p:nvPr>
        </p:nvSpPr>
        <p:spPr>
          <a:xfrm>
            <a:off x="6436337" y="297712"/>
            <a:ext cx="2414480" cy="2828259"/>
          </a:xfrm>
          <a:prstGeom prst="rect">
            <a:avLst/>
          </a:prstGeom>
        </p:spPr>
        <p:txBody>
          <a:bodyPr lIns="0" tIns="0" rIns="0" bIns="0" anchor="t">
            <a:noAutofit/>
          </a:bodyPr>
          <a:lstStyle>
            <a:lvl1pPr rtl="0">
              <a:defRPr lang="en-US" sz="2000" b="0" i="0" dirty="0">
                <a:solidFill>
                  <a:schemeClr val="bg1"/>
                </a:solidFill>
                <a:latin typeface="Leelawadee" panose="020B0502040204020203" pitchFamily="34" charset="-34"/>
                <a:cs typeface="Leelawadee" panose="020B0502040204020203" pitchFamily="34" charset="-34"/>
              </a:defRPr>
            </a:lvl1pPr>
          </a:lstStyle>
          <a:p>
            <a:pPr marL="7938" lvl="0" indent="-7938">
              <a:spcBef>
                <a:spcPts val="0"/>
              </a:spcBef>
              <a:buNone/>
              <a:tabLst/>
            </a:pPr>
            <a:r>
              <a:rPr lang="en-US" noProof="0"/>
              <a:t>Text Box </a:t>
            </a:r>
          </a:p>
        </p:txBody>
      </p:sp>
      <p:sp>
        <p:nvSpPr>
          <p:cNvPr id="38" name="Picture Placeholder 37">
            <a:extLst>
              <a:ext uri="{FF2B5EF4-FFF2-40B4-BE49-F238E27FC236}">
                <a16:creationId xmlns:a16="http://schemas.microsoft.com/office/drawing/2014/main" id="{F68CA8D4-3DD4-471A-9312-0BC95DD7146F}"/>
              </a:ext>
            </a:extLst>
          </p:cNvPr>
          <p:cNvSpPr>
            <a:spLocks noGrp="1"/>
          </p:cNvSpPr>
          <p:nvPr>
            <p:ph type="pic" sz="quarter" idx="18"/>
          </p:nvPr>
        </p:nvSpPr>
        <p:spPr>
          <a:xfrm>
            <a:off x="9161291" y="-2"/>
            <a:ext cx="3030709" cy="3429000"/>
          </a:xfrm>
          <a:custGeom>
            <a:avLst/>
            <a:gdLst>
              <a:gd name="connsiteX0" fmla="*/ 0 w 3030836"/>
              <a:gd name="connsiteY0" fmla="*/ 0 h 3429000"/>
              <a:gd name="connsiteX1" fmla="*/ 3030836 w 3030836"/>
              <a:gd name="connsiteY1" fmla="*/ 0 h 3429000"/>
              <a:gd name="connsiteX2" fmla="*/ 3030836 w 3030836"/>
              <a:gd name="connsiteY2" fmla="*/ 717755 h 3429000"/>
              <a:gd name="connsiteX3" fmla="*/ 1236547 w 3030836"/>
              <a:gd name="connsiteY3" fmla="*/ 3429000 h 3429000"/>
              <a:gd name="connsiteX4" fmla="*/ 0 w 3030836"/>
              <a:gd name="connsiteY4" fmla="*/ 342900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0836" h="3429000">
                <a:moveTo>
                  <a:pt x="0" y="0"/>
                </a:moveTo>
                <a:lnTo>
                  <a:pt x="3030836" y="0"/>
                </a:lnTo>
                <a:lnTo>
                  <a:pt x="3030836" y="717755"/>
                </a:lnTo>
                <a:lnTo>
                  <a:pt x="1236547" y="3429000"/>
                </a:lnTo>
                <a:lnTo>
                  <a:pt x="0" y="3429000"/>
                </a:lnTo>
                <a:close/>
              </a:path>
            </a:pathLst>
          </a:custGeom>
        </p:spPr>
        <p:txBody>
          <a:bodyPr wrap="square" lIns="0" tIns="0" rIns="576000" bIns="0" anchor="ctr">
            <a:noAutofit/>
          </a:bodyPr>
          <a:lstStyle>
            <a:lvl1pPr algn="l">
              <a:defRPr lang="pl-PL" sz="3600" b="1">
                <a:solidFill>
                  <a:schemeClr val="bg1"/>
                </a:solidFill>
                <a:latin typeface="Leelawadee" panose="020B0502040204020203" pitchFamily="34" charset="-34"/>
                <a:cs typeface="Leelawadee" panose="020B0502040204020203" pitchFamily="34" charset="-34"/>
              </a:defRPr>
            </a:lvl1pPr>
          </a:lstStyle>
          <a:p>
            <a:pPr marL="0" lvl="0" indent="0" algn="ctr">
              <a:buNone/>
            </a:pPr>
            <a:endParaRPr lang="en-US" noProof="0"/>
          </a:p>
        </p:txBody>
      </p:sp>
      <p:sp>
        <p:nvSpPr>
          <p:cNvPr id="100" name="Rectangle 99">
            <a:extLst>
              <a:ext uri="{FF2B5EF4-FFF2-40B4-BE49-F238E27FC236}">
                <a16:creationId xmlns:a16="http://schemas.microsoft.com/office/drawing/2014/main" id="{309D25A2-D53B-4F8E-8FA4-BC101E9DEA7A}"/>
              </a:ext>
            </a:extLst>
          </p:cNvPr>
          <p:cNvSpPr/>
          <p:nvPr userDrawn="1"/>
        </p:nvSpPr>
        <p:spPr>
          <a:xfrm>
            <a:off x="0" y="6570000"/>
            <a:ext cx="12192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100" noProof="0"/>
          </a:p>
        </p:txBody>
      </p:sp>
      <p:cxnSp>
        <p:nvCxnSpPr>
          <p:cNvPr id="101" name="Straight Connector 100">
            <a:extLst>
              <a:ext uri="{FF2B5EF4-FFF2-40B4-BE49-F238E27FC236}">
                <a16:creationId xmlns:a16="http://schemas.microsoft.com/office/drawing/2014/main" id="{236C9D1A-108F-4065-9BF4-2E9979837148}"/>
              </a:ext>
            </a:extLst>
          </p:cNvPr>
          <p:cNvCxnSpPr/>
          <p:nvPr userDrawn="1"/>
        </p:nvCxnSpPr>
        <p:spPr>
          <a:xfrm>
            <a:off x="634587" y="6570000"/>
            <a:ext cx="0" cy="288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49EE55BB-72F3-4A81-B416-04DC104D51D9}"/>
              </a:ext>
            </a:extLst>
          </p:cNvPr>
          <p:cNvSpPr txBox="1"/>
          <p:nvPr userDrawn="1"/>
        </p:nvSpPr>
        <p:spPr>
          <a:xfrm>
            <a:off x="806034" y="6650942"/>
            <a:ext cx="3896596" cy="123111"/>
          </a:xfrm>
          <a:prstGeom prst="rect">
            <a:avLst/>
          </a:prstGeom>
          <a:noFill/>
        </p:spPr>
        <p:txBody>
          <a:bodyPr wrap="square" lIns="0" tIns="0" rIns="0" bIns="0" rtlCol="0">
            <a:spAutoFit/>
          </a:bodyPr>
          <a:lstStyle/>
          <a:p>
            <a:pPr rtl="0"/>
            <a:r>
              <a:rPr lang="en-US" sz="800" spc="300" baseline="0" noProof="0">
                <a:solidFill>
                  <a:schemeClr val="bg1"/>
                </a:solidFill>
                <a:latin typeface="Leelawadee" panose="020B0502040204020203" pitchFamily="34" charset="-34"/>
                <a:cs typeface="Leelawadee" panose="020B0502040204020203" pitchFamily="34" charset="-34"/>
              </a:rPr>
              <a:t>CONFIDENTIAL &amp; PROPRIETARY</a:t>
            </a:r>
          </a:p>
        </p:txBody>
      </p:sp>
      <p:sp>
        <p:nvSpPr>
          <p:cNvPr id="103" name="Rectangle 102">
            <a:hlinkClick r:id="" action="ppaction://noaction"/>
            <a:extLst>
              <a:ext uri="{FF2B5EF4-FFF2-40B4-BE49-F238E27FC236}">
                <a16:creationId xmlns:a16="http://schemas.microsoft.com/office/drawing/2014/main" id="{CBCBB06A-F8A4-42CF-80A0-83E6E63ED96C}"/>
              </a:ext>
            </a:extLst>
          </p:cNvPr>
          <p:cNvSpPr/>
          <p:nvPr userDrawn="1"/>
        </p:nvSpPr>
        <p:spPr>
          <a:xfrm>
            <a:off x="5214721" y="6579908"/>
            <a:ext cx="1147937"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lnSpc>
                <a:spcPct val="90000"/>
              </a:lnSpc>
            </a:pPr>
            <a:r>
              <a:rPr lang="en-GB" sz="800" b="0">
                <a:solidFill>
                  <a:schemeClr val="bg1">
                    <a:alpha val="50000"/>
                  </a:schemeClr>
                </a:solidFill>
                <a:latin typeface="Leelawadee" panose="020B0502040204020203" pitchFamily="34" charset="-34"/>
                <a:cs typeface="Leelawadee" panose="020B0502040204020203" pitchFamily="34" charset="-34"/>
              </a:rPr>
              <a:t>Intro &amp; objectives</a:t>
            </a:r>
          </a:p>
        </p:txBody>
      </p:sp>
      <p:sp>
        <p:nvSpPr>
          <p:cNvPr id="104" name="Rectangle 103">
            <a:hlinkClick r:id="rId5" action="ppaction://hlinksldjump"/>
            <a:extLst>
              <a:ext uri="{FF2B5EF4-FFF2-40B4-BE49-F238E27FC236}">
                <a16:creationId xmlns:a16="http://schemas.microsoft.com/office/drawing/2014/main" id="{33140AF5-5E21-47B3-8E91-45FA6B3E7D45}"/>
              </a:ext>
            </a:extLst>
          </p:cNvPr>
          <p:cNvSpPr/>
          <p:nvPr userDrawn="1"/>
        </p:nvSpPr>
        <p:spPr>
          <a:xfrm>
            <a:off x="6367021" y="6579908"/>
            <a:ext cx="1126055"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US" sz="800" b="0" noProof="0">
                <a:solidFill>
                  <a:schemeClr val="bg1">
                    <a:alpha val="50000"/>
                  </a:schemeClr>
                </a:solidFill>
                <a:latin typeface="Leelawadee" panose="020B0502040204020203" pitchFamily="34" charset="-34"/>
                <a:cs typeface="Leelawadee" panose="020B0502040204020203" pitchFamily="34" charset="-34"/>
              </a:rPr>
              <a:t>Introducing pep+ </a:t>
            </a:r>
            <a:br>
              <a:rPr lang="en-US" sz="800" b="0" noProof="0">
                <a:solidFill>
                  <a:schemeClr val="bg1">
                    <a:alpha val="50000"/>
                  </a:schemeClr>
                </a:solidFill>
                <a:latin typeface="Leelawadee" panose="020B0502040204020203" pitchFamily="34" charset="-34"/>
                <a:cs typeface="Leelawadee" panose="020B0502040204020203" pitchFamily="34" charset="-34"/>
              </a:rPr>
            </a:br>
            <a:r>
              <a:rPr lang="en-US" sz="800" b="0" noProof="0">
                <a:solidFill>
                  <a:schemeClr val="bg1">
                    <a:alpha val="50000"/>
                  </a:schemeClr>
                </a:solidFill>
                <a:latin typeface="Leelawadee" panose="020B0502040204020203" pitchFamily="34" charset="-34"/>
                <a:cs typeface="Leelawadee" panose="020B0502040204020203" pitchFamily="34" charset="-34"/>
              </a:rPr>
              <a:t>to Customers</a:t>
            </a:r>
          </a:p>
        </p:txBody>
      </p:sp>
      <p:sp>
        <p:nvSpPr>
          <p:cNvPr id="105" name="Rectangle 104">
            <a:hlinkClick r:id="" action="ppaction://noaction"/>
            <a:extLst>
              <a:ext uri="{FF2B5EF4-FFF2-40B4-BE49-F238E27FC236}">
                <a16:creationId xmlns:a16="http://schemas.microsoft.com/office/drawing/2014/main" id="{4874253F-6160-4C29-BA1F-61F8E902BF88}"/>
              </a:ext>
            </a:extLst>
          </p:cNvPr>
          <p:cNvSpPr/>
          <p:nvPr userDrawn="1"/>
        </p:nvSpPr>
        <p:spPr>
          <a:xfrm>
            <a:off x="7510981" y="6579908"/>
            <a:ext cx="967705"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US" sz="800" b="0" noProof="0">
                <a:solidFill>
                  <a:schemeClr val="bg1">
                    <a:alpha val="50000"/>
                  </a:schemeClr>
                </a:solidFill>
                <a:latin typeface="Leelawadee" panose="020B0502040204020203" pitchFamily="34" charset="-34"/>
                <a:cs typeface="Leelawadee" panose="020B0502040204020203" pitchFamily="34" charset="-34"/>
              </a:rPr>
              <a:t>Exploring </a:t>
            </a:r>
            <a:br>
              <a:rPr lang="en-US" sz="800" b="0" noProof="0">
                <a:solidFill>
                  <a:schemeClr val="bg1">
                    <a:alpha val="50000"/>
                  </a:schemeClr>
                </a:solidFill>
                <a:latin typeface="Leelawadee" panose="020B0502040204020203" pitchFamily="34" charset="-34"/>
                <a:cs typeface="Leelawadee" panose="020B0502040204020203" pitchFamily="34" charset="-34"/>
              </a:rPr>
            </a:br>
            <a:r>
              <a:rPr lang="en-US" sz="800" b="0" noProof="0">
                <a:solidFill>
                  <a:schemeClr val="bg1">
                    <a:alpha val="50000"/>
                  </a:schemeClr>
                </a:solidFill>
                <a:latin typeface="Leelawadee" panose="020B0502040204020203" pitchFamily="34" charset="-34"/>
                <a:cs typeface="Leelawadee" panose="020B0502040204020203" pitchFamily="34" charset="-34"/>
              </a:rPr>
              <a:t>pep+ areas</a:t>
            </a:r>
          </a:p>
        </p:txBody>
      </p:sp>
      <p:sp>
        <p:nvSpPr>
          <p:cNvPr id="106" name="Rectangle 105">
            <a:hlinkClick r:id="" action="ppaction://noaction"/>
            <a:hlinkHover r:id="" action="ppaction://noaction" highlightClick="1"/>
            <a:extLst>
              <a:ext uri="{FF2B5EF4-FFF2-40B4-BE49-F238E27FC236}">
                <a16:creationId xmlns:a16="http://schemas.microsoft.com/office/drawing/2014/main" id="{9B673533-CE9A-4EEA-98D8-D2F39BCBE5E7}"/>
              </a:ext>
            </a:extLst>
          </p:cNvPr>
          <p:cNvSpPr/>
          <p:nvPr userDrawn="1"/>
        </p:nvSpPr>
        <p:spPr>
          <a:xfrm>
            <a:off x="8544692" y="6579908"/>
            <a:ext cx="994577"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GB" sz="800" b="0" noProof="0">
                <a:solidFill>
                  <a:schemeClr val="bg1">
                    <a:alpha val="50000"/>
                  </a:schemeClr>
                </a:solidFill>
                <a:latin typeface="Leelawadee" panose="020B0502040204020203" pitchFamily="34" charset="-34"/>
                <a:cs typeface="Leelawadee" panose="020B0502040204020203" pitchFamily="34" charset="-34"/>
              </a:rPr>
              <a:t>pep+ Customer Engagement</a:t>
            </a:r>
          </a:p>
        </p:txBody>
      </p:sp>
      <p:cxnSp>
        <p:nvCxnSpPr>
          <p:cNvPr id="107" name="Straight Connector 106">
            <a:extLst>
              <a:ext uri="{FF2B5EF4-FFF2-40B4-BE49-F238E27FC236}">
                <a16:creationId xmlns:a16="http://schemas.microsoft.com/office/drawing/2014/main" id="{F89BA0C5-E067-42C7-B12C-7EDC4F0D4D7C}"/>
              </a:ext>
            </a:extLst>
          </p:cNvPr>
          <p:cNvCxnSpPr/>
          <p:nvPr userDrawn="1"/>
        </p:nvCxnSpPr>
        <p:spPr>
          <a:xfrm>
            <a:off x="9539270"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91CC4B52-3E90-4615-B3C9-1946E41A5DD1}"/>
              </a:ext>
            </a:extLst>
          </p:cNvPr>
          <p:cNvCxnSpPr/>
          <p:nvPr userDrawn="1"/>
        </p:nvCxnSpPr>
        <p:spPr>
          <a:xfrm>
            <a:off x="848143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0547B556-BE0A-43B5-9A8C-3F12228970C7}"/>
              </a:ext>
            </a:extLst>
          </p:cNvPr>
          <p:cNvCxnSpPr/>
          <p:nvPr userDrawn="1"/>
        </p:nvCxnSpPr>
        <p:spPr>
          <a:xfrm>
            <a:off x="7493596"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8EE8BFCE-80EA-42CA-BB7F-593649D84A30}"/>
              </a:ext>
            </a:extLst>
          </p:cNvPr>
          <p:cNvCxnSpPr/>
          <p:nvPr userDrawn="1"/>
        </p:nvCxnSpPr>
        <p:spPr>
          <a:xfrm>
            <a:off x="636702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0E21FFB-B047-43B5-8ED5-C25520D32581}"/>
              </a:ext>
            </a:extLst>
          </p:cNvPr>
          <p:cNvCxnSpPr/>
          <p:nvPr userDrawn="1"/>
        </p:nvCxnSpPr>
        <p:spPr>
          <a:xfrm>
            <a:off x="11186336"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nvGrpSpPr>
          <p:cNvPr id="112" name="Group 111">
            <a:extLst>
              <a:ext uri="{FF2B5EF4-FFF2-40B4-BE49-F238E27FC236}">
                <a16:creationId xmlns:a16="http://schemas.microsoft.com/office/drawing/2014/main" id="{47F269D9-BB7E-4EFC-BCB3-E709BE86FE27}"/>
              </a:ext>
            </a:extLst>
          </p:cNvPr>
          <p:cNvGrpSpPr/>
          <p:nvPr userDrawn="1"/>
        </p:nvGrpSpPr>
        <p:grpSpPr>
          <a:xfrm>
            <a:off x="11393217" y="6628477"/>
            <a:ext cx="473369" cy="183554"/>
            <a:chOff x="11393217" y="6628477"/>
            <a:chExt cx="473369" cy="183554"/>
          </a:xfrm>
        </p:grpSpPr>
        <p:sp>
          <p:nvSpPr>
            <p:cNvPr id="113" name="Freeform: Shape 112">
              <a:extLst>
                <a:ext uri="{FF2B5EF4-FFF2-40B4-BE49-F238E27FC236}">
                  <a16:creationId xmlns:a16="http://schemas.microsoft.com/office/drawing/2014/main" id="{24A88752-D14D-42E2-93D6-845A26BEE4DC}"/>
                </a:ext>
              </a:extLst>
            </p:cNvPr>
            <p:cNvSpPr/>
            <p:nvPr/>
          </p:nvSpPr>
          <p:spPr>
            <a:xfrm>
              <a:off x="11432435" y="6628477"/>
              <a:ext cx="90651" cy="18332"/>
            </a:xfrm>
            <a:custGeom>
              <a:avLst/>
              <a:gdLst>
                <a:gd name="connsiteX0" fmla="*/ 11746 w 160635"/>
                <a:gd name="connsiteY0" fmla="*/ 19438 h 32484"/>
                <a:gd name="connsiteX1" fmla="*/ 53842 w 160635"/>
                <a:gd name="connsiteY1" fmla="*/ 32138 h 32484"/>
                <a:gd name="connsiteX2" fmla="*/ 96443 w 160635"/>
                <a:gd name="connsiteY2" fmla="*/ 19438 h 32484"/>
                <a:gd name="connsiteX3" fmla="*/ 138646 w 160635"/>
                <a:gd name="connsiteY3" fmla="*/ 32138 h 32484"/>
                <a:gd name="connsiteX4" fmla="*/ 161624 w 160635"/>
                <a:gd name="connsiteY4" fmla="*/ 25721 h 32484"/>
                <a:gd name="connsiteX5" fmla="*/ 78205 w 160635"/>
                <a:gd name="connsiteY5" fmla="*/ -345 h 32484"/>
                <a:gd name="connsiteX6" fmla="*/ 989 w 160635"/>
                <a:gd name="connsiteY6" fmla="*/ 21648 h 32484"/>
                <a:gd name="connsiteX7" fmla="*/ 11879 w 160635"/>
                <a:gd name="connsiteY7" fmla="*/ 19438 h 3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635" h="32484">
                  <a:moveTo>
                    <a:pt x="11746" y="19438"/>
                  </a:moveTo>
                  <a:cubicBezTo>
                    <a:pt x="29798" y="19438"/>
                    <a:pt x="34671" y="32138"/>
                    <a:pt x="53842" y="32138"/>
                  </a:cubicBezTo>
                  <a:cubicBezTo>
                    <a:pt x="73012" y="32138"/>
                    <a:pt x="77645" y="19438"/>
                    <a:pt x="96443" y="19438"/>
                  </a:cubicBezTo>
                  <a:cubicBezTo>
                    <a:pt x="113644" y="19438"/>
                    <a:pt x="120700" y="32138"/>
                    <a:pt x="138646" y="32138"/>
                  </a:cubicBezTo>
                  <a:cubicBezTo>
                    <a:pt x="146732" y="32029"/>
                    <a:pt x="154651" y="29819"/>
                    <a:pt x="161624" y="25721"/>
                  </a:cubicBezTo>
                  <a:cubicBezTo>
                    <a:pt x="137136" y="8707"/>
                    <a:pt x="108023" y="-388"/>
                    <a:pt x="78205" y="-345"/>
                  </a:cubicBezTo>
                  <a:cubicBezTo>
                    <a:pt x="50915" y="-377"/>
                    <a:pt x="24164" y="7240"/>
                    <a:pt x="989" y="21648"/>
                  </a:cubicBezTo>
                  <a:cubicBezTo>
                    <a:pt x="4440" y="20210"/>
                    <a:pt x="8140" y="19459"/>
                    <a:pt x="11879" y="19438"/>
                  </a:cubicBezTo>
                </a:path>
              </a:pathLst>
            </a:custGeom>
            <a:solidFill>
              <a:srgbClr val="4FE3F2"/>
            </a:solidFill>
            <a:ln w="2661" cap="flat">
              <a:noFill/>
              <a:prstDash val="solid"/>
              <a:miter/>
            </a:ln>
          </p:spPr>
          <p:txBody>
            <a:bodyPr rtlCol="0" anchor="ctr"/>
            <a:lstStyle/>
            <a:p>
              <a:endParaRPr lang="pl-PL"/>
            </a:p>
          </p:txBody>
        </p:sp>
        <p:sp>
          <p:nvSpPr>
            <p:cNvPr id="114" name="Freeform: Shape 113">
              <a:extLst>
                <a:ext uri="{FF2B5EF4-FFF2-40B4-BE49-F238E27FC236}">
                  <a16:creationId xmlns:a16="http://schemas.microsoft.com/office/drawing/2014/main" id="{E74788ED-6403-4F3D-AC0B-1C101C67D3F8}"/>
                </a:ext>
              </a:extLst>
            </p:cNvPr>
            <p:cNvSpPr/>
            <p:nvPr/>
          </p:nvSpPr>
          <p:spPr>
            <a:xfrm>
              <a:off x="11432374" y="6628522"/>
              <a:ext cx="90726" cy="18332"/>
            </a:xfrm>
            <a:custGeom>
              <a:avLst/>
              <a:gdLst>
                <a:gd name="connsiteX0" fmla="*/ 78205 w 160768"/>
                <a:gd name="connsiteY0" fmla="*/ -345 h 32484"/>
                <a:gd name="connsiteX1" fmla="*/ 989 w 160768"/>
                <a:gd name="connsiteY1" fmla="*/ 21648 h 32484"/>
                <a:gd name="connsiteX2" fmla="*/ 11879 w 160768"/>
                <a:gd name="connsiteY2" fmla="*/ 19438 h 32484"/>
                <a:gd name="connsiteX3" fmla="*/ 53975 w 160768"/>
                <a:gd name="connsiteY3" fmla="*/ 32138 h 32484"/>
                <a:gd name="connsiteX4" fmla="*/ 96577 w 160768"/>
                <a:gd name="connsiteY4" fmla="*/ 19438 h 32484"/>
                <a:gd name="connsiteX5" fmla="*/ 138806 w 160768"/>
                <a:gd name="connsiteY5" fmla="*/ 32138 h 32484"/>
                <a:gd name="connsiteX6" fmla="*/ 161757 w 160768"/>
                <a:gd name="connsiteY6" fmla="*/ 25722 h 32484"/>
                <a:gd name="connsiteX7" fmla="*/ 78338 w 160768"/>
                <a:gd name="connsiteY7" fmla="*/ -345 h 3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8" h="32484">
                  <a:moveTo>
                    <a:pt x="78205" y="-345"/>
                  </a:moveTo>
                  <a:cubicBezTo>
                    <a:pt x="50915" y="-377"/>
                    <a:pt x="24164" y="7240"/>
                    <a:pt x="989" y="21648"/>
                  </a:cubicBezTo>
                  <a:cubicBezTo>
                    <a:pt x="4439" y="20210"/>
                    <a:pt x="8140" y="19459"/>
                    <a:pt x="11879" y="19438"/>
                  </a:cubicBezTo>
                  <a:cubicBezTo>
                    <a:pt x="29931" y="19438"/>
                    <a:pt x="34804" y="32138"/>
                    <a:pt x="53975" y="32138"/>
                  </a:cubicBezTo>
                  <a:cubicBezTo>
                    <a:pt x="73146" y="32138"/>
                    <a:pt x="77778" y="19438"/>
                    <a:pt x="96577" y="19438"/>
                  </a:cubicBezTo>
                  <a:cubicBezTo>
                    <a:pt x="113777" y="19438"/>
                    <a:pt x="120833" y="32138"/>
                    <a:pt x="138806" y="32138"/>
                  </a:cubicBezTo>
                  <a:cubicBezTo>
                    <a:pt x="146884" y="32027"/>
                    <a:pt x="154792" y="29814"/>
                    <a:pt x="161757" y="25722"/>
                  </a:cubicBezTo>
                  <a:cubicBezTo>
                    <a:pt x="137269" y="8707"/>
                    <a:pt x="108156" y="-388"/>
                    <a:pt x="78338" y="-345"/>
                  </a:cubicBezTo>
                </a:path>
              </a:pathLst>
            </a:custGeom>
            <a:solidFill>
              <a:srgbClr val="BAF2FA"/>
            </a:solidFill>
            <a:ln w="2661" cap="flat">
              <a:noFill/>
              <a:prstDash val="solid"/>
              <a:miter/>
            </a:ln>
          </p:spPr>
          <p:txBody>
            <a:bodyPr rtlCol="0" anchor="ctr"/>
            <a:lstStyle/>
            <a:p>
              <a:endParaRPr lang="pl-PL"/>
            </a:p>
          </p:txBody>
        </p:sp>
        <p:sp>
          <p:nvSpPr>
            <p:cNvPr id="115" name="Freeform: Shape 114">
              <a:extLst>
                <a:ext uri="{FF2B5EF4-FFF2-40B4-BE49-F238E27FC236}">
                  <a16:creationId xmlns:a16="http://schemas.microsoft.com/office/drawing/2014/main" id="{98478670-3476-4EA9-B40D-33FEED49A00C}"/>
                </a:ext>
              </a:extLst>
            </p:cNvPr>
            <p:cNvSpPr/>
            <p:nvPr/>
          </p:nvSpPr>
          <p:spPr>
            <a:xfrm>
              <a:off x="11427415" y="6639597"/>
              <a:ext cx="108562" cy="21802"/>
            </a:xfrm>
            <a:custGeom>
              <a:avLst/>
              <a:gdLst>
                <a:gd name="connsiteX0" fmla="*/ 105230 w 192373"/>
                <a:gd name="connsiteY0" fmla="*/ -266 h 38634"/>
                <a:gd name="connsiteX1" fmla="*/ 62628 w 192373"/>
                <a:gd name="connsiteY1" fmla="*/ 12435 h 38634"/>
                <a:gd name="connsiteX2" fmla="*/ 20532 w 192373"/>
                <a:gd name="connsiteY2" fmla="*/ -266 h 38634"/>
                <a:gd name="connsiteX3" fmla="*/ 9642 w 192373"/>
                <a:gd name="connsiteY3" fmla="*/ 1944 h 38634"/>
                <a:gd name="connsiteX4" fmla="*/ 989 w 192373"/>
                <a:gd name="connsiteY4" fmla="*/ 7775 h 38634"/>
                <a:gd name="connsiteX5" fmla="*/ 21171 w 192373"/>
                <a:gd name="connsiteY5" fmla="*/ 25615 h 38634"/>
                <a:gd name="connsiteX6" fmla="*/ 62628 w 192373"/>
                <a:gd name="connsiteY6" fmla="*/ 38289 h 38634"/>
                <a:gd name="connsiteX7" fmla="*/ 105230 w 192373"/>
                <a:gd name="connsiteY7" fmla="*/ 25588 h 38634"/>
                <a:gd name="connsiteX8" fmla="*/ 147459 w 192373"/>
                <a:gd name="connsiteY8" fmla="*/ 38289 h 38634"/>
                <a:gd name="connsiteX9" fmla="*/ 190700 w 192373"/>
                <a:gd name="connsiteY9" fmla="*/ 25588 h 38634"/>
                <a:gd name="connsiteX10" fmla="*/ 193363 w 192373"/>
                <a:gd name="connsiteY10" fmla="*/ 25588 h 38634"/>
                <a:gd name="connsiteX11" fmla="*/ 170438 w 192373"/>
                <a:gd name="connsiteY11" fmla="*/ 5938 h 38634"/>
                <a:gd name="connsiteX12" fmla="*/ 147486 w 192373"/>
                <a:gd name="connsiteY12" fmla="*/ 12355 h 38634"/>
                <a:gd name="connsiteX13" fmla="*/ 105257 w 192373"/>
                <a:gd name="connsiteY13" fmla="*/ -346 h 38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2373" h="38634">
                  <a:moveTo>
                    <a:pt x="105230" y="-266"/>
                  </a:moveTo>
                  <a:cubicBezTo>
                    <a:pt x="86592" y="-266"/>
                    <a:pt x="81799" y="12435"/>
                    <a:pt x="62628" y="12435"/>
                  </a:cubicBezTo>
                  <a:cubicBezTo>
                    <a:pt x="43457" y="12435"/>
                    <a:pt x="38665" y="-266"/>
                    <a:pt x="20532" y="-266"/>
                  </a:cubicBezTo>
                  <a:cubicBezTo>
                    <a:pt x="16794" y="-244"/>
                    <a:pt x="13093" y="506"/>
                    <a:pt x="9642" y="1944"/>
                  </a:cubicBezTo>
                  <a:cubicBezTo>
                    <a:pt x="6687" y="3781"/>
                    <a:pt x="3785" y="5725"/>
                    <a:pt x="989" y="7775"/>
                  </a:cubicBezTo>
                  <a:cubicBezTo>
                    <a:pt x="8031" y="13356"/>
                    <a:pt x="14768" y="19312"/>
                    <a:pt x="21171" y="25615"/>
                  </a:cubicBezTo>
                  <a:cubicBezTo>
                    <a:pt x="38691" y="25908"/>
                    <a:pt x="43697" y="38289"/>
                    <a:pt x="62628" y="38289"/>
                  </a:cubicBezTo>
                  <a:cubicBezTo>
                    <a:pt x="81559" y="38289"/>
                    <a:pt x="86432" y="25588"/>
                    <a:pt x="105230" y="25588"/>
                  </a:cubicBezTo>
                  <a:cubicBezTo>
                    <a:pt x="122431" y="25588"/>
                    <a:pt x="129487" y="38289"/>
                    <a:pt x="147459" y="38289"/>
                  </a:cubicBezTo>
                  <a:cubicBezTo>
                    <a:pt x="167456" y="38289"/>
                    <a:pt x="173872" y="25588"/>
                    <a:pt x="190700" y="25588"/>
                  </a:cubicBezTo>
                  <a:cubicBezTo>
                    <a:pt x="191632" y="25588"/>
                    <a:pt x="192484" y="25588"/>
                    <a:pt x="193363" y="25588"/>
                  </a:cubicBezTo>
                  <a:cubicBezTo>
                    <a:pt x="186416" y="18269"/>
                    <a:pt x="178734" y="11684"/>
                    <a:pt x="170438" y="5938"/>
                  </a:cubicBezTo>
                  <a:cubicBezTo>
                    <a:pt x="163472" y="10031"/>
                    <a:pt x="155564" y="12243"/>
                    <a:pt x="147486" y="12355"/>
                  </a:cubicBezTo>
                  <a:cubicBezTo>
                    <a:pt x="129513" y="12355"/>
                    <a:pt x="122457" y="-346"/>
                    <a:pt x="105257" y="-346"/>
                  </a:cubicBezTo>
                </a:path>
              </a:pathLst>
            </a:custGeom>
            <a:solidFill>
              <a:srgbClr val="4FE3F2"/>
            </a:solidFill>
            <a:ln w="2661" cap="flat">
              <a:noFill/>
              <a:prstDash val="solid"/>
              <a:miter/>
            </a:ln>
          </p:spPr>
          <p:txBody>
            <a:bodyPr rtlCol="0" anchor="ctr"/>
            <a:lstStyle/>
            <a:p>
              <a:endParaRPr lang="pl-PL"/>
            </a:p>
          </p:txBody>
        </p:sp>
        <p:sp>
          <p:nvSpPr>
            <p:cNvPr id="116" name="Freeform: Shape 115">
              <a:extLst>
                <a:ext uri="{FF2B5EF4-FFF2-40B4-BE49-F238E27FC236}">
                  <a16:creationId xmlns:a16="http://schemas.microsoft.com/office/drawing/2014/main" id="{940F654C-DF8A-48AE-9A8B-80ABFC1ABDD9}"/>
                </a:ext>
              </a:extLst>
            </p:cNvPr>
            <p:cNvSpPr/>
            <p:nvPr/>
          </p:nvSpPr>
          <p:spPr>
            <a:xfrm>
              <a:off x="11438745" y="6654277"/>
              <a:ext cx="111537" cy="22389"/>
            </a:xfrm>
            <a:custGeom>
              <a:avLst/>
              <a:gdLst>
                <a:gd name="connsiteX0" fmla="*/ 127250 w 197645"/>
                <a:gd name="connsiteY0" fmla="*/ 12355 h 39673"/>
                <a:gd name="connsiteX1" fmla="*/ 85048 w 197645"/>
                <a:gd name="connsiteY1" fmla="*/ -346 h 39673"/>
                <a:gd name="connsiteX2" fmla="*/ 42446 w 197645"/>
                <a:gd name="connsiteY2" fmla="*/ 12355 h 39673"/>
                <a:gd name="connsiteX3" fmla="*/ 989 w 197645"/>
                <a:gd name="connsiteY3" fmla="*/ -319 h 39673"/>
                <a:gd name="connsiteX4" fmla="*/ 24233 w 197645"/>
                <a:gd name="connsiteY4" fmla="*/ 25881 h 39673"/>
                <a:gd name="connsiteX5" fmla="*/ 33100 w 197645"/>
                <a:gd name="connsiteY5" fmla="*/ 38209 h 39673"/>
                <a:gd name="connsiteX6" fmla="*/ 42446 w 197645"/>
                <a:gd name="connsiteY6" fmla="*/ 39327 h 39673"/>
                <a:gd name="connsiteX7" fmla="*/ 85048 w 197645"/>
                <a:gd name="connsiteY7" fmla="*/ 26627 h 39673"/>
                <a:gd name="connsiteX8" fmla="*/ 127250 w 197645"/>
                <a:gd name="connsiteY8" fmla="*/ 39327 h 39673"/>
                <a:gd name="connsiteX9" fmla="*/ 170517 w 197645"/>
                <a:gd name="connsiteY9" fmla="*/ 26627 h 39673"/>
                <a:gd name="connsiteX10" fmla="*/ 198635 w 197645"/>
                <a:gd name="connsiteY10" fmla="*/ 36478 h 39673"/>
                <a:gd name="connsiteX11" fmla="*/ 173153 w 197645"/>
                <a:gd name="connsiteY11" fmla="*/ -266 h 39673"/>
                <a:gd name="connsiteX12" fmla="*/ 170491 w 197645"/>
                <a:gd name="connsiteY12" fmla="*/ -266 h 39673"/>
                <a:gd name="connsiteX13" fmla="*/ 127223 w 197645"/>
                <a:gd name="connsiteY13" fmla="*/ 12435 h 39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7645" h="39673">
                  <a:moveTo>
                    <a:pt x="127250" y="12355"/>
                  </a:moveTo>
                  <a:cubicBezTo>
                    <a:pt x="109304" y="12355"/>
                    <a:pt x="102248" y="-346"/>
                    <a:pt x="85048" y="-346"/>
                  </a:cubicBezTo>
                  <a:cubicBezTo>
                    <a:pt x="66409" y="-346"/>
                    <a:pt x="61616" y="12355"/>
                    <a:pt x="42446" y="12355"/>
                  </a:cubicBezTo>
                  <a:cubicBezTo>
                    <a:pt x="23275" y="12355"/>
                    <a:pt x="18482" y="-26"/>
                    <a:pt x="989" y="-319"/>
                  </a:cubicBezTo>
                  <a:cubicBezTo>
                    <a:pt x="9333" y="7866"/>
                    <a:pt x="17100" y="16621"/>
                    <a:pt x="24233" y="25881"/>
                  </a:cubicBezTo>
                  <a:cubicBezTo>
                    <a:pt x="27295" y="29902"/>
                    <a:pt x="30277" y="34002"/>
                    <a:pt x="33100" y="38209"/>
                  </a:cubicBezTo>
                  <a:cubicBezTo>
                    <a:pt x="36157" y="38971"/>
                    <a:pt x="39296" y="39346"/>
                    <a:pt x="42446" y="39327"/>
                  </a:cubicBezTo>
                  <a:cubicBezTo>
                    <a:pt x="61510" y="39327"/>
                    <a:pt x="66249" y="26627"/>
                    <a:pt x="85048" y="26627"/>
                  </a:cubicBezTo>
                  <a:cubicBezTo>
                    <a:pt x="102248" y="26627"/>
                    <a:pt x="109304" y="39327"/>
                    <a:pt x="127250" y="39327"/>
                  </a:cubicBezTo>
                  <a:cubicBezTo>
                    <a:pt x="147273" y="39327"/>
                    <a:pt x="153690" y="26627"/>
                    <a:pt x="170517" y="26627"/>
                  </a:cubicBezTo>
                  <a:cubicBezTo>
                    <a:pt x="184283" y="26627"/>
                    <a:pt x="189635" y="32245"/>
                    <a:pt x="198635" y="36478"/>
                  </a:cubicBezTo>
                  <a:cubicBezTo>
                    <a:pt x="192063" y="23003"/>
                    <a:pt x="183471" y="10611"/>
                    <a:pt x="173153" y="-266"/>
                  </a:cubicBezTo>
                  <a:cubicBezTo>
                    <a:pt x="172301" y="-266"/>
                    <a:pt x="171449" y="-266"/>
                    <a:pt x="170491" y="-266"/>
                  </a:cubicBezTo>
                  <a:cubicBezTo>
                    <a:pt x="153663" y="-266"/>
                    <a:pt x="147246" y="12435"/>
                    <a:pt x="127223" y="12435"/>
                  </a:cubicBezTo>
                </a:path>
              </a:pathLst>
            </a:custGeom>
            <a:solidFill>
              <a:srgbClr val="0066E5"/>
            </a:solidFill>
            <a:ln w="2661" cap="flat">
              <a:noFill/>
              <a:prstDash val="solid"/>
              <a:miter/>
            </a:ln>
          </p:spPr>
          <p:txBody>
            <a:bodyPr rtlCol="0" anchor="ctr"/>
            <a:lstStyle/>
            <a:p>
              <a:endParaRPr lang="pl-PL"/>
            </a:p>
          </p:txBody>
        </p:sp>
        <p:sp>
          <p:nvSpPr>
            <p:cNvPr id="117" name="Freeform: Shape 116">
              <a:extLst>
                <a:ext uri="{FF2B5EF4-FFF2-40B4-BE49-F238E27FC236}">
                  <a16:creationId xmlns:a16="http://schemas.microsoft.com/office/drawing/2014/main" id="{100A3173-20B0-4AA4-95F6-85A01BDEFBBE}"/>
                </a:ext>
              </a:extLst>
            </p:cNvPr>
            <p:cNvSpPr/>
            <p:nvPr/>
          </p:nvSpPr>
          <p:spPr>
            <a:xfrm>
              <a:off x="11456867" y="6669498"/>
              <a:ext cx="99186" cy="29390"/>
            </a:xfrm>
            <a:custGeom>
              <a:avLst/>
              <a:gdLst>
                <a:gd name="connsiteX0" fmla="*/ 95139 w 175759"/>
                <a:gd name="connsiteY0" fmla="*/ 12355 h 52080"/>
                <a:gd name="connsiteX1" fmla="*/ 52936 w 175759"/>
                <a:gd name="connsiteY1" fmla="*/ -346 h 52080"/>
                <a:gd name="connsiteX2" fmla="*/ 10335 w 175759"/>
                <a:gd name="connsiteY2" fmla="*/ 12355 h 52080"/>
                <a:gd name="connsiteX3" fmla="*/ 989 w 175759"/>
                <a:gd name="connsiteY3" fmla="*/ 11210 h 52080"/>
                <a:gd name="connsiteX4" fmla="*/ 23248 w 175759"/>
                <a:gd name="connsiteY4" fmla="*/ 51735 h 52080"/>
                <a:gd name="connsiteX5" fmla="*/ 22929 w 175759"/>
                <a:gd name="connsiteY5" fmla="*/ 50963 h 52080"/>
                <a:gd name="connsiteX6" fmla="*/ 110183 w 175759"/>
                <a:gd name="connsiteY6" fmla="*/ 22633 h 52080"/>
                <a:gd name="connsiteX7" fmla="*/ 176748 w 175759"/>
                <a:gd name="connsiteY7" fmla="*/ 38262 h 52080"/>
                <a:gd name="connsiteX8" fmla="*/ 166310 w 175759"/>
                <a:gd name="connsiteY8" fmla="*/ 9506 h 52080"/>
                <a:gd name="connsiteX9" fmla="*/ 138193 w 175759"/>
                <a:gd name="connsiteY9" fmla="*/ -346 h 52080"/>
                <a:gd name="connsiteX10" fmla="*/ 94926 w 175759"/>
                <a:gd name="connsiteY10" fmla="*/ 12355 h 52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5759" h="52080">
                  <a:moveTo>
                    <a:pt x="95139" y="12355"/>
                  </a:moveTo>
                  <a:cubicBezTo>
                    <a:pt x="77193" y="12355"/>
                    <a:pt x="70137" y="-346"/>
                    <a:pt x="52936" y="-346"/>
                  </a:cubicBezTo>
                  <a:cubicBezTo>
                    <a:pt x="34298" y="-346"/>
                    <a:pt x="29505" y="12355"/>
                    <a:pt x="10335" y="12355"/>
                  </a:cubicBezTo>
                  <a:cubicBezTo>
                    <a:pt x="7182" y="12379"/>
                    <a:pt x="4043" y="11993"/>
                    <a:pt x="989" y="11210"/>
                  </a:cubicBezTo>
                  <a:cubicBezTo>
                    <a:pt x="9634" y="24007"/>
                    <a:pt x="17087" y="37573"/>
                    <a:pt x="23248" y="51735"/>
                  </a:cubicBezTo>
                  <a:lnTo>
                    <a:pt x="22929" y="50963"/>
                  </a:lnTo>
                  <a:cubicBezTo>
                    <a:pt x="48205" y="32375"/>
                    <a:pt x="78806" y="22438"/>
                    <a:pt x="110183" y="22633"/>
                  </a:cubicBezTo>
                  <a:cubicBezTo>
                    <a:pt x="133286" y="22574"/>
                    <a:pt x="156083" y="27926"/>
                    <a:pt x="176748" y="38262"/>
                  </a:cubicBezTo>
                  <a:cubicBezTo>
                    <a:pt x="174298" y="28333"/>
                    <a:pt x="170800" y="18695"/>
                    <a:pt x="166310" y="9506"/>
                  </a:cubicBezTo>
                  <a:cubicBezTo>
                    <a:pt x="157311" y="5273"/>
                    <a:pt x="151959" y="-346"/>
                    <a:pt x="138193" y="-346"/>
                  </a:cubicBezTo>
                  <a:cubicBezTo>
                    <a:pt x="121365" y="-346"/>
                    <a:pt x="114949" y="12355"/>
                    <a:pt x="94926" y="12355"/>
                  </a:cubicBezTo>
                </a:path>
              </a:pathLst>
            </a:custGeom>
            <a:solidFill>
              <a:srgbClr val="143DCF"/>
            </a:solidFill>
            <a:ln w="2661" cap="flat">
              <a:noFill/>
              <a:prstDash val="solid"/>
              <a:miter/>
            </a:ln>
          </p:spPr>
          <p:txBody>
            <a:bodyPr rtlCol="0" anchor="ctr"/>
            <a:lstStyle/>
            <a:p>
              <a:endParaRPr lang="pl-PL"/>
            </a:p>
          </p:txBody>
        </p:sp>
        <p:sp>
          <p:nvSpPr>
            <p:cNvPr id="118" name="Freeform: Shape 117">
              <a:extLst>
                <a:ext uri="{FF2B5EF4-FFF2-40B4-BE49-F238E27FC236}">
                  <a16:creationId xmlns:a16="http://schemas.microsoft.com/office/drawing/2014/main" id="{EC2C3ACC-D0CE-40C8-A581-F5FA363C52ED}"/>
                </a:ext>
              </a:extLst>
            </p:cNvPr>
            <p:cNvSpPr/>
            <p:nvPr/>
          </p:nvSpPr>
          <p:spPr>
            <a:xfrm>
              <a:off x="11469428" y="6682464"/>
              <a:ext cx="88352" cy="28821"/>
            </a:xfrm>
            <a:custGeom>
              <a:avLst/>
              <a:gdLst>
                <a:gd name="connsiteX0" fmla="*/ 154808 w 156561"/>
                <a:gd name="connsiteY0" fmla="*/ 15287 h 51071"/>
                <a:gd name="connsiteX1" fmla="*/ 88243 w 156561"/>
                <a:gd name="connsiteY1" fmla="*/ -343 h 51071"/>
                <a:gd name="connsiteX2" fmla="*/ 989 w 156561"/>
                <a:gd name="connsiteY2" fmla="*/ 27987 h 51071"/>
                <a:gd name="connsiteX3" fmla="*/ 1308 w 156561"/>
                <a:gd name="connsiteY3" fmla="*/ 28760 h 51071"/>
                <a:gd name="connsiteX4" fmla="*/ 2533 w 156561"/>
                <a:gd name="connsiteY4" fmla="*/ 31635 h 51071"/>
                <a:gd name="connsiteX5" fmla="*/ 3172 w 156561"/>
                <a:gd name="connsiteY5" fmla="*/ 33153 h 51071"/>
                <a:gd name="connsiteX6" fmla="*/ 5568 w 156561"/>
                <a:gd name="connsiteY6" fmla="*/ 39170 h 51071"/>
                <a:gd name="connsiteX7" fmla="*/ 5888 w 156561"/>
                <a:gd name="connsiteY7" fmla="*/ 40049 h 51071"/>
                <a:gd name="connsiteX8" fmla="*/ 6740 w 156561"/>
                <a:gd name="connsiteY8" fmla="*/ 42339 h 51071"/>
                <a:gd name="connsiteX9" fmla="*/ 7619 w 156561"/>
                <a:gd name="connsiteY9" fmla="*/ 44709 h 51071"/>
                <a:gd name="connsiteX10" fmla="*/ 8364 w 156561"/>
                <a:gd name="connsiteY10" fmla="*/ 46892 h 51071"/>
                <a:gd name="connsiteX11" fmla="*/ 9269 w 156561"/>
                <a:gd name="connsiteY11" fmla="*/ 49555 h 51071"/>
                <a:gd name="connsiteX12" fmla="*/ 9669 w 156561"/>
                <a:gd name="connsiteY12" fmla="*/ 50726 h 51071"/>
                <a:gd name="connsiteX13" fmla="*/ 88243 w 156561"/>
                <a:gd name="connsiteY13" fmla="*/ 28360 h 51071"/>
                <a:gd name="connsiteX14" fmla="*/ 109544 w 156561"/>
                <a:gd name="connsiteY14" fmla="*/ 29825 h 51071"/>
                <a:gd name="connsiteX15" fmla="*/ 112606 w 156561"/>
                <a:gd name="connsiteY15" fmla="*/ 30038 h 51071"/>
                <a:gd name="connsiteX16" fmla="*/ 112925 w 156561"/>
                <a:gd name="connsiteY16" fmla="*/ 30038 h 51071"/>
                <a:gd name="connsiteX17" fmla="*/ 113378 w 156561"/>
                <a:gd name="connsiteY17" fmla="*/ 30038 h 51071"/>
                <a:gd name="connsiteX18" fmla="*/ 116040 w 156561"/>
                <a:gd name="connsiteY18" fmla="*/ 30677 h 51071"/>
                <a:gd name="connsiteX19" fmla="*/ 116040 w 156561"/>
                <a:gd name="connsiteY19" fmla="*/ 30677 h 51071"/>
                <a:gd name="connsiteX20" fmla="*/ 123256 w 156561"/>
                <a:gd name="connsiteY20" fmla="*/ 18722 h 51071"/>
                <a:gd name="connsiteX21" fmla="*/ 139232 w 156561"/>
                <a:gd name="connsiteY21" fmla="*/ 15873 h 51071"/>
                <a:gd name="connsiteX22" fmla="*/ 139232 w 156561"/>
                <a:gd name="connsiteY22" fmla="*/ 15873 h 51071"/>
                <a:gd name="connsiteX23" fmla="*/ 140536 w 156561"/>
                <a:gd name="connsiteY23" fmla="*/ 37520 h 51071"/>
                <a:gd name="connsiteX24" fmla="*/ 150015 w 156561"/>
                <a:gd name="connsiteY24" fmla="*/ 29691 h 51071"/>
                <a:gd name="connsiteX25" fmla="*/ 157550 w 156561"/>
                <a:gd name="connsiteY25" fmla="*/ 29212 h 51071"/>
                <a:gd name="connsiteX26" fmla="*/ 154888 w 156561"/>
                <a:gd name="connsiteY26" fmla="*/ 15180 h 5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6561" h="51071">
                  <a:moveTo>
                    <a:pt x="154808" y="15287"/>
                  </a:moveTo>
                  <a:cubicBezTo>
                    <a:pt x="134143" y="4950"/>
                    <a:pt x="111346" y="-401"/>
                    <a:pt x="88243" y="-343"/>
                  </a:cubicBezTo>
                  <a:cubicBezTo>
                    <a:pt x="56866" y="-537"/>
                    <a:pt x="26265" y="9400"/>
                    <a:pt x="989" y="27987"/>
                  </a:cubicBezTo>
                  <a:lnTo>
                    <a:pt x="1308" y="28760"/>
                  </a:lnTo>
                  <a:cubicBezTo>
                    <a:pt x="1734" y="29718"/>
                    <a:pt x="2134" y="30677"/>
                    <a:pt x="2533" y="31635"/>
                  </a:cubicBezTo>
                  <a:lnTo>
                    <a:pt x="3172" y="33153"/>
                  </a:lnTo>
                  <a:cubicBezTo>
                    <a:pt x="3997" y="35150"/>
                    <a:pt x="4796" y="37147"/>
                    <a:pt x="5568" y="39170"/>
                  </a:cubicBezTo>
                  <a:lnTo>
                    <a:pt x="5888" y="40049"/>
                  </a:lnTo>
                  <a:cubicBezTo>
                    <a:pt x="6181" y="40821"/>
                    <a:pt x="6474" y="41593"/>
                    <a:pt x="6740" y="42339"/>
                  </a:cubicBezTo>
                  <a:lnTo>
                    <a:pt x="7619" y="44709"/>
                  </a:lnTo>
                  <a:cubicBezTo>
                    <a:pt x="7858" y="45454"/>
                    <a:pt x="8124" y="46173"/>
                    <a:pt x="8364" y="46892"/>
                  </a:cubicBezTo>
                  <a:cubicBezTo>
                    <a:pt x="8604" y="47611"/>
                    <a:pt x="8977" y="48649"/>
                    <a:pt x="9269" y="49555"/>
                  </a:cubicBezTo>
                  <a:lnTo>
                    <a:pt x="9669" y="50726"/>
                  </a:lnTo>
                  <a:cubicBezTo>
                    <a:pt x="33212" y="35978"/>
                    <a:pt x="60461" y="28222"/>
                    <a:pt x="88243" y="28360"/>
                  </a:cubicBezTo>
                  <a:cubicBezTo>
                    <a:pt x="95368" y="28358"/>
                    <a:pt x="102485" y="28847"/>
                    <a:pt x="109544" y="29825"/>
                  </a:cubicBezTo>
                  <a:cubicBezTo>
                    <a:pt x="110569" y="29835"/>
                    <a:pt x="111591" y="29907"/>
                    <a:pt x="112606" y="30038"/>
                  </a:cubicBezTo>
                  <a:lnTo>
                    <a:pt x="112925" y="30038"/>
                  </a:lnTo>
                  <a:lnTo>
                    <a:pt x="113378" y="30038"/>
                  </a:lnTo>
                  <a:cubicBezTo>
                    <a:pt x="114278" y="30189"/>
                    <a:pt x="115170" y="30402"/>
                    <a:pt x="116040" y="30677"/>
                  </a:cubicBezTo>
                  <a:lnTo>
                    <a:pt x="116040" y="30677"/>
                  </a:lnTo>
                  <a:cubicBezTo>
                    <a:pt x="116123" y="25684"/>
                    <a:pt x="118879" y="21121"/>
                    <a:pt x="123256" y="18722"/>
                  </a:cubicBezTo>
                  <a:cubicBezTo>
                    <a:pt x="129460" y="14994"/>
                    <a:pt x="139232" y="15873"/>
                    <a:pt x="139232" y="15873"/>
                  </a:cubicBezTo>
                  <a:lnTo>
                    <a:pt x="139232" y="15873"/>
                  </a:lnTo>
                  <a:cubicBezTo>
                    <a:pt x="140068" y="23059"/>
                    <a:pt x="140504" y="30285"/>
                    <a:pt x="140536" y="37520"/>
                  </a:cubicBezTo>
                  <a:cubicBezTo>
                    <a:pt x="142291" y="33566"/>
                    <a:pt x="145800" y="30666"/>
                    <a:pt x="150015" y="29691"/>
                  </a:cubicBezTo>
                  <a:cubicBezTo>
                    <a:pt x="152483" y="29124"/>
                    <a:pt x="155029" y="28962"/>
                    <a:pt x="157550" y="29212"/>
                  </a:cubicBezTo>
                  <a:cubicBezTo>
                    <a:pt x="156858" y="24446"/>
                    <a:pt x="155953" y="19787"/>
                    <a:pt x="154888" y="15180"/>
                  </a:cubicBezTo>
                </a:path>
              </a:pathLst>
            </a:custGeom>
            <a:solidFill>
              <a:srgbClr val="00A652"/>
            </a:solidFill>
            <a:ln w="2661" cap="flat">
              <a:noFill/>
              <a:prstDash val="solid"/>
              <a:miter/>
            </a:ln>
          </p:spPr>
          <p:txBody>
            <a:bodyPr rtlCol="0" anchor="ctr"/>
            <a:lstStyle/>
            <a:p>
              <a:endParaRPr lang="pl-PL"/>
            </a:p>
          </p:txBody>
        </p:sp>
        <p:sp>
          <p:nvSpPr>
            <p:cNvPr id="119" name="Freeform: Shape 118">
              <a:extLst>
                <a:ext uri="{FF2B5EF4-FFF2-40B4-BE49-F238E27FC236}">
                  <a16:creationId xmlns:a16="http://schemas.microsoft.com/office/drawing/2014/main" id="{B89F6D18-EF57-46EC-9994-6B9D874D8E65}"/>
                </a:ext>
              </a:extLst>
            </p:cNvPr>
            <p:cNvSpPr/>
            <p:nvPr/>
          </p:nvSpPr>
          <p:spPr>
            <a:xfrm>
              <a:off x="11474267" y="6698648"/>
              <a:ext cx="56271" cy="28174"/>
            </a:xfrm>
            <a:custGeom>
              <a:avLst/>
              <a:gdLst>
                <a:gd name="connsiteX0" fmla="*/ 79563 w 99714"/>
                <a:gd name="connsiteY0" fmla="*/ -344 h 49925"/>
                <a:gd name="connsiteX1" fmla="*/ 989 w 99714"/>
                <a:gd name="connsiteY1" fmla="*/ 22022 h 49925"/>
                <a:gd name="connsiteX2" fmla="*/ 1228 w 99714"/>
                <a:gd name="connsiteY2" fmla="*/ 22821 h 49925"/>
                <a:gd name="connsiteX3" fmla="*/ 2373 w 99714"/>
                <a:gd name="connsiteY3" fmla="*/ 26442 h 49925"/>
                <a:gd name="connsiteX4" fmla="*/ 2773 w 99714"/>
                <a:gd name="connsiteY4" fmla="*/ 27694 h 49925"/>
                <a:gd name="connsiteX5" fmla="*/ 4184 w 99714"/>
                <a:gd name="connsiteY5" fmla="*/ 32540 h 49925"/>
                <a:gd name="connsiteX6" fmla="*/ 4610 w 99714"/>
                <a:gd name="connsiteY6" fmla="*/ 34137 h 49925"/>
                <a:gd name="connsiteX7" fmla="*/ 5515 w 99714"/>
                <a:gd name="connsiteY7" fmla="*/ 37545 h 49925"/>
                <a:gd name="connsiteX8" fmla="*/ 6021 w 99714"/>
                <a:gd name="connsiteY8" fmla="*/ 39542 h 49925"/>
                <a:gd name="connsiteX9" fmla="*/ 6767 w 99714"/>
                <a:gd name="connsiteY9" fmla="*/ 42658 h 49925"/>
                <a:gd name="connsiteX10" fmla="*/ 7246 w 99714"/>
                <a:gd name="connsiteY10" fmla="*/ 44708 h 49925"/>
                <a:gd name="connsiteX11" fmla="*/ 8231 w 99714"/>
                <a:gd name="connsiteY11" fmla="*/ 49128 h 49925"/>
                <a:gd name="connsiteX12" fmla="*/ 8231 w 99714"/>
                <a:gd name="connsiteY12" fmla="*/ 49580 h 49925"/>
                <a:gd name="connsiteX13" fmla="*/ 61936 w 99714"/>
                <a:gd name="connsiteY13" fmla="*/ 32566 h 49925"/>
                <a:gd name="connsiteX14" fmla="*/ 65877 w 99714"/>
                <a:gd name="connsiteY14" fmla="*/ 29904 h 49925"/>
                <a:gd name="connsiteX15" fmla="*/ 78125 w 99714"/>
                <a:gd name="connsiteY15" fmla="*/ 28732 h 49925"/>
                <a:gd name="connsiteX16" fmla="*/ 81373 w 99714"/>
                <a:gd name="connsiteY16" fmla="*/ 29478 h 49925"/>
                <a:gd name="connsiteX17" fmla="*/ 82278 w 99714"/>
                <a:gd name="connsiteY17" fmla="*/ 24339 h 49925"/>
                <a:gd name="connsiteX18" fmla="*/ 88509 w 99714"/>
                <a:gd name="connsiteY18" fmla="*/ 6579 h 49925"/>
                <a:gd name="connsiteX19" fmla="*/ 100704 w 99714"/>
                <a:gd name="connsiteY19" fmla="*/ 1254 h 49925"/>
                <a:gd name="connsiteX20" fmla="*/ 79403 w 99714"/>
                <a:gd name="connsiteY20" fmla="*/ -211 h 49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9714" h="49925">
                  <a:moveTo>
                    <a:pt x="79563" y="-344"/>
                  </a:moveTo>
                  <a:cubicBezTo>
                    <a:pt x="51781" y="-482"/>
                    <a:pt x="24532" y="7274"/>
                    <a:pt x="989" y="22022"/>
                  </a:cubicBezTo>
                  <a:lnTo>
                    <a:pt x="1228" y="22821"/>
                  </a:lnTo>
                  <a:cubicBezTo>
                    <a:pt x="1628" y="24019"/>
                    <a:pt x="2001" y="25244"/>
                    <a:pt x="2373" y="26442"/>
                  </a:cubicBezTo>
                  <a:lnTo>
                    <a:pt x="2773" y="27694"/>
                  </a:lnTo>
                  <a:cubicBezTo>
                    <a:pt x="3252" y="29318"/>
                    <a:pt x="3731" y="30915"/>
                    <a:pt x="4184" y="32540"/>
                  </a:cubicBezTo>
                  <a:cubicBezTo>
                    <a:pt x="4317" y="33072"/>
                    <a:pt x="4450" y="33605"/>
                    <a:pt x="4610" y="34137"/>
                  </a:cubicBezTo>
                  <a:cubicBezTo>
                    <a:pt x="4903" y="35282"/>
                    <a:pt x="5222" y="36400"/>
                    <a:pt x="5515" y="37545"/>
                  </a:cubicBezTo>
                  <a:cubicBezTo>
                    <a:pt x="5675" y="38211"/>
                    <a:pt x="5861" y="38877"/>
                    <a:pt x="6021" y="39542"/>
                  </a:cubicBezTo>
                  <a:cubicBezTo>
                    <a:pt x="6181" y="40208"/>
                    <a:pt x="6527" y="41619"/>
                    <a:pt x="6767" y="42658"/>
                  </a:cubicBezTo>
                  <a:lnTo>
                    <a:pt x="7246" y="44708"/>
                  </a:lnTo>
                  <a:cubicBezTo>
                    <a:pt x="7592" y="46172"/>
                    <a:pt x="7912" y="47663"/>
                    <a:pt x="8231" y="49128"/>
                  </a:cubicBezTo>
                  <a:lnTo>
                    <a:pt x="8231" y="49580"/>
                  </a:lnTo>
                  <a:cubicBezTo>
                    <a:pt x="24862" y="40482"/>
                    <a:pt x="43101" y="34704"/>
                    <a:pt x="61936" y="32566"/>
                  </a:cubicBezTo>
                  <a:cubicBezTo>
                    <a:pt x="63078" y="31451"/>
                    <a:pt x="64415" y="30548"/>
                    <a:pt x="65877" y="29904"/>
                  </a:cubicBezTo>
                  <a:cubicBezTo>
                    <a:pt x="69748" y="28287"/>
                    <a:pt x="74016" y="27880"/>
                    <a:pt x="78125" y="28732"/>
                  </a:cubicBezTo>
                  <a:cubicBezTo>
                    <a:pt x="79227" y="28892"/>
                    <a:pt x="80313" y="29139"/>
                    <a:pt x="81373" y="29478"/>
                  </a:cubicBezTo>
                  <a:cubicBezTo>
                    <a:pt x="81719" y="27773"/>
                    <a:pt x="82012" y="26069"/>
                    <a:pt x="82278" y="24339"/>
                  </a:cubicBezTo>
                  <a:cubicBezTo>
                    <a:pt x="82278" y="24339"/>
                    <a:pt x="84355" y="11558"/>
                    <a:pt x="88509" y="6579"/>
                  </a:cubicBezTo>
                  <a:cubicBezTo>
                    <a:pt x="91555" y="3043"/>
                    <a:pt x="96042" y="1086"/>
                    <a:pt x="100704" y="1254"/>
                  </a:cubicBezTo>
                  <a:cubicBezTo>
                    <a:pt x="93645" y="277"/>
                    <a:pt x="86528" y="-213"/>
                    <a:pt x="79403" y="-211"/>
                  </a:cubicBezTo>
                </a:path>
              </a:pathLst>
            </a:custGeom>
            <a:solidFill>
              <a:srgbClr val="8FD942"/>
            </a:solidFill>
            <a:ln w="2661" cap="flat">
              <a:noFill/>
              <a:prstDash val="solid"/>
              <a:miter/>
            </a:ln>
          </p:spPr>
          <p:txBody>
            <a:bodyPr rtlCol="0" anchor="ctr"/>
            <a:lstStyle/>
            <a:p>
              <a:endParaRPr lang="pl-PL"/>
            </a:p>
          </p:txBody>
        </p:sp>
        <p:sp>
          <p:nvSpPr>
            <p:cNvPr id="120" name="Freeform: Shape 119">
              <a:extLst>
                <a:ext uri="{FF2B5EF4-FFF2-40B4-BE49-F238E27FC236}">
                  <a16:creationId xmlns:a16="http://schemas.microsoft.com/office/drawing/2014/main" id="{CCD29FF9-A981-48FF-9186-A7005A6925B6}"/>
                </a:ext>
              </a:extLst>
            </p:cNvPr>
            <p:cNvSpPr/>
            <p:nvPr/>
          </p:nvSpPr>
          <p:spPr>
            <a:xfrm>
              <a:off x="11478444" y="6717190"/>
              <a:ext cx="30172" cy="26310"/>
            </a:xfrm>
            <a:custGeom>
              <a:avLst/>
              <a:gdLst>
                <a:gd name="connsiteX0" fmla="*/ 989 w 53465"/>
                <a:gd name="connsiteY0" fmla="*/ 16669 h 46622"/>
                <a:gd name="connsiteX1" fmla="*/ 1415 w 53465"/>
                <a:gd name="connsiteY1" fmla="*/ 18878 h 46622"/>
                <a:gd name="connsiteX2" fmla="*/ 1921 w 53465"/>
                <a:gd name="connsiteY2" fmla="*/ 21541 h 46622"/>
                <a:gd name="connsiteX3" fmla="*/ 2426 w 53465"/>
                <a:gd name="connsiteY3" fmla="*/ 24337 h 46622"/>
                <a:gd name="connsiteX4" fmla="*/ 2719 w 53465"/>
                <a:gd name="connsiteY4" fmla="*/ 26014 h 46622"/>
                <a:gd name="connsiteX5" fmla="*/ 2719 w 53465"/>
                <a:gd name="connsiteY5" fmla="*/ 26361 h 46622"/>
                <a:gd name="connsiteX6" fmla="*/ 2719 w 53465"/>
                <a:gd name="connsiteY6" fmla="*/ 26573 h 46622"/>
                <a:gd name="connsiteX7" fmla="*/ 3199 w 53465"/>
                <a:gd name="connsiteY7" fmla="*/ 29449 h 46622"/>
                <a:gd name="connsiteX8" fmla="*/ 3651 w 53465"/>
                <a:gd name="connsiteY8" fmla="*/ 32484 h 46622"/>
                <a:gd name="connsiteX9" fmla="*/ 3891 w 53465"/>
                <a:gd name="connsiteY9" fmla="*/ 34268 h 46622"/>
                <a:gd name="connsiteX10" fmla="*/ 4370 w 53465"/>
                <a:gd name="connsiteY10" fmla="*/ 38103 h 46622"/>
                <a:gd name="connsiteX11" fmla="*/ 4743 w 53465"/>
                <a:gd name="connsiteY11" fmla="*/ 41165 h 46622"/>
                <a:gd name="connsiteX12" fmla="*/ 4743 w 53465"/>
                <a:gd name="connsiteY12" fmla="*/ 41324 h 46622"/>
                <a:gd name="connsiteX13" fmla="*/ 4743 w 53465"/>
                <a:gd name="connsiteY13" fmla="*/ 41324 h 46622"/>
                <a:gd name="connsiteX14" fmla="*/ 4743 w 53465"/>
                <a:gd name="connsiteY14" fmla="*/ 41324 h 46622"/>
                <a:gd name="connsiteX15" fmla="*/ 4743 w 53465"/>
                <a:gd name="connsiteY15" fmla="*/ 41671 h 46622"/>
                <a:gd name="connsiteX16" fmla="*/ 4743 w 53465"/>
                <a:gd name="connsiteY16" fmla="*/ 42443 h 46622"/>
                <a:gd name="connsiteX17" fmla="*/ 4743 w 53465"/>
                <a:gd name="connsiteY17" fmla="*/ 42949 h 46622"/>
                <a:gd name="connsiteX18" fmla="*/ 5063 w 53465"/>
                <a:gd name="connsiteY18" fmla="*/ 46277 h 46622"/>
                <a:gd name="connsiteX19" fmla="*/ 5063 w 53465"/>
                <a:gd name="connsiteY19" fmla="*/ 46037 h 46622"/>
                <a:gd name="connsiteX20" fmla="*/ 24313 w 53465"/>
                <a:gd name="connsiteY20" fmla="*/ 38049 h 46622"/>
                <a:gd name="connsiteX21" fmla="*/ 36668 w 53465"/>
                <a:gd name="connsiteY21" fmla="*/ 34481 h 46622"/>
                <a:gd name="connsiteX22" fmla="*/ 44416 w 53465"/>
                <a:gd name="connsiteY22" fmla="*/ 21168 h 46622"/>
                <a:gd name="connsiteX23" fmla="*/ 50460 w 53465"/>
                <a:gd name="connsiteY23" fmla="*/ 6737 h 46622"/>
                <a:gd name="connsiteX24" fmla="*/ 50833 w 53465"/>
                <a:gd name="connsiteY24" fmla="*/ 5592 h 46622"/>
                <a:gd name="connsiteX25" fmla="*/ 54454 w 53465"/>
                <a:gd name="connsiteY25" fmla="*/ -346 h 46622"/>
                <a:gd name="connsiteX26" fmla="*/ 989 w 53465"/>
                <a:gd name="connsiteY26" fmla="*/ 16669 h 4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3465" h="46622">
                  <a:moveTo>
                    <a:pt x="989" y="16669"/>
                  </a:moveTo>
                  <a:cubicBezTo>
                    <a:pt x="1148" y="17414"/>
                    <a:pt x="1282" y="18160"/>
                    <a:pt x="1415" y="18878"/>
                  </a:cubicBezTo>
                  <a:cubicBezTo>
                    <a:pt x="1548" y="19597"/>
                    <a:pt x="1761" y="20609"/>
                    <a:pt x="1921" y="21541"/>
                  </a:cubicBezTo>
                  <a:cubicBezTo>
                    <a:pt x="2080" y="22473"/>
                    <a:pt x="2267" y="23405"/>
                    <a:pt x="2426" y="24337"/>
                  </a:cubicBezTo>
                  <a:cubicBezTo>
                    <a:pt x="2586" y="25269"/>
                    <a:pt x="2613" y="25455"/>
                    <a:pt x="2719" y="26014"/>
                  </a:cubicBezTo>
                  <a:cubicBezTo>
                    <a:pt x="2719" y="26147"/>
                    <a:pt x="2719" y="26254"/>
                    <a:pt x="2719" y="26361"/>
                  </a:cubicBezTo>
                  <a:lnTo>
                    <a:pt x="2719" y="26573"/>
                  </a:lnTo>
                  <a:lnTo>
                    <a:pt x="3199" y="29449"/>
                  </a:lnTo>
                  <a:cubicBezTo>
                    <a:pt x="3358" y="30461"/>
                    <a:pt x="3492" y="31473"/>
                    <a:pt x="3651" y="32484"/>
                  </a:cubicBezTo>
                  <a:lnTo>
                    <a:pt x="3891" y="34268"/>
                  </a:lnTo>
                  <a:cubicBezTo>
                    <a:pt x="4077" y="35546"/>
                    <a:pt x="4211" y="36931"/>
                    <a:pt x="4370" y="38103"/>
                  </a:cubicBezTo>
                  <a:cubicBezTo>
                    <a:pt x="4530" y="39274"/>
                    <a:pt x="4610" y="40153"/>
                    <a:pt x="4743" y="41165"/>
                  </a:cubicBezTo>
                  <a:lnTo>
                    <a:pt x="4743" y="41324"/>
                  </a:lnTo>
                  <a:lnTo>
                    <a:pt x="4743" y="41324"/>
                  </a:lnTo>
                  <a:lnTo>
                    <a:pt x="4743" y="41324"/>
                  </a:lnTo>
                  <a:cubicBezTo>
                    <a:pt x="4743" y="41324"/>
                    <a:pt x="4743" y="41564"/>
                    <a:pt x="4743" y="41671"/>
                  </a:cubicBezTo>
                  <a:lnTo>
                    <a:pt x="4743" y="42443"/>
                  </a:lnTo>
                  <a:cubicBezTo>
                    <a:pt x="4756" y="42610"/>
                    <a:pt x="4756" y="42781"/>
                    <a:pt x="4743" y="42949"/>
                  </a:cubicBezTo>
                  <a:cubicBezTo>
                    <a:pt x="4743" y="44067"/>
                    <a:pt x="4983" y="45185"/>
                    <a:pt x="5063" y="46277"/>
                  </a:cubicBezTo>
                  <a:lnTo>
                    <a:pt x="5063" y="46037"/>
                  </a:lnTo>
                  <a:cubicBezTo>
                    <a:pt x="11274" y="42906"/>
                    <a:pt x="17710" y="40235"/>
                    <a:pt x="24313" y="38049"/>
                  </a:cubicBezTo>
                  <a:cubicBezTo>
                    <a:pt x="28360" y="36691"/>
                    <a:pt x="32487" y="35387"/>
                    <a:pt x="36668" y="34481"/>
                  </a:cubicBezTo>
                  <a:cubicBezTo>
                    <a:pt x="39546" y="30224"/>
                    <a:pt x="42134" y="25775"/>
                    <a:pt x="44416" y="21168"/>
                  </a:cubicBezTo>
                  <a:cubicBezTo>
                    <a:pt x="46735" y="16493"/>
                    <a:pt x="48756" y="11671"/>
                    <a:pt x="50460" y="6737"/>
                  </a:cubicBezTo>
                  <a:cubicBezTo>
                    <a:pt x="50460" y="6338"/>
                    <a:pt x="50700" y="5965"/>
                    <a:pt x="50833" y="5592"/>
                  </a:cubicBezTo>
                  <a:cubicBezTo>
                    <a:pt x="51589" y="3371"/>
                    <a:pt x="52825" y="1343"/>
                    <a:pt x="54454" y="-346"/>
                  </a:cubicBezTo>
                  <a:cubicBezTo>
                    <a:pt x="35701" y="1822"/>
                    <a:pt x="17545" y="7600"/>
                    <a:pt x="989" y="16669"/>
                  </a:cubicBezTo>
                </a:path>
              </a:pathLst>
            </a:custGeom>
            <a:solidFill>
              <a:srgbClr val="00A652"/>
            </a:solidFill>
            <a:ln w="2661" cap="flat">
              <a:noFill/>
              <a:prstDash val="solid"/>
              <a:miter/>
            </a:ln>
          </p:spPr>
          <p:txBody>
            <a:bodyPr rtlCol="0" anchor="ctr"/>
            <a:lstStyle/>
            <a:p>
              <a:endParaRPr lang="pl-PL"/>
            </a:p>
          </p:txBody>
        </p:sp>
        <p:sp>
          <p:nvSpPr>
            <p:cNvPr id="121" name="Freeform: Shape 120">
              <a:extLst>
                <a:ext uri="{FF2B5EF4-FFF2-40B4-BE49-F238E27FC236}">
                  <a16:creationId xmlns:a16="http://schemas.microsoft.com/office/drawing/2014/main" id="{E554360F-FAC0-4316-A88F-F0A55DE4077F}"/>
                </a:ext>
              </a:extLst>
            </p:cNvPr>
            <p:cNvSpPr/>
            <p:nvPr/>
          </p:nvSpPr>
          <p:spPr>
            <a:xfrm>
              <a:off x="11480833" y="6736694"/>
              <a:ext cx="17385" cy="17249"/>
            </a:xfrm>
            <a:custGeom>
              <a:avLst/>
              <a:gdLst>
                <a:gd name="connsiteX0" fmla="*/ 20239 w 30806"/>
                <a:gd name="connsiteY0" fmla="*/ 3409 h 30566"/>
                <a:gd name="connsiteX1" fmla="*/ 989 w 30806"/>
                <a:gd name="connsiteY1" fmla="*/ 11397 h 30566"/>
                <a:gd name="connsiteX2" fmla="*/ 989 w 30806"/>
                <a:gd name="connsiteY2" fmla="*/ 11636 h 30566"/>
                <a:gd name="connsiteX3" fmla="*/ 989 w 30806"/>
                <a:gd name="connsiteY3" fmla="*/ 13154 h 30566"/>
                <a:gd name="connsiteX4" fmla="*/ 989 w 30806"/>
                <a:gd name="connsiteY4" fmla="*/ 13314 h 30566"/>
                <a:gd name="connsiteX5" fmla="*/ 1122 w 30806"/>
                <a:gd name="connsiteY5" fmla="*/ 15550 h 30566"/>
                <a:gd name="connsiteX6" fmla="*/ 1122 w 30806"/>
                <a:gd name="connsiteY6" fmla="*/ 16029 h 30566"/>
                <a:gd name="connsiteX7" fmla="*/ 1122 w 30806"/>
                <a:gd name="connsiteY7" fmla="*/ 16029 h 30566"/>
                <a:gd name="connsiteX8" fmla="*/ 1122 w 30806"/>
                <a:gd name="connsiteY8" fmla="*/ 16269 h 30566"/>
                <a:gd name="connsiteX9" fmla="*/ 1122 w 30806"/>
                <a:gd name="connsiteY9" fmla="*/ 18186 h 30566"/>
                <a:gd name="connsiteX10" fmla="*/ 1122 w 30806"/>
                <a:gd name="connsiteY10" fmla="*/ 19731 h 30566"/>
                <a:gd name="connsiteX11" fmla="*/ 1122 w 30806"/>
                <a:gd name="connsiteY11" fmla="*/ 19917 h 30566"/>
                <a:gd name="connsiteX12" fmla="*/ 1122 w 30806"/>
                <a:gd name="connsiteY12" fmla="*/ 21674 h 30566"/>
                <a:gd name="connsiteX13" fmla="*/ 1122 w 30806"/>
                <a:gd name="connsiteY13" fmla="*/ 23219 h 30566"/>
                <a:gd name="connsiteX14" fmla="*/ 1122 w 30806"/>
                <a:gd name="connsiteY14" fmla="*/ 23538 h 30566"/>
                <a:gd name="connsiteX15" fmla="*/ 1122 w 30806"/>
                <a:gd name="connsiteY15" fmla="*/ 23538 h 30566"/>
                <a:gd name="connsiteX16" fmla="*/ 1122 w 30806"/>
                <a:gd name="connsiteY16" fmla="*/ 24710 h 30566"/>
                <a:gd name="connsiteX17" fmla="*/ 1122 w 30806"/>
                <a:gd name="connsiteY17" fmla="*/ 26174 h 30566"/>
                <a:gd name="connsiteX18" fmla="*/ 1122 w 30806"/>
                <a:gd name="connsiteY18" fmla="*/ 26174 h 30566"/>
                <a:gd name="connsiteX19" fmla="*/ 1122 w 30806"/>
                <a:gd name="connsiteY19" fmla="*/ 26307 h 30566"/>
                <a:gd name="connsiteX20" fmla="*/ 1122 w 30806"/>
                <a:gd name="connsiteY20" fmla="*/ 27266 h 30566"/>
                <a:gd name="connsiteX21" fmla="*/ 1122 w 30806"/>
                <a:gd name="connsiteY21" fmla="*/ 29023 h 30566"/>
                <a:gd name="connsiteX22" fmla="*/ 1122 w 30806"/>
                <a:gd name="connsiteY22" fmla="*/ 30221 h 30566"/>
                <a:gd name="connsiteX23" fmla="*/ 1122 w 30806"/>
                <a:gd name="connsiteY23" fmla="*/ 30221 h 30566"/>
                <a:gd name="connsiteX24" fmla="*/ 2852 w 30806"/>
                <a:gd name="connsiteY24" fmla="*/ 29050 h 30566"/>
                <a:gd name="connsiteX25" fmla="*/ 12172 w 30806"/>
                <a:gd name="connsiteY25" fmla="*/ 22020 h 30566"/>
                <a:gd name="connsiteX26" fmla="*/ 27988 w 30806"/>
                <a:gd name="connsiteY26" fmla="*/ 5060 h 30566"/>
                <a:gd name="connsiteX27" fmla="*/ 29345 w 30806"/>
                <a:gd name="connsiteY27" fmla="*/ 3222 h 30566"/>
                <a:gd name="connsiteX28" fmla="*/ 31795 w 30806"/>
                <a:gd name="connsiteY28" fmla="*/ -346 h 30566"/>
                <a:gd name="connsiteX29" fmla="*/ 19441 w 30806"/>
                <a:gd name="connsiteY29" fmla="*/ 3222 h 30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0806" h="30566">
                  <a:moveTo>
                    <a:pt x="20239" y="3409"/>
                  </a:moveTo>
                  <a:cubicBezTo>
                    <a:pt x="13636" y="5600"/>
                    <a:pt x="7203" y="8268"/>
                    <a:pt x="989" y="11397"/>
                  </a:cubicBezTo>
                  <a:lnTo>
                    <a:pt x="989" y="11636"/>
                  </a:lnTo>
                  <a:cubicBezTo>
                    <a:pt x="989" y="12142"/>
                    <a:pt x="989" y="12648"/>
                    <a:pt x="989" y="13154"/>
                  </a:cubicBezTo>
                  <a:lnTo>
                    <a:pt x="989" y="13314"/>
                  </a:lnTo>
                  <a:cubicBezTo>
                    <a:pt x="989" y="14059"/>
                    <a:pt x="989" y="14805"/>
                    <a:pt x="1122" y="15550"/>
                  </a:cubicBezTo>
                  <a:lnTo>
                    <a:pt x="1122" y="16029"/>
                  </a:lnTo>
                  <a:lnTo>
                    <a:pt x="1122" y="16029"/>
                  </a:lnTo>
                  <a:lnTo>
                    <a:pt x="1122" y="16269"/>
                  </a:lnTo>
                  <a:cubicBezTo>
                    <a:pt x="1122" y="16908"/>
                    <a:pt x="1122" y="17547"/>
                    <a:pt x="1122" y="18186"/>
                  </a:cubicBezTo>
                  <a:cubicBezTo>
                    <a:pt x="1122" y="18825"/>
                    <a:pt x="1122" y="19225"/>
                    <a:pt x="1122" y="19731"/>
                  </a:cubicBezTo>
                  <a:lnTo>
                    <a:pt x="1122" y="19917"/>
                  </a:lnTo>
                  <a:lnTo>
                    <a:pt x="1122" y="21674"/>
                  </a:lnTo>
                  <a:cubicBezTo>
                    <a:pt x="1122" y="22207"/>
                    <a:pt x="1122" y="22713"/>
                    <a:pt x="1122" y="23219"/>
                  </a:cubicBezTo>
                  <a:cubicBezTo>
                    <a:pt x="1135" y="23325"/>
                    <a:pt x="1135" y="23432"/>
                    <a:pt x="1122" y="23538"/>
                  </a:cubicBezTo>
                  <a:lnTo>
                    <a:pt x="1122" y="23538"/>
                  </a:lnTo>
                  <a:cubicBezTo>
                    <a:pt x="1122" y="23937"/>
                    <a:pt x="1122" y="24310"/>
                    <a:pt x="1122" y="24710"/>
                  </a:cubicBezTo>
                  <a:cubicBezTo>
                    <a:pt x="1122" y="25109"/>
                    <a:pt x="1122" y="25695"/>
                    <a:pt x="1122" y="26174"/>
                  </a:cubicBezTo>
                  <a:lnTo>
                    <a:pt x="1122" y="26174"/>
                  </a:lnTo>
                  <a:lnTo>
                    <a:pt x="1122" y="26307"/>
                  </a:lnTo>
                  <a:cubicBezTo>
                    <a:pt x="1122" y="26627"/>
                    <a:pt x="1122" y="26946"/>
                    <a:pt x="1122" y="27266"/>
                  </a:cubicBezTo>
                  <a:cubicBezTo>
                    <a:pt x="1122" y="27585"/>
                    <a:pt x="1122" y="28437"/>
                    <a:pt x="1122" y="29023"/>
                  </a:cubicBezTo>
                  <a:cubicBezTo>
                    <a:pt x="1122" y="29609"/>
                    <a:pt x="1122" y="29822"/>
                    <a:pt x="1122" y="30221"/>
                  </a:cubicBezTo>
                  <a:lnTo>
                    <a:pt x="1122" y="30221"/>
                  </a:lnTo>
                  <a:lnTo>
                    <a:pt x="2852" y="29050"/>
                  </a:lnTo>
                  <a:cubicBezTo>
                    <a:pt x="6090" y="26888"/>
                    <a:pt x="9203" y="24539"/>
                    <a:pt x="12172" y="22020"/>
                  </a:cubicBezTo>
                  <a:cubicBezTo>
                    <a:pt x="18035" y="16948"/>
                    <a:pt x="23336" y="11263"/>
                    <a:pt x="27988" y="5060"/>
                  </a:cubicBezTo>
                  <a:lnTo>
                    <a:pt x="29345" y="3222"/>
                  </a:lnTo>
                  <a:cubicBezTo>
                    <a:pt x="30198" y="2024"/>
                    <a:pt x="31023" y="853"/>
                    <a:pt x="31795" y="-346"/>
                  </a:cubicBezTo>
                  <a:cubicBezTo>
                    <a:pt x="27615" y="666"/>
                    <a:pt x="23488" y="1864"/>
                    <a:pt x="19441" y="3222"/>
                  </a:cubicBezTo>
                </a:path>
              </a:pathLst>
            </a:custGeom>
            <a:solidFill>
              <a:srgbClr val="8FD942"/>
            </a:solidFill>
            <a:ln w="2661" cap="flat">
              <a:noFill/>
              <a:prstDash val="solid"/>
              <a:miter/>
            </a:ln>
          </p:spPr>
          <p:txBody>
            <a:bodyPr rtlCol="0" anchor="ctr"/>
            <a:lstStyle/>
            <a:p>
              <a:endParaRPr lang="pl-PL"/>
            </a:p>
          </p:txBody>
        </p:sp>
        <p:sp>
          <p:nvSpPr>
            <p:cNvPr id="122" name="Freeform: Shape 121">
              <a:extLst>
                <a:ext uri="{FF2B5EF4-FFF2-40B4-BE49-F238E27FC236}">
                  <a16:creationId xmlns:a16="http://schemas.microsoft.com/office/drawing/2014/main" id="{757377D8-6C58-4474-A813-D2E4DF5FFFBD}"/>
                </a:ext>
              </a:extLst>
            </p:cNvPr>
            <p:cNvSpPr/>
            <p:nvPr/>
          </p:nvSpPr>
          <p:spPr>
            <a:xfrm>
              <a:off x="11402788" y="6644225"/>
              <a:ext cx="49180" cy="59563"/>
            </a:xfrm>
            <a:custGeom>
              <a:avLst/>
              <a:gdLst>
                <a:gd name="connsiteX0" fmla="*/ 64918 w 87147"/>
                <a:gd name="connsiteY0" fmla="*/ 17494 h 105546"/>
                <a:gd name="connsiteX1" fmla="*/ 44735 w 87147"/>
                <a:gd name="connsiteY1" fmla="*/ -346 h 105546"/>
                <a:gd name="connsiteX2" fmla="*/ 14302 w 87147"/>
                <a:gd name="connsiteY2" fmla="*/ 29263 h 105546"/>
                <a:gd name="connsiteX3" fmla="*/ 989 w 87147"/>
                <a:gd name="connsiteY3" fmla="*/ 50111 h 105546"/>
                <a:gd name="connsiteX4" fmla="*/ 2160 w 87147"/>
                <a:gd name="connsiteY4" fmla="*/ 51602 h 105546"/>
                <a:gd name="connsiteX5" fmla="*/ 36774 w 87147"/>
                <a:gd name="connsiteY5" fmla="*/ 105200 h 105546"/>
                <a:gd name="connsiteX6" fmla="*/ 80015 w 87147"/>
                <a:gd name="connsiteY6" fmla="*/ 49286 h 105546"/>
                <a:gd name="connsiteX7" fmla="*/ 80894 w 87147"/>
                <a:gd name="connsiteY7" fmla="*/ 48647 h 105546"/>
                <a:gd name="connsiteX8" fmla="*/ 88136 w 87147"/>
                <a:gd name="connsiteY8" fmla="*/ 43641 h 105546"/>
                <a:gd name="connsiteX9" fmla="*/ 64891 w 87147"/>
                <a:gd name="connsiteY9" fmla="*/ 17441 h 105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147" h="105546">
                  <a:moveTo>
                    <a:pt x="64918" y="17494"/>
                  </a:moveTo>
                  <a:cubicBezTo>
                    <a:pt x="58514" y="11192"/>
                    <a:pt x="51778" y="5235"/>
                    <a:pt x="44735" y="-346"/>
                  </a:cubicBezTo>
                  <a:cubicBezTo>
                    <a:pt x="33206" y="7994"/>
                    <a:pt x="22955" y="17968"/>
                    <a:pt x="14302" y="29263"/>
                  </a:cubicBezTo>
                  <a:cubicBezTo>
                    <a:pt x="9269" y="35815"/>
                    <a:pt x="4815" y="42791"/>
                    <a:pt x="989" y="50111"/>
                  </a:cubicBezTo>
                  <a:cubicBezTo>
                    <a:pt x="1388" y="50590"/>
                    <a:pt x="1761" y="51096"/>
                    <a:pt x="2160" y="51602"/>
                  </a:cubicBezTo>
                  <a:cubicBezTo>
                    <a:pt x="15061" y="68552"/>
                    <a:pt x="26632" y="86472"/>
                    <a:pt x="36774" y="105200"/>
                  </a:cubicBezTo>
                  <a:cubicBezTo>
                    <a:pt x="45936" y="83034"/>
                    <a:pt x="60868" y="63728"/>
                    <a:pt x="80015" y="49286"/>
                  </a:cubicBezTo>
                  <a:lnTo>
                    <a:pt x="80894" y="48647"/>
                  </a:lnTo>
                  <a:cubicBezTo>
                    <a:pt x="83263" y="46916"/>
                    <a:pt x="85660" y="45238"/>
                    <a:pt x="88136" y="43641"/>
                  </a:cubicBezTo>
                  <a:cubicBezTo>
                    <a:pt x="81003" y="34380"/>
                    <a:pt x="73236" y="25626"/>
                    <a:pt x="64891" y="17441"/>
                  </a:cubicBezTo>
                </a:path>
              </a:pathLst>
            </a:custGeom>
            <a:solidFill>
              <a:srgbClr val="FAC200"/>
            </a:solidFill>
            <a:ln w="2661" cap="flat">
              <a:noFill/>
              <a:prstDash val="solid"/>
              <a:miter/>
            </a:ln>
          </p:spPr>
          <p:txBody>
            <a:bodyPr rtlCol="0" anchor="ctr"/>
            <a:lstStyle/>
            <a:p>
              <a:endParaRPr lang="pl-PL"/>
            </a:p>
          </p:txBody>
        </p:sp>
        <p:sp>
          <p:nvSpPr>
            <p:cNvPr id="123" name="Freeform: Shape 122">
              <a:extLst>
                <a:ext uri="{FF2B5EF4-FFF2-40B4-BE49-F238E27FC236}">
                  <a16:creationId xmlns:a16="http://schemas.microsoft.com/office/drawing/2014/main" id="{6AA4F0BF-5988-4DA5-8EF2-BC0E7B286A1A}"/>
                </a:ext>
              </a:extLst>
            </p:cNvPr>
            <p:cNvSpPr/>
            <p:nvPr/>
          </p:nvSpPr>
          <p:spPr>
            <a:xfrm>
              <a:off x="11393217" y="6700272"/>
              <a:ext cx="51283" cy="56601"/>
            </a:xfrm>
            <a:custGeom>
              <a:avLst/>
              <a:gdLst>
                <a:gd name="connsiteX0" fmla="*/ 90133 w 90874"/>
                <a:gd name="connsiteY0" fmla="*/ 93882 h 100298"/>
                <a:gd name="connsiteX1" fmla="*/ 81613 w 90874"/>
                <a:gd name="connsiteY1" fmla="*/ 68055 h 100298"/>
                <a:gd name="connsiteX2" fmla="*/ 53762 w 90874"/>
                <a:gd name="connsiteY2" fmla="*/ 5909 h 100298"/>
                <a:gd name="connsiteX3" fmla="*/ 53762 w 90874"/>
                <a:gd name="connsiteY3" fmla="*/ 5909 h 100298"/>
                <a:gd name="connsiteX4" fmla="*/ 34165 w 90874"/>
                <a:gd name="connsiteY4" fmla="*/ 1276 h 100298"/>
                <a:gd name="connsiteX5" fmla="*/ 2213 w 90874"/>
                <a:gd name="connsiteY5" fmla="*/ 132 h 100298"/>
                <a:gd name="connsiteX6" fmla="*/ 989 w 90874"/>
                <a:gd name="connsiteY6" fmla="*/ 19089 h 100298"/>
                <a:gd name="connsiteX7" fmla="*/ 9376 w 90874"/>
                <a:gd name="connsiteY7" fmla="*/ 68081 h 100298"/>
                <a:gd name="connsiteX8" fmla="*/ 14888 w 90874"/>
                <a:gd name="connsiteY8" fmla="*/ 81395 h 100298"/>
                <a:gd name="connsiteX9" fmla="*/ 27854 w 90874"/>
                <a:gd name="connsiteY9" fmla="*/ 81182 h 100298"/>
                <a:gd name="connsiteX10" fmla="*/ 80388 w 90874"/>
                <a:gd name="connsiteY10" fmla="*/ 93829 h 100298"/>
                <a:gd name="connsiteX11" fmla="*/ 91864 w 90874"/>
                <a:gd name="connsiteY11" fmla="*/ 99953 h 100298"/>
                <a:gd name="connsiteX12" fmla="*/ 90080 w 90874"/>
                <a:gd name="connsiteY12" fmla="*/ 93829 h 10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874" h="100298">
                  <a:moveTo>
                    <a:pt x="90133" y="93882"/>
                  </a:moveTo>
                  <a:cubicBezTo>
                    <a:pt x="87470" y="85008"/>
                    <a:pt x="84629" y="76397"/>
                    <a:pt x="81613" y="68055"/>
                  </a:cubicBezTo>
                  <a:cubicBezTo>
                    <a:pt x="73918" y="46663"/>
                    <a:pt x="64607" y="25890"/>
                    <a:pt x="53762" y="5909"/>
                  </a:cubicBezTo>
                  <a:lnTo>
                    <a:pt x="53762" y="5909"/>
                  </a:lnTo>
                  <a:cubicBezTo>
                    <a:pt x="47353" y="3883"/>
                    <a:pt x="40803" y="2336"/>
                    <a:pt x="34165" y="1276"/>
                  </a:cubicBezTo>
                  <a:cubicBezTo>
                    <a:pt x="23600" y="-390"/>
                    <a:pt x="12872" y="-774"/>
                    <a:pt x="2213" y="132"/>
                  </a:cubicBezTo>
                  <a:cubicBezTo>
                    <a:pt x="1401" y="6418"/>
                    <a:pt x="991" y="12750"/>
                    <a:pt x="989" y="19089"/>
                  </a:cubicBezTo>
                  <a:cubicBezTo>
                    <a:pt x="973" y="35779"/>
                    <a:pt x="3808" y="52348"/>
                    <a:pt x="9376" y="68081"/>
                  </a:cubicBezTo>
                  <a:cubicBezTo>
                    <a:pt x="10992" y="72627"/>
                    <a:pt x="12829" y="77063"/>
                    <a:pt x="14888" y="81395"/>
                  </a:cubicBezTo>
                  <a:cubicBezTo>
                    <a:pt x="19174" y="81128"/>
                    <a:pt x="23488" y="81048"/>
                    <a:pt x="27854" y="81182"/>
                  </a:cubicBezTo>
                  <a:cubicBezTo>
                    <a:pt x="46046" y="81775"/>
                    <a:pt x="63920" y="86078"/>
                    <a:pt x="80388" y="93829"/>
                  </a:cubicBezTo>
                  <a:cubicBezTo>
                    <a:pt x="84329" y="95605"/>
                    <a:pt x="88155" y="97645"/>
                    <a:pt x="91864" y="99953"/>
                  </a:cubicBezTo>
                  <a:cubicBezTo>
                    <a:pt x="91278" y="97903"/>
                    <a:pt x="90692" y="95853"/>
                    <a:pt x="90080" y="93829"/>
                  </a:cubicBezTo>
                </a:path>
              </a:pathLst>
            </a:custGeom>
            <a:solidFill>
              <a:srgbClr val="FAC200"/>
            </a:solidFill>
            <a:ln w="2661" cap="flat">
              <a:noFill/>
              <a:prstDash val="solid"/>
              <a:miter/>
            </a:ln>
          </p:spPr>
          <p:txBody>
            <a:bodyPr rtlCol="0" anchor="ctr"/>
            <a:lstStyle/>
            <a:p>
              <a:endParaRPr lang="pl-PL"/>
            </a:p>
          </p:txBody>
        </p:sp>
        <p:sp>
          <p:nvSpPr>
            <p:cNvPr id="124" name="Freeform: Shape 123">
              <a:extLst>
                <a:ext uri="{FF2B5EF4-FFF2-40B4-BE49-F238E27FC236}">
                  <a16:creationId xmlns:a16="http://schemas.microsoft.com/office/drawing/2014/main" id="{6A48CDBF-AC63-4921-B4F2-3DA8DB5CD5CB}"/>
                </a:ext>
              </a:extLst>
            </p:cNvPr>
            <p:cNvSpPr/>
            <p:nvPr/>
          </p:nvSpPr>
          <p:spPr>
            <a:xfrm>
              <a:off x="11444530" y="6711466"/>
              <a:ext cx="36834" cy="78871"/>
            </a:xfrm>
            <a:custGeom>
              <a:avLst/>
              <a:gdLst>
                <a:gd name="connsiteX0" fmla="*/ 64785 w 65270"/>
                <a:gd name="connsiteY0" fmla="*/ 76205 h 139760"/>
                <a:gd name="connsiteX1" fmla="*/ 66249 w 65270"/>
                <a:gd name="connsiteY1" fmla="*/ 75246 h 139760"/>
                <a:gd name="connsiteX2" fmla="*/ 66249 w 65270"/>
                <a:gd name="connsiteY2" fmla="*/ 74048 h 139760"/>
                <a:gd name="connsiteX3" fmla="*/ 66249 w 65270"/>
                <a:gd name="connsiteY3" fmla="*/ 72291 h 139760"/>
                <a:gd name="connsiteX4" fmla="*/ 66249 w 65270"/>
                <a:gd name="connsiteY4" fmla="*/ 71332 h 139760"/>
                <a:gd name="connsiteX5" fmla="*/ 66249 w 65270"/>
                <a:gd name="connsiteY5" fmla="*/ 71199 h 139760"/>
                <a:gd name="connsiteX6" fmla="*/ 66249 w 65270"/>
                <a:gd name="connsiteY6" fmla="*/ 71199 h 139760"/>
                <a:gd name="connsiteX7" fmla="*/ 66249 w 65270"/>
                <a:gd name="connsiteY7" fmla="*/ 69734 h 139760"/>
                <a:gd name="connsiteX8" fmla="*/ 66249 w 65270"/>
                <a:gd name="connsiteY8" fmla="*/ 68563 h 139760"/>
                <a:gd name="connsiteX9" fmla="*/ 66249 w 65270"/>
                <a:gd name="connsiteY9" fmla="*/ 68563 h 139760"/>
                <a:gd name="connsiteX10" fmla="*/ 66249 w 65270"/>
                <a:gd name="connsiteY10" fmla="*/ 68243 h 139760"/>
                <a:gd name="connsiteX11" fmla="*/ 66249 w 65270"/>
                <a:gd name="connsiteY11" fmla="*/ 66699 h 139760"/>
                <a:gd name="connsiteX12" fmla="*/ 66249 w 65270"/>
                <a:gd name="connsiteY12" fmla="*/ 64942 h 139760"/>
                <a:gd name="connsiteX13" fmla="*/ 66249 w 65270"/>
                <a:gd name="connsiteY13" fmla="*/ 64755 h 139760"/>
                <a:gd name="connsiteX14" fmla="*/ 66249 w 65270"/>
                <a:gd name="connsiteY14" fmla="*/ 63211 h 139760"/>
                <a:gd name="connsiteX15" fmla="*/ 66249 w 65270"/>
                <a:gd name="connsiteY15" fmla="*/ 61294 h 139760"/>
                <a:gd name="connsiteX16" fmla="*/ 66249 w 65270"/>
                <a:gd name="connsiteY16" fmla="*/ 61054 h 139760"/>
                <a:gd name="connsiteX17" fmla="*/ 66249 w 65270"/>
                <a:gd name="connsiteY17" fmla="*/ 61054 h 139760"/>
                <a:gd name="connsiteX18" fmla="*/ 66249 w 65270"/>
                <a:gd name="connsiteY18" fmla="*/ 60575 h 139760"/>
                <a:gd name="connsiteX19" fmla="*/ 66116 w 65270"/>
                <a:gd name="connsiteY19" fmla="*/ 58338 h 139760"/>
                <a:gd name="connsiteX20" fmla="*/ 66116 w 65270"/>
                <a:gd name="connsiteY20" fmla="*/ 58179 h 139760"/>
                <a:gd name="connsiteX21" fmla="*/ 66116 w 65270"/>
                <a:gd name="connsiteY21" fmla="*/ 56661 h 139760"/>
                <a:gd name="connsiteX22" fmla="*/ 65797 w 65270"/>
                <a:gd name="connsiteY22" fmla="*/ 53333 h 139760"/>
                <a:gd name="connsiteX23" fmla="*/ 65797 w 65270"/>
                <a:gd name="connsiteY23" fmla="*/ 52827 h 139760"/>
                <a:gd name="connsiteX24" fmla="*/ 65797 w 65270"/>
                <a:gd name="connsiteY24" fmla="*/ 51868 h 139760"/>
                <a:gd name="connsiteX25" fmla="*/ 65797 w 65270"/>
                <a:gd name="connsiteY25" fmla="*/ 51442 h 139760"/>
                <a:gd name="connsiteX26" fmla="*/ 65424 w 65270"/>
                <a:gd name="connsiteY26" fmla="*/ 48380 h 139760"/>
                <a:gd name="connsiteX27" fmla="*/ 64971 w 65270"/>
                <a:gd name="connsiteY27" fmla="*/ 44546 h 139760"/>
                <a:gd name="connsiteX28" fmla="*/ 64705 w 65270"/>
                <a:gd name="connsiteY28" fmla="*/ 42762 h 139760"/>
                <a:gd name="connsiteX29" fmla="*/ 64705 w 65270"/>
                <a:gd name="connsiteY29" fmla="*/ 41830 h 139760"/>
                <a:gd name="connsiteX30" fmla="*/ 64386 w 65270"/>
                <a:gd name="connsiteY30" fmla="*/ 39753 h 139760"/>
                <a:gd name="connsiteX31" fmla="*/ 64386 w 65270"/>
                <a:gd name="connsiteY31" fmla="*/ 39753 h 139760"/>
                <a:gd name="connsiteX32" fmla="*/ 63906 w 65270"/>
                <a:gd name="connsiteY32" fmla="*/ 36878 h 139760"/>
                <a:gd name="connsiteX33" fmla="*/ 63906 w 65270"/>
                <a:gd name="connsiteY33" fmla="*/ 36665 h 139760"/>
                <a:gd name="connsiteX34" fmla="*/ 63640 w 65270"/>
                <a:gd name="connsiteY34" fmla="*/ 35094 h 139760"/>
                <a:gd name="connsiteX35" fmla="*/ 63640 w 65270"/>
                <a:gd name="connsiteY35" fmla="*/ 34641 h 139760"/>
                <a:gd name="connsiteX36" fmla="*/ 63640 w 65270"/>
                <a:gd name="connsiteY36" fmla="*/ 33816 h 139760"/>
                <a:gd name="connsiteX37" fmla="*/ 63294 w 65270"/>
                <a:gd name="connsiteY37" fmla="*/ 31979 h 139760"/>
                <a:gd name="connsiteX38" fmla="*/ 63294 w 65270"/>
                <a:gd name="connsiteY38" fmla="*/ 31845 h 139760"/>
                <a:gd name="connsiteX39" fmla="*/ 62815 w 65270"/>
                <a:gd name="connsiteY39" fmla="*/ 29183 h 139760"/>
                <a:gd name="connsiteX40" fmla="*/ 62362 w 65270"/>
                <a:gd name="connsiteY40" fmla="*/ 26973 h 139760"/>
                <a:gd name="connsiteX41" fmla="*/ 62362 w 65270"/>
                <a:gd name="connsiteY41" fmla="*/ 26520 h 139760"/>
                <a:gd name="connsiteX42" fmla="*/ 61377 w 65270"/>
                <a:gd name="connsiteY42" fmla="*/ 22100 h 139760"/>
                <a:gd name="connsiteX43" fmla="*/ 61377 w 65270"/>
                <a:gd name="connsiteY43" fmla="*/ 22100 h 139760"/>
                <a:gd name="connsiteX44" fmla="*/ 60951 w 65270"/>
                <a:gd name="connsiteY44" fmla="*/ 20316 h 139760"/>
                <a:gd name="connsiteX45" fmla="*/ 60951 w 65270"/>
                <a:gd name="connsiteY45" fmla="*/ 20130 h 139760"/>
                <a:gd name="connsiteX46" fmla="*/ 60205 w 65270"/>
                <a:gd name="connsiteY46" fmla="*/ 17015 h 139760"/>
                <a:gd name="connsiteX47" fmla="*/ 60205 w 65270"/>
                <a:gd name="connsiteY47" fmla="*/ 17015 h 139760"/>
                <a:gd name="connsiteX48" fmla="*/ 59753 w 65270"/>
                <a:gd name="connsiteY48" fmla="*/ 15177 h 139760"/>
                <a:gd name="connsiteX49" fmla="*/ 59753 w 65270"/>
                <a:gd name="connsiteY49" fmla="*/ 15177 h 139760"/>
                <a:gd name="connsiteX50" fmla="*/ 58847 w 65270"/>
                <a:gd name="connsiteY50" fmla="*/ 11769 h 139760"/>
                <a:gd name="connsiteX51" fmla="*/ 58421 w 65270"/>
                <a:gd name="connsiteY51" fmla="*/ 10172 h 139760"/>
                <a:gd name="connsiteX52" fmla="*/ 57010 w 65270"/>
                <a:gd name="connsiteY52" fmla="*/ 5326 h 139760"/>
                <a:gd name="connsiteX53" fmla="*/ 57010 w 65270"/>
                <a:gd name="connsiteY53" fmla="*/ 5166 h 139760"/>
                <a:gd name="connsiteX54" fmla="*/ 56691 w 65270"/>
                <a:gd name="connsiteY54" fmla="*/ 4208 h 139760"/>
                <a:gd name="connsiteX55" fmla="*/ 56691 w 65270"/>
                <a:gd name="connsiteY55" fmla="*/ 4074 h 139760"/>
                <a:gd name="connsiteX56" fmla="*/ 55546 w 65270"/>
                <a:gd name="connsiteY56" fmla="*/ 453 h 139760"/>
                <a:gd name="connsiteX57" fmla="*/ 55306 w 65270"/>
                <a:gd name="connsiteY57" fmla="*/ -346 h 139760"/>
                <a:gd name="connsiteX58" fmla="*/ 55306 w 65270"/>
                <a:gd name="connsiteY58" fmla="*/ -346 h 139760"/>
                <a:gd name="connsiteX59" fmla="*/ 32141 w 65270"/>
                <a:gd name="connsiteY59" fmla="*/ 19597 h 139760"/>
                <a:gd name="connsiteX60" fmla="*/ 11293 w 65270"/>
                <a:gd name="connsiteY60" fmla="*/ 48114 h 139760"/>
                <a:gd name="connsiteX61" fmla="*/ 2320 w 65270"/>
                <a:gd name="connsiteY61" fmla="*/ 73941 h 139760"/>
                <a:gd name="connsiteX62" fmla="*/ 989 w 65270"/>
                <a:gd name="connsiteY62" fmla="*/ 80065 h 139760"/>
                <a:gd name="connsiteX63" fmla="*/ 5355 w 65270"/>
                <a:gd name="connsiteY63" fmla="*/ 96467 h 139760"/>
                <a:gd name="connsiteX64" fmla="*/ 6447 w 65270"/>
                <a:gd name="connsiteY64" fmla="*/ 100940 h 139760"/>
                <a:gd name="connsiteX65" fmla="*/ 14142 w 65270"/>
                <a:gd name="connsiteY65" fmla="*/ 139415 h 139760"/>
                <a:gd name="connsiteX66" fmla="*/ 35443 w 65270"/>
                <a:gd name="connsiteY66" fmla="*/ 100940 h 139760"/>
                <a:gd name="connsiteX67" fmla="*/ 64732 w 65270"/>
                <a:gd name="connsiteY67" fmla="*/ 76098 h 13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5270" h="139760">
                  <a:moveTo>
                    <a:pt x="64785" y="76205"/>
                  </a:moveTo>
                  <a:lnTo>
                    <a:pt x="66249" y="75246"/>
                  </a:lnTo>
                  <a:cubicBezTo>
                    <a:pt x="66249" y="74847"/>
                    <a:pt x="66249" y="74447"/>
                    <a:pt x="66249" y="74048"/>
                  </a:cubicBezTo>
                  <a:cubicBezTo>
                    <a:pt x="66249" y="73648"/>
                    <a:pt x="66249" y="72876"/>
                    <a:pt x="66249" y="72291"/>
                  </a:cubicBezTo>
                  <a:cubicBezTo>
                    <a:pt x="66249" y="71705"/>
                    <a:pt x="66249" y="71652"/>
                    <a:pt x="66249" y="71332"/>
                  </a:cubicBezTo>
                  <a:lnTo>
                    <a:pt x="66249" y="71199"/>
                  </a:lnTo>
                  <a:lnTo>
                    <a:pt x="66249" y="71199"/>
                  </a:lnTo>
                  <a:cubicBezTo>
                    <a:pt x="66249" y="70720"/>
                    <a:pt x="66249" y="70214"/>
                    <a:pt x="66249" y="69734"/>
                  </a:cubicBezTo>
                  <a:cubicBezTo>
                    <a:pt x="66249" y="69255"/>
                    <a:pt x="66249" y="68962"/>
                    <a:pt x="66249" y="68563"/>
                  </a:cubicBezTo>
                  <a:lnTo>
                    <a:pt x="66249" y="68563"/>
                  </a:lnTo>
                  <a:cubicBezTo>
                    <a:pt x="66263" y="68456"/>
                    <a:pt x="66263" y="68350"/>
                    <a:pt x="66249" y="68243"/>
                  </a:cubicBezTo>
                  <a:cubicBezTo>
                    <a:pt x="66249" y="67737"/>
                    <a:pt x="66249" y="67232"/>
                    <a:pt x="66249" y="66699"/>
                  </a:cubicBezTo>
                  <a:lnTo>
                    <a:pt x="66249" y="64942"/>
                  </a:lnTo>
                  <a:lnTo>
                    <a:pt x="66249" y="64755"/>
                  </a:lnTo>
                  <a:cubicBezTo>
                    <a:pt x="66249" y="64249"/>
                    <a:pt x="66249" y="63744"/>
                    <a:pt x="66249" y="63211"/>
                  </a:cubicBezTo>
                  <a:cubicBezTo>
                    <a:pt x="66249" y="62679"/>
                    <a:pt x="66249" y="61933"/>
                    <a:pt x="66249" y="61294"/>
                  </a:cubicBezTo>
                  <a:lnTo>
                    <a:pt x="66249" y="61054"/>
                  </a:lnTo>
                  <a:lnTo>
                    <a:pt x="66249" y="61054"/>
                  </a:lnTo>
                  <a:lnTo>
                    <a:pt x="66249" y="60575"/>
                  </a:lnTo>
                  <a:cubicBezTo>
                    <a:pt x="66249" y="59830"/>
                    <a:pt x="66249" y="59084"/>
                    <a:pt x="66116" y="58338"/>
                  </a:cubicBezTo>
                  <a:lnTo>
                    <a:pt x="66116" y="58179"/>
                  </a:lnTo>
                  <a:cubicBezTo>
                    <a:pt x="66116" y="57673"/>
                    <a:pt x="66116" y="57167"/>
                    <a:pt x="66116" y="56661"/>
                  </a:cubicBezTo>
                  <a:cubicBezTo>
                    <a:pt x="66116" y="55543"/>
                    <a:pt x="65930" y="54451"/>
                    <a:pt x="65797" y="53333"/>
                  </a:cubicBezTo>
                  <a:cubicBezTo>
                    <a:pt x="65797" y="53146"/>
                    <a:pt x="65797" y="52987"/>
                    <a:pt x="65797" y="52827"/>
                  </a:cubicBezTo>
                  <a:cubicBezTo>
                    <a:pt x="65797" y="52667"/>
                    <a:pt x="65797" y="52188"/>
                    <a:pt x="65797" y="51868"/>
                  </a:cubicBezTo>
                  <a:lnTo>
                    <a:pt x="65797" y="51442"/>
                  </a:lnTo>
                  <a:cubicBezTo>
                    <a:pt x="65797" y="50430"/>
                    <a:pt x="65557" y="49392"/>
                    <a:pt x="65424" y="48380"/>
                  </a:cubicBezTo>
                  <a:cubicBezTo>
                    <a:pt x="65291" y="47368"/>
                    <a:pt x="65131" y="45718"/>
                    <a:pt x="64971" y="44546"/>
                  </a:cubicBezTo>
                  <a:cubicBezTo>
                    <a:pt x="64971" y="43960"/>
                    <a:pt x="64785" y="43348"/>
                    <a:pt x="64705" y="42762"/>
                  </a:cubicBezTo>
                  <a:cubicBezTo>
                    <a:pt x="64625" y="42176"/>
                    <a:pt x="64705" y="42150"/>
                    <a:pt x="64705" y="41830"/>
                  </a:cubicBezTo>
                  <a:lnTo>
                    <a:pt x="64386" y="39753"/>
                  </a:lnTo>
                  <a:lnTo>
                    <a:pt x="64386" y="39753"/>
                  </a:lnTo>
                  <a:lnTo>
                    <a:pt x="63906" y="36878"/>
                  </a:lnTo>
                  <a:lnTo>
                    <a:pt x="63906" y="36665"/>
                  </a:lnTo>
                  <a:cubicBezTo>
                    <a:pt x="63906" y="36132"/>
                    <a:pt x="63720" y="35600"/>
                    <a:pt x="63640" y="35094"/>
                  </a:cubicBezTo>
                  <a:lnTo>
                    <a:pt x="63640" y="34641"/>
                  </a:lnTo>
                  <a:cubicBezTo>
                    <a:pt x="63640" y="34348"/>
                    <a:pt x="63640" y="34082"/>
                    <a:pt x="63640" y="33816"/>
                  </a:cubicBezTo>
                  <a:cubicBezTo>
                    <a:pt x="63640" y="33550"/>
                    <a:pt x="63400" y="32591"/>
                    <a:pt x="63294" y="31979"/>
                  </a:cubicBezTo>
                  <a:lnTo>
                    <a:pt x="63294" y="31845"/>
                  </a:lnTo>
                  <a:lnTo>
                    <a:pt x="62815" y="29183"/>
                  </a:lnTo>
                  <a:cubicBezTo>
                    <a:pt x="62655" y="28437"/>
                    <a:pt x="62522" y="27718"/>
                    <a:pt x="62362" y="26973"/>
                  </a:cubicBezTo>
                  <a:lnTo>
                    <a:pt x="62362" y="26520"/>
                  </a:lnTo>
                  <a:cubicBezTo>
                    <a:pt x="62042" y="25056"/>
                    <a:pt x="61723" y="23565"/>
                    <a:pt x="61377" y="22100"/>
                  </a:cubicBezTo>
                  <a:lnTo>
                    <a:pt x="61377" y="22100"/>
                  </a:lnTo>
                  <a:cubicBezTo>
                    <a:pt x="61244" y="21515"/>
                    <a:pt x="61084" y="20902"/>
                    <a:pt x="60951" y="20316"/>
                  </a:cubicBezTo>
                  <a:lnTo>
                    <a:pt x="60951" y="20130"/>
                  </a:lnTo>
                  <a:cubicBezTo>
                    <a:pt x="60711" y="19092"/>
                    <a:pt x="60472" y="18053"/>
                    <a:pt x="60205" y="17015"/>
                  </a:cubicBezTo>
                  <a:lnTo>
                    <a:pt x="60205" y="17015"/>
                  </a:lnTo>
                  <a:cubicBezTo>
                    <a:pt x="60046" y="16402"/>
                    <a:pt x="59912" y="15790"/>
                    <a:pt x="59753" y="15177"/>
                  </a:cubicBezTo>
                  <a:lnTo>
                    <a:pt x="59753" y="15177"/>
                  </a:lnTo>
                  <a:cubicBezTo>
                    <a:pt x="59460" y="14033"/>
                    <a:pt x="59140" y="12914"/>
                    <a:pt x="58847" y="11769"/>
                  </a:cubicBezTo>
                  <a:cubicBezTo>
                    <a:pt x="58688" y="11237"/>
                    <a:pt x="58554" y="10704"/>
                    <a:pt x="58421" y="10172"/>
                  </a:cubicBezTo>
                  <a:cubicBezTo>
                    <a:pt x="57969" y="8548"/>
                    <a:pt x="57489" y="6950"/>
                    <a:pt x="57010" y="5326"/>
                  </a:cubicBezTo>
                  <a:lnTo>
                    <a:pt x="57010" y="5166"/>
                  </a:lnTo>
                  <a:lnTo>
                    <a:pt x="56691" y="4208"/>
                  </a:lnTo>
                  <a:lnTo>
                    <a:pt x="56691" y="4074"/>
                  </a:lnTo>
                  <a:cubicBezTo>
                    <a:pt x="56318" y="2876"/>
                    <a:pt x="55945" y="1651"/>
                    <a:pt x="55546" y="453"/>
                  </a:cubicBezTo>
                  <a:lnTo>
                    <a:pt x="55306" y="-346"/>
                  </a:lnTo>
                  <a:lnTo>
                    <a:pt x="55306" y="-346"/>
                  </a:lnTo>
                  <a:cubicBezTo>
                    <a:pt x="46772" y="5297"/>
                    <a:pt x="38990" y="11998"/>
                    <a:pt x="32141" y="19597"/>
                  </a:cubicBezTo>
                  <a:cubicBezTo>
                    <a:pt x="23791" y="27995"/>
                    <a:pt x="16762" y="37610"/>
                    <a:pt x="11293" y="48114"/>
                  </a:cubicBezTo>
                  <a:cubicBezTo>
                    <a:pt x="7430" y="56395"/>
                    <a:pt x="4423" y="65048"/>
                    <a:pt x="2320" y="73941"/>
                  </a:cubicBezTo>
                  <a:cubicBezTo>
                    <a:pt x="1814" y="76071"/>
                    <a:pt x="1362" y="78122"/>
                    <a:pt x="989" y="80065"/>
                  </a:cubicBezTo>
                  <a:cubicBezTo>
                    <a:pt x="2533" y="85391"/>
                    <a:pt x="3971" y="90876"/>
                    <a:pt x="5355" y="96467"/>
                  </a:cubicBezTo>
                  <a:cubicBezTo>
                    <a:pt x="5728" y="97932"/>
                    <a:pt x="6101" y="99449"/>
                    <a:pt x="6447" y="100940"/>
                  </a:cubicBezTo>
                  <a:cubicBezTo>
                    <a:pt x="9376" y="113215"/>
                    <a:pt x="11985" y="126022"/>
                    <a:pt x="14142" y="139415"/>
                  </a:cubicBezTo>
                  <a:cubicBezTo>
                    <a:pt x="18559" y="125279"/>
                    <a:pt x="25807" y="112187"/>
                    <a:pt x="35443" y="100940"/>
                  </a:cubicBezTo>
                  <a:cubicBezTo>
                    <a:pt x="44062" y="91398"/>
                    <a:pt x="53911" y="83045"/>
                    <a:pt x="64732" y="76098"/>
                  </a:cubicBezTo>
                </a:path>
              </a:pathLst>
            </a:custGeom>
            <a:solidFill>
              <a:srgbClr val="FAC200"/>
            </a:solidFill>
            <a:ln w="2661" cap="flat">
              <a:noFill/>
              <a:prstDash val="solid"/>
              <a:miter/>
            </a:ln>
          </p:spPr>
          <p:txBody>
            <a:bodyPr rtlCol="0" anchor="ctr"/>
            <a:lstStyle/>
            <a:p>
              <a:endParaRPr lang="pl-PL"/>
            </a:p>
          </p:txBody>
        </p:sp>
        <p:sp>
          <p:nvSpPr>
            <p:cNvPr id="125" name="Freeform: Shape 124">
              <a:extLst>
                <a:ext uri="{FF2B5EF4-FFF2-40B4-BE49-F238E27FC236}">
                  <a16:creationId xmlns:a16="http://schemas.microsoft.com/office/drawing/2014/main" id="{5A1FAD4F-39D1-42FC-B518-C64C1617387D}"/>
                </a:ext>
              </a:extLst>
            </p:cNvPr>
            <p:cNvSpPr/>
            <p:nvPr/>
          </p:nvSpPr>
          <p:spPr>
            <a:xfrm>
              <a:off x="11422998" y="6669063"/>
              <a:ext cx="51268" cy="87781"/>
            </a:xfrm>
            <a:custGeom>
              <a:avLst/>
              <a:gdLst>
                <a:gd name="connsiteX0" fmla="*/ 91837 w 90848"/>
                <a:gd name="connsiteY0" fmla="*/ 74447 h 155549"/>
                <a:gd name="connsiteX1" fmla="*/ 91438 w 90848"/>
                <a:gd name="connsiteY1" fmla="*/ 73276 h 155549"/>
                <a:gd name="connsiteX2" fmla="*/ 90532 w 90848"/>
                <a:gd name="connsiteY2" fmla="*/ 70613 h 155549"/>
                <a:gd name="connsiteX3" fmla="*/ 89787 w 90848"/>
                <a:gd name="connsiteY3" fmla="*/ 68430 h 155549"/>
                <a:gd name="connsiteX4" fmla="*/ 88908 w 90848"/>
                <a:gd name="connsiteY4" fmla="*/ 66060 h 155549"/>
                <a:gd name="connsiteX5" fmla="*/ 88056 w 90848"/>
                <a:gd name="connsiteY5" fmla="*/ 63770 h 155549"/>
                <a:gd name="connsiteX6" fmla="*/ 87737 w 90848"/>
                <a:gd name="connsiteY6" fmla="*/ 62892 h 155549"/>
                <a:gd name="connsiteX7" fmla="*/ 85341 w 90848"/>
                <a:gd name="connsiteY7" fmla="*/ 56874 h 155549"/>
                <a:gd name="connsiteX8" fmla="*/ 84701 w 90848"/>
                <a:gd name="connsiteY8" fmla="*/ 55356 h 155549"/>
                <a:gd name="connsiteX9" fmla="*/ 83477 w 90848"/>
                <a:gd name="connsiteY9" fmla="*/ 52481 h 155549"/>
                <a:gd name="connsiteX10" fmla="*/ 61217 w 90848"/>
                <a:gd name="connsiteY10" fmla="*/ 11956 h 155549"/>
                <a:gd name="connsiteX11" fmla="*/ 52351 w 90848"/>
                <a:gd name="connsiteY11" fmla="*/ -346 h 155549"/>
                <a:gd name="connsiteX12" fmla="*/ 45108 w 90848"/>
                <a:gd name="connsiteY12" fmla="*/ 4660 h 155549"/>
                <a:gd name="connsiteX13" fmla="*/ 44230 w 90848"/>
                <a:gd name="connsiteY13" fmla="*/ 5299 h 155549"/>
                <a:gd name="connsiteX14" fmla="*/ 989 w 90848"/>
                <a:gd name="connsiteY14" fmla="*/ 61214 h 155549"/>
                <a:gd name="connsiteX15" fmla="*/ 989 w 90848"/>
                <a:gd name="connsiteY15" fmla="*/ 61214 h 155549"/>
                <a:gd name="connsiteX16" fmla="*/ 28840 w 90848"/>
                <a:gd name="connsiteY16" fmla="*/ 123253 h 155549"/>
                <a:gd name="connsiteX17" fmla="*/ 37360 w 90848"/>
                <a:gd name="connsiteY17" fmla="*/ 149080 h 155549"/>
                <a:gd name="connsiteX18" fmla="*/ 39144 w 90848"/>
                <a:gd name="connsiteY18" fmla="*/ 155204 h 155549"/>
                <a:gd name="connsiteX19" fmla="*/ 40475 w 90848"/>
                <a:gd name="connsiteY19" fmla="*/ 149080 h 155549"/>
                <a:gd name="connsiteX20" fmla="*/ 49448 w 90848"/>
                <a:gd name="connsiteY20" fmla="*/ 123253 h 155549"/>
                <a:gd name="connsiteX21" fmla="*/ 68646 w 90848"/>
                <a:gd name="connsiteY21" fmla="*/ 94284 h 155549"/>
                <a:gd name="connsiteX22" fmla="*/ 91811 w 90848"/>
                <a:gd name="connsiteY22" fmla="*/ 74341 h 155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0848" h="155549">
                  <a:moveTo>
                    <a:pt x="91837" y="74447"/>
                  </a:moveTo>
                  <a:lnTo>
                    <a:pt x="91438" y="73276"/>
                  </a:lnTo>
                  <a:cubicBezTo>
                    <a:pt x="91145" y="72397"/>
                    <a:pt x="90852" y="71518"/>
                    <a:pt x="90532" y="70613"/>
                  </a:cubicBezTo>
                  <a:lnTo>
                    <a:pt x="89787" y="68430"/>
                  </a:lnTo>
                  <a:lnTo>
                    <a:pt x="88908" y="66060"/>
                  </a:lnTo>
                  <a:cubicBezTo>
                    <a:pt x="88642" y="65288"/>
                    <a:pt x="88349" y="64516"/>
                    <a:pt x="88056" y="63770"/>
                  </a:cubicBezTo>
                  <a:lnTo>
                    <a:pt x="87737" y="62892"/>
                  </a:lnTo>
                  <a:cubicBezTo>
                    <a:pt x="86965" y="60868"/>
                    <a:pt x="86166" y="58871"/>
                    <a:pt x="85341" y="56874"/>
                  </a:cubicBezTo>
                  <a:lnTo>
                    <a:pt x="84701" y="55356"/>
                  </a:lnTo>
                  <a:cubicBezTo>
                    <a:pt x="84302" y="54398"/>
                    <a:pt x="83903" y="53439"/>
                    <a:pt x="83477" y="52481"/>
                  </a:cubicBezTo>
                  <a:cubicBezTo>
                    <a:pt x="77315" y="38318"/>
                    <a:pt x="69863" y="24752"/>
                    <a:pt x="61217" y="11956"/>
                  </a:cubicBezTo>
                  <a:cubicBezTo>
                    <a:pt x="58395" y="7775"/>
                    <a:pt x="55413" y="3675"/>
                    <a:pt x="52351" y="-346"/>
                  </a:cubicBezTo>
                  <a:cubicBezTo>
                    <a:pt x="49874" y="1252"/>
                    <a:pt x="47478" y="2929"/>
                    <a:pt x="45108" y="4660"/>
                  </a:cubicBezTo>
                  <a:lnTo>
                    <a:pt x="44230" y="5299"/>
                  </a:lnTo>
                  <a:cubicBezTo>
                    <a:pt x="25083" y="19741"/>
                    <a:pt x="10151" y="39048"/>
                    <a:pt x="989" y="61214"/>
                  </a:cubicBezTo>
                  <a:lnTo>
                    <a:pt x="989" y="61214"/>
                  </a:lnTo>
                  <a:cubicBezTo>
                    <a:pt x="11823" y="81162"/>
                    <a:pt x="21134" y="101901"/>
                    <a:pt x="28840" y="123253"/>
                  </a:cubicBezTo>
                  <a:cubicBezTo>
                    <a:pt x="31822" y="131534"/>
                    <a:pt x="34698" y="140134"/>
                    <a:pt x="37360" y="149080"/>
                  </a:cubicBezTo>
                  <a:cubicBezTo>
                    <a:pt x="37972" y="151104"/>
                    <a:pt x="38558" y="153154"/>
                    <a:pt x="39144" y="155204"/>
                  </a:cubicBezTo>
                  <a:cubicBezTo>
                    <a:pt x="39517" y="153261"/>
                    <a:pt x="39969" y="151210"/>
                    <a:pt x="40475" y="149080"/>
                  </a:cubicBezTo>
                  <a:cubicBezTo>
                    <a:pt x="42579" y="140187"/>
                    <a:pt x="45585" y="131534"/>
                    <a:pt x="49448" y="123253"/>
                  </a:cubicBezTo>
                  <a:cubicBezTo>
                    <a:pt x="54372" y="112696"/>
                    <a:pt x="60842" y="102932"/>
                    <a:pt x="68646" y="94284"/>
                  </a:cubicBezTo>
                  <a:cubicBezTo>
                    <a:pt x="75494" y="86685"/>
                    <a:pt x="83277" y="79983"/>
                    <a:pt x="91811" y="74341"/>
                  </a:cubicBezTo>
                  <a:close/>
                </a:path>
              </a:pathLst>
            </a:custGeom>
            <a:solidFill>
              <a:srgbClr val="E09C00"/>
            </a:solidFill>
            <a:ln w="2661" cap="flat">
              <a:noFill/>
              <a:prstDash val="solid"/>
              <a:miter/>
            </a:ln>
          </p:spPr>
          <p:txBody>
            <a:bodyPr rtlCol="0" anchor="ctr"/>
            <a:lstStyle/>
            <a:p>
              <a:endParaRPr lang="pl-PL"/>
            </a:p>
          </p:txBody>
        </p:sp>
        <p:sp>
          <p:nvSpPr>
            <p:cNvPr id="126" name="Freeform: Shape 125">
              <a:extLst>
                <a:ext uri="{FF2B5EF4-FFF2-40B4-BE49-F238E27FC236}">
                  <a16:creationId xmlns:a16="http://schemas.microsoft.com/office/drawing/2014/main" id="{CEB04C04-8296-47A7-92AC-CEDB2BA11D2E}"/>
                </a:ext>
              </a:extLst>
            </p:cNvPr>
            <p:cNvSpPr/>
            <p:nvPr/>
          </p:nvSpPr>
          <p:spPr>
            <a:xfrm>
              <a:off x="11393940" y="6672699"/>
              <a:ext cx="29090" cy="31088"/>
            </a:xfrm>
            <a:custGeom>
              <a:avLst/>
              <a:gdLst>
                <a:gd name="connsiteX0" fmla="*/ 17790 w 51548"/>
                <a:gd name="connsiteY0" fmla="*/ 1145 h 55089"/>
                <a:gd name="connsiteX1" fmla="*/ 16618 w 51548"/>
                <a:gd name="connsiteY1" fmla="*/ -346 h 55089"/>
                <a:gd name="connsiteX2" fmla="*/ 16272 w 51548"/>
                <a:gd name="connsiteY2" fmla="*/ 293 h 55089"/>
                <a:gd name="connsiteX3" fmla="*/ 989 w 51548"/>
                <a:gd name="connsiteY3" fmla="*/ 48939 h 55089"/>
                <a:gd name="connsiteX4" fmla="*/ 32940 w 51548"/>
                <a:gd name="connsiteY4" fmla="*/ 50111 h 55089"/>
                <a:gd name="connsiteX5" fmla="*/ 52537 w 51548"/>
                <a:gd name="connsiteY5" fmla="*/ 54744 h 55089"/>
                <a:gd name="connsiteX6" fmla="*/ 17923 w 51548"/>
                <a:gd name="connsiteY6" fmla="*/ 1145 h 55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48" h="55089">
                  <a:moveTo>
                    <a:pt x="17790" y="1145"/>
                  </a:moveTo>
                  <a:cubicBezTo>
                    <a:pt x="17390" y="640"/>
                    <a:pt x="17018" y="134"/>
                    <a:pt x="16618" y="-346"/>
                  </a:cubicBezTo>
                  <a:cubicBezTo>
                    <a:pt x="16618" y="-133"/>
                    <a:pt x="16405" y="80"/>
                    <a:pt x="16272" y="293"/>
                  </a:cubicBezTo>
                  <a:cubicBezTo>
                    <a:pt x="8353" y="15484"/>
                    <a:pt x="3180" y="31952"/>
                    <a:pt x="989" y="48939"/>
                  </a:cubicBezTo>
                  <a:cubicBezTo>
                    <a:pt x="11647" y="48055"/>
                    <a:pt x="22375" y="48449"/>
                    <a:pt x="32940" y="50111"/>
                  </a:cubicBezTo>
                  <a:cubicBezTo>
                    <a:pt x="39578" y="51171"/>
                    <a:pt x="46128" y="52718"/>
                    <a:pt x="52537" y="54744"/>
                  </a:cubicBezTo>
                  <a:cubicBezTo>
                    <a:pt x="42395" y="36015"/>
                    <a:pt x="30823" y="18096"/>
                    <a:pt x="17923" y="1145"/>
                  </a:cubicBezTo>
                </a:path>
              </a:pathLst>
            </a:custGeom>
            <a:solidFill>
              <a:srgbClr val="E09C00"/>
            </a:solidFill>
            <a:ln w="2661" cap="flat">
              <a:noFill/>
              <a:prstDash val="solid"/>
              <a:miter/>
            </a:ln>
          </p:spPr>
          <p:txBody>
            <a:bodyPr rtlCol="0" anchor="ctr"/>
            <a:lstStyle/>
            <a:p>
              <a:endParaRPr lang="pl-PL"/>
            </a:p>
          </p:txBody>
        </p:sp>
        <p:sp>
          <p:nvSpPr>
            <p:cNvPr id="127" name="Freeform: Shape 126">
              <a:extLst>
                <a:ext uri="{FF2B5EF4-FFF2-40B4-BE49-F238E27FC236}">
                  <a16:creationId xmlns:a16="http://schemas.microsoft.com/office/drawing/2014/main" id="{B6C38A2C-E62B-4ECF-9D33-986A1BE26768}"/>
                </a:ext>
              </a:extLst>
            </p:cNvPr>
            <p:cNvSpPr/>
            <p:nvPr/>
          </p:nvSpPr>
          <p:spPr>
            <a:xfrm>
              <a:off x="11401092" y="6746296"/>
              <a:ext cx="50862" cy="44116"/>
            </a:xfrm>
            <a:custGeom>
              <a:avLst/>
              <a:gdLst>
                <a:gd name="connsiteX0" fmla="*/ 83423 w 90129"/>
                <a:gd name="connsiteY0" fmla="*/ 39327 h 78174"/>
                <a:gd name="connsiteX1" fmla="*/ 82332 w 90129"/>
                <a:gd name="connsiteY1" fmla="*/ 34854 h 78174"/>
                <a:gd name="connsiteX2" fmla="*/ 77965 w 90129"/>
                <a:gd name="connsiteY2" fmla="*/ 18453 h 78174"/>
                <a:gd name="connsiteX3" fmla="*/ 66489 w 90129"/>
                <a:gd name="connsiteY3" fmla="*/ 12328 h 78174"/>
                <a:gd name="connsiteX4" fmla="*/ 13956 w 90129"/>
                <a:gd name="connsiteY4" fmla="*/ -292 h 78174"/>
                <a:gd name="connsiteX5" fmla="*/ 989 w 90129"/>
                <a:gd name="connsiteY5" fmla="*/ -79 h 78174"/>
                <a:gd name="connsiteX6" fmla="*/ 7619 w 90129"/>
                <a:gd name="connsiteY6" fmla="*/ 12355 h 78174"/>
                <a:gd name="connsiteX7" fmla="*/ 28227 w 90129"/>
                <a:gd name="connsiteY7" fmla="*/ 39354 h 78174"/>
                <a:gd name="connsiteX8" fmla="*/ 91118 w 90129"/>
                <a:gd name="connsiteY8" fmla="*/ 77829 h 78174"/>
                <a:gd name="connsiteX9" fmla="*/ 83423 w 90129"/>
                <a:gd name="connsiteY9" fmla="*/ 39354 h 78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129" h="78174">
                  <a:moveTo>
                    <a:pt x="83423" y="39327"/>
                  </a:moveTo>
                  <a:cubicBezTo>
                    <a:pt x="83077" y="37836"/>
                    <a:pt x="82704" y="36319"/>
                    <a:pt x="82332" y="34854"/>
                  </a:cubicBezTo>
                  <a:cubicBezTo>
                    <a:pt x="80947" y="29263"/>
                    <a:pt x="79509" y="23804"/>
                    <a:pt x="77965" y="18453"/>
                  </a:cubicBezTo>
                  <a:cubicBezTo>
                    <a:pt x="74272" y="16235"/>
                    <a:pt x="70448" y="14192"/>
                    <a:pt x="66489" y="12328"/>
                  </a:cubicBezTo>
                  <a:cubicBezTo>
                    <a:pt x="50021" y="4588"/>
                    <a:pt x="32144" y="293"/>
                    <a:pt x="13956" y="-292"/>
                  </a:cubicBezTo>
                  <a:cubicBezTo>
                    <a:pt x="9589" y="-425"/>
                    <a:pt x="5275" y="-292"/>
                    <a:pt x="989" y="-79"/>
                  </a:cubicBezTo>
                  <a:cubicBezTo>
                    <a:pt x="3012" y="4181"/>
                    <a:pt x="5222" y="8327"/>
                    <a:pt x="7619" y="12355"/>
                  </a:cubicBezTo>
                  <a:cubicBezTo>
                    <a:pt x="13418" y="22122"/>
                    <a:pt x="20335" y="31182"/>
                    <a:pt x="28227" y="39354"/>
                  </a:cubicBezTo>
                  <a:cubicBezTo>
                    <a:pt x="45566" y="57332"/>
                    <a:pt x="67216" y="70576"/>
                    <a:pt x="91118" y="77829"/>
                  </a:cubicBezTo>
                  <a:cubicBezTo>
                    <a:pt x="88961" y="64516"/>
                    <a:pt x="86352" y="51629"/>
                    <a:pt x="83423" y="39354"/>
                  </a:cubicBezTo>
                </a:path>
              </a:pathLst>
            </a:custGeom>
            <a:solidFill>
              <a:srgbClr val="E09C00"/>
            </a:solidFill>
            <a:ln w="2661" cap="flat">
              <a:noFill/>
              <a:prstDash val="solid"/>
              <a:miter/>
            </a:ln>
          </p:spPr>
          <p:txBody>
            <a:bodyPr rtlCol="0" anchor="ctr"/>
            <a:lstStyle/>
            <a:p>
              <a:endParaRPr lang="pl-PL"/>
            </a:p>
          </p:txBody>
        </p:sp>
        <p:sp>
          <p:nvSpPr>
            <p:cNvPr id="128" name="Freeform: Shape 127">
              <a:extLst>
                <a:ext uri="{FF2B5EF4-FFF2-40B4-BE49-F238E27FC236}">
                  <a16:creationId xmlns:a16="http://schemas.microsoft.com/office/drawing/2014/main" id="{736CF6A0-CB57-4D6E-B7AA-F77765878177}"/>
                </a:ext>
              </a:extLst>
            </p:cNvPr>
            <p:cNvSpPr/>
            <p:nvPr/>
          </p:nvSpPr>
          <p:spPr>
            <a:xfrm>
              <a:off x="11451983" y="6691629"/>
              <a:ext cx="106699" cy="102254"/>
            </a:xfrm>
            <a:custGeom>
              <a:avLst/>
              <a:gdLst>
                <a:gd name="connsiteX0" fmla="*/ 189954 w 189072"/>
                <a:gd name="connsiteY0" fmla="*/ 30014 h 181196"/>
                <a:gd name="connsiteX1" fmla="*/ 188463 w 189072"/>
                <a:gd name="connsiteY1" fmla="*/ 13159 h 181196"/>
                <a:gd name="connsiteX2" fmla="*/ 180928 w 189072"/>
                <a:gd name="connsiteY2" fmla="*/ 13639 h 181196"/>
                <a:gd name="connsiteX3" fmla="*/ 171449 w 189072"/>
                <a:gd name="connsiteY3" fmla="*/ 21467 h 181196"/>
                <a:gd name="connsiteX4" fmla="*/ 171449 w 189072"/>
                <a:gd name="connsiteY4" fmla="*/ 21467 h 181196"/>
                <a:gd name="connsiteX5" fmla="*/ 171449 w 189072"/>
                <a:gd name="connsiteY5" fmla="*/ 21467 h 181196"/>
                <a:gd name="connsiteX6" fmla="*/ 169080 w 189072"/>
                <a:gd name="connsiteY6" fmla="*/ 52513 h 181196"/>
                <a:gd name="connsiteX7" fmla="*/ 162370 w 189072"/>
                <a:gd name="connsiteY7" fmla="*/ 81988 h 181196"/>
                <a:gd name="connsiteX8" fmla="*/ 161944 w 189072"/>
                <a:gd name="connsiteY8" fmla="*/ 83373 h 181196"/>
                <a:gd name="connsiteX9" fmla="*/ 151773 w 189072"/>
                <a:gd name="connsiteY9" fmla="*/ 109200 h 181196"/>
                <a:gd name="connsiteX10" fmla="*/ 145169 w 189072"/>
                <a:gd name="connsiteY10" fmla="*/ 120649 h 181196"/>
                <a:gd name="connsiteX11" fmla="*/ 143785 w 189072"/>
                <a:gd name="connsiteY11" fmla="*/ 121395 h 181196"/>
                <a:gd name="connsiteX12" fmla="*/ 142853 w 189072"/>
                <a:gd name="connsiteY12" fmla="*/ 121102 h 181196"/>
                <a:gd name="connsiteX13" fmla="*/ 142400 w 189072"/>
                <a:gd name="connsiteY13" fmla="*/ 118785 h 181196"/>
                <a:gd name="connsiteX14" fmla="*/ 147992 w 189072"/>
                <a:gd name="connsiteY14" fmla="*/ 109200 h 181196"/>
                <a:gd name="connsiteX15" fmla="*/ 158323 w 189072"/>
                <a:gd name="connsiteY15" fmla="*/ 83373 h 181196"/>
                <a:gd name="connsiteX16" fmla="*/ 159042 w 189072"/>
                <a:gd name="connsiteY16" fmla="*/ 81030 h 181196"/>
                <a:gd name="connsiteX17" fmla="*/ 165725 w 189072"/>
                <a:gd name="connsiteY17" fmla="*/ 51315 h 181196"/>
                <a:gd name="connsiteX18" fmla="*/ 168121 w 189072"/>
                <a:gd name="connsiteY18" fmla="*/ 20215 h 181196"/>
                <a:gd name="connsiteX19" fmla="*/ 166763 w 189072"/>
                <a:gd name="connsiteY19" fmla="*/ -340 h 181196"/>
                <a:gd name="connsiteX20" fmla="*/ 166763 w 189072"/>
                <a:gd name="connsiteY20" fmla="*/ -340 h 181196"/>
                <a:gd name="connsiteX21" fmla="*/ 166763 w 189072"/>
                <a:gd name="connsiteY21" fmla="*/ -340 h 181196"/>
                <a:gd name="connsiteX22" fmla="*/ 154062 w 189072"/>
                <a:gd name="connsiteY22" fmla="*/ 2589 h 181196"/>
                <a:gd name="connsiteX23" fmla="*/ 146847 w 189072"/>
                <a:gd name="connsiteY23" fmla="*/ 14544 h 181196"/>
                <a:gd name="connsiteX24" fmla="*/ 146847 w 189072"/>
                <a:gd name="connsiteY24" fmla="*/ 14544 h 181196"/>
                <a:gd name="connsiteX25" fmla="*/ 144371 w 189072"/>
                <a:gd name="connsiteY25" fmla="*/ 46016 h 181196"/>
                <a:gd name="connsiteX26" fmla="*/ 137181 w 189072"/>
                <a:gd name="connsiteY26" fmla="*/ 76636 h 181196"/>
                <a:gd name="connsiteX27" fmla="*/ 134972 w 189072"/>
                <a:gd name="connsiteY27" fmla="*/ 83293 h 181196"/>
                <a:gd name="connsiteX28" fmla="*/ 123070 w 189072"/>
                <a:gd name="connsiteY28" fmla="*/ 109120 h 181196"/>
                <a:gd name="connsiteX29" fmla="*/ 120167 w 189072"/>
                <a:gd name="connsiteY29" fmla="*/ 113700 h 181196"/>
                <a:gd name="connsiteX30" fmla="*/ 118783 w 189072"/>
                <a:gd name="connsiteY30" fmla="*/ 114445 h 181196"/>
                <a:gd name="connsiteX31" fmla="*/ 117851 w 189072"/>
                <a:gd name="connsiteY31" fmla="*/ 114152 h 181196"/>
                <a:gd name="connsiteX32" fmla="*/ 117409 w 189072"/>
                <a:gd name="connsiteY32" fmla="*/ 111860 h 181196"/>
                <a:gd name="connsiteX33" fmla="*/ 117425 w 189072"/>
                <a:gd name="connsiteY33" fmla="*/ 111836 h 181196"/>
                <a:gd name="connsiteX34" fmla="*/ 119156 w 189072"/>
                <a:gd name="connsiteY34" fmla="*/ 109173 h 181196"/>
                <a:gd name="connsiteX35" fmla="*/ 131430 w 189072"/>
                <a:gd name="connsiteY35" fmla="*/ 83346 h 181196"/>
                <a:gd name="connsiteX36" fmla="*/ 133827 w 189072"/>
                <a:gd name="connsiteY36" fmla="*/ 76343 h 181196"/>
                <a:gd name="connsiteX37" fmla="*/ 141069 w 189072"/>
                <a:gd name="connsiteY37" fmla="*/ 45590 h 181196"/>
                <a:gd name="connsiteX38" fmla="*/ 143465 w 189072"/>
                <a:gd name="connsiteY38" fmla="*/ 14038 h 181196"/>
                <a:gd name="connsiteX39" fmla="*/ 143465 w 189072"/>
                <a:gd name="connsiteY39" fmla="*/ 13798 h 181196"/>
                <a:gd name="connsiteX40" fmla="*/ 143465 w 189072"/>
                <a:gd name="connsiteY40" fmla="*/ 13798 h 181196"/>
                <a:gd name="connsiteX41" fmla="*/ 140403 w 189072"/>
                <a:gd name="connsiteY41" fmla="*/ 13585 h 181196"/>
                <a:gd name="connsiteX42" fmla="*/ 128208 w 189072"/>
                <a:gd name="connsiteY42" fmla="*/ 18911 h 181196"/>
                <a:gd name="connsiteX43" fmla="*/ 121978 w 189072"/>
                <a:gd name="connsiteY43" fmla="*/ 36670 h 181196"/>
                <a:gd name="connsiteX44" fmla="*/ 121073 w 189072"/>
                <a:gd name="connsiteY44" fmla="*/ 41809 h 181196"/>
                <a:gd name="connsiteX45" fmla="*/ 120673 w 189072"/>
                <a:gd name="connsiteY45" fmla="*/ 43993 h 181196"/>
                <a:gd name="connsiteX46" fmla="*/ 110901 w 189072"/>
                <a:gd name="connsiteY46" fmla="*/ 75944 h 181196"/>
                <a:gd name="connsiteX47" fmla="*/ 107546 w 189072"/>
                <a:gd name="connsiteY47" fmla="*/ 83453 h 181196"/>
                <a:gd name="connsiteX48" fmla="*/ 93807 w 189072"/>
                <a:gd name="connsiteY48" fmla="*/ 106218 h 181196"/>
                <a:gd name="connsiteX49" fmla="*/ 92476 w 189072"/>
                <a:gd name="connsiteY49" fmla="*/ 106883 h 181196"/>
                <a:gd name="connsiteX50" fmla="*/ 91464 w 189072"/>
                <a:gd name="connsiteY50" fmla="*/ 106564 h 181196"/>
                <a:gd name="connsiteX51" fmla="*/ 91118 w 189072"/>
                <a:gd name="connsiteY51" fmla="*/ 104221 h 181196"/>
                <a:gd name="connsiteX52" fmla="*/ 103792 w 189072"/>
                <a:gd name="connsiteY52" fmla="*/ 83266 h 181196"/>
                <a:gd name="connsiteX53" fmla="*/ 107147 w 189072"/>
                <a:gd name="connsiteY53" fmla="*/ 76024 h 181196"/>
                <a:gd name="connsiteX54" fmla="*/ 117105 w 189072"/>
                <a:gd name="connsiteY54" fmla="*/ 44019 h 181196"/>
                <a:gd name="connsiteX55" fmla="*/ 117691 w 189072"/>
                <a:gd name="connsiteY55" fmla="*/ 41064 h 181196"/>
                <a:gd name="connsiteX56" fmla="*/ 105470 w 189072"/>
                <a:gd name="connsiteY56" fmla="*/ 42235 h 181196"/>
                <a:gd name="connsiteX57" fmla="*/ 101502 w 189072"/>
                <a:gd name="connsiteY57" fmla="*/ 44898 h 181196"/>
                <a:gd name="connsiteX58" fmla="*/ 97881 w 189072"/>
                <a:gd name="connsiteY58" fmla="*/ 50835 h 181196"/>
                <a:gd name="connsiteX59" fmla="*/ 97509 w 189072"/>
                <a:gd name="connsiteY59" fmla="*/ 51980 h 181196"/>
                <a:gd name="connsiteX60" fmla="*/ 91491 w 189072"/>
                <a:gd name="connsiteY60" fmla="*/ 66412 h 181196"/>
                <a:gd name="connsiteX61" fmla="*/ 83716 w 189072"/>
                <a:gd name="connsiteY61" fmla="*/ 79725 h 181196"/>
                <a:gd name="connsiteX62" fmla="*/ 81266 w 189072"/>
                <a:gd name="connsiteY62" fmla="*/ 83293 h 181196"/>
                <a:gd name="connsiteX63" fmla="*/ 79909 w 189072"/>
                <a:gd name="connsiteY63" fmla="*/ 85130 h 181196"/>
                <a:gd name="connsiteX64" fmla="*/ 64093 w 189072"/>
                <a:gd name="connsiteY64" fmla="*/ 102091 h 181196"/>
                <a:gd name="connsiteX65" fmla="*/ 54774 w 189072"/>
                <a:gd name="connsiteY65" fmla="*/ 109120 h 181196"/>
                <a:gd name="connsiteX66" fmla="*/ 53043 w 189072"/>
                <a:gd name="connsiteY66" fmla="*/ 110292 h 181196"/>
                <a:gd name="connsiteX67" fmla="*/ 53043 w 189072"/>
                <a:gd name="connsiteY67" fmla="*/ 110292 h 181196"/>
                <a:gd name="connsiteX68" fmla="*/ 51578 w 189072"/>
                <a:gd name="connsiteY68" fmla="*/ 111250 h 181196"/>
                <a:gd name="connsiteX69" fmla="*/ 22290 w 189072"/>
                <a:gd name="connsiteY69" fmla="*/ 136092 h 181196"/>
                <a:gd name="connsiteX70" fmla="*/ 989 w 189072"/>
                <a:gd name="connsiteY70" fmla="*/ 174567 h 181196"/>
                <a:gd name="connsiteX71" fmla="*/ 1468 w 189072"/>
                <a:gd name="connsiteY71" fmla="*/ 174700 h 181196"/>
                <a:gd name="connsiteX72" fmla="*/ 21065 w 189072"/>
                <a:gd name="connsiteY72" fmla="*/ 179120 h 181196"/>
                <a:gd name="connsiteX73" fmla="*/ 43511 w 189072"/>
                <a:gd name="connsiteY73" fmla="*/ 180851 h 181196"/>
                <a:gd name="connsiteX74" fmla="*/ 43910 w 189072"/>
                <a:gd name="connsiteY74" fmla="*/ 180851 h 181196"/>
                <a:gd name="connsiteX75" fmla="*/ 148924 w 189072"/>
                <a:gd name="connsiteY75" fmla="*/ 136119 h 181196"/>
                <a:gd name="connsiteX76" fmla="*/ 169559 w 189072"/>
                <a:gd name="connsiteY76" fmla="*/ 109120 h 181196"/>
                <a:gd name="connsiteX77" fmla="*/ 179783 w 189072"/>
                <a:gd name="connsiteY77" fmla="*/ 88325 h 181196"/>
                <a:gd name="connsiteX78" fmla="*/ 181674 w 189072"/>
                <a:gd name="connsiteY78" fmla="*/ 83293 h 181196"/>
                <a:gd name="connsiteX79" fmla="*/ 187718 w 189072"/>
                <a:gd name="connsiteY79" fmla="*/ 60527 h 181196"/>
                <a:gd name="connsiteX80" fmla="*/ 190061 w 189072"/>
                <a:gd name="connsiteY80" fmla="*/ 34301 h 181196"/>
                <a:gd name="connsiteX81" fmla="*/ 190061 w 189072"/>
                <a:gd name="connsiteY81" fmla="*/ 29854 h 181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89072" h="181196">
                  <a:moveTo>
                    <a:pt x="189954" y="30014"/>
                  </a:moveTo>
                  <a:cubicBezTo>
                    <a:pt x="189784" y="24372"/>
                    <a:pt x="189286" y="18743"/>
                    <a:pt x="188463" y="13159"/>
                  </a:cubicBezTo>
                  <a:cubicBezTo>
                    <a:pt x="185942" y="12909"/>
                    <a:pt x="183396" y="13072"/>
                    <a:pt x="180928" y="13639"/>
                  </a:cubicBezTo>
                  <a:cubicBezTo>
                    <a:pt x="176713" y="14613"/>
                    <a:pt x="173204" y="17513"/>
                    <a:pt x="171449" y="21467"/>
                  </a:cubicBezTo>
                  <a:lnTo>
                    <a:pt x="171449" y="21467"/>
                  </a:lnTo>
                  <a:lnTo>
                    <a:pt x="171449" y="21467"/>
                  </a:lnTo>
                  <a:cubicBezTo>
                    <a:pt x="171487" y="31862"/>
                    <a:pt x="170693" y="42243"/>
                    <a:pt x="169080" y="52513"/>
                  </a:cubicBezTo>
                  <a:cubicBezTo>
                    <a:pt x="167522" y="62479"/>
                    <a:pt x="165280" y="72328"/>
                    <a:pt x="162370" y="81988"/>
                  </a:cubicBezTo>
                  <a:cubicBezTo>
                    <a:pt x="162210" y="82441"/>
                    <a:pt x="162077" y="82893"/>
                    <a:pt x="161944" y="83373"/>
                  </a:cubicBezTo>
                  <a:cubicBezTo>
                    <a:pt x="159260" y="92244"/>
                    <a:pt x="155860" y="100882"/>
                    <a:pt x="151773" y="109200"/>
                  </a:cubicBezTo>
                  <a:cubicBezTo>
                    <a:pt x="149821" y="113154"/>
                    <a:pt x="147614" y="116980"/>
                    <a:pt x="145169" y="120649"/>
                  </a:cubicBezTo>
                  <a:cubicBezTo>
                    <a:pt x="144860" y="121112"/>
                    <a:pt x="144341" y="121392"/>
                    <a:pt x="143785" y="121395"/>
                  </a:cubicBezTo>
                  <a:cubicBezTo>
                    <a:pt x="143452" y="121387"/>
                    <a:pt x="143130" y="121286"/>
                    <a:pt x="142853" y="121102"/>
                  </a:cubicBezTo>
                  <a:cubicBezTo>
                    <a:pt x="142091" y="120585"/>
                    <a:pt x="141892" y="119552"/>
                    <a:pt x="142400" y="118785"/>
                  </a:cubicBezTo>
                  <a:cubicBezTo>
                    <a:pt x="144458" y="115707"/>
                    <a:pt x="146325" y="112507"/>
                    <a:pt x="147992" y="109200"/>
                  </a:cubicBezTo>
                  <a:cubicBezTo>
                    <a:pt x="152161" y="100898"/>
                    <a:pt x="155617" y="92258"/>
                    <a:pt x="158323" y="83373"/>
                  </a:cubicBezTo>
                  <a:lnTo>
                    <a:pt x="159042" y="81030"/>
                  </a:lnTo>
                  <a:cubicBezTo>
                    <a:pt x="161944" y="71290"/>
                    <a:pt x="164178" y="61361"/>
                    <a:pt x="165725" y="51315"/>
                  </a:cubicBezTo>
                  <a:cubicBezTo>
                    <a:pt x="167306" y="41024"/>
                    <a:pt x="168108" y="30626"/>
                    <a:pt x="168121" y="20215"/>
                  </a:cubicBezTo>
                  <a:cubicBezTo>
                    <a:pt x="168116" y="13341"/>
                    <a:pt x="167663" y="6474"/>
                    <a:pt x="166763" y="-340"/>
                  </a:cubicBezTo>
                  <a:lnTo>
                    <a:pt x="166763" y="-340"/>
                  </a:lnTo>
                  <a:lnTo>
                    <a:pt x="166763" y="-340"/>
                  </a:lnTo>
                  <a:cubicBezTo>
                    <a:pt x="162351" y="-431"/>
                    <a:pt x="157987" y="576"/>
                    <a:pt x="154062" y="2589"/>
                  </a:cubicBezTo>
                  <a:cubicBezTo>
                    <a:pt x="149685" y="4988"/>
                    <a:pt x="146929" y="9552"/>
                    <a:pt x="146847" y="14544"/>
                  </a:cubicBezTo>
                  <a:lnTo>
                    <a:pt x="146847" y="14544"/>
                  </a:lnTo>
                  <a:cubicBezTo>
                    <a:pt x="146868" y="25085"/>
                    <a:pt x="146040" y="35608"/>
                    <a:pt x="144371" y="46016"/>
                  </a:cubicBezTo>
                  <a:cubicBezTo>
                    <a:pt x="142752" y="56390"/>
                    <a:pt x="140347" y="66625"/>
                    <a:pt x="137181" y="76636"/>
                  </a:cubicBezTo>
                  <a:cubicBezTo>
                    <a:pt x="136489" y="78899"/>
                    <a:pt x="135744" y="81109"/>
                    <a:pt x="134972" y="83293"/>
                  </a:cubicBezTo>
                  <a:cubicBezTo>
                    <a:pt x="131840" y="92263"/>
                    <a:pt x="127854" y="100911"/>
                    <a:pt x="123070" y="109120"/>
                  </a:cubicBezTo>
                  <a:cubicBezTo>
                    <a:pt x="122111" y="110744"/>
                    <a:pt x="121153" y="112262"/>
                    <a:pt x="120167" y="113700"/>
                  </a:cubicBezTo>
                  <a:cubicBezTo>
                    <a:pt x="119861" y="114166"/>
                    <a:pt x="119342" y="114448"/>
                    <a:pt x="118783" y="114445"/>
                  </a:cubicBezTo>
                  <a:cubicBezTo>
                    <a:pt x="118450" y="114437"/>
                    <a:pt x="118128" y="114336"/>
                    <a:pt x="117851" y="114152"/>
                  </a:cubicBezTo>
                  <a:cubicBezTo>
                    <a:pt x="117095" y="113641"/>
                    <a:pt x="116898" y="112616"/>
                    <a:pt x="117409" y="111860"/>
                  </a:cubicBezTo>
                  <a:cubicBezTo>
                    <a:pt x="117414" y="111852"/>
                    <a:pt x="117419" y="111844"/>
                    <a:pt x="117425" y="111836"/>
                  </a:cubicBezTo>
                  <a:cubicBezTo>
                    <a:pt x="118011" y="110957"/>
                    <a:pt x="118570" y="110052"/>
                    <a:pt x="119156" y="109173"/>
                  </a:cubicBezTo>
                  <a:cubicBezTo>
                    <a:pt x="124127" y="101010"/>
                    <a:pt x="128240" y="92356"/>
                    <a:pt x="131430" y="83346"/>
                  </a:cubicBezTo>
                  <a:cubicBezTo>
                    <a:pt x="132256" y="81056"/>
                    <a:pt x="133054" y="78713"/>
                    <a:pt x="133827" y="76343"/>
                  </a:cubicBezTo>
                  <a:cubicBezTo>
                    <a:pt x="137027" y="66292"/>
                    <a:pt x="139447" y="56012"/>
                    <a:pt x="141069" y="45590"/>
                  </a:cubicBezTo>
                  <a:cubicBezTo>
                    <a:pt x="142738" y="35158"/>
                    <a:pt x="143540" y="24603"/>
                    <a:pt x="143465" y="14038"/>
                  </a:cubicBezTo>
                  <a:lnTo>
                    <a:pt x="143465" y="13798"/>
                  </a:lnTo>
                  <a:lnTo>
                    <a:pt x="143465" y="13798"/>
                  </a:lnTo>
                  <a:cubicBezTo>
                    <a:pt x="142451" y="13655"/>
                    <a:pt x="141428" y="13583"/>
                    <a:pt x="140403" y="13585"/>
                  </a:cubicBezTo>
                  <a:cubicBezTo>
                    <a:pt x="135741" y="13418"/>
                    <a:pt x="131255" y="15375"/>
                    <a:pt x="128208" y="18911"/>
                  </a:cubicBezTo>
                  <a:cubicBezTo>
                    <a:pt x="124055" y="23890"/>
                    <a:pt x="121978" y="36670"/>
                    <a:pt x="121978" y="36670"/>
                  </a:cubicBezTo>
                  <a:cubicBezTo>
                    <a:pt x="121712" y="38401"/>
                    <a:pt x="121419" y="40105"/>
                    <a:pt x="121073" y="41809"/>
                  </a:cubicBezTo>
                  <a:cubicBezTo>
                    <a:pt x="121073" y="41809"/>
                    <a:pt x="121073" y="42608"/>
                    <a:pt x="120673" y="43993"/>
                  </a:cubicBezTo>
                  <a:cubicBezTo>
                    <a:pt x="118469" y="54936"/>
                    <a:pt x="115196" y="65640"/>
                    <a:pt x="110901" y="75944"/>
                  </a:cubicBezTo>
                  <a:cubicBezTo>
                    <a:pt x="109871" y="78394"/>
                    <a:pt x="108753" y="80896"/>
                    <a:pt x="107546" y="83453"/>
                  </a:cubicBezTo>
                  <a:cubicBezTo>
                    <a:pt x="103744" y="91483"/>
                    <a:pt x="99141" y="99111"/>
                    <a:pt x="93807" y="106218"/>
                  </a:cubicBezTo>
                  <a:cubicBezTo>
                    <a:pt x="93488" y="106633"/>
                    <a:pt x="92998" y="106878"/>
                    <a:pt x="92476" y="106883"/>
                  </a:cubicBezTo>
                  <a:cubicBezTo>
                    <a:pt x="92114" y="106886"/>
                    <a:pt x="91760" y="106774"/>
                    <a:pt x="91464" y="106564"/>
                  </a:cubicBezTo>
                  <a:cubicBezTo>
                    <a:pt x="90724" y="106013"/>
                    <a:pt x="90567" y="104964"/>
                    <a:pt x="91118" y="104221"/>
                  </a:cubicBezTo>
                  <a:cubicBezTo>
                    <a:pt x="95956" y="97626"/>
                    <a:pt x="100198" y="90615"/>
                    <a:pt x="103792" y="83266"/>
                  </a:cubicBezTo>
                  <a:cubicBezTo>
                    <a:pt x="104964" y="80896"/>
                    <a:pt x="106082" y="78473"/>
                    <a:pt x="107147" y="76024"/>
                  </a:cubicBezTo>
                  <a:cubicBezTo>
                    <a:pt x="111572" y="65733"/>
                    <a:pt x="114911" y="55005"/>
                    <a:pt x="117105" y="44019"/>
                  </a:cubicBezTo>
                  <a:cubicBezTo>
                    <a:pt x="117318" y="43034"/>
                    <a:pt x="117505" y="42049"/>
                    <a:pt x="117691" y="41064"/>
                  </a:cubicBezTo>
                  <a:cubicBezTo>
                    <a:pt x="113593" y="40212"/>
                    <a:pt x="109333" y="40619"/>
                    <a:pt x="105470" y="42235"/>
                  </a:cubicBezTo>
                  <a:cubicBezTo>
                    <a:pt x="103995" y="42872"/>
                    <a:pt x="102650" y="43774"/>
                    <a:pt x="101502" y="44898"/>
                  </a:cubicBezTo>
                  <a:cubicBezTo>
                    <a:pt x="99868" y="46583"/>
                    <a:pt x="98632" y="48612"/>
                    <a:pt x="97881" y="50835"/>
                  </a:cubicBezTo>
                  <a:cubicBezTo>
                    <a:pt x="97881" y="51208"/>
                    <a:pt x="97615" y="51581"/>
                    <a:pt x="97509" y="51980"/>
                  </a:cubicBezTo>
                  <a:cubicBezTo>
                    <a:pt x="95812" y="56914"/>
                    <a:pt x="93802" y="61734"/>
                    <a:pt x="91491" y="66412"/>
                  </a:cubicBezTo>
                  <a:cubicBezTo>
                    <a:pt x="89190" y="71013"/>
                    <a:pt x="86594" y="75459"/>
                    <a:pt x="83716" y="79725"/>
                  </a:cubicBezTo>
                  <a:cubicBezTo>
                    <a:pt x="82944" y="80923"/>
                    <a:pt x="82119" y="82095"/>
                    <a:pt x="81266" y="83293"/>
                  </a:cubicBezTo>
                  <a:lnTo>
                    <a:pt x="79909" y="85130"/>
                  </a:lnTo>
                  <a:cubicBezTo>
                    <a:pt x="75257" y="91334"/>
                    <a:pt x="69956" y="97019"/>
                    <a:pt x="64093" y="102091"/>
                  </a:cubicBezTo>
                  <a:cubicBezTo>
                    <a:pt x="61124" y="104610"/>
                    <a:pt x="58011" y="106958"/>
                    <a:pt x="54774" y="109120"/>
                  </a:cubicBezTo>
                  <a:lnTo>
                    <a:pt x="53043" y="110292"/>
                  </a:lnTo>
                  <a:lnTo>
                    <a:pt x="53043" y="110292"/>
                  </a:lnTo>
                  <a:lnTo>
                    <a:pt x="51578" y="111250"/>
                  </a:lnTo>
                  <a:cubicBezTo>
                    <a:pt x="40757" y="118197"/>
                    <a:pt x="30909" y="126550"/>
                    <a:pt x="22290" y="136092"/>
                  </a:cubicBezTo>
                  <a:cubicBezTo>
                    <a:pt x="12654" y="147339"/>
                    <a:pt x="5406" y="160429"/>
                    <a:pt x="989" y="174567"/>
                  </a:cubicBezTo>
                  <a:lnTo>
                    <a:pt x="1468" y="174700"/>
                  </a:lnTo>
                  <a:cubicBezTo>
                    <a:pt x="7888" y="176636"/>
                    <a:pt x="14435" y="178114"/>
                    <a:pt x="21065" y="179120"/>
                  </a:cubicBezTo>
                  <a:cubicBezTo>
                    <a:pt x="28491" y="180278"/>
                    <a:pt x="35994" y="180856"/>
                    <a:pt x="43511" y="180851"/>
                  </a:cubicBezTo>
                  <a:lnTo>
                    <a:pt x="43910" y="180851"/>
                  </a:lnTo>
                  <a:cubicBezTo>
                    <a:pt x="83532" y="180798"/>
                    <a:pt x="121432" y="164652"/>
                    <a:pt x="148924" y="136119"/>
                  </a:cubicBezTo>
                  <a:cubicBezTo>
                    <a:pt x="156824" y="127947"/>
                    <a:pt x="163749" y="118889"/>
                    <a:pt x="169559" y="109120"/>
                  </a:cubicBezTo>
                  <a:cubicBezTo>
                    <a:pt x="173507" y="102466"/>
                    <a:pt x="176926" y="95514"/>
                    <a:pt x="179783" y="88325"/>
                  </a:cubicBezTo>
                  <a:cubicBezTo>
                    <a:pt x="180449" y="86674"/>
                    <a:pt x="181088" y="84970"/>
                    <a:pt x="181674" y="83293"/>
                  </a:cubicBezTo>
                  <a:cubicBezTo>
                    <a:pt x="184304" y="75880"/>
                    <a:pt x="186325" y="68268"/>
                    <a:pt x="187718" y="60527"/>
                  </a:cubicBezTo>
                  <a:cubicBezTo>
                    <a:pt x="189283" y="51874"/>
                    <a:pt x="190066" y="43095"/>
                    <a:pt x="190061" y="34301"/>
                  </a:cubicBezTo>
                  <a:cubicBezTo>
                    <a:pt x="190061" y="32810"/>
                    <a:pt x="190061" y="31318"/>
                    <a:pt x="190061" y="29854"/>
                  </a:cubicBezTo>
                </a:path>
              </a:pathLst>
            </a:custGeom>
            <a:solidFill>
              <a:srgbClr val="143DCF"/>
            </a:solidFill>
            <a:ln w="2661" cap="flat">
              <a:noFill/>
              <a:prstDash val="solid"/>
              <a:miter/>
            </a:ln>
          </p:spPr>
          <p:txBody>
            <a:bodyPr rtlCol="0" anchor="ctr"/>
            <a:lstStyle/>
            <a:p>
              <a:endParaRPr lang="pl-PL"/>
            </a:p>
          </p:txBody>
        </p:sp>
        <p:sp>
          <p:nvSpPr>
            <p:cNvPr id="129" name="Freeform: Shape 128">
              <a:extLst>
                <a:ext uri="{FF2B5EF4-FFF2-40B4-BE49-F238E27FC236}">
                  <a16:creationId xmlns:a16="http://schemas.microsoft.com/office/drawing/2014/main" id="{D0531E55-59FE-47ED-A361-5B998BB5B521}"/>
                </a:ext>
              </a:extLst>
            </p:cNvPr>
            <p:cNvSpPr/>
            <p:nvPr/>
          </p:nvSpPr>
          <p:spPr>
            <a:xfrm>
              <a:off x="11502581" y="6714997"/>
              <a:ext cx="17090" cy="37099"/>
            </a:xfrm>
            <a:custGeom>
              <a:avLst/>
              <a:gdLst>
                <a:gd name="connsiteX0" fmla="*/ 31273 w 30283"/>
                <a:gd name="connsiteY0" fmla="*/ 400 h 65740"/>
                <a:gd name="connsiteX1" fmla="*/ 28024 w 30283"/>
                <a:gd name="connsiteY1" fmla="*/ -346 h 65740"/>
                <a:gd name="connsiteX2" fmla="*/ 27438 w 30283"/>
                <a:gd name="connsiteY2" fmla="*/ 2610 h 65740"/>
                <a:gd name="connsiteX3" fmla="*/ 17374 w 30283"/>
                <a:gd name="connsiteY3" fmla="*/ 34721 h 65740"/>
                <a:gd name="connsiteX4" fmla="*/ 13992 w 30283"/>
                <a:gd name="connsiteY4" fmla="*/ 41963 h 65740"/>
                <a:gd name="connsiteX5" fmla="*/ 1318 w 30283"/>
                <a:gd name="connsiteY5" fmla="*/ 62732 h 65740"/>
                <a:gd name="connsiteX6" fmla="*/ 1664 w 30283"/>
                <a:gd name="connsiteY6" fmla="*/ 65075 h 65740"/>
                <a:gd name="connsiteX7" fmla="*/ 2650 w 30283"/>
                <a:gd name="connsiteY7" fmla="*/ 65394 h 65740"/>
                <a:gd name="connsiteX8" fmla="*/ 4007 w 30283"/>
                <a:gd name="connsiteY8" fmla="*/ 64729 h 65740"/>
                <a:gd name="connsiteX9" fmla="*/ 17747 w 30283"/>
                <a:gd name="connsiteY9" fmla="*/ 41963 h 65740"/>
                <a:gd name="connsiteX10" fmla="*/ 21101 w 30283"/>
                <a:gd name="connsiteY10" fmla="*/ 34481 h 65740"/>
                <a:gd name="connsiteX11" fmla="*/ 30873 w 30283"/>
                <a:gd name="connsiteY11" fmla="*/ 2530 h 65740"/>
                <a:gd name="connsiteX12" fmla="*/ 31273 w 30283"/>
                <a:gd name="connsiteY12" fmla="*/ 347 h 6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283" h="65740">
                  <a:moveTo>
                    <a:pt x="31273" y="400"/>
                  </a:moveTo>
                  <a:cubicBezTo>
                    <a:pt x="30213" y="62"/>
                    <a:pt x="29126" y="-186"/>
                    <a:pt x="28024" y="-346"/>
                  </a:cubicBezTo>
                  <a:cubicBezTo>
                    <a:pt x="27838" y="640"/>
                    <a:pt x="27652" y="1625"/>
                    <a:pt x="27438" y="2610"/>
                  </a:cubicBezTo>
                  <a:cubicBezTo>
                    <a:pt x="25218" y="13636"/>
                    <a:pt x="21844" y="24398"/>
                    <a:pt x="17374" y="34721"/>
                  </a:cubicBezTo>
                  <a:cubicBezTo>
                    <a:pt x="16309" y="37171"/>
                    <a:pt x="15190" y="39594"/>
                    <a:pt x="13992" y="41963"/>
                  </a:cubicBezTo>
                  <a:cubicBezTo>
                    <a:pt x="10400" y="49254"/>
                    <a:pt x="6159" y="56203"/>
                    <a:pt x="1318" y="62732"/>
                  </a:cubicBezTo>
                  <a:cubicBezTo>
                    <a:pt x="767" y="63475"/>
                    <a:pt x="924" y="64524"/>
                    <a:pt x="1664" y="65075"/>
                  </a:cubicBezTo>
                  <a:cubicBezTo>
                    <a:pt x="1952" y="65283"/>
                    <a:pt x="2295" y="65394"/>
                    <a:pt x="2650" y="65394"/>
                  </a:cubicBezTo>
                  <a:cubicBezTo>
                    <a:pt x="3182" y="65405"/>
                    <a:pt x="3688" y="65157"/>
                    <a:pt x="4007" y="64729"/>
                  </a:cubicBezTo>
                  <a:cubicBezTo>
                    <a:pt x="9341" y="57622"/>
                    <a:pt x="13944" y="49994"/>
                    <a:pt x="17747" y="41963"/>
                  </a:cubicBezTo>
                  <a:cubicBezTo>
                    <a:pt x="18945" y="39301"/>
                    <a:pt x="20063" y="36931"/>
                    <a:pt x="21101" y="34481"/>
                  </a:cubicBezTo>
                  <a:cubicBezTo>
                    <a:pt x="25380" y="24172"/>
                    <a:pt x="28653" y="13471"/>
                    <a:pt x="30873" y="2530"/>
                  </a:cubicBezTo>
                  <a:cubicBezTo>
                    <a:pt x="31140" y="1145"/>
                    <a:pt x="31273" y="347"/>
                    <a:pt x="31273" y="347"/>
                  </a:cubicBezTo>
                </a:path>
              </a:pathLst>
            </a:custGeom>
            <a:solidFill>
              <a:srgbClr val="8FD942"/>
            </a:solidFill>
            <a:ln w="2661" cap="flat">
              <a:noFill/>
              <a:prstDash val="solid"/>
              <a:miter/>
            </a:ln>
          </p:spPr>
          <p:txBody>
            <a:bodyPr rtlCol="0" anchor="ctr"/>
            <a:lstStyle/>
            <a:p>
              <a:endParaRPr lang="pl-PL"/>
            </a:p>
          </p:txBody>
        </p:sp>
        <p:sp>
          <p:nvSpPr>
            <p:cNvPr id="130" name="Freeform: Shape 129">
              <a:extLst>
                <a:ext uri="{FF2B5EF4-FFF2-40B4-BE49-F238E27FC236}">
                  <a16:creationId xmlns:a16="http://schemas.microsoft.com/office/drawing/2014/main" id="{B3055707-A37D-4089-A7CC-1A70F3A88B39}"/>
                </a:ext>
              </a:extLst>
            </p:cNvPr>
            <p:cNvSpPr/>
            <p:nvPr/>
          </p:nvSpPr>
          <p:spPr>
            <a:xfrm>
              <a:off x="11517500" y="6699685"/>
              <a:ext cx="16773" cy="56738"/>
            </a:xfrm>
            <a:custGeom>
              <a:avLst/>
              <a:gdLst>
                <a:gd name="connsiteX0" fmla="*/ 27995 w 29722"/>
                <a:gd name="connsiteY0" fmla="*/ -239 h 100540"/>
                <a:gd name="connsiteX1" fmla="*/ 27542 w 29722"/>
                <a:gd name="connsiteY1" fmla="*/ -239 h 100540"/>
                <a:gd name="connsiteX2" fmla="*/ 27356 w 29722"/>
                <a:gd name="connsiteY2" fmla="*/ -239 h 100540"/>
                <a:gd name="connsiteX3" fmla="*/ 27356 w 29722"/>
                <a:gd name="connsiteY3" fmla="*/ -239 h 100540"/>
                <a:gd name="connsiteX4" fmla="*/ 24959 w 29722"/>
                <a:gd name="connsiteY4" fmla="*/ 31313 h 100540"/>
                <a:gd name="connsiteX5" fmla="*/ 17691 w 29722"/>
                <a:gd name="connsiteY5" fmla="*/ 62093 h 100540"/>
                <a:gd name="connsiteX6" fmla="*/ 15294 w 29722"/>
                <a:gd name="connsiteY6" fmla="*/ 69095 h 100540"/>
                <a:gd name="connsiteX7" fmla="*/ 3020 w 29722"/>
                <a:gd name="connsiteY7" fmla="*/ 94923 h 100540"/>
                <a:gd name="connsiteX8" fmla="*/ 1289 w 29722"/>
                <a:gd name="connsiteY8" fmla="*/ 97585 h 100540"/>
                <a:gd name="connsiteX9" fmla="*/ 1691 w 29722"/>
                <a:gd name="connsiteY9" fmla="*/ 99886 h 100540"/>
                <a:gd name="connsiteX10" fmla="*/ 1715 w 29722"/>
                <a:gd name="connsiteY10" fmla="*/ 99902 h 100540"/>
                <a:gd name="connsiteX11" fmla="*/ 2647 w 29722"/>
                <a:gd name="connsiteY11" fmla="*/ 100195 h 100540"/>
                <a:gd name="connsiteX12" fmla="*/ 4031 w 29722"/>
                <a:gd name="connsiteY12" fmla="*/ 99449 h 100540"/>
                <a:gd name="connsiteX13" fmla="*/ 6933 w 29722"/>
                <a:gd name="connsiteY13" fmla="*/ 94870 h 100540"/>
                <a:gd name="connsiteX14" fmla="*/ 18835 w 29722"/>
                <a:gd name="connsiteY14" fmla="*/ 69042 h 100540"/>
                <a:gd name="connsiteX15" fmla="*/ 21045 w 29722"/>
                <a:gd name="connsiteY15" fmla="*/ 62386 h 100540"/>
                <a:gd name="connsiteX16" fmla="*/ 28234 w 29722"/>
                <a:gd name="connsiteY16" fmla="*/ 31766 h 100540"/>
                <a:gd name="connsiteX17" fmla="*/ 30711 w 29722"/>
                <a:gd name="connsiteY17" fmla="*/ 293 h 100540"/>
                <a:gd name="connsiteX18" fmla="*/ 30711 w 29722"/>
                <a:gd name="connsiteY18" fmla="*/ 293 h 100540"/>
                <a:gd name="connsiteX19" fmla="*/ 30711 w 29722"/>
                <a:gd name="connsiteY19" fmla="*/ 293 h 100540"/>
                <a:gd name="connsiteX20" fmla="*/ 28048 w 29722"/>
                <a:gd name="connsiteY20" fmla="*/ -346 h 100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722" h="100540">
                  <a:moveTo>
                    <a:pt x="27995" y="-239"/>
                  </a:moveTo>
                  <a:lnTo>
                    <a:pt x="27542" y="-239"/>
                  </a:lnTo>
                  <a:lnTo>
                    <a:pt x="27356" y="-239"/>
                  </a:lnTo>
                  <a:lnTo>
                    <a:pt x="27356" y="-239"/>
                  </a:lnTo>
                  <a:cubicBezTo>
                    <a:pt x="27430" y="10326"/>
                    <a:pt x="26629" y="20881"/>
                    <a:pt x="24959" y="31313"/>
                  </a:cubicBezTo>
                  <a:cubicBezTo>
                    <a:pt x="23330" y="41745"/>
                    <a:pt x="20899" y="52033"/>
                    <a:pt x="17691" y="62093"/>
                  </a:cubicBezTo>
                  <a:cubicBezTo>
                    <a:pt x="16918" y="64462"/>
                    <a:pt x="16120" y="66806"/>
                    <a:pt x="15294" y="69095"/>
                  </a:cubicBezTo>
                  <a:cubicBezTo>
                    <a:pt x="12104" y="78106"/>
                    <a:pt x="7991" y="86759"/>
                    <a:pt x="3020" y="94923"/>
                  </a:cubicBezTo>
                  <a:cubicBezTo>
                    <a:pt x="2434" y="95855"/>
                    <a:pt x="1875" y="96760"/>
                    <a:pt x="1289" y="97585"/>
                  </a:cubicBezTo>
                  <a:cubicBezTo>
                    <a:pt x="764" y="98331"/>
                    <a:pt x="945" y="99361"/>
                    <a:pt x="1691" y="99886"/>
                  </a:cubicBezTo>
                  <a:cubicBezTo>
                    <a:pt x="1699" y="99891"/>
                    <a:pt x="1707" y="99897"/>
                    <a:pt x="1715" y="99902"/>
                  </a:cubicBezTo>
                  <a:cubicBezTo>
                    <a:pt x="1992" y="100086"/>
                    <a:pt x="2314" y="100187"/>
                    <a:pt x="2647" y="100195"/>
                  </a:cubicBezTo>
                  <a:cubicBezTo>
                    <a:pt x="3203" y="100195"/>
                    <a:pt x="3725" y="99915"/>
                    <a:pt x="4031" y="99449"/>
                  </a:cubicBezTo>
                  <a:cubicBezTo>
                    <a:pt x="5016" y="98011"/>
                    <a:pt x="5975" y="96494"/>
                    <a:pt x="6933" y="94870"/>
                  </a:cubicBezTo>
                  <a:cubicBezTo>
                    <a:pt x="11718" y="86661"/>
                    <a:pt x="15704" y="78013"/>
                    <a:pt x="18835" y="69042"/>
                  </a:cubicBezTo>
                  <a:cubicBezTo>
                    <a:pt x="19608" y="66859"/>
                    <a:pt x="20327" y="64649"/>
                    <a:pt x="21045" y="62386"/>
                  </a:cubicBezTo>
                  <a:cubicBezTo>
                    <a:pt x="24211" y="52374"/>
                    <a:pt x="26616" y="42139"/>
                    <a:pt x="28234" y="31766"/>
                  </a:cubicBezTo>
                  <a:cubicBezTo>
                    <a:pt x="29904" y="21357"/>
                    <a:pt x="30732" y="10835"/>
                    <a:pt x="30711" y="293"/>
                  </a:cubicBezTo>
                  <a:lnTo>
                    <a:pt x="30711" y="293"/>
                  </a:lnTo>
                  <a:lnTo>
                    <a:pt x="30711" y="293"/>
                  </a:lnTo>
                  <a:cubicBezTo>
                    <a:pt x="29840" y="19"/>
                    <a:pt x="28948" y="-194"/>
                    <a:pt x="28048" y="-346"/>
                  </a:cubicBezTo>
                </a:path>
              </a:pathLst>
            </a:custGeom>
            <a:solidFill>
              <a:srgbClr val="8FD942"/>
            </a:solidFill>
            <a:ln w="2661" cap="flat">
              <a:noFill/>
              <a:prstDash val="solid"/>
              <a:miter/>
            </a:ln>
          </p:spPr>
          <p:txBody>
            <a:bodyPr rtlCol="0" anchor="ctr"/>
            <a:lstStyle/>
            <a:p>
              <a:endParaRPr lang="pl-PL"/>
            </a:p>
          </p:txBody>
        </p:sp>
        <p:sp>
          <p:nvSpPr>
            <p:cNvPr id="131" name="Freeform: Shape 130">
              <a:extLst>
                <a:ext uri="{FF2B5EF4-FFF2-40B4-BE49-F238E27FC236}">
                  <a16:creationId xmlns:a16="http://schemas.microsoft.com/office/drawing/2014/main" id="{D9F4D7B3-C91C-458C-8AC5-E49D221A0120}"/>
                </a:ext>
              </a:extLst>
            </p:cNvPr>
            <p:cNvSpPr/>
            <p:nvPr/>
          </p:nvSpPr>
          <p:spPr>
            <a:xfrm>
              <a:off x="11531661" y="6691648"/>
              <a:ext cx="16507" cy="68726"/>
            </a:xfrm>
            <a:custGeom>
              <a:avLst/>
              <a:gdLst>
                <a:gd name="connsiteX0" fmla="*/ 30239 w 29251"/>
                <a:gd name="connsiteY0" fmla="*/ 21351 h 121784"/>
                <a:gd name="connsiteX1" fmla="*/ 28934 w 29251"/>
                <a:gd name="connsiteY1" fmla="*/ -296 h 121784"/>
                <a:gd name="connsiteX2" fmla="*/ 25526 w 29251"/>
                <a:gd name="connsiteY2" fmla="*/ -296 h 121784"/>
                <a:gd name="connsiteX3" fmla="*/ 26911 w 29251"/>
                <a:gd name="connsiteY3" fmla="*/ 20313 h 121784"/>
                <a:gd name="connsiteX4" fmla="*/ 24514 w 29251"/>
                <a:gd name="connsiteY4" fmla="*/ 51412 h 121784"/>
                <a:gd name="connsiteX5" fmla="*/ 17911 w 29251"/>
                <a:gd name="connsiteY5" fmla="*/ 81074 h 121784"/>
                <a:gd name="connsiteX6" fmla="*/ 17192 w 29251"/>
                <a:gd name="connsiteY6" fmla="*/ 83417 h 121784"/>
                <a:gd name="connsiteX7" fmla="*/ 6861 w 29251"/>
                <a:gd name="connsiteY7" fmla="*/ 109244 h 121784"/>
                <a:gd name="connsiteX8" fmla="*/ 1270 w 29251"/>
                <a:gd name="connsiteY8" fmla="*/ 118830 h 121784"/>
                <a:gd name="connsiteX9" fmla="*/ 1722 w 29251"/>
                <a:gd name="connsiteY9" fmla="*/ 121146 h 121784"/>
                <a:gd name="connsiteX10" fmla="*/ 2654 w 29251"/>
                <a:gd name="connsiteY10" fmla="*/ 121439 h 121784"/>
                <a:gd name="connsiteX11" fmla="*/ 4039 w 29251"/>
                <a:gd name="connsiteY11" fmla="*/ 120694 h 121784"/>
                <a:gd name="connsiteX12" fmla="*/ 10642 w 29251"/>
                <a:gd name="connsiteY12" fmla="*/ 109244 h 121784"/>
                <a:gd name="connsiteX13" fmla="*/ 20813 w 29251"/>
                <a:gd name="connsiteY13" fmla="*/ 83417 h 121784"/>
                <a:gd name="connsiteX14" fmla="*/ 21239 w 29251"/>
                <a:gd name="connsiteY14" fmla="*/ 82032 h 121784"/>
                <a:gd name="connsiteX15" fmla="*/ 27869 w 29251"/>
                <a:gd name="connsiteY15" fmla="*/ 52557 h 121784"/>
                <a:gd name="connsiteX16" fmla="*/ 30239 w 29251"/>
                <a:gd name="connsiteY16" fmla="*/ 21511 h 121784"/>
                <a:gd name="connsiteX17" fmla="*/ 30239 w 29251"/>
                <a:gd name="connsiteY17" fmla="*/ 21511 h 121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251" h="121784">
                  <a:moveTo>
                    <a:pt x="30239" y="21351"/>
                  </a:moveTo>
                  <a:cubicBezTo>
                    <a:pt x="30207" y="14117"/>
                    <a:pt x="29770" y="6891"/>
                    <a:pt x="28934" y="-296"/>
                  </a:cubicBezTo>
                  <a:cubicBezTo>
                    <a:pt x="27800" y="-362"/>
                    <a:pt x="26660" y="-362"/>
                    <a:pt x="25526" y="-296"/>
                  </a:cubicBezTo>
                  <a:cubicBezTo>
                    <a:pt x="26448" y="6534"/>
                    <a:pt x="26911" y="13419"/>
                    <a:pt x="26911" y="20313"/>
                  </a:cubicBezTo>
                  <a:cubicBezTo>
                    <a:pt x="26898" y="30724"/>
                    <a:pt x="26096" y="41121"/>
                    <a:pt x="24514" y="51412"/>
                  </a:cubicBezTo>
                  <a:cubicBezTo>
                    <a:pt x="22991" y="61437"/>
                    <a:pt x="20784" y="71347"/>
                    <a:pt x="17911" y="81074"/>
                  </a:cubicBezTo>
                  <a:lnTo>
                    <a:pt x="17192" y="83417"/>
                  </a:lnTo>
                  <a:cubicBezTo>
                    <a:pt x="14487" y="92302"/>
                    <a:pt x="11031" y="100942"/>
                    <a:pt x="6861" y="109244"/>
                  </a:cubicBezTo>
                  <a:cubicBezTo>
                    <a:pt x="5189" y="112549"/>
                    <a:pt x="3323" y="115749"/>
                    <a:pt x="1270" y="118830"/>
                  </a:cubicBezTo>
                  <a:cubicBezTo>
                    <a:pt x="761" y="119596"/>
                    <a:pt x="961" y="120630"/>
                    <a:pt x="1722" y="121146"/>
                  </a:cubicBezTo>
                  <a:cubicBezTo>
                    <a:pt x="1999" y="121330"/>
                    <a:pt x="2321" y="121431"/>
                    <a:pt x="2654" y="121439"/>
                  </a:cubicBezTo>
                  <a:cubicBezTo>
                    <a:pt x="3211" y="121436"/>
                    <a:pt x="3730" y="121157"/>
                    <a:pt x="4039" y="120694"/>
                  </a:cubicBezTo>
                  <a:cubicBezTo>
                    <a:pt x="6483" y="117024"/>
                    <a:pt x="8691" y="113198"/>
                    <a:pt x="10642" y="109244"/>
                  </a:cubicBezTo>
                  <a:cubicBezTo>
                    <a:pt x="14729" y="100926"/>
                    <a:pt x="18129" y="92289"/>
                    <a:pt x="20813" y="83417"/>
                  </a:cubicBezTo>
                  <a:cubicBezTo>
                    <a:pt x="20813" y="82938"/>
                    <a:pt x="21080" y="82485"/>
                    <a:pt x="21239" y="82032"/>
                  </a:cubicBezTo>
                  <a:cubicBezTo>
                    <a:pt x="24123" y="72370"/>
                    <a:pt x="26338" y="62523"/>
                    <a:pt x="27869" y="52557"/>
                  </a:cubicBezTo>
                  <a:cubicBezTo>
                    <a:pt x="29483" y="42287"/>
                    <a:pt x="30276" y="31906"/>
                    <a:pt x="30239" y="21511"/>
                  </a:cubicBezTo>
                  <a:lnTo>
                    <a:pt x="30239" y="21511"/>
                  </a:lnTo>
                  <a:close/>
                </a:path>
              </a:pathLst>
            </a:custGeom>
            <a:solidFill>
              <a:srgbClr val="8FD942"/>
            </a:solidFill>
            <a:ln w="2661" cap="flat">
              <a:noFill/>
              <a:prstDash val="solid"/>
              <a:miter/>
            </a:ln>
          </p:spPr>
          <p:txBody>
            <a:bodyPr rtlCol="0" anchor="ctr"/>
            <a:lstStyle/>
            <a:p>
              <a:endParaRPr lang="pl-PL"/>
            </a:p>
          </p:txBody>
        </p:sp>
        <p:sp>
          <p:nvSpPr>
            <p:cNvPr id="132" name="Freeform: Shape 131">
              <a:extLst>
                <a:ext uri="{FF2B5EF4-FFF2-40B4-BE49-F238E27FC236}">
                  <a16:creationId xmlns:a16="http://schemas.microsoft.com/office/drawing/2014/main" id="{E88B0628-BBAA-4546-AAEC-3F66F0C40C1D}"/>
                </a:ext>
              </a:extLst>
            </p:cNvPr>
            <p:cNvSpPr/>
            <p:nvPr/>
          </p:nvSpPr>
          <p:spPr>
            <a:xfrm>
              <a:off x="11646242" y="6644465"/>
              <a:ext cx="64654" cy="65032"/>
            </a:xfrm>
            <a:custGeom>
              <a:avLst/>
              <a:gdLst>
                <a:gd name="connsiteX0" fmla="*/ 989 w 114568"/>
                <a:gd name="connsiteY0" fmla="*/ 56475 h 115237"/>
                <a:gd name="connsiteX1" fmla="*/ 60738 w 114568"/>
                <a:gd name="connsiteY1" fmla="*/ 114892 h 115237"/>
                <a:gd name="connsiteX2" fmla="*/ 112233 w 114568"/>
                <a:gd name="connsiteY2" fmla="*/ 83340 h 115237"/>
                <a:gd name="connsiteX3" fmla="*/ 105550 w 114568"/>
                <a:gd name="connsiteY3" fmla="*/ 75219 h 115237"/>
                <a:gd name="connsiteX4" fmla="*/ 87870 w 114568"/>
                <a:gd name="connsiteY4" fmla="*/ 75219 h 115237"/>
                <a:gd name="connsiteX5" fmla="*/ 79057 w 114568"/>
                <a:gd name="connsiteY5" fmla="*/ 80545 h 115237"/>
                <a:gd name="connsiteX6" fmla="*/ 59833 w 114568"/>
                <a:gd name="connsiteY6" fmla="*/ 87361 h 115237"/>
                <a:gd name="connsiteX7" fmla="*/ 37440 w 114568"/>
                <a:gd name="connsiteY7" fmla="*/ 72850 h 115237"/>
                <a:gd name="connsiteX8" fmla="*/ 35523 w 114568"/>
                <a:gd name="connsiteY8" fmla="*/ 66646 h 115237"/>
                <a:gd name="connsiteX9" fmla="*/ 109011 w 114568"/>
                <a:gd name="connsiteY9" fmla="*/ 66646 h 115237"/>
                <a:gd name="connsiteX10" fmla="*/ 115447 w 114568"/>
                <a:gd name="connsiteY10" fmla="*/ 61488 h 115237"/>
                <a:gd name="connsiteX11" fmla="*/ 115481 w 114568"/>
                <a:gd name="connsiteY11" fmla="*/ 60895 h 115237"/>
                <a:gd name="connsiteX12" fmla="*/ 60685 w 114568"/>
                <a:gd name="connsiteY12" fmla="*/ -346 h 115237"/>
                <a:gd name="connsiteX13" fmla="*/ 989 w 114568"/>
                <a:gd name="connsiteY13" fmla="*/ 56368 h 115237"/>
                <a:gd name="connsiteX14" fmla="*/ 59380 w 114568"/>
                <a:gd name="connsiteY14" fmla="*/ 26946 h 115237"/>
                <a:gd name="connsiteX15" fmla="*/ 81533 w 114568"/>
                <a:gd name="connsiteY15" fmla="*/ 46303 h 115237"/>
                <a:gd name="connsiteX16" fmla="*/ 42605 w 114568"/>
                <a:gd name="connsiteY16" fmla="*/ 46303 h 115237"/>
                <a:gd name="connsiteX17" fmla="*/ 35683 w 114568"/>
                <a:gd name="connsiteY17" fmla="*/ 46303 h 115237"/>
                <a:gd name="connsiteX18" fmla="*/ 59380 w 114568"/>
                <a:gd name="connsiteY18" fmla="*/ 26973 h 11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4568" h="115237">
                  <a:moveTo>
                    <a:pt x="989" y="56475"/>
                  </a:moveTo>
                  <a:cubicBezTo>
                    <a:pt x="989" y="91089"/>
                    <a:pt x="27322" y="114892"/>
                    <a:pt x="60738" y="114892"/>
                  </a:cubicBezTo>
                  <a:cubicBezTo>
                    <a:pt x="87364" y="114892"/>
                    <a:pt x="105789" y="101446"/>
                    <a:pt x="112233" y="83340"/>
                  </a:cubicBezTo>
                  <a:cubicBezTo>
                    <a:pt x="113963" y="78415"/>
                    <a:pt x="110742" y="75219"/>
                    <a:pt x="105550" y="75219"/>
                  </a:cubicBezTo>
                  <a:lnTo>
                    <a:pt x="87870" y="75219"/>
                  </a:lnTo>
                  <a:cubicBezTo>
                    <a:pt x="83796" y="75219"/>
                    <a:pt x="81639" y="77350"/>
                    <a:pt x="79057" y="80545"/>
                  </a:cubicBezTo>
                  <a:cubicBezTo>
                    <a:pt x="75808" y="84379"/>
                    <a:pt x="69098" y="87361"/>
                    <a:pt x="59833" y="87361"/>
                  </a:cubicBezTo>
                  <a:cubicBezTo>
                    <a:pt x="50034" y="87806"/>
                    <a:pt x="41037" y="81975"/>
                    <a:pt x="37440" y="72850"/>
                  </a:cubicBezTo>
                  <a:cubicBezTo>
                    <a:pt x="36641" y="70834"/>
                    <a:pt x="35999" y="68760"/>
                    <a:pt x="35523" y="66646"/>
                  </a:cubicBezTo>
                  <a:lnTo>
                    <a:pt x="109011" y="66646"/>
                  </a:lnTo>
                  <a:cubicBezTo>
                    <a:pt x="112212" y="67000"/>
                    <a:pt x="115092" y="64689"/>
                    <a:pt x="115447" y="61488"/>
                  </a:cubicBezTo>
                  <a:cubicBezTo>
                    <a:pt x="115468" y="61291"/>
                    <a:pt x="115479" y="61094"/>
                    <a:pt x="115481" y="60895"/>
                  </a:cubicBezTo>
                  <a:cubicBezTo>
                    <a:pt x="117185" y="22926"/>
                    <a:pt x="89787" y="-346"/>
                    <a:pt x="60685" y="-346"/>
                  </a:cubicBezTo>
                  <a:cubicBezTo>
                    <a:pt x="26070" y="-346"/>
                    <a:pt x="989" y="22233"/>
                    <a:pt x="989" y="56368"/>
                  </a:cubicBezTo>
                  <a:moveTo>
                    <a:pt x="59380" y="26946"/>
                  </a:moveTo>
                  <a:cubicBezTo>
                    <a:pt x="79616" y="26946"/>
                    <a:pt x="81533" y="46303"/>
                    <a:pt x="81533" y="46303"/>
                  </a:cubicBezTo>
                  <a:lnTo>
                    <a:pt x="42605" y="46303"/>
                  </a:lnTo>
                  <a:lnTo>
                    <a:pt x="35683" y="46303"/>
                  </a:lnTo>
                  <a:cubicBezTo>
                    <a:pt x="35683" y="46303"/>
                    <a:pt x="39171" y="26973"/>
                    <a:pt x="59380" y="26973"/>
                  </a:cubicBezTo>
                </a:path>
              </a:pathLst>
            </a:custGeom>
            <a:solidFill>
              <a:srgbClr val="FFFFFF"/>
            </a:solidFill>
            <a:ln w="2661" cap="flat">
              <a:noFill/>
              <a:prstDash val="solid"/>
              <a:miter/>
            </a:ln>
          </p:spPr>
          <p:txBody>
            <a:bodyPr rtlCol="0" anchor="ctr"/>
            <a:lstStyle/>
            <a:p>
              <a:endParaRPr lang="pl-PL"/>
            </a:p>
          </p:txBody>
        </p:sp>
        <p:sp>
          <p:nvSpPr>
            <p:cNvPr id="133" name="Freeform: Shape 132">
              <a:extLst>
                <a:ext uri="{FF2B5EF4-FFF2-40B4-BE49-F238E27FC236}">
                  <a16:creationId xmlns:a16="http://schemas.microsoft.com/office/drawing/2014/main" id="{45EEB53A-FA91-4B85-89EB-E9504086FF78}"/>
                </a:ext>
              </a:extLst>
            </p:cNvPr>
            <p:cNvSpPr/>
            <p:nvPr/>
          </p:nvSpPr>
          <p:spPr>
            <a:xfrm>
              <a:off x="11719462" y="6644495"/>
              <a:ext cx="64897" cy="89810"/>
            </a:xfrm>
            <a:custGeom>
              <a:avLst/>
              <a:gdLst>
                <a:gd name="connsiteX0" fmla="*/ 115987 w 114998"/>
                <a:gd name="connsiteY0" fmla="*/ 57140 h 159144"/>
                <a:gd name="connsiteX1" fmla="*/ 58501 w 114998"/>
                <a:gd name="connsiteY1" fmla="*/ -346 h 159144"/>
                <a:gd name="connsiteX2" fmla="*/ 58475 w 114998"/>
                <a:gd name="connsiteY2" fmla="*/ -346 h 159144"/>
                <a:gd name="connsiteX3" fmla="*/ 29958 w 114998"/>
                <a:gd name="connsiteY3" fmla="*/ 7269 h 159144"/>
                <a:gd name="connsiteX4" fmla="*/ 23142 w 114998"/>
                <a:gd name="connsiteY4" fmla="*/ 1784 h 159144"/>
                <a:gd name="connsiteX5" fmla="*/ 8178 w 114998"/>
                <a:gd name="connsiteY5" fmla="*/ 1784 h 159144"/>
                <a:gd name="connsiteX6" fmla="*/ 989 w 114998"/>
                <a:gd name="connsiteY6" fmla="*/ 8947 h 159144"/>
                <a:gd name="connsiteX7" fmla="*/ 989 w 114998"/>
                <a:gd name="connsiteY7" fmla="*/ 57114 h 159144"/>
                <a:gd name="connsiteX8" fmla="*/ 989 w 114998"/>
                <a:gd name="connsiteY8" fmla="*/ 57114 h 159144"/>
                <a:gd name="connsiteX9" fmla="*/ 989 w 114998"/>
                <a:gd name="connsiteY9" fmla="*/ 151610 h 159144"/>
                <a:gd name="connsiteX10" fmla="*/ 8178 w 114998"/>
                <a:gd name="connsiteY10" fmla="*/ 158799 h 159144"/>
                <a:gd name="connsiteX11" fmla="*/ 23142 w 114998"/>
                <a:gd name="connsiteY11" fmla="*/ 158799 h 159144"/>
                <a:gd name="connsiteX12" fmla="*/ 30304 w 114998"/>
                <a:gd name="connsiteY12" fmla="*/ 151610 h 159144"/>
                <a:gd name="connsiteX13" fmla="*/ 30304 w 114998"/>
                <a:gd name="connsiteY13" fmla="*/ 107197 h 159144"/>
                <a:gd name="connsiteX14" fmla="*/ 58475 w 114998"/>
                <a:gd name="connsiteY14" fmla="*/ 114599 h 159144"/>
                <a:gd name="connsiteX15" fmla="*/ 115934 w 114998"/>
                <a:gd name="connsiteY15" fmla="*/ 57140 h 159144"/>
                <a:gd name="connsiteX16" fmla="*/ 86432 w 114998"/>
                <a:gd name="connsiteY16" fmla="*/ 57140 h 159144"/>
                <a:gd name="connsiteX17" fmla="*/ 58475 w 114998"/>
                <a:gd name="connsiteY17" fmla="*/ 85098 h 159144"/>
                <a:gd name="connsiteX18" fmla="*/ 30491 w 114998"/>
                <a:gd name="connsiteY18" fmla="*/ 57140 h 159144"/>
                <a:gd name="connsiteX19" fmla="*/ 58475 w 114998"/>
                <a:gd name="connsiteY19" fmla="*/ 29156 h 159144"/>
                <a:gd name="connsiteX20" fmla="*/ 86432 w 114998"/>
                <a:gd name="connsiteY20" fmla="*/ 57140 h 159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998" h="159144">
                  <a:moveTo>
                    <a:pt x="115987" y="57140"/>
                  </a:moveTo>
                  <a:cubicBezTo>
                    <a:pt x="115987" y="25391"/>
                    <a:pt x="90250" y="-346"/>
                    <a:pt x="58501" y="-346"/>
                  </a:cubicBezTo>
                  <a:cubicBezTo>
                    <a:pt x="58493" y="-346"/>
                    <a:pt x="58483" y="-346"/>
                    <a:pt x="58475" y="-346"/>
                  </a:cubicBezTo>
                  <a:cubicBezTo>
                    <a:pt x="48466" y="-346"/>
                    <a:pt x="38633" y="2280"/>
                    <a:pt x="29958" y="7269"/>
                  </a:cubicBezTo>
                  <a:cubicBezTo>
                    <a:pt x="29220" y="4088"/>
                    <a:pt x="26406" y="1824"/>
                    <a:pt x="23142" y="1784"/>
                  </a:cubicBezTo>
                  <a:lnTo>
                    <a:pt x="8178" y="1784"/>
                  </a:lnTo>
                  <a:cubicBezTo>
                    <a:pt x="4224" y="1798"/>
                    <a:pt x="1018" y="4993"/>
                    <a:pt x="989" y="8947"/>
                  </a:cubicBezTo>
                  <a:lnTo>
                    <a:pt x="989" y="57114"/>
                  </a:lnTo>
                  <a:lnTo>
                    <a:pt x="989" y="57114"/>
                  </a:lnTo>
                  <a:lnTo>
                    <a:pt x="989" y="151610"/>
                  </a:lnTo>
                  <a:cubicBezTo>
                    <a:pt x="1002" y="155574"/>
                    <a:pt x="4213" y="158786"/>
                    <a:pt x="8178" y="158799"/>
                  </a:cubicBezTo>
                  <a:lnTo>
                    <a:pt x="23142" y="158799"/>
                  </a:lnTo>
                  <a:cubicBezTo>
                    <a:pt x="27096" y="158770"/>
                    <a:pt x="30291" y="155564"/>
                    <a:pt x="30304" y="151610"/>
                  </a:cubicBezTo>
                  <a:lnTo>
                    <a:pt x="30304" y="107197"/>
                  </a:lnTo>
                  <a:cubicBezTo>
                    <a:pt x="38899" y="112051"/>
                    <a:pt x="48604" y="114602"/>
                    <a:pt x="58475" y="114599"/>
                  </a:cubicBezTo>
                  <a:cubicBezTo>
                    <a:pt x="90208" y="114599"/>
                    <a:pt x="115934" y="88873"/>
                    <a:pt x="115934" y="57140"/>
                  </a:cubicBezTo>
                  <a:moveTo>
                    <a:pt x="86432" y="57140"/>
                  </a:moveTo>
                  <a:cubicBezTo>
                    <a:pt x="86432" y="72581"/>
                    <a:pt x="73915" y="85098"/>
                    <a:pt x="58475" y="85098"/>
                  </a:cubicBezTo>
                  <a:cubicBezTo>
                    <a:pt x="43029" y="85098"/>
                    <a:pt x="30506" y="72586"/>
                    <a:pt x="30491" y="57140"/>
                  </a:cubicBezTo>
                  <a:cubicBezTo>
                    <a:pt x="30504" y="41692"/>
                    <a:pt x="43026" y="29172"/>
                    <a:pt x="58475" y="29156"/>
                  </a:cubicBezTo>
                  <a:cubicBezTo>
                    <a:pt x="73921" y="29172"/>
                    <a:pt x="86432" y="41694"/>
                    <a:pt x="86432" y="57140"/>
                  </a:cubicBezTo>
                </a:path>
              </a:pathLst>
            </a:custGeom>
            <a:solidFill>
              <a:srgbClr val="FFFFFF"/>
            </a:solidFill>
            <a:ln w="2661" cap="flat">
              <a:noFill/>
              <a:prstDash val="solid"/>
              <a:miter/>
            </a:ln>
          </p:spPr>
          <p:txBody>
            <a:bodyPr rtlCol="0" anchor="ctr"/>
            <a:lstStyle/>
            <a:p>
              <a:endParaRPr lang="pl-PL"/>
            </a:p>
          </p:txBody>
        </p:sp>
        <p:sp>
          <p:nvSpPr>
            <p:cNvPr id="134" name="Freeform: Shape 133">
              <a:extLst>
                <a:ext uri="{FF2B5EF4-FFF2-40B4-BE49-F238E27FC236}">
                  <a16:creationId xmlns:a16="http://schemas.microsoft.com/office/drawing/2014/main" id="{0AE953CD-B335-4906-9FFE-37EB6251FFF2}"/>
                </a:ext>
              </a:extLst>
            </p:cNvPr>
            <p:cNvSpPr/>
            <p:nvPr/>
          </p:nvSpPr>
          <p:spPr>
            <a:xfrm>
              <a:off x="11792669" y="6644495"/>
              <a:ext cx="64867" cy="64867"/>
            </a:xfrm>
            <a:custGeom>
              <a:avLst/>
              <a:gdLst>
                <a:gd name="connsiteX0" fmla="*/ 115934 w 114945"/>
                <a:gd name="connsiteY0" fmla="*/ 64596 h 114945"/>
                <a:gd name="connsiteX1" fmla="*/ 115934 w 114945"/>
                <a:gd name="connsiteY1" fmla="*/ 49632 h 114945"/>
                <a:gd name="connsiteX2" fmla="*/ 108745 w 114945"/>
                <a:gd name="connsiteY2" fmla="*/ 42443 h 114945"/>
                <a:gd name="connsiteX3" fmla="*/ 73119 w 114945"/>
                <a:gd name="connsiteY3" fmla="*/ 42443 h 114945"/>
                <a:gd name="connsiteX4" fmla="*/ 73119 w 114945"/>
                <a:gd name="connsiteY4" fmla="*/ 6843 h 114945"/>
                <a:gd name="connsiteX5" fmla="*/ 65930 w 114945"/>
                <a:gd name="connsiteY5" fmla="*/ -346 h 114945"/>
                <a:gd name="connsiteX6" fmla="*/ 50993 w 114945"/>
                <a:gd name="connsiteY6" fmla="*/ -346 h 114945"/>
                <a:gd name="connsiteX7" fmla="*/ 43804 w 114945"/>
                <a:gd name="connsiteY7" fmla="*/ 6843 h 114945"/>
                <a:gd name="connsiteX8" fmla="*/ 43804 w 114945"/>
                <a:gd name="connsiteY8" fmla="*/ 42469 h 114945"/>
                <a:gd name="connsiteX9" fmla="*/ 8178 w 114945"/>
                <a:gd name="connsiteY9" fmla="*/ 42469 h 114945"/>
                <a:gd name="connsiteX10" fmla="*/ 989 w 114945"/>
                <a:gd name="connsiteY10" fmla="*/ 49658 h 114945"/>
                <a:gd name="connsiteX11" fmla="*/ 989 w 114945"/>
                <a:gd name="connsiteY11" fmla="*/ 64596 h 114945"/>
                <a:gd name="connsiteX12" fmla="*/ 8178 w 114945"/>
                <a:gd name="connsiteY12" fmla="*/ 71785 h 114945"/>
                <a:gd name="connsiteX13" fmla="*/ 43804 w 114945"/>
                <a:gd name="connsiteY13" fmla="*/ 71785 h 114945"/>
                <a:gd name="connsiteX14" fmla="*/ 43804 w 114945"/>
                <a:gd name="connsiteY14" fmla="*/ 107410 h 114945"/>
                <a:gd name="connsiteX15" fmla="*/ 50993 w 114945"/>
                <a:gd name="connsiteY15" fmla="*/ 114599 h 114945"/>
                <a:gd name="connsiteX16" fmla="*/ 65930 w 114945"/>
                <a:gd name="connsiteY16" fmla="*/ 114599 h 114945"/>
                <a:gd name="connsiteX17" fmla="*/ 73119 w 114945"/>
                <a:gd name="connsiteY17" fmla="*/ 107410 h 114945"/>
                <a:gd name="connsiteX18" fmla="*/ 73119 w 114945"/>
                <a:gd name="connsiteY18" fmla="*/ 71785 h 114945"/>
                <a:gd name="connsiteX19" fmla="*/ 108745 w 114945"/>
                <a:gd name="connsiteY19" fmla="*/ 71785 h 114945"/>
                <a:gd name="connsiteX20" fmla="*/ 115934 w 114945"/>
                <a:gd name="connsiteY20" fmla="*/ 64596 h 114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945" h="114945">
                  <a:moveTo>
                    <a:pt x="115934" y="64596"/>
                  </a:moveTo>
                  <a:lnTo>
                    <a:pt x="115934" y="49632"/>
                  </a:lnTo>
                  <a:cubicBezTo>
                    <a:pt x="115918" y="45667"/>
                    <a:pt x="112709" y="42456"/>
                    <a:pt x="108745" y="42443"/>
                  </a:cubicBezTo>
                  <a:lnTo>
                    <a:pt x="73119" y="42443"/>
                  </a:lnTo>
                  <a:lnTo>
                    <a:pt x="73119" y="6843"/>
                  </a:lnTo>
                  <a:cubicBezTo>
                    <a:pt x="73103" y="2879"/>
                    <a:pt x="69894" y="-332"/>
                    <a:pt x="65930" y="-346"/>
                  </a:cubicBezTo>
                  <a:lnTo>
                    <a:pt x="50993" y="-346"/>
                  </a:lnTo>
                  <a:cubicBezTo>
                    <a:pt x="47028" y="-330"/>
                    <a:pt x="43817" y="2879"/>
                    <a:pt x="43804" y="6843"/>
                  </a:cubicBezTo>
                  <a:lnTo>
                    <a:pt x="43804" y="42469"/>
                  </a:lnTo>
                  <a:lnTo>
                    <a:pt x="8178" y="42469"/>
                  </a:lnTo>
                  <a:cubicBezTo>
                    <a:pt x="4213" y="42483"/>
                    <a:pt x="1002" y="45694"/>
                    <a:pt x="989" y="49658"/>
                  </a:cubicBezTo>
                  <a:lnTo>
                    <a:pt x="989" y="64596"/>
                  </a:lnTo>
                  <a:cubicBezTo>
                    <a:pt x="1002" y="68560"/>
                    <a:pt x="4213" y="71771"/>
                    <a:pt x="8178" y="71785"/>
                  </a:cubicBezTo>
                  <a:lnTo>
                    <a:pt x="43804" y="71785"/>
                  </a:lnTo>
                  <a:lnTo>
                    <a:pt x="43804" y="107410"/>
                  </a:lnTo>
                  <a:cubicBezTo>
                    <a:pt x="43820" y="111375"/>
                    <a:pt x="47028" y="114586"/>
                    <a:pt x="50993" y="114599"/>
                  </a:cubicBezTo>
                  <a:lnTo>
                    <a:pt x="65930" y="114599"/>
                  </a:lnTo>
                  <a:cubicBezTo>
                    <a:pt x="69900" y="114599"/>
                    <a:pt x="73119" y="111380"/>
                    <a:pt x="73119" y="107410"/>
                  </a:cubicBezTo>
                  <a:lnTo>
                    <a:pt x="73119" y="71785"/>
                  </a:lnTo>
                  <a:lnTo>
                    <a:pt x="108745" y="71785"/>
                  </a:lnTo>
                  <a:cubicBezTo>
                    <a:pt x="112709" y="71771"/>
                    <a:pt x="115918" y="68560"/>
                    <a:pt x="115934" y="64596"/>
                  </a:cubicBezTo>
                </a:path>
              </a:pathLst>
            </a:custGeom>
            <a:solidFill>
              <a:srgbClr val="8FDB42"/>
            </a:solidFill>
            <a:ln w="2661" cap="flat">
              <a:noFill/>
              <a:prstDash val="solid"/>
              <a:miter/>
            </a:ln>
          </p:spPr>
          <p:txBody>
            <a:bodyPr rtlCol="0" anchor="ctr"/>
            <a:lstStyle/>
            <a:p>
              <a:endParaRPr lang="pl-PL"/>
            </a:p>
          </p:txBody>
        </p:sp>
        <p:sp>
          <p:nvSpPr>
            <p:cNvPr id="135" name="Freeform: Shape 134">
              <a:extLst>
                <a:ext uri="{FF2B5EF4-FFF2-40B4-BE49-F238E27FC236}">
                  <a16:creationId xmlns:a16="http://schemas.microsoft.com/office/drawing/2014/main" id="{E66AE02F-DDC9-484E-BA58-5EB7BE934FFE}"/>
                </a:ext>
              </a:extLst>
            </p:cNvPr>
            <p:cNvSpPr/>
            <p:nvPr/>
          </p:nvSpPr>
          <p:spPr>
            <a:xfrm>
              <a:off x="11574954" y="6644781"/>
              <a:ext cx="64867" cy="89524"/>
            </a:xfrm>
            <a:custGeom>
              <a:avLst/>
              <a:gdLst>
                <a:gd name="connsiteX0" fmla="*/ 115934 w 114945"/>
                <a:gd name="connsiteY0" fmla="*/ 57114 h 158638"/>
                <a:gd name="connsiteX1" fmla="*/ 58475 w 114945"/>
                <a:gd name="connsiteY1" fmla="*/ -346 h 158638"/>
                <a:gd name="connsiteX2" fmla="*/ 29905 w 114945"/>
                <a:gd name="connsiteY2" fmla="*/ 7296 h 158638"/>
                <a:gd name="connsiteX3" fmla="*/ 23115 w 114945"/>
                <a:gd name="connsiteY3" fmla="*/ 2131 h 158638"/>
                <a:gd name="connsiteX4" fmla="*/ 8178 w 114945"/>
                <a:gd name="connsiteY4" fmla="*/ 2131 h 158638"/>
                <a:gd name="connsiteX5" fmla="*/ 989 w 114945"/>
                <a:gd name="connsiteY5" fmla="*/ 9320 h 158638"/>
                <a:gd name="connsiteX6" fmla="*/ 989 w 114945"/>
                <a:gd name="connsiteY6" fmla="*/ 57114 h 158638"/>
                <a:gd name="connsiteX7" fmla="*/ 989 w 114945"/>
                <a:gd name="connsiteY7" fmla="*/ 57114 h 158638"/>
                <a:gd name="connsiteX8" fmla="*/ 989 w 114945"/>
                <a:gd name="connsiteY8" fmla="*/ 151104 h 158638"/>
                <a:gd name="connsiteX9" fmla="*/ 8178 w 114945"/>
                <a:gd name="connsiteY9" fmla="*/ 158293 h 158638"/>
                <a:gd name="connsiteX10" fmla="*/ 23115 w 114945"/>
                <a:gd name="connsiteY10" fmla="*/ 158293 h 158638"/>
                <a:gd name="connsiteX11" fmla="*/ 30304 w 114945"/>
                <a:gd name="connsiteY11" fmla="*/ 151104 h 158638"/>
                <a:gd name="connsiteX12" fmla="*/ 30304 w 114945"/>
                <a:gd name="connsiteY12" fmla="*/ 107171 h 158638"/>
                <a:gd name="connsiteX13" fmla="*/ 58475 w 114945"/>
                <a:gd name="connsiteY13" fmla="*/ 114573 h 158638"/>
                <a:gd name="connsiteX14" fmla="*/ 115934 w 114945"/>
                <a:gd name="connsiteY14" fmla="*/ 57114 h 158638"/>
                <a:gd name="connsiteX15" fmla="*/ 86432 w 114945"/>
                <a:gd name="connsiteY15" fmla="*/ 57114 h 158638"/>
                <a:gd name="connsiteX16" fmla="*/ 58475 w 114945"/>
                <a:gd name="connsiteY16" fmla="*/ 85098 h 158638"/>
                <a:gd name="connsiteX17" fmla="*/ 30491 w 114945"/>
                <a:gd name="connsiteY17" fmla="*/ 57114 h 158638"/>
                <a:gd name="connsiteX18" fmla="*/ 58475 w 114945"/>
                <a:gd name="connsiteY18" fmla="*/ 29156 h 158638"/>
                <a:gd name="connsiteX19" fmla="*/ 86432 w 114945"/>
                <a:gd name="connsiteY19" fmla="*/ 57114 h 158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4945" h="158638">
                  <a:moveTo>
                    <a:pt x="115934" y="57114"/>
                  </a:moveTo>
                  <a:cubicBezTo>
                    <a:pt x="115934" y="25381"/>
                    <a:pt x="90208" y="-346"/>
                    <a:pt x="58475" y="-346"/>
                  </a:cubicBezTo>
                  <a:cubicBezTo>
                    <a:pt x="48447" y="-340"/>
                    <a:pt x="38596" y="2293"/>
                    <a:pt x="29905" y="7296"/>
                  </a:cubicBezTo>
                  <a:cubicBezTo>
                    <a:pt x="29034" y="4261"/>
                    <a:pt x="26273" y="2160"/>
                    <a:pt x="23115" y="2131"/>
                  </a:cubicBezTo>
                  <a:lnTo>
                    <a:pt x="8178" y="2131"/>
                  </a:lnTo>
                  <a:cubicBezTo>
                    <a:pt x="4213" y="2144"/>
                    <a:pt x="1002" y="5355"/>
                    <a:pt x="989" y="9320"/>
                  </a:cubicBezTo>
                  <a:lnTo>
                    <a:pt x="989" y="57114"/>
                  </a:lnTo>
                  <a:lnTo>
                    <a:pt x="989" y="57114"/>
                  </a:lnTo>
                  <a:lnTo>
                    <a:pt x="989" y="151104"/>
                  </a:lnTo>
                  <a:cubicBezTo>
                    <a:pt x="1002" y="155069"/>
                    <a:pt x="4213" y="158280"/>
                    <a:pt x="8178" y="158293"/>
                  </a:cubicBezTo>
                  <a:lnTo>
                    <a:pt x="23115" y="158293"/>
                  </a:lnTo>
                  <a:cubicBezTo>
                    <a:pt x="27080" y="158280"/>
                    <a:pt x="30291" y="155069"/>
                    <a:pt x="30304" y="151104"/>
                  </a:cubicBezTo>
                  <a:lnTo>
                    <a:pt x="30304" y="107171"/>
                  </a:lnTo>
                  <a:cubicBezTo>
                    <a:pt x="38899" y="112025"/>
                    <a:pt x="48604" y="114575"/>
                    <a:pt x="58475" y="114573"/>
                  </a:cubicBezTo>
                  <a:cubicBezTo>
                    <a:pt x="90202" y="114557"/>
                    <a:pt x="115918" y="88841"/>
                    <a:pt x="115934" y="57114"/>
                  </a:cubicBezTo>
                  <a:moveTo>
                    <a:pt x="86432" y="57114"/>
                  </a:moveTo>
                  <a:cubicBezTo>
                    <a:pt x="86432" y="72559"/>
                    <a:pt x="73920" y="85082"/>
                    <a:pt x="58475" y="85098"/>
                  </a:cubicBezTo>
                  <a:cubicBezTo>
                    <a:pt x="43026" y="85082"/>
                    <a:pt x="30506" y="72562"/>
                    <a:pt x="30491" y="57114"/>
                  </a:cubicBezTo>
                  <a:cubicBezTo>
                    <a:pt x="30506" y="41668"/>
                    <a:pt x="43029" y="29156"/>
                    <a:pt x="58475" y="29156"/>
                  </a:cubicBezTo>
                  <a:cubicBezTo>
                    <a:pt x="73915" y="29156"/>
                    <a:pt x="86432" y="41673"/>
                    <a:pt x="86432" y="57114"/>
                  </a:cubicBezTo>
                </a:path>
              </a:pathLst>
            </a:custGeom>
            <a:solidFill>
              <a:srgbClr val="FFFFFF"/>
            </a:solidFill>
            <a:ln w="2661" cap="flat">
              <a:noFill/>
              <a:prstDash val="solid"/>
              <a:miter/>
            </a:ln>
          </p:spPr>
          <p:txBody>
            <a:bodyPr rtlCol="0" anchor="ctr"/>
            <a:lstStyle/>
            <a:p>
              <a:endParaRPr lang="pl-PL"/>
            </a:p>
          </p:txBody>
        </p:sp>
        <p:sp>
          <p:nvSpPr>
            <p:cNvPr id="136" name="Freeform: Shape 135">
              <a:extLst>
                <a:ext uri="{FF2B5EF4-FFF2-40B4-BE49-F238E27FC236}">
                  <a16:creationId xmlns:a16="http://schemas.microsoft.com/office/drawing/2014/main" id="{8056CDAD-0D59-4B87-BDBA-286E62F495CE}"/>
                </a:ext>
              </a:extLst>
            </p:cNvPr>
            <p:cNvSpPr/>
            <p:nvPr/>
          </p:nvSpPr>
          <p:spPr>
            <a:xfrm>
              <a:off x="11574969" y="6750860"/>
              <a:ext cx="19691" cy="26558"/>
            </a:xfrm>
            <a:custGeom>
              <a:avLst/>
              <a:gdLst>
                <a:gd name="connsiteX0" fmla="*/ 1103 w 34893"/>
                <a:gd name="connsiteY0" fmla="*/ 44632 h 47062"/>
                <a:gd name="connsiteX1" fmla="*/ 1103 w 34893"/>
                <a:gd name="connsiteY1" fmla="*/ 2270 h 47062"/>
                <a:gd name="connsiteX2" fmla="*/ 2765 w 34893"/>
                <a:gd name="connsiteY2" fmla="*/ 273 h 47062"/>
                <a:gd name="connsiteX3" fmla="*/ 3100 w 34893"/>
                <a:gd name="connsiteY3" fmla="*/ 273 h 47062"/>
                <a:gd name="connsiteX4" fmla="*/ 5124 w 34893"/>
                <a:gd name="connsiteY4" fmla="*/ 273 h 47062"/>
                <a:gd name="connsiteX5" fmla="*/ 7387 w 34893"/>
                <a:gd name="connsiteY5" fmla="*/ 1897 h 47062"/>
                <a:gd name="connsiteX6" fmla="*/ 9704 w 34893"/>
                <a:gd name="connsiteY6" fmla="*/ 2589 h 47062"/>
                <a:gd name="connsiteX7" fmla="*/ 19316 w 34893"/>
                <a:gd name="connsiteY7" fmla="*/ -339 h 47062"/>
                <a:gd name="connsiteX8" fmla="*/ 35880 w 34893"/>
                <a:gd name="connsiteY8" fmla="*/ 16060 h 47062"/>
                <a:gd name="connsiteX9" fmla="*/ 35877 w 34893"/>
                <a:gd name="connsiteY9" fmla="*/ 16462 h 47062"/>
                <a:gd name="connsiteX10" fmla="*/ 19667 w 34893"/>
                <a:gd name="connsiteY10" fmla="*/ 33524 h 47062"/>
                <a:gd name="connsiteX11" fmla="*/ 19182 w 34893"/>
                <a:gd name="connsiteY11" fmla="*/ 33529 h 47062"/>
                <a:gd name="connsiteX12" fmla="*/ 11195 w 34893"/>
                <a:gd name="connsiteY12" fmla="*/ 31585 h 47062"/>
                <a:gd name="connsiteX13" fmla="*/ 9118 w 34893"/>
                <a:gd name="connsiteY13" fmla="*/ 32597 h 47062"/>
                <a:gd name="connsiteX14" fmla="*/ 9118 w 34893"/>
                <a:gd name="connsiteY14" fmla="*/ 44712 h 47062"/>
                <a:gd name="connsiteX15" fmla="*/ 7456 w 34893"/>
                <a:gd name="connsiteY15" fmla="*/ 46709 h 47062"/>
                <a:gd name="connsiteX16" fmla="*/ 7121 w 34893"/>
                <a:gd name="connsiteY16" fmla="*/ 46709 h 47062"/>
                <a:gd name="connsiteX17" fmla="*/ 2994 w 34893"/>
                <a:gd name="connsiteY17" fmla="*/ 46709 h 47062"/>
                <a:gd name="connsiteX18" fmla="*/ 997 w 34893"/>
                <a:gd name="connsiteY18" fmla="*/ 45048 h 47062"/>
                <a:gd name="connsiteX19" fmla="*/ 997 w 34893"/>
                <a:gd name="connsiteY19" fmla="*/ 44712 h 47062"/>
                <a:gd name="connsiteX20" fmla="*/ 10236 w 34893"/>
                <a:gd name="connsiteY20" fmla="*/ 22106 h 47062"/>
                <a:gd name="connsiteX21" fmla="*/ 18224 w 34893"/>
                <a:gd name="connsiteY21" fmla="*/ 26127 h 47062"/>
                <a:gd name="connsiteX22" fmla="*/ 26968 w 34893"/>
                <a:gd name="connsiteY22" fmla="*/ 16571 h 47062"/>
                <a:gd name="connsiteX23" fmla="*/ 26957 w 34893"/>
                <a:gd name="connsiteY23" fmla="*/ 16382 h 47062"/>
                <a:gd name="connsiteX24" fmla="*/ 18250 w 34893"/>
                <a:gd name="connsiteY24" fmla="*/ 6983 h 47062"/>
                <a:gd name="connsiteX25" fmla="*/ 10263 w 34893"/>
                <a:gd name="connsiteY25" fmla="*/ 10977 h 47062"/>
                <a:gd name="connsiteX26" fmla="*/ 9677 w 34893"/>
                <a:gd name="connsiteY26" fmla="*/ 13133 h 47062"/>
                <a:gd name="connsiteX27" fmla="*/ 9677 w 34893"/>
                <a:gd name="connsiteY27" fmla="*/ 19896 h 47062"/>
                <a:gd name="connsiteX28" fmla="*/ 10263 w 34893"/>
                <a:gd name="connsiteY28" fmla="*/ 22027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893" h="47062">
                  <a:moveTo>
                    <a:pt x="1103" y="44632"/>
                  </a:moveTo>
                  <a:lnTo>
                    <a:pt x="1103" y="2270"/>
                  </a:lnTo>
                  <a:cubicBezTo>
                    <a:pt x="1010" y="1261"/>
                    <a:pt x="1756" y="366"/>
                    <a:pt x="2765" y="273"/>
                  </a:cubicBezTo>
                  <a:cubicBezTo>
                    <a:pt x="2877" y="262"/>
                    <a:pt x="2988" y="262"/>
                    <a:pt x="3100" y="273"/>
                  </a:cubicBezTo>
                  <a:lnTo>
                    <a:pt x="5124" y="273"/>
                  </a:lnTo>
                  <a:cubicBezTo>
                    <a:pt x="6170" y="201"/>
                    <a:pt x="7121" y="883"/>
                    <a:pt x="7387" y="1897"/>
                  </a:cubicBezTo>
                  <a:cubicBezTo>
                    <a:pt x="7707" y="3228"/>
                    <a:pt x="8638" y="3415"/>
                    <a:pt x="9704" y="2589"/>
                  </a:cubicBezTo>
                  <a:cubicBezTo>
                    <a:pt x="12502" y="592"/>
                    <a:pt x="15878" y="-435"/>
                    <a:pt x="19316" y="-339"/>
                  </a:cubicBezTo>
                  <a:cubicBezTo>
                    <a:pt x="28419" y="-385"/>
                    <a:pt x="35834" y="6956"/>
                    <a:pt x="35880" y="16060"/>
                  </a:cubicBezTo>
                  <a:cubicBezTo>
                    <a:pt x="35880" y="16193"/>
                    <a:pt x="35880" y="16329"/>
                    <a:pt x="35877" y="16462"/>
                  </a:cubicBezTo>
                  <a:cubicBezTo>
                    <a:pt x="36111" y="25650"/>
                    <a:pt x="28856" y="33289"/>
                    <a:pt x="19667" y="33524"/>
                  </a:cubicBezTo>
                  <a:cubicBezTo>
                    <a:pt x="19505" y="33529"/>
                    <a:pt x="19345" y="33529"/>
                    <a:pt x="19182" y="33529"/>
                  </a:cubicBezTo>
                  <a:cubicBezTo>
                    <a:pt x="16397" y="33582"/>
                    <a:pt x="13644" y="32914"/>
                    <a:pt x="11195" y="31585"/>
                  </a:cubicBezTo>
                  <a:cubicBezTo>
                    <a:pt x="9943" y="30840"/>
                    <a:pt x="9118" y="31213"/>
                    <a:pt x="9118" y="32597"/>
                  </a:cubicBezTo>
                  <a:lnTo>
                    <a:pt x="9118" y="44712"/>
                  </a:lnTo>
                  <a:cubicBezTo>
                    <a:pt x="9211" y="45721"/>
                    <a:pt x="8465" y="46616"/>
                    <a:pt x="7456" y="46709"/>
                  </a:cubicBezTo>
                  <a:cubicBezTo>
                    <a:pt x="7344" y="46720"/>
                    <a:pt x="7233" y="46720"/>
                    <a:pt x="7121" y="46709"/>
                  </a:cubicBezTo>
                  <a:lnTo>
                    <a:pt x="2994" y="46709"/>
                  </a:lnTo>
                  <a:cubicBezTo>
                    <a:pt x="1982" y="46802"/>
                    <a:pt x="1090" y="46057"/>
                    <a:pt x="997" y="45048"/>
                  </a:cubicBezTo>
                  <a:cubicBezTo>
                    <a:pt x="986" y="44936"/>
                    <a:pt x="986" y="44824"/>
                    <a:pt x="997" y="44712"/>
                  </a:cubicBezTo>
                  <a:moveTo>
                    <a:pt x="10236" y="22106"/>
                  </a:moveTo>
                  <a:cubicBezTo>
                    <a:pt x="12039" y="24721"/>
                    <a:pt x="15050" y="26236"/>
                    <a:pt x="18224" y="26127"/>
                  </a:cubicBezTo>
                  <a:cubicBezTo>
                    <a:pt x="23277" y="25903"/>
                    <a:pt x="27192" y="21625"/>
                    <a:pt x="26968" y="16571"/>
                  </a:cubicBezTo>
                  <a:cubicBezTo>
                    <a:pt x="26965" y="16507"/>
                    <a:pt x="26963" y="16446"/>
                    <a:pt x="26957" y="16382"/>
                  </a:cubicBezTo>
                  <a:cubicBezTo>
                    <a:pt x="27122" y="11392"/>
                    <a:pt x="23238" y="7198"/>
                    <a:pt x="18250" y="6983"/>
                  </a:cubicBezTo>
                  <a:cubicBezTo>
                    <a:pt x="15085" y="6884"/>
                    <a:pt x="12081" y="8386"/>
                    <a:pt x="10263" y="10977"/>
                  </a:cubicBezTo>
                  <a:cubicBezTo>
                    <a:pt x="9837" y="11613"/>
                    <a:pt x="9632" y="12369"/>
                    <a:pt x="9677" y="13133"/>
                  </a:cubicBezTo>
                  <a:lnTo>
                    <a:pt x="9677" y="19896"/>
                  </a:lnTo>
                  <a:cubicBezTo>
                    <a:pt x="9650" y="20650"/>
                    <a:pt x="9855" y="21393"/>
                    <a:pt x="10263" y="22027"/>
                  </a:cubicBezTo>
                </a:path>
              </a:pathLst>
            </a:custGeom>
            <a:solidFill>
              <a:srgbClr val="FFFFFF"/>
            </a:solidFill>
            <a:ln w="2661" cap="flat">
              <a:noFill/>
              <a:prstDash val="solid"/>
              <a:miter/>
            </a:ln>
          </p:spPr>
          <p:txBody>
            <a:bodyPr rtlCol="0" anchor="ctr"/>
            <a:lstStyle/>
            <a:p>
              <a:endParaRPr lang="pl-PL"/>
            </a:p>
          </p:txBody>
        </p:sp>
        <p:sp>
          <p:nvSpPr>
            <p:cNvPr id="137" name="Freeform: Shape 136">
              <a:extLst>
                <a:ext uri="{FF2B5EF4-FFF2-40B4-BE49-F238E27FC236}">
                  <a16:creationId xmlns:a16="http://schemas.microsoft.com/office/drawing/2014/main" id="{908BB381-F8AF-4C13-B98D-241AF924E82A}"/>
                </a:ext>
              </a:extLst>
            </p:cNvPr>
            <p:cNvSpPr/>
            <p:nvPr/>
          </p:nvSpPr>
          <p:spPr>
            <a:xfrm>
              <a:off x="11597252" y="6750822"/>
              <a:ext cx="18514" cy="19157"/>
            </a:xfrm>
            <a:custGeom>
              <a:avLst/>
              <a:gdLst>
                <a:gd name="connsiteX0" fmla="*/ 18038 w 32808"/>
                <a:gd name="connsiteY0" fmla="*/ -324 h 33946"/>
                <a:gd name="connsiteX1" fmla="*/ 33795 w 32808"/>
                <a:gd name="connsiteY1" fmla="*/ 15867 h 33946"/>
                <a:gd name="connsiteX2" fmla="*/ 33721 w 32808"/>
                <a:gd name="connsiteY2" fmla="*/ 17196 h 33946"/>
                <a:gd name="connsiteX3" fmla="*/ 31915 w 32808"/>
                <a:gd name="connsiteY3" fmla="*/ 19012 h 33946"/>
                <a:gd name="connsiteX4" fmla="*/ 31777 w 32808"/>
                <a:gd name="connsiteY4" fmla="*/ 19006 h 33946"/>
                <a:gd name="connsiteX5" fmla="*/ 11568 w 32808"/>
                <a:gd name="connsiteY5" fmla="*/ 19006 h 33946"/>
                <a:gd name="connsiteX6" fmla="*/ 10130 w 32808"/>
                <a:gd name="connsiteY6" fmla="*/ 20950 h 33946"/>
                <a:gd name="connsiteX7" fmla="*/ 18118 w 32808"/>
                <a:gd name="connsiteY7" fmla="*/ 26488 h 33946"/>
                <a:gd name="connsiteX8" fmla="*/ 24455 w 32808"/>
                <a:gd name="connsiteY8" fmla="*/ 23613 h 33946"/>
                <a:gd name="connsiteX9" fmla="*/ 26771 w 32808"/>
                <a:gd name="connsiteY9" fmla="*/ 22148 h 33946"/>
                <a:gd name="connsiteX10" fmla="*/ 31058 w 32808"/>
                <a:gd name="connsiteY10" fmla="*/ 22148 h 33946"/>
                <a:gd name="connsiteX11" fmla="*/ 32815 w 32808"/>
                <a:gd name="connsiteY11" fmla="*/ 24358 h 33946"/>
                <a:gd name="connsiteX12" fmla="*/ 18118 w 32808"/>
                <a:gd name="connsiteY12" fmla="*/ 33571 h 33946"/>
                <a:gd name="connsiteX13" fmla="*/ 994 w 32808"/>
                <a:gd name="connsiteY13" fmla="*/ 17371 h 33946"/>
                <a:gd name="connsiteX14" fmla="*/ 997 w 32808"/>
                <a:gd name="connsiteY14" fmla="*/ 16370 h 33946"/>
                <a:gd name="connsiteX15" fmla="*/ 16866 w 32808"/>
                <a:gd name="connsiteY15" fmla="*/ -340 h 33946"/>
                <a:gd name="connsiteX16" fmla="*/ 18118 w 32808"/>
                <a:gd name="connsiteY16" fmla="*/ -324 h 33946"/>
                <a:gd name="connsiteX17" fmla="*/ 12020 w 32808"/>
                <a:gd name="connsiteY17" fmla="*/ 13362 h 33946"/>
                <a:gd name="connsiteX18" fmla="*/ 23257 w 32808"/>
                <a:gd name="connsiteY18" fmla="*/ 13362 h 33946"/>
                <a:gd name="connsiteX19" fmla="*/ 24774 w 32808"/>
                <a:gd name="connsiteY19" fmla="*/ 11365 h 33946"/>
                <a:gd name="connsiteX20" fmla="*/ 17985 w 32808"/>
                <a:gd name="connsiteY20" fmla="*/ 6705 h 33946"/>
                <a:gd name="connsiteX21" fmla="*/ 10582 w 32808"/>
                <a:gd name="connsiteY21" fmla="*/ 11285 h 33946"/>
                <a:gd name="connsiteX22" fmla="*/ 12020 w 32808"/>
                <a:gd name="connsiteY22" fmla="*/ 13362 h 3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808" h="33946">
                  <a:moveTo>
                    <a:pt x="18038" y="-324"/>
                  </a:moveTo>
                  <a:cubicBezTo>
                    <a:pt x="26859" y="-204"/>
                    <a:pt x="33915" y="7046"/>
                    <a:pt x="33795" y="15867"/>
                  </a:cubicBezTo>
                  <a:cubicBezTo>
                    <a:pt x="33787" y="16312"/>
                    <a:pt x="33763" y="16754"/>
                    <a:pt x="33721" y="17196"/>
                  </a:cubicBezTo>
                  <a:cubicBezTo>
                    <a:pt x="33723" y="18197"/>
                    <a:pt x="32914" y="19009"/>
                    <a:pt x="31915" y="19012"/>
                  </a:cubicBezTo>
                  <a:cubicBezTo>
                    <a:pt x="31870" y="19012"/>
                    <a:pt x="31822" y="19009"/>
                    <a:pt x="31777" y="19006"/>
                  </a:cubicBezTo>
                  <a:lnTo>
                    <a:pt x="11568" y="19006"/>
                  </a:lnTo>
                  <a:cubicBezTo>
                    <a:pt x="10396" y="19006"/>
                    <a:pt x="9624" y="19778"/>
                    <a:pt x="10130" y="20950"/>
                  </a:cubicBezTo>
                  <a:cubicBezTo>
                    <a:pt x="11272" y="24361"/>
                    <a:pt x="14523" y="26616"/>
                    <a:pt x="18118" y="26488"/>
                  </a:cubicBezTo>
                  <a:cubicBezTo>
                    <a:pt x="20589" y="26709"/>
                    <a:pt x="22996" y="25618"/>
                    <a:pt x="24455" y="23613"/>
                  </a:cubicBezTo>
                  <a:cubicBezTo>
                    <a:pt x="24897" y="22734"/>
                    <a:pt x="25789" y="22172"/>
                    <a:pt x="26771" y="22148"/>
                  </a:cubicBezTo>
                  <a:lnTo>
                    <a:pt x="31058" y="22148"/>
                  </a:lnTo>
                  <a:cubicBezTo>
                    <a:pt x="32443" y="22148"/>
                    <a:pt x="33295" y="23027"/>
                    <a:pt x="32815" y="24358"/>
                  </a:cubicBezTo>
                  <a:cubicBezTo>
                    <a:pt x="30403" y="30267"/>
                    <a:pt x="24487" y="33975"/>
                    <a:pt x="18118" y="33571"/>
                  </a:cubicBezTo>
                  <a:cubicBezTo>
                    <a:pt x="8916" y="33826"/>
                    <a:pt x="1250" y="26573"/>
                    <a:pt x="994" y="17371"/>
                  </a:cubicBezTo>
                  <a:cubicBezTo>
                    <a:pt x="986" y="17036"/>
                    <a:pt x="986" y="16703"/>
                    <a:pt x="997" y="16370"/>
                  </a:cubicBezTo>
                  <a:cubicBezTo>
                    <a:pt x="765" y="7373"/>
                    <a:pt x="7869" y="-109"/>
                    <a:pt x="16866" y="-340"/>
                  </a:cubicBezTo>
                  <a:cubicBezTo>
                    <a:pt x="17284" y="-351"/>
                    <a:pt x="17702" y="-346"/>
                    <a:pt x="18118" y="-324"/>
                  </a:cubicBezTo>
                  <a:moveTo>
                    <a:pt x="12020" y="13362"/>
                  </a:moveTo>
                  <a:lnTo>
                    <a:pt x="23257" y="13362"/>
                  </a:lnTo>
                  <a:cubicBezTo>
                    <a:pt x="24508" y="13362"/>
                    <a:pt x="25280" y="12616"/>
                    <a:pt x="24774" y="11365"/>
                  </a:cubicBezTo>
                  <a:cubicBezTo>
                    <a:pt x="23707" y="8545"/>
                    <a:pt x="20999" y="6686"/>
                    <a:pt x="17985" y="6705"/>
                  </a:cubicBezTo>
                  <a:cubicBezTo>
                    <a:pt x="14859" y="6737"/>
                    <a:pt x="12007" y="8502"/>
                    <a:pt x="10582" y="11285"/>
                  </a:cubicBezTo>
                  <a:cubicBezTo>
                    <a:pt x="10023" y="12483"/>
                    <a:pt x="10716" y="13362"/>
                    <a:pt x="12020" y="13362"/>
                  </a:cubicBezTo>
                </a:path>
              </a:pathLst>
            </a:custGeom>
            <a:solidFill>
              <a:srgbClr val="FFFFFF"/>
            </a:solidFill>
            <a:ln w="2661" cap="flat">
              <a:noFill/>
              <a:prstDash val="solid"/>
              <a:miter/>
            </a:ln>
          </p:spPr>
          <p:txBody>
            <a:bodyPr rtlCol="0" anchor="ctr"/>
            <a:lstStyle/>
            <a:p>
              <a:endParaRPr lang="pl-PL"/>
            </a:p>
          </p:txBody>
        </p:sp>
        <p:sp>
          <p:nvSpPr>
            <p:cNvPr id="138" name="Freeform: Shape 137">
              <a:extLst>
                <a:ext uri="{FF2B5EF4-FFF2-40B4-BE49-F238E27FC236}">
                  <a16:creationId xmlns:a16="http://schemas.microsoft.com/office/drawing/2014/main" id="{D5AC5AE0-0B0A-4E3D-8187-6AD320129C92}"/>
                </a:ext>
              </a:extLst>
            </p:cNvPr>
            <p:cNvSpPr/>
            <p:nvPr/>
          </p:nvSpPr>
          <p:spPr>
            <a:xfrm>
              <a:off x="11619475" y="6750860"/>
              <a:ext cx="19631" cy="26558"/>
            </a:xfrm>
            <a:custGeom>
              <a:avLst/>
              <a:gdLst>
                <a:gd name="connsiteX0" fmla="*/ 997 w 34787"/>
                <a:gd name="connsiteY0" fmla="*/ 44632 h 47062"/>
                <a:gd name="connsiteX1" fmla="*/ 997 w 34787"/>
                <a:gd name="connsiteY1" fmla="*/ 2270 h 47062"/>
                <a:gd name="connsiteX2" fmla="*/ 2658 w 34787"/>
                <a:gd name="connsiteY2" fmla="*/ 273 h 47062"/>
                <a:gd name="connsiteX3" fmla="*/ 2994 w 34787"/>
                <a:gd name="connsiteY3" fmla="*/ 273 h 47062"/>
                <a:gd name="connsiteX4" fmla="*/ 5017 w 34787"/>
                <a:gd name="connsiteY4" fmla="*/ 273 h 47062"/>
                <a:gd name="connsiteX5" fmla="*/ 7280 w 34787"/>
                <a:gd name="connsiteY5" fmla="*/ 1897 h 47062"/>
                <a:gd name="connsiteX6" fmla="*/ 9597 w 34787"/>
                <a:gd name="connsiteY6" fmla="*/ 2589 h 47062"/>
                <a:gd name="connsiteX7" fmla="*/ 19209 w 34787"/>
                <a:gd name="connsiteY7" fmla="*/ -339 h 47062"/>
                <a:gd name="connsiteX8" fmla="*/ 35773 w 34787"/>
                <a:gd name="connsiteY8" fmla="*/ 16060 h 47062"/>
                <a:gd name="connsiteX9" fmla="*/ 35770 w 34787"/>
                <a:gd name="connsiteY9" fmla="*/ 16462 h 47062"/>
                <a:gd name="connsiteX10" fmla="*/ 19560 w 34787"/>
                <a:gd name="connsiteY10" fmla="*/ 33524 h 47062"/>
                <a:gd name="connsiteX11" fmla="*/ 19076 w 34787"/>
                <a:gd name="connsiteY11" fmla="*/ 33529 h 47062"/>
                <a:gd name="connsiteX12" fmla="*/ 11088 w 34787"/>
                <a:gd name="connsiteY12" fmla="*/ 31585 h 47062"/>
                <a:gd name="connsiteX13" fmla="*/ 9011 w 34787"/>
                <a:gd name="connsiteY13" fmla="*/ 32597 h 47062"/>
                <a:gd name="connsiteX14" fmla="*/ 9011 w 34787"/>
                <a:gd name="connsiteY14" fmla="*/ 44712 h 47062"/>
                <a:gd name="connsiteX15" fmla="*/ 7350 w 34787"/>
                <a:gd name="connsiteY15" fmla="*/ 46709 h 47062"/>
                <a:gd name="connsiteX16" fmla="*/ 7014 w 34787"/>
                <a:gd name="connsiteY16" fmla="*/ 46709 h 47062"/>
                <a:gd name="connsiteX17" fmla="*/ 3100 w 34787"/>
                <a:gd name="connsiteY17" fmla="*/ 46709 h 47062"/>
                <a:gd name="connsiteX18" fmla="*/ 1103 w 34787"/>
                <a:gd name="connsiteY18" fmla="*/ 45048 h 47062"/>
                <a:gd name="connsiteX19" fmla="*/ 1103 w 34787"/>
                <a:gd name="connsiteY19" fmla="*/ 44712 h 47062"/>
                <a:gd name="connsiteX20" fmla="*/ 10342 w 34787"/>
                <a:gd name="connsiteY20" fmla="*/ 22106 h 47062"/>
                <a:gd name="connsiteX21" fmla="*/ 18330 w 34787"/>
                <a:gd name="connsiteY21" fmla="*/ 26127 h 47062"/>
                <a:gd name="connsiteX22" fmla="*/ 27042 w 34787"/>
                <a:gd name="connsiteY22" fmla="*/ 16539 h 47062"/>
                <a:gd name="connsiteX23" fmla="*/ 27037 w 34787"/>
                <a:gd name="connsiteY23" fmla="*/ 16462 h 47062"/>
                <a:gd name="connsiteX24" fmla="*/ 18330 w 34787"/>
                <a:gd name="connsiteY24" fmla="*/ 7063 h 47062"/>
                <a:gd name="connsiteX25" fmla="*/ 10342 w 34787"/>
                <a:gd name="connsiteY25" fmla="*/ 11057 h 47062"/>
                <a:gd name="connsiteX26" fmla="*/ 9757 w 34787"/>
                <a:gd name="connsiteY26" fmla="*/ 13213 h 47062"/>
                <a:gd name="connsiteX27" fmla="*/ 9757 w 34787"/>
                <a:gd name="connsiteY27" fmla="*/ 19976 h 47062"/>
                <a:gd name="connsiteX28" fmla="*/ 10342 w 34787"/>
                <a:gd name="connsiteY28" fmla="*/ 22106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787" h="47062">
                  <a:moveTo>
                    <a:pt x="997" y="44632"/>
                  </a:moveTo>
                  <a:lnTo>
                    <a:pt x="997" y="2270"/>
                  </a:lnTo>
                  <a:cubicBezTo>
                    <a:pt x="903" y="1261"/>
                    <a:pt x="1649" y="366"/>
                    <a:pt x="2658" y="273"/>
                  </a:cubicBezTo>
                  <a:cubicBezTo>
                    <a:pt x="2770" y="262"/>
                    <a:pt x="2882" y="262"/>
                    <a:pt x="2994" y="273"/>
                  </a:cubicBezTo>
                  <a:lnTo>
                    <a:pt x="5017" y="273"/>
                  </a:lnTo>
                  <a:cubicBezTo>
                    <a:pt x="6064" y="201"/>
                    <a:pt x="7014" y="883"/>
                    <a:pt x="7280" y="1897"/>
                  </a:cubicBezTo>
                  <a:cubicBezTo>
                    <a:pt x="7600" y="3228"/>
                    <a:pt x="8532" y="3415"/>
                    <a:pt x="9597" y="2589"/>
                  </a:cubicBezTo>
                  <a:cubicBezTo>
                    <a:pt x="12395" y="592"/>
                    <a:pt x="15771" y="-435"/>
                    <a:pt x="19209" y="-339"/>
                  </a:cubicBezTo>
                  <a:cubicBezTo>
                    <a:pt x="28312" y="-385"/>
                    <a:pt x="35728" y="6956"/>
                    <a:pt x="35773" y="16060"/>
                  </a:cubicBezTo>
                  <a:cubicBezTo>
                    <a:pt x="35773" y="16193"/>
                    <a:pt x="35773" y="16329"/>
                    <a:pt x="35770" y="16462"/>
                  </a:cubicBezTo>
                  <a:cubicBezTo>
                    <a:pt x="36005" y="25650"/>
                    <a:pt x="28749" y="33289"/>
                    <a:pt x="19560" y="33524"/>
                  </a:cubicBezTo>
                  <a:cubicBezTo>
                    <a:pt x="19398" y="33529"/>
                    <a:pt x="19238" y="33529"/>
                    <a:pt x="19076" y="33529"/>
                  </a:cubicBezTo>
                  <a:cubicBezTo>
                    <a:pt x="16291" y="33582"/>
                    <a:pt x="13538" y="32914"/>
                    <a:pt x="11088" y="31585"/>
                  </a:cubicBezTo>
                  <a:cubicBezTo>
                    <a:pt x="9836" y="30840"/>
                    <a:pt x="9011" y="31213"/>
                    <a:pt x="9011" y="32597"/>
                  </a:cubicBezTo>
                  <a:lnTo>
                    <a:pt x="9011" y="44712"/>
                  </a:lnTo>
                  <a:cubicBezTo>
                    <a:pt x="9104" y="45721"/>
                    <a:pt x="8359" y="46616"/>
                    <a:pt x="7350" y="46709"/>
                  </a:cubicBezTo>
                  <a:cubicBezTo>
                    <a:pt x="7238" y="46720"/>
                    <a:pt x="7126" y="46720"/>
                    <a:pt x="7014" y="46709"/>
                  </a:cubicBezTo>
                  <a:lnTo>
                    <a:pt x="3100" y="46709"/>
                  </a:lnTo>
                  <a:cubicBezTo>
                    <a:pt x="2088" y="46802"/>
                    <a:pt x="1196" y="46057"/>
                    <a:pt x="1103" y="45048"/>
                  </a:cubicBezTo>
                  <a:cubicBezTo>
                    <a:pt x="1092" y="44936"/>
                    <a:pt x="1092" y="44824"/>
                    <a:pt x="1103" y="44712"/>
                  </a:cubicBezTo>
                  <a:moveTo>
                    <a:pt x="10342" y="22106"/>
                  </a:moveTo>
                  <a:cubicBezTo>
                    <a:pt x="12145" y="24721"/>
                    <a:pt x="15156" y="26236"/>
                    <a:pt x="18330" y="26127"/>
                  </a:cubicBezTo>
                  <a:cubicBezTo>
                    <a:pt x="23384" y="25885"/>
                    <a:pt x="27282" y="21592"/>
                    <a:pt x="27042" y="16539"/>
                  </a:cubicBezTo>
                  <a:cubicBezTo>
                    <a:pt x="27040" y="16515"/>
                    <a:pt x="27040" y="16488"/>
                    <a:pt x="27037" y="16462"/>
                  </a:cubicBezTo>
                  <a:cubicBezTo>
                    <a:pt x="27202" y="11472"/>
                    <a:pt x="23317" y="7278"/>
                    <a:pt x="18330" y="7063"/>
                  </a:cubicBezTo>
                  <a:cubicBezTo>
                    <a:pt x="15164" y="6964"/>
                    <a:pt x="12161" y="8466"/>
                    <a:pt x="10342" y="11057"/>
                  </a:cubicBezTo>
                  <a:cubicBezTo>
                    <a:pt x="9919" y="11693"/>
                    <a:pt x="9711" y="12449"/>
                    <a:pt x="9757" y="13213"/>
                  </a:cubicBezTo>
                  <a:lnTo>
                    <a:pt x="9757" y="19976"/>
                  </a:lnTo>
                  <a:cubicBezTo>
                    <a:pt x="9730" y="20730"/>
                    <a:pt x="9935" y="21473"/>
                    <a:pt x="10342" y="22106"/>
                  </a:cubicBezTo>
                </a:path>
              </a:pathLst>
            </a:custGeom>
            <a:solidFill>
              <a:srgbClr val="FFFFFF"/>
            </a:solidFill>
            <a:ln w="2661" cap="flat">
              <a:noFill/>
              <a:prstDash val="solid"/>
              <a:miter/>
            </a:ln>
          </p:spPr>
          <p:txBody>
            <a:bodyPr rtlCol="0" anchor="ctr"/>
            <a:lstStyle/>
            <a:p>
              <a:endParaRPr lang="pl-PL"/>
            </a:p>
          </p:txBody>
        </p:sp>
        <p:sp>
          <p:nvSpPr>
            <p:cNvPr id="139" name="Freeform: Shape 138">
              <a:extLst>
                <a:ext uri="{FF2B5EF4-FFF2-40B4-BE49-F238E27FC236}">
                  <a16:creationId xmlns:a16="http://schemas.microsoft.com/office/drawing/2014/main" id="{4AD49194-AC4F-496D-857C-55D7B896D01A}"/>
                </a:ext>
              </a:extLst>
            </p:cNvPr>
            <p:cNvSpPr/>
            <p:nvPr/>
          </p:nvSpPr>
          <p:spPr>
            <a:xfrm>
              <a:off x="11641544" y="6750833"/>
              <a:ext cx="16868" cy="19128"/>
            </a:xfrm>
            <a:custGeom>
              <a:avLst/>
              <a:gdLst>
                <a:gd name="connsiteX0" fmla="*/ 16181 w 29890"/>
                <a:gd name="connsiteY0" fmla="*/ -346 h 33895"/>
                <a:gd name="connsiteX1" fmla="*/ 30186 w 29890"/>
                <a:gd name="connsiteY1" fmla="*/ 9400 h 33895"/>
                <a:gd name="connsiteX2" fmla="*/ 28296 w 29890"/>
                <a:gd name="connsiteY2" fmla="*/ 11476 h 33895"/>
                <a:gd name="connsiteX3" fmla="*/ 24275 w 29890"/>
                <a:gd name="connsiteY3" fmla="*/ 11476 h 33895"/>
                <a:gd name="connsiteX4" fmla="*/ 22092 w 29890"/>
                <a:gd name="connsiteY4" fmla="*/ 9719 h 33895"/>
                <a:gd name="connsiteX5" fmla="*/ 16048 w 29890"/>
                <a:gd name="connsiteY5" fmla="*/ 6444 h 33895"/>
                <a:gd name="connsiteX6" fmla="*/ 10723 w 29890"/>
                <a:gd name="connsiteY6" fmla="*/ 9266 h 33895"/>
                <a:gd name="connsiteX7" fmla="*/ 30879 w 29890"/>
                <a:gd name="connsiteY7" fmla="*/ 23591 h 33895"/>
                <a:gd name="connsiteX8" fmla="*/ 16687 w 29890"/>
                <a:gd name="connsiteY8" fmla="*/ 33550 h 33895"/>
                <a:gd name="connsiteX9" fmla="*/ 1057 w 29890"/>
                <a:gd name="connsiteY9" fmla="*/ 23511 h 33895"/>
                <a:gd name="connsiteX10" fmla="*/ 2895 w 29890"/>
                <a:gd name="connsiteY10" fmla="*/ 21381 h 33895"/>
                <a:gd name="connsiteX11" fmla="*/ 7155 w 29890"/>
                <a:gd name="connsiteY11" fmla="*/ 21381 h 33895"/>
                <a:gd name="connsiteX12" fmla="*/ 9338 w 29890"/>
                <a:gd name="connsiteY12" fmla="*/ 23006 h 33895"/>
                <a:gd name="connsiteX13" fmla="*/ 16873 w 29890"/>
                <a:gd name="connsiteY13" fmla="*/ 26786 h 33895"/>
                <a:gd name="connsiteX14" fmla="*/ 22411 w 29890"/>
                <a:gd name="connsiteY14" fmla="*/ 23645 h 33895"/>
                <a:gd name="connsiteX15" fmla="*/ 2256 w 29890"/>
                <a:gd name="connsiteY15" fmla="*/ 9453 h 33895"/>
                <a:gd name="connsiteX16" fmla="*/ 16128 w 29890"/>
                <a:gd name="connsiteY16" fmla="*/ -346 h 3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890" h="33895">
                  <a:moveTo>
                    <a:pt x="16181" y="-346"/>
                  </a:moveTo>
                  <a:cubicBezTo>
                    <a:pt x="24169" y="-346"/>
                    <a:pt x="28855" y="3622"/>
                    <a:pt x="30186" y="9400"/>
                  </a:cubicBezTo>
                  <a:cubicBezTo>
                    <a:pt x="30479" y="10704"/>
                    <a:pt x="29681" y="11476"/>
                    <a:pt x="28296" y="11476"/>
                  </a:cubicBezTo>
                  <a:lnTo>
                    <a:pt x="24275" y="11476"/>
                  </a:lnTo>
                  <a:cubicBezTo>
                    <a:pt x="23077" y="11476"/>
                    <a:pt x="22518" y="10837"/>
                    <a:pt x="22092" y="9719"/>
                  </a:cubicBezTo>
                  <a:cubicBezTo>
                    <a:pt x="21320" y="7642"/>
                    <a:pt x="19429" y="6444"/>
                    <a:pt x="16048" y="6444"/>
                  </a:cubicBezTo>
                  <a:cubicBezTo>
                    <a:pt x="12666" y="6444"/>
                    <a:pt x="10723" y="7562"/>
                    <a:pt x="10723" y="9266"/>
                  </a:cubicBezTo>
                  <a:cubicBezTo>
                    <a:pt x="10723" y="15364"/>
                    <a:pt x="30879" y="10971"/>
                    <a:pt x="30879" y="23591"/>
                  </a:cubicBezTo>
                  <a:cubicBezTo>
                    <a:pt x="30879" y="29982"/>
                    <a:pt x="25048" y="33550"/>
                    <a:pt x="16687" y="33550"/>
                  </a:cubicBezTo>
                  <a:cubicBezTo>
                    <a:pt x="8326" y="33550"/>
                    <a:pt x="2389" y="29928"/>
                    <a:pt x="1057" y="23511"/>
                  </a:cubicBezTo>
                  <a:cubicBezTo>
                    <a:pt x="738" y="22127"/>
                    <a:pt x="1563" y="21381"/>
                    <a:pt x="2895" y="21381"/>
                  </a:cubicBezTo>
                  <a:lnTo>
                    <a:pt x="7155" y="21381"/>
                  </a:lnTo>
                  <a:cubicBezTo>
                    <a:pt x="8172" y="21347"/>
                    <a:pt x="9077" y="22020"/>
                    <a:pt x="9338" y="23006"/>
                  </a:cubicBezTo>
                  <a:cubicBezTo>
                    <a:pt x="10858" y="25668"/>
                    <a:pt x="13830" y="27159"/>
                    <a:pt x="16873" y="26786"/>
                  </a:cubicBezTo>
                  <a:cubicBezTo>
                    <a:pt x="20281" y="26786"/>
                    <a:pt x="22411" y="25721"/>
                    <a:pt x="22411" y="23645"/>
                  </a:cubicBezTo>
                  <a:cubicBezTo>
                    <a:pt x="22411" y="17494"/>
                    <a:pt x="2256" y="22127"/>
                    <a:pt x="2256" y="9453"/>
                  </a:cubicBezTo>
                  <a:cubicBezTo>
                    <a:pt x="2256" y="3808"/>
                    <a:pt x="7101" y="-346"/>
                    <a:pt x="16128" y="-346"/>
                  </a:cubicBezTo>
                </a:path>
              </a:pathLst>
            </a:custGeom>
            <a:solidFill>
              <a:srgbClr val="FFFFFF"/>
            </a:solidFill>
            <a:ln w="2661" cap="flat">
              <a:noFill/>
              <a:prstDash val="solid"/>
              <a:miter/>
            </a:ln>
          </p:spPr>
          <p:txBody>
            <a:bodyPr rtlCol="0" anchor="ctr"/>
            <a:lstStyle/>
            <a:p>
              <a:endParaRPr lang="pl-PL"/>
            </a:p>
          </p:txBody>
        </p:sp>
        <p:sp>
          <p:nvSpPr>
            <p:cNvPr id="140" name="Freeform: Shape 139">
              <a:extLst>
                <a:ext uri="{FF2B5EF4-FFF2-40B4-BE49-F238E27FC236}">
                  <a16:creationId xmlns:a16="http://schemas.microsoft.com/office/drawing/2014/main" id="{D332CC98-4EE3-4E36-9DB7-D9BBE94903A0}"/>
                </a:ext>
              </a:extLst>
            </p:cNvPr>
            <p:cNvSpPr/>
            <p:nvPr/>
          </p:nvSpPr>
          <p:spPr>
            <a:xfrm>
              <a:off x="11661657" y="6742209"/>
              <a:ext cx="6551" cy="27381"/>
            </a:xfrm>
            <a:custGeom>
              <a:avLst/>
              <a:gdLst>
                <a:gd name="connsiteX0" fmla="*/ 989 w 11609"/>
                <a:gd name="connsiteY0" fmla="*/ 5352 h 48520"/>
                <a:gd name="connsiteX1" fmla="*/ 6687 w 11609"/>
                <a:gd name="connsiteY1" fmla="*/ -346 h 48520"/>
                <a:gd name="connsiteX2" fmla="*/ 6767 w 11609"/>
                <a:gd name="connsiteY2" fmla="*/ -346 h 48520"/>
                <a:gd name="connsiteX3" fmla="*/ 12598 w 11609"/>
                <a:gd name="connsiteY3" fmla="*/ 5352 h 48520"/>
                <a:gd name="connsiteX4" fmla="*/ 6767 w 11609"/>
                <a:gd name="connsiteY4" fmla="*/ 11263 h 48520"/>
                <a:gd name="connsiteX5" fmla="*/ 989 w 11609"/>
                <a:gd name="connsiteY5" fmla="*/ 5432 h 48520"/>
                <a:gd name="connsiteX6" fmla="*/ 989 w 11609"/>
                <a:gd name="connsiteY6" fmla="*/ 5352 h 48520"/>
                <a:gd name="connsiteX7" fmla="*/ 10734 w 11609"/>
                <a:gd name="connsiteY7" fmla="*/ 17521 h 48520"/>
                <a:gd name="connsiteX8" fmla="*/ 10734 w 11609"/>
                <a:gd name="connsiteY8" fmla="*/ 46144 h 48520"/>
                <a:gd name="connsiteX9" fmla="*/ 9046 w 11609"/>
                <a:gd name="connsiteY9" fmla="*/ 48167 h 48520"/>
                <a:gd name="connsiteX10" fmla="*/ 8710 w 11609"/>
                <a:gd name="connsiteY10" fmla="*/ 48167 h 48520"/>
                <a:gd name="connsiteX11" fmla="*/ 3998 w 11609"/>
                <a:gd name="connsiteY11" fmla="*/ 48167 h 48520"/>
                <a:gd name="connsiteX12" fmla="*/ 1998 w 11609"/>
                <a:gd name="connsiteY12" fmla="*/ 46450 h 48520"/>
                <a:gd name="connsiteX13" fmla="*/ 2001 w 11609"/>
                <a:gd name="connsiteY13" fmla="*/ 46144 h 48520"/>
                <a:gd name="connsiteX14" fmla="*/ 2001 w 11609"/>
                <a:gd name="connsiteY14" fmla="*/ 17600 h 48520"/>
                <a:gd name="connsiteX15" fmla="*/ 3662 w 11609"/>
                <a:gd name="connsiteY15" fmla="*/ 15603 h 48520"/>
                <a:gd name="connsiteX16" fmla="*/ 3998 w 11609"/>
                <a:gd name="connsiteY16" fmla="*/ 15603 h 48520"/>
                <a:gd name="connsiteX17" fmla="*/ 8710 w 11609"/>
                <a:gd name="connsiteY17" fmla="*/ 15603 h 48520"/>
                <a:gd name="connsiteX18" fmla="*/ 10731 w 11609"/>
                <a:gd name="connsiteY18" fmla="*/ 17294 h 48520"/>
                <a:gd name="connsiteX19" fmla="*/ 10734 w 11609"/>
                <a:gd name="connsiteY19" fmla="*/ 17600 h 48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09" h="48520">
                  <a:moveTo>
                    <a:pt x="989" y="5352"/>
                  </a:moveTo>
                  <a:cubicBezTo>
                    <a:pt x="989" y="2205"/>
                    <a:pt x="3540" y="-346"/>
                    <a:pt x="6687" y="-346"/>
                  </a:cubicBezTo>
                  <a:cubicBezTo>
                    <a:pt x="6713" y="-346"/>
                    <a:pt x="6740" y="-346"/>
                    <a:pt x="6767" y="-346"/>
                  </a:cubicBezTo>
                  <a:cubicBezTo>
                    <a:pt x="9935" y="-346"/>
                    <a:pt x="12526" y="2184"/>
                    <a:pt x="12598" y="5352"/>
                  </a:cubicBezTo>
                  <a:cubicBezTo>
                    <a:pt x="12598" y="8585"/>
                    <a:pt x="9999" y="11221"/>
                    <a:pt x="6767" y="11263"/>
                  </a:cubicBezTo>
                  <a:cubicBezTo>
                    <a:pt x="3561" y="11250"/>
                    <a:pt x="973" y="8638"/>
                    <a:pt x="989" y="5432"/>
                  </a:cubicBezTo>
                  <a:cubicBezTo>
                    <a:pt x="989" y="5406"/>
                    <a:pt x="989" y="5379"/>
                    <a:pt x="989" y="5352"/>
                  </a:cubicBezTo>
                  <a:moveTo>
                    <a:pt x="10734" y="17521"/>
                  </a:moveTo>
                  <a:lnTo>
                    <a:pt x="10734" y="46144"/>
                  </a:lnTo>
                  <a:cubicBezTo>
                    <a:pt x="10827" y="47169"/>
                    <a:pt x="10071" y="48074"/>
                    <a:pt x="9046" y="48167"/>
                  </a:cubicBezTo>
                  <a:cubicBezTo>
                    <a:pt x="8934" y="48178"/>
                    <a:pt x="8822" y="48178"/>
                    <a:pt x="8710" y="48167"/>
                  </a:cubicBezTo>
                  <a:lnTo>
                    <a:pt x="3998" y="48167"/>
                  </a:lnTo>
                  <a:cubicBezTo>
                    <a:pt x="2972" y="48244"/>
                    <a:pt x="2075" y="47475"/>
                    <a:pt x="1998" y="46450"/>
                  </a:cubicBezTo>
                  <a:cubicBezTo>
                    <a:pt x="1990" y="46349"/>
                    <a:pt x="1993" y="46245"/>
                    <a:pt x="2001" y="46144"/>
                  </a:cubicBezTo>
                  <a:lnTo>
                    <a:pt x="2001" y="17600"/>
                  </a:lnTo>
                  <a:cubicBezTo>
                    <a:pt x="1907" y="16591"/>
                    <a:pt x="2653" y="15697"/>
                    <a:pt x="3662" y="15603"/>
                  </a:cubicBezTo>
                  <a:cubicBezTo>
                    <a:pt x="3774" y="15593"/>
                    <a:pt x="3886" y="15593"/>
                    <a:pt x="3998" y="15603"/>
                  </a:cubicBezTo>
                  <a:lnTo>
                    <a:pt x="8710" y="15603"/>
                  </a:lnTo>
                  <a:cubicBezTo>
                    <a:pt x="9735" y="15513"/>
                    <a:pt x="10641" y="16269"/>
                    <a:pt x="10731" y="17294"/>
                  </a:cubicBezTo>
                  <a:cubicBezTo>
                    <a:pt x="10742" y="17395"/>
                    <a:pt x="10742" y="17499"/>
                    <a:pt x="10734" y="17600"/>
                  </a:cubicBezTo>
                </a:path>
              </a:pathLst>
            </a:custGeom>
            <a:solidFill>
              <a:srgbClr val="FFFFFF"/>
            </a:solidFill>
            <a:ln w="2661" cap="flat">
              <a:noFill/>
              <a:prstDash val="solid"/>
              <a:miter/>
            </a:ln>
          </p:spPr>
          <p:txBody>
            <a:bodyPr rtlCol="0" anchor="ctr"/>
            <a:lstStyle/>
            <a:p>
              <a:endParaRPr lang="pl-PL"/>
            </a:p>
          </p:txBody>
        </p:sp>
        <p:sp>
          <p:nvSpPr>
            <p:cNvPr id="141" name="Freeform: Shape 140">
              <a:extLst>
                <a:ext uri="{FF2B5EF4-FFF2-40B4-BE49-F238E27FC236}">
                  <a16:creationId xmlns:a16="http://schemas.microsoft.com/office/drawing/2014/main" id="{8F5FA4BB-02EE-4C59-B67F-84262EF275C0}"/>
                </a:ext>
              </a:extLst>
            </p:cNvPr>
            <p:cNvSpPr/>
            <p:nvPr/>
          </p:nvSpPr>
          <p:spPr>
            <a:xfrm>
              <a:off x="11670912" y="6750850"/>
              <a:ext cx="18928" cy="19154"/>
            </a:xfrm>
            <a:custGeom>
              <a:avLst/>
              <a:gdLst>
                <a:gd name="connsiteX0" fmla="*/ 25781 w 33540"/>
                <a:gd name="connsiteY0" fmla="*/ 11128 h 33942"/>
                <a:gd name="connsiteX1" fmla="*/ 18672 w 33540"/>
                <a:gd name="connsiteY1" fmla="*/ 7001 h 33942"/>
                <a:gd name="connsiteX2" fmla="*/ 9850 w 33540"/>
                <a:gd name="connsiteY2" fmla="*/ 15699 h 33942"/>
                <a:gd name="connsiteX3" fmla="*/ 9885 w 33540"/>
                <a:gd name="connsiteY3" fmla="*/ 16533 h 33942"/>
                <a:gd name="connsiteX4" fmla="*/ 17838 w 33540"/>
                <a:gd name="connsiteY4" fmla="*/ 26030 h 33942"/>
                <a:gd name="connsiteX5" fmla="*/ 18618 w 33540"/>
                <a:gd name="connsiteY5" fmla="*/ 26065 h 33942"/>
                <a:gd name="connsiteX6" fmla="*/ 25514 w 33540"/>
                <a:gd name="connsiteY6" fmla="*/ 22364 h 33942"/>
                <a:gd name="connsiteX7" fmla="*/ 27778 w 33540"/>
                <a:gd name="connsiteY7" fmla="*/ 20793 h 33942"/>
                <a:gd name="connsiteX8" fmla="*/ 32411 w 33540"/>
                <a:gd name="connsiteY8" fmla="*/ 20793 h 33942"/>
                <a:gd name="connsiteX9" fmla="*/ 34301 w 33540"/>
                <a:gd name="connsiteY9" fmla="*/ 22923 h 33942"/>
                <a:gd name="connsiteX10" fmla="*/ 18805 w 33540"/>
                <a:gd name="connsiteY10" fmla="*/ 33573 h 33942"/>
                <a:gd name="connsiteX11" fmla="*/ 1013 w 33540"/>
                <a:gd name="connsiteY11" fmla="*/ 17545 h 33942"/>
                <a:gd name="connsiteX12" fmla="*/ 992 w 33540"/>
                <a:gd name="connsiteY12" fmla="*/ 16373 h 33942"/>
                <a:gd name="connsiteX13" fmla="*/ 17503 w 33540"/>
                <a:gd name="connsiteY13" fmla="*/ -346 h 33942"/>
                <a:gd name="connsiteX14" fmla="*/ 18485 w 33540"/>
                <a:gd name="connsiteY14" fmla="*/ -322 h 33942"/>
                <a:gd name="connsiteX15" fmla="*/ 34461 w 33540"/>
                <a:gd name="connsiteY15" fmla="*/ 10728 h 33942"/>
                <a:gd name="connsiteX16" fmla="*/ 33324 w 33540"/>
                <a:gd name="connsiteY16" fmla="*/ 12810 h 33942"/>
                <a:gd name="connsiteX17" fmla="*/ 32597 w 33540"/>
                <a:gd name="connsiteY17" fmla="*/ 12858 h 33942"/>
                <a:gd name="connsiteX18" fmla="*/ 28124 w 33540"/>
                <a:gd name="connsiteY18" fmla="*/ 12858 h 33942"/>
                <a:gd name="connsiteX19" fmla="*/ 25887 w 33540"/>
                <a:gd name="connsiteY19" fmla="*/ 11234 h 33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3540" h="33942">
                  <a:moveTo>
                    <a:pt x="25781" y="11128"/>
                  </a:moveTo>
                  <a:cubicBezTo>
                    <a:pt x="24463" y="8441"/>
                    <a:pt x="21656" y="6814"/>
                    <a:pt x="18672" y="7001"/>
                  </a:cubicBezTo>
                  <a:cubicBezTo>
                    <a:pt x="13834" y="6966"/>
                    <a:pt x="9885" y="10861"/>
                    <a:pt x="9850" y="15699"/>
                  </a:cubicBezTo>
                  <a:cubicBezTo>
                    <a:pt x="9850" y="15979"/>
                    <a:pt x="9861" y="16256"/>
                    <a:pt x="9885" y="16533"/>
                  </a:cubicBezTo>
                  <a:cubicBezTo>
                    <a:pt x="9459" y="21352"/>
                    <a:pt x="13019" y="25604"/>
                    <a:pt x="17838" y="26030"/>
                  </a:cubicBezTo>
                  <a:cubicBezTo>
                    <a:pt x="18099" y="26054"/>
                    <a:pt x="18357" y="26065"/>
                    <a:pt x="18618" y="26065"/>
                  </a:cubicBezTo>
                  <a:cubicBezTo>
                    <a:pt x="21441" y="26281"/>
                    <a:pt x="24133" y="24835"/>
                    <a:pt x="25514" y="22364"/>
                  </a:cubicBezTo>
                  <a:cubicBezTo>
                    <a:pt x="25869" y="21421"/>
                    <a:pt x="26771" y="20796"/>
                    <a:pt x="27778" y="20793"/>
                  </a:cubicBezTo>
                  <a:lnTo>
                    <a:pt x="32411" y="20793"/>
                  </a:lnTo>
                  <a:cubicBezTo>
                    <a:pt x="33742" y="20793"/>
                    <a:pt x="34621" y="21618"/>
                    <a:pt x="34301" y="22923"/>
                  </a:cubicBezTo>
                  <a:cubicBezTo>
                    <a:pt x="32810" y="29340"/>
                    <a:pt x="26313" y="33573"/>
                    <a:pt x="18805" y="33573"/>
                  </a:cubicBezTo>
                  <a:cubicBezTo>
                    <a:pt x="9464" y="34061"/>
                    <a:pt x="1498" y="26882"/>
                    <a:pt x="1013" y="17545"/>
                  </a:cubicBezTo>
                  <a:cubicBezTo>
                    <a:pt x="992" y="17153"/>
                    <a:pt x="984" y="16764"/>
                    <a:pt x="992" y="16373"/>
                  </a:cubicBezTo>
                  <a:cubicBezTo>
                    <a:pt x="936" y="7198"/>
                    <a:pt x="8327" y="-287"/>
                    <a:pt x="17503" y="-346"/>
                  </a:cubicBezTo>
                  <a:cubicBezTo>
                    <a:pt x="17830" y="-346"/>
                    <a:pt x="18158" y="-340"/>
                    <a:pt x="18485" y="-322"/>
                  </a:cubicBezTo>
                  <a:cubicBezTo>
                    <a:pt x="27724" y="-322"/>
                    <a:pt x="32996" y="4578"/>
                    <a:pt x="34461" y="10728"/>
                  </a:cubicBezTo>
                  <a:cubicBezTo>
                    <a:pt x="34722" y="11618"/>
                    <a:pt x="34213" y="12549"/>
                    <a:pt x="33324" y="12810"/>
                  </a:cubicBezTo>
                  <a:cubicBezTo>
                    <a:pt x="33087" y="12880"/>
                    <a:pt x="32839" y="12896"/>
                    <a:pt x="32597" y="12858"/>
                  </a:cubicBezTo>
                  <a:lnTo>
                    <a:pt x="28124" y="12858"/>
                  </a:lnTo>
                  <a:cubicBezTo>
                    <a:pt x="27006" y="12858"/>
                    <a:pt x="26446" y="12299"/>
                    <a:pt x="25887" y="11234"/>
                  </a:cubicBezTo>
                </a:path>
              </a:pathLst>
            </a:custGeom>
            <a:solidFill>
              <a:srgbClr val="FFFFFF"/>
            </a:solidFill>
            <a:ln w="2661" cap="flat">
              <a:noFill/>
              <a:prstDash val="solid"/>
              <a:miter/>
            </a:ln>
          </p:spPr>
          <p:txBody>
            <a:bodyPr rtlCol="0" anchor="ctr"/>
            <a:lstStyle/>
            <a:p>
              <a:endParaRPr lang="pl-PL"/>
            </a:p>
          </p:txBody>
        </p:sp>
        <p:sp>
          <p:nvSpPr>
            <p:cNvPr id="142" name="Freeform: Shape 141">
              <a:extLst>
                <a:ext uri="{FF2B5EF4-FFF2-40B4-BE49-F238E27FC236}">
                  <a16:creationId xmlns:a16="http://schemas.microsoft.com/office/drawing/2014/main" id="{CDA86978-B1CB-4A94-805F-614E9550A722}"/>
                </a:ext>
              </a:extLst>
            </p:cNvPr>
            <p:cNvSpPr/>
            <p:nvPr/>
          </p:nvSpPr>
          <p:spPr>
            <a:xfrm>
              <a:off x="11692340" y="6750833"/>
              <a:ext cx="20150" cy="19139"/>
            </a:xfrm>
            <a:custGeom>
              <a:avLst/>
              <a:gdLst>
                <a:gd name="connsiteX0" fmla="*/ 18856 w 35707"/>
                <a:gd name="connsiteY0" fmla="*/ -346 h 33914"/>
                <a:gd name="connsiteX1" fmla="*/ 36695 w 35707"/>
                <a:gd name="connsiteY1" fmla="*/ 16349 h 33914"/>
                <a:gd name="connsiteX2" fmla="*/ 19833 w 35707"/>
                <a:gd name="connsiteY2" fmla="*/ 33568 h 33914"/>
                <a:gd name="connsiteX3" fmla="*/ 18856 w 35707"/>
                <a:gd name="connsiteY3" fmla="*/ 33550 h 33914"/>
                <a:gd name="connsiteX4" fmla="*/ 1008 w 35707"/>
                <a:gd name="connsiteY4" fmla="*/ 17300 h 33914"/>
                <a:gd name="connsiteX5" fmla="*/ 989 w 35707"/>
                <a:gd name="connsiteY5" fmla="*/ 16349 h 33914"/>
                <a:gd name="connsiteX6" fmla="*/ 18856 w 35707"/>
                <a:gd name="connsiteY6" fmla="*/ -346 h 33914"/>
                <a:gd name="connsiteX7" fmla="*/ 18856 w 35707"/>
                <a:gd name="connsiteY7" fmla="*/ 26147 h 33914"/>
                <a:gd name="connsiteX8" fmla="*/ 28028 w 35707"/>
                <a:gd name="connsiteY8" fmla="*/ 17214 h 33914"/>
                <a:gd name="connsiteX9" fmla="*/ 28015 w 35707"/>
                <a:gd name="connsiteY9" fmla="*/ 16615 h 33914"/>
                <a:gd name="connsiteX10" fmla="*/ 19455 w 35707"/>
                <a:gd name="connsiteY10" fmla="*/ 7096 h 33914"/>
                <a:gd name="connsiteX11" fmla="*/ 18856 w 35707"/>
                <a:gd name="connsiteY11" fmla="*/ 7083 h 33914"/>
                <a:gd name="connsiteX12" fmla="*/ 9683 w 35707"/>
                <a:gd name="connsiteY12" fmla="*/ 15960 h 33914"/>
                <a:gd name="connsiteX13" fmla="*/ 9696 w 35707"/>
                <a:gd name="connsiteY13" fmla="*/ 16615 h 33914"/>
                <a:gd name="connsiteX14" fmla="*/ 18200 w 35707"/>
                <a:gd name="connsiteY14" fmla="*/ 26134 h 33914"/>
                <a:gd name="connsiteX15" fmla="*/ 18856 w 35707"/>
                <a:gd name="connsiteY15" fmla="*/ 26147 h 33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07" h="33914">
                  <a:moveTo>
                    <a:pt x="18856" y="-346"/>
                  </a:moveTo>
                  <a:cubicBezTo>
                    <a:pt x="29346" y="-346"/>
                    <a:pt x="36695" y="7003"/>
                    <a:pt x="36695" y="16349"/>
                  </a:cubicBezTo>
                  <a:cubicBezTo>
                    <a:pt x="36794" y="25759"/>
                    <a:pt x="29245" y="33470"/>
                    <a:pt x="19833" y="33568"/>
                  </a:cubicBezTo>
                  <a:cubicBezTo>
                    <a:pt x="19508" y="33571"/>
                    <a:pt x="19180" y="33565"/>
                    <a:pt x="18856" y="33550"/>
                  </a:cubicBezTo>
                  <a:cubicBezTo>
                    <a:pt x="9440" y="33991"/>
                    <a:pt x="1450" y="26717"/>
                    <a:pt x="1008" y="17300"/>
                  </a:cubicBezTo>
                  <a:cubicBezTo>
                    <a:pt x="992" y="16983"/>
                    <a:pt x="987" y="16666"/>
                    <a:pt x="989" y="16349"/>
                  </a:cubicBezTo>
                  <a:cubicBezTo>
                    <a:pt x="989" y="7003"/>
                    <a:pt x="8391" y="-346"/>
                    <a:pt x="18856" y="-346"/>
                  </a:cubicBezTo>
                  <a:moveTo>
                    <a:pt x="18856" y="26147"/>
                  </a:moveTo>
                  <a:cubicBezTo>
                    <a:pt x="23856" y="26214"/>
                    <a:pt x="27962" y="22215"/>
                    <a:pt x="28028" y="17214"/>
                  </a:cubicBezTo>
                  <a:cubicBezTo>
                    <a:pt x="28031" y="17015"/>
                    <a:pt x="28026" y="16815"/>
                    <a:pt x="28015" y="16615"/>
                  </a:cubicBezTo>
                  <a:cubicBezTo>
                    <a:pt x="28281" y="11623"/>
                    <a:pt x="24447" y="7360"/>
                    <a:pt x="19455" y="7096"/>
                  </a:cubicBezTo>
                  <a:cubicBezTo>
                    <a:pt x="19255" y="7086"/>
                    <a:pt x="19055" y="7080"/>
                    <a:pt x="18856" y="7083"/>
                  </a:cubicBezTo>
                  <a:cubicBezTo>
                    <a:pt x="13871" y="7001"/>
                    <a:pt x="9765" y="10976"/>
                    <a:pt x="9683" y="15960"/>
                  </a:cubicBezTo>
                  <a:cubicBezTo>
                    <a:pt x="9680" y="16179"/>
                    <a:pt x="9683" y="16397"/>
                    <a:pt x="9696" y="16615"/>
                  </a:cubicBezTo>
                  <a:cubicBezTo>
                    <a:pt x="9417" y="21592"/>
                    <a:pt x="13224" y="25855"/>
                    <a:pt x="18200" y="26134"/>
                  </a:cubicBezTo>
                  <a:cubicBezTo>
                    <a:pt x="18419" y="26147"/>
                    <a:pt x="18637" y="26150"/>
                    <a:pt x="18856" y="26147"/>
                  </a:cubicBezTo>
                </a:path>
              </a:pathLst>
            </a:custGeom>
            <a:solidFill>
              <a:srgbClr val="FFFFFF"/>
            </a:solidFill>
            <a:ln w="2661" cap="flat">
              <a:noFill/>
              <a:prstDash val="solid"/>
              <a:miter/>
            </a:ln>
          </p:spPr>
          <p:txBody>
            <a:bodyPr rtlCol="0" anchor="ctr"/>
            <a:lstStyle/>
            <a:p>
              <a:endParaRPr lang="pl-PL"/>
            </a:p>
          </p:txBody>
        </p:sp>
        <p:sp>
          <p:nvSpPr>
            <p:cNvPr id="143" name="Freeform: Shape 142">
              <a:extLst>
                <a:ext uri="{FF2B5EF4-FFF2-40B4-BE49-F238E27FC236}">
                  <a16:creationId xmlns:a16="http://schemas.microsoft.com/office/drawing/2014/main" id="{088DE02E-5586-49EF-92F4-31D582E76818}"/>
                </a:ext>
              </a:extLst>
            </p:cNvPr>
            <p:cNvSpPr/>
            <p:nvPr/>
          </p:nvSpPr>
          <p:spPr>
            <a:xfrm>
              <a:off x="11719549" y="6750860"/>
              <a:ext cx="19630" cy="26558"/>
            </a:xfrm>
            <a:custGeom>
              <a:avLst/>
              <a:gdLst>
                <a:gd name="connsiteX0" fmla="*/ 994 w 34784"/>
                <a:gd name="connsiteY0" fmla="*/ 44632 h 47062"/>
                <a:gd name="connsiteX1" fmla="*/ 994 w 34784"/>
                <a:gd name="connsiteY1" fmla="*/ 2270 h 47062"/>
                <a:gd name="connsiteX2" fmla="*/ 2711 w 34784"/>
                <a:gd name="connsiteY2" fmla="*/ 270 h 47062"/>
                <a:gd name="connsiteX3" fmla="*/ 3018 w 34784"/>
                <a:gd name="connsiteY3" fmla="*/ 273 h 47062"/>
                <a:gd name="connsiteX4" fmla="*/ 5015 w 34784"/>
                <a:gd name="connsiteY4" fmla="*/ 273 h 47062"/>
                <a:gd name="connsiteX5" fmla="*/ 7278 w 34784"/>
                <a:gd name="connsiteY5" fmla="*/ 1897 h 47062"/>
                <a:gd name="connsiteX6" fmla="*/ 9594 w 34784"/>
                <a:gd name="connsiteY6" fmla="*/ 2589 h 47062"/>
                <a:gd name="connsiteX7" fmla="*/ 19206 w 34784"/>
                <a:gd name="connsiteY7" fmla="*/ -339 h 47062"/>
                <a:gd name="connsiteX8" fmla="*/ 35771 w 34784"/>
                <a:gd name="connsiteY8" fmla="*/ 16060 h 47062"/>
                <a:gd name="connsiteX9" fmla="*/ 35768 w 34784"/>
                <a:gd name="connsiteY9" fmla="*/ 16462 h 47062"/>
                <a:gd name="connsiteX10" fmla="*/ 19558 w 34784"/>
                <a:gd name="connsiteY10" fmla="*/ 33524 h 47062"/>
                <a:gd name="connsiteX11" fmla="*/ 19073 w 34784"/>
                <a:gd name="connsiteY11" fmla="*/ 33529 h 47062"/>
                <a:gd name="connsiteX12" fmla="*/ 11085 w 34784"/>
                <a:gd name="connsiteY12" fmla="*/ 31585 h 47062"/>
                <a:gd name="connsiteX13" fmla="*/ 9009 w 34784"/>
                <a:gd name="connsiteY13" fmla="*/ 32597 h 47062"/>
                <a:gd name="connsiteX14" fmla="*/ 9009 w 34784"/>
                <a:gd name="connsiteY14" fmla="*/ 44712 h 47062"/>
                <a:gd name="connsiteX15" fmla="*/ 7347 w 34784"/>
                <a:gd name="connsiteY15" fmla="*/ 46709 h 47062"/>
                <a:gd name="connsiteX16" fmla="*/ 7012 w 34784"/>
                <a:gd name="connsiteY16" fmla="*/ 46709 h 47062"/>
                <a:gd name="connsiteX17" fmla="*/ 3124 w 34784"/>
                <a:gd name="connsiteY17" fmla="*/ 46709 h 47062"/>
                <a:gd name="connsiteX18" fmla="*/ 1103 w 34784"/>
                <a:gd name="connsiteY18" fmla="*/ 45018 h 47062"/>
                <a:gd name="connsiteX19" fmla="*/ 1101 w 34784"/>
                <a:gd name="connsiteY19" fmla="*/ 44712 h 47062"/>
                <a:gd name="connsiteX20" fmla="*/ 10340 w 34784"/>
                <a:gd name="connsiteY20" fmla="*/ 22106 h 47062"/>
                <a:gd name="connsiteX21" fmla="*/ 18328 w 34784"/>
                <a:gd name="connsiteY21" fmla="*/ 26127 h 47062"/>
                <a:gd name="connsiteX22" fmla="*/ 27064 w 34784"/>
                <a:gd name="connsiteY22" fmla="*/ 16512 h 47062"/>
                <a:gd name="connsiteX23" fmla="*/ 27061 w 34784"/>
                <a:gd name="connsiteY23" fmla="*/ 16462 h 47062"/>
                <a:gd name="connsiteX24" fmla="*/ 18328 w 34784"/>
                <a:gd name="connsiteY24" fmla="*/ 7063 h 47062"/>
                <a:gd name="connsiteX25" fmla="*/ 10340 w 34784"/>
                <a:gd name="connsiteY25" fmla="*/ 11057 h 47062"/>
                <a:gd name="connsiteX26" fmla="*/ 9781 w 34784"/>
                <a:gd name="connsiteY26" fmla="*/ 13213 h 47062"/>
                <a:gd name="connsiteX27" fmla="*/ 9781 w 34784"/>
                <a:gd name="connsiteY27" fmla="*/ 19976 h 47062"/>
                <a:gd name="connsiteX28" fmla="*/ 10340 w 34784"/>
                <a:gd name="connsiteY28" fmla="*/ 22106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784" h="47062">
                  <a:moveTo>
                    <a:pt x="994" y="44632"/>
                  </a:moveTo>
                  <a:lnTo>
                    <a:pt x="994" y="2270"/>
                  </a:lnTo>
                  <a:cubicBezTo>
                    <a:pt x="917" y="1245"/>
                    <a:pt x="1686" y="348"/>
                    <a:pt x="2711" y="270"/>
                  </a:cubicBezTo>
                  <a:cubicBezTo>
                    <a:pt x="2813" y="262"/>
                    <a:pt x="2917" y="265"/>
                    <a:pt x="3018" y="273"/>
                  </a:cubicBezTo>
                  <a:lnTo>
                    <a:pt x="5015" y="273"/>
                  </a:lnTo>
                  <a:cubicBezTo>
                    <a:pt x="6064" y="190"/>
                    <a:pt x="7022" y="875"/>
                    <a:pt x="7278" y="1897"/>
                  </a:cubicBezTo>
                  <a:cubicBezTo>
                    <a:pt x="7597" y="3228"/>
                    <a:pt x="8529" y="3415"/>
                    <a:pt x="9594" y="2589"/>
                  </a:cubicBezTo>
                  <a:cubicBezTo>
                    <a:pt x="12393" y="592"/>
                    <a:pt x="15769" y="-435"/>
                    <a:pt x="19206" y="-339"/>
                  </a:cubicBezTo>
                  <a:cubicBezTo>
                    <a:pt x="28310" y="-385"/>
                    <a:pt x="35725" y="6956"/>
                    <a:pt x="35771" y="16060"/>
                  </a:cubicBezTo>
                  <a:cubicBezTo>
                    <a:pt x="35771" y="16193"/>
                    <a:pt x="35771" y="16329"/>
                    <a:pt x="35768" y="16462"/>
                  </a:cubicBezTo>
                  <a:cubicBezTo>
                    <a:pt x="36002" y="25650"/>
                    <a:pt x="28747" y="33289"/>
                    <a:pt x="19558" y="33524"/>
                  </a:cubicBezTo>
                  <a:cubicBezTo>
                    <a:pt x="19395" y="33529"/>
                    <a:pt x="19236" y="33529"/>
                    <a:pt x="19073" y="33529"/>
                  </a:cubicBezTo>
                  <a:cubicBezTo>
                    <a:pt x="16288" y="33580"/>
                    <a:pt x="13538" y="32909"/>
                    <a:pt x="11085" y="31585"/>
                  </a:cubicBezTo>
                  <a:cubicBezTo>
                    <a:pt x="9834" y="30840"/>
                    <a:pt x="9009" y="31213"/>
                    <a:pt x="9009" y="32597"/>
                  </a:cubicBezTo>
                  <a:lnTo>
                    <a:pt x="9009" y="44712"/>
                  </a:lnTo>
                  <a:cubicBezTo>
                    <a:pt x="9102" y="45721"/>
                    <a:pt x="8356" y="46616"/>
                    <a:pt x="7347" y="46709"/>
                  </a:cubicBezTo>
                  <a:cubicBezTo>
                    <a:pt x="7235" y="46720"/>
                    <a:pt x="7123" y="46720"/>
                    <a:pt x="7012" y="46709"/>
                  </a:cubicBezTo>
                  <a:lnTo>
                    <a:pt x="3124" y="46709"/>
                  </a:lnTo>
                  <a:cubicBezTo>
                    <a:pt x="2099" y="46799"/>
                    <a:pt x="1194" y="46043"/>
                    <a:pt x="1103" y="45018"/>
                  </a:cubicBezTo>
                  <a:cubicBezTo>
                    <a:pt x="1093" y="44917"/>
                    <a:pt x="1093" y="44813"/>
                    <a:pt x="1101" y="44712"/>
                  </a:cubicBezTo>
                  <a:moveTo>
                    <a:pt x="10340" y="22106"/>
                  </a:moveTo>
                  <a:cubicBezTo>
                    <a:pt x="12148" y="24716"/>
                    <a:pt x="15154" y="26231"/>
                    <a:pt x="18328" y="26127"/>
                  </a:cubicBezTo>
                  <a:cubicBezTo>
                    <a:pt x="23395" y="25885"/>
                    <a:pt x="27306" y="21579"/>
                    <a:pt x="27064" y="16512"/>
                  </a:cubicBezTo>
                  <a:cubicBezTo>
                    <a:pt x="27064" y="16496"/>
                    <a:pt x="27061" y="16478"/>
                    <a:pt x="27061" y="16462"/>
                  </a:cubicBezTo>
                  <a:cubicBezTo>
                    <a:pt x="27210" y="11467"/>
                    <a:pt x="23320" y="7278"/>
                    <a:pt x="18328" y="7063"/>
                  </a:cubicBezTo>
                  <a:cubicBezTo>
                    <a:pt x="15165" y="6972"/>
                    <a:pt x="12166" y="8471"/>
                    <a:pt x="10340" y="11057"/>
                  </a:cubicBezTo>
                  <a:cubicBezTo>
                    <a:pt x="9924" y="11696"/>
                    <a:pt x="9727" y="12452"/>
                    <a:pt x="9781" y="13213"/>
                  </a:cubicBezTo>
                  <a:lnTo>
                    <a:pt x="9781" y="19976"/>
                  </a:lnTo>
                  <a:cubicBezTo>
                    <a:pt x="9746" y="20727"/>
                    <a:pt x="9941" y="21470"/>
                    <a:pt x="10340" y="22106"/>
                  </a:cubicBezTo>
                </a:path>
              </a:pathLst>
            </a:custGeom>
            <a:solidFill>
              <a:srgbClr val="8FDB42"/>
            </a:solidFill>
            <a:ln w="2661" cap="flat">
              <a:noFill/>
              <a:prstDash val="solid"/>
              <a:miter/>
            </a:ln>
          </p:spPr>
          <p:txBody>
            <a:bodyPr rtlCol="0" anchor="ctr"/>
            <a:lstStyle/>
            <a:p>
              <a:endParaRPr lang="pl-PL"/>
            </a:p>
          </p:txBody>
        </p:sp>
        <p:sp>
          <p:nvSpPr>
            <p:cNvPr id="144" name="Freeform: Shape 143">
              <a:extLst>
                <a:ext uri="{FF2B5EF4-FFF2-40B4-BE49-F238E27FC236}">
                  <a16:creationId xmlns:a16="http://schemas.microsoft.com/office/drawing/2014/main" id="{1874980C-940F-4251-9104-5C4FA1AE9A38}"/>
                </a:ext>
              </a:extLst>
            </p:cNvPr>
            <p:cNvSpPr/>
            <p:nvPr/>
          </p:nvSpPr>
          <p:spPr>
            <a:xfrm>
              <a:off x="11741806" y="6750833"/>
              <a:ext cx="20150" cy="19139"/>
            </a:xfrm>
            <a:custGeom>
              <a:avLst/>
              <a:gdLst>
                <a:gd name="connsiteX0" fmla="*/ 18882 w 35707"/>
                <a:gd name="connsiteY0" fmla="*/ -346 h 33914"/>
                <a:gd name="connsiteX1" fmla="*/ 36695 w 35707"/>
                <a:gd name="connsiteY1" fmla="*/ 16349 h 33914"/>
                <a:gd name="connsiteX2" fmla="*/ 19833 w 35707"/>
                <a:gd name="connsiteY2" fmla="*/ 33565 h 33914"/>
                <a:gd name="connsiteX3" fmla="*/ 18882 w 35707"/>
                <a:gd name="connsiteY3" fmla="*/ 33550 h 33914"/>
                <a:gd name="connsiteX4" fmla="*/ 1008 w 35707"/>
                <a:gd name="connsiteY4" fmla="*/ 17273 h 33914"/>
                <a:gd name="connsiteX5" fmla="*/ 989 w 35707"/>
                <a:gd name="connsiteY5" fmla="*/ 16349 h 33914"/>
                <a:gd name="connsiteX6" fmla="*/ 18882 w 35707"/>
                <a:gd name="connsiteY6" fmla="*/ -346 h 33914"/>
                <a:gd name="connsiteX7" fmla="*/ 18882 w 35707"/>
                <a:gd name="connsiteY7" fmla="*/ 26147 h 33914"/>
                <a:gd name="connsiteX8" fmla="*/ 28052 w 35707"/>
                <a:gd name="connsiteY8" fmla="*/ 17158 h 33914"/>
                <a:gd name="connsiteX9" fmla="*/ 28041 w 35707"/>
                <a:gd name="connsiteY9" fmla="*/ 16615 h 33914"/>
                <a:gd name="connsiteX10" fmla="*/ 19425 w 35707"/>
                <a:gd name="connsiteY10" fmla="*/ 7094 h 33914"/>
                <a:gd name="connsiteX11" fmla="*/ 18882 w 35707"/>
                <a:gd name="connsiteY11" fmla="*/ 7083 h 33914"/>
                <a:gd name="connsiteX12" fmla="*/ 9709 w 35707"/>
                <a:gd name="connsiteY12" fmla="*/ 15960 h 33914"/>
                <a:gd name="connsiteX13" fmla="*/ 9723 w 35707"/>
                <a:gd name="connsiteY13" fmla="*/ 16615 h 33914"/>
                <a:gd name="connsiteX14" fmla="*/ 18227 w 35707"/>
                <a:gd name="connsiteY14" fmla="*/ 26134 h 33914"/>
                <a:gd name="connsiteX15" fmla="*/ 18882 w 35707"/>
                <a:gd name="connsiteY15" fmla="*/ 26147 h 33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07" h="33914">
                  <a:moveTo>
                    <a:pt x="18882" y="-346"/>
                  </a:moveTo>
                  <a:cubicBezTo>
                    <a:pt x="29346" y="-346"/>
                    <a:pt x="36695" y="7003"/>
                    <a:pt x="36695" y="16349"/>
                  </a:cubicBezTo>
                  <a:cubicBezTo>
                    <a:pt x="36793" y="25759"/>
                    <a:pt x="29242" y="33467"/>
                    <a:pt x="19833" y="33565"/>
                  </a:cubicBezTo>
                  <a:cubicBezTo>
                    <a:pt x="19516" y="33568"/>
                    <a:pt x="19199" y="33563"/>
                    <a:pt x="18882" y="33550"/>
                  </a:cubicBezTo>
                  <a:cubicBezTo>
                    <a:pt x="9451" y="33991"/>
                    <a:pt x="1450" y="26704"/>
                    <a:pt x="1008" y="17273"/>
                  </a:cubicBezTo>
                  <a:cubicBezTo>
                    <a:pt x="992" y="16967"/>
                    <a:pt x="987" y="16658"/>
                    <a:pt x="989" y="16349"/>
                  </a:cubicBezTo>
                  <a:cubicBezTo>
                    <a:pt x="989" y="7003"/>
                    <a:pt x="8391" y="-346"/>
                    <a:pt x="18882" y="-346"/>
                  </a:cubicBezTo>
                  <a:moveTo>
                    <a:pt x="18882" y="26147"/>
                  </a:moveTo>
                  <a:cubicBezTo>
                    <a:pt x="23896" y="26198"/>
                    <a:pt x="28002" y="22175"/>
                    <a:pt x="28052" y="17158"/>
                  </a:cubicBezTo>
                  <a:cubicBezTo>
                    <a:pt x="28055" y="16977"/>
                    <a:pt x="28049" y="16796"/>
                    <a:pt x="28041" y="16615"/>
                  </a:cubicBezTo>
                  <a:cubicBezTo>
                    <a:pt x="28292" y="11607"/>
                    <a:pt x="24434" y="7344"/>
                    <a:pt x="19425" y="7094"/>
                  </a:cubicBezTo>
                  <a:cubicBezTo>
                    <a:pt x="19244" y="7086"/>
                    <a:pt x="19063" y="7080"/>
                    <a:pt x="18882" y="7083"/>
                  </a:cubicBezTo>
                  <a:cubicBezTo>
                    <a:pt x="13898" y="7001"/>
                    <a:pt x="9792" y="10976"/>
                    <a:pt x="9709" y="15960"/>
                  </a:cubicBezTo>
                  <a:cubicBezTo>
                    <a:pt x="9707" y="16179"/>
                    <a:pt x="9709" y="16397"/>
                    <a:pt x="9723" y="16615"/>
                  </a:cubicBezTo>
                  <a:cubicBezTo>
                    <a:pt x="9443" y="21592"/>
                    <a:pt x="13251" y="25855"/>
                    <a:pt x="18227" y="26134"/>
                  </a:cubicBezTo>
                  <a:cubicBezTo>
                    <a:pt x="18445" y="26147"/>
                    <a:pt x="18664" y="26150"/>
                    <a:pt x="18882" y="26147"/>
                  </a:cubicBezTo>
                </a:path>
              </a:pathLst>
            </a:custGeom>
            <a:solidFill>
              <a:srgbClr val="8FDB42"/>
            </a:solidFill>
            <a:ln w="2661" cap="flat">
              <a:noFill/>
              <a:prstDash val="solid"/>
              <a:miter/>
            </a:ln>
          </p:spPr>
          <p:txBody>
            <a:bodyPr rtlCol="0" anchor="ctr"/>
            <a:lstStyle/>
            <a:p>
              <a:endParaRPr lang="pl-PL"/>
            </a:p>
          </p:txBody>
        </p:sp>
        <p:sp>
          <p:nvSpPr>
            <p:cNvPr id="145" name="Freeform: Shape 144">
              <a:extLst>
                <a:ext uri="{FF2B5EF4-FFF2-40B4-BE49-F238E27FC236}">
                  <a16:creationId xmlns:a16="http://schemas.microsoft.com/office/drawing/2014/main" id="{1AE90B68-1CA4-4C83-AF50-7FB0E8D5DAF8}"/>
                </a:ext>
              </a:extLst>
            </p:cNvPr>
            <p:cNvSpPr/>
            <p:nvPr/>
          </p:nvSpPr>
          <p:spPr>
            <a:xfrm>
              <a:off x="11764305" y="6750833"/>
              <a:ext cx="16853" cy="19128"/>
            </a:xfrm>
            <a:custGeom>
              <a:avLst/>
              <a:gdLst>
                <a:gd name="connsiteX0" fmla="*/ 16288 w 29863"/>
                <a:gd name="connsiteY0" fmla="*/ -346 h 33895"/>
                <a:gd name="connsiteX1" fmla="*/ 30266 w 29863"/>
                <a:gd name="connsiteY1" fmla="*/ 9400 h 33895"/>
                <a:gd name="connsiteX2" fmla="*/ 28376 w 29863"/>
                <a:gd name="connsiteY2" fmla="*/ 11476 h 33895"/>
                <a:gd name="connsiteX3" fmla="*/ 24275 w 29863"/>
                <a:gd name="connsiteY3" fmla="*/ 11476 h 33895"/>
                <a:gd name="connsiteX4" fmla="*/ 22065 w 29863"/>
                <a:gd name="connsiteY4" fmla="*/ 9719 h 33895"/>
                <a:gd name="connsiteX5" fmla="*/ 16048 w 29863"/>
                <a:gd name="connsiteY5" fmla="*/ 6444 h 33895"/>
                <a:gd name="connsiteX6" fmla="*/ 10723 w 29863"/>
                <a:gd name="connsiteY6" fmla="*/ 9266 h 33895"/>
                <a:gd name="connsiteX7" fmla="*/ 30852 w 29863"/>
                <a:gd name="connsiteY7" fmla="*/ 23591 h 33895"/>
                <a:gd name="connsiteX8" fmla="*/ 16687 w 29863"/>
                <a:gd name="connsiteY8" fmla="*/ 33550 h 33895"/>
                <a:gd name="connsiteX9" fmla="*/ 1058 w 29863"/>
                <a:gd name="connsiteY9" fmla="*/ 23511 h 33895"/>
                <a:gd name="connsiteX10" fmla="*/ 2868 w 29863"/>
                <a:gd name="connsiteY10" fmla="*/ 21381 h 33895"/>
                <a:gd name="connsiteX11" fmla="*/ 7128 w 29863"/>
                <a:gd name="connsiteY11" fmla="*/ 21381 h 33895"/>
                <a:gd name="connsiteX12" fmla="*/ 9338 w 29863"/>
                <a:gd name="connsiteY12" fmla="*/ 23006 h 33895"/>
                <a:gd name="connsiteX13" fmla="*/ 16873 w 29863"/>
                <a:gd name="connsiteY13" fmla="*/ 26786 h 33895"/>
                <a:gd name="connsiteX14" fmla="*/ 22385 w 29863"/>
                <a:gd name="connsiteY14" fmla="*/ 23645 h 33895"/>
                <a:gd name="connsiteX15" fmla="*/ 2256 w 29863"/>
                <a:gd name="connsiteY15" fmla="*/ 9453 h 33895"/>
                <a:gd name="connsiteX16" fmla="*/ 16128 w 29863"/>
                <a:gd name="connsiteY16" fmla="*/ -346 h 3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863" h="33895">
                  <a:moveTo>
                    <a:pt x="16288" y="-346"/>
                  </a:moveTo>
                  <a:cubicBezTo>
                    <a:pt x="24275" y="-346"/>
                    <a:pt x="28962" y="3622"/>
                    <a:pt x="30266" y="9400"/>
                  </a:cubicBezTo>
                  <a:cubicBezTo>
                    <a:pt x="30586" y="10704"/>
                    <a:pt x="29760" y="11476"/>
                    <a:pt x="28376" y="11476"/>
                  </a:cubicBezTo>
                  <a:lnTo>
                    <a:pt x="24275" y="11476"/>
                  </a:lnTo>
                  <a:cubicBezTo>
                    <a:pt x="23077" y="11476"/>
                    <a:pt x="22518" y="10837"/>
                    <a:pt x="22065" y="9719"/>
                  </a:cubicBezTo>
                  <a:cubicBezTo>
                    <a:pt x="21320" y="7642"/>
                    <a:pt x="19403" y="6444"/>
                    <a:pt x="16048" y="6444"/>
                  </a:cubicBezTo>
                  <a:cubicBezTo>
                    <a:pt x="12693" y="6444"/>
                    <a:pt x="10723" y="7562"/>
                    <a:pt x="10723" y="9266"/>
                  </a:cubicBezTo>
                  <a:cubicBezTo>
                    <a:pt x="10723" y="15364"/>
                    <a:pt x="30852" y="10971"/>
                    <a:pt x="30852" y="23591"/>
                  </a:cubicBezTo>
                  <a:cubicBezTo>
                    <a:pt x="30852" y="29982"/>
                    <a:pt x="25021" y="33550"/>
                    <a:pt x="16687" y="33550"/>
                  </a:cubicBezTo>
                  <a:cubicBezTo>
                    <a:pt x="8353" y="33550"/>
                    <a:pt x="2362" y="29928"/>
                    <a:pt x="1058" y="23511"/>
                  </a:cubicBezTo>
                  <a:cubicBezTo>
                    <a:pt x="738" y="22127"/>
                    <a:pt x="1563" y="21381"/>
                    <a:pt x="2868" y="21381"/>
                  </a:cubicBezTo>
                  <a:lnTo>
                    <a:pt x="7128" y="21381"/>
                  </a:lnTo>
                  <a:cubicBezTo>
                    <a:pt x="8153" y="21344"/>
                    <a:pt x="9067" y="22018"/>
                    <a:pt x="9338" y="23006"/>
                  </a:cubicBezTo>
                  <a:cubicBezTo>
                    <a:pt x="10853" y="25673"/>
                    <a:pt x="13827" y="27165"/>
                    <a:pt x="16873" y="26786"/>
                  </a:cubicBezTo>
                  <a:cubicBezTo>
                    <a:pt x="20255" y="26786"/>
                    <a:pt x="22385" y="25721"/>
                    <a:pt x="22385" y="23645"/>
                  </a:cubicBezTo>
                  <a:cubicBezTo>
                    <a:pt x="22385" y="17494"/>
                    <a:pt x="2256" y="22127"/>
                    <a:pt x="2256" y="9453"/>
                  </a:cubicBezTo>
                  <a:cubicBezTo>
                    <a:pt x="2256" y="3808"/>
                    <a:pt x="7075" y="-346"/>
                    <a:pt x="16128" y="-346"/>
                  </a:cubicBezTo>
                </a:path>
              </a:pathLst>
            </a:custGeom>
            <a:solidFill>
              <a:srgbClr val="8FDB42"/>
            </a:solidFill>
            <a:ln w="2661" cap="flat">
              <a:noFill/>
              <a:prstDash val="solid"/>
              <a:miter/>
            </a:ln>
          </p:spPr>
          <p:txBody>
            <a:bodyPr rtlCol="0" anchor="ctr"/>
            <a:lstStyle/>
            <a:p>
              <a:endParaRPr lang="pl-PL"/>
            </a:p>
          </p:txBody>
        </p:sp>
        <p:sp>
          <p:nvSpPr>
            <p:cNvPr id="146" name="Freeform: Shape 145">
              <a:extLst>
                <a:ext uri="{FF2B5EF4-FFF2-40B4-BE49-F238E27FC236}">
                  <a16:creationId xmlns:a16="http://schemas.microsoft.com/office/drawing/2014/main" id="{8F9C9027-37EB-4126-950D-4874FDA2841E}"/>
                </a:ext>
              </a:extLst>
            </p:cNvPr>
            <p:cNvSpPr/>
            <p:nvPr/>
          </p:nvSpPr>
          <p:spPr>
            <a:xfrm>
              <a:off x="11784416" y="6742209"/>
              <a:ext cx="6552" cy="27380"/>
            </a:xfrm>
            <a:custGeom>
              <a:avLst/>
              <a:gdLst>
                <a:gd name="connsiteX0" fmla="*/ 1098 w 11611"/>
                <a:gd name="connsiteY0" fmla="*/ 5352 h 48518"/>
                <a:gd name="connsiteX1" fmla="*/ 6796 w 11611"/>
                <a:gd name="connsiteY1" fmla="*/ -346 h 48518"/>
                <a:gd name="connsiteX2" fmla="*/ 6876 w 11611"/>
                <a:gd name="connsiteY2" fmla="*/ -346 h 48518"/>
                <a:gd name="connsiteX3" fmla="*/ 12600 w 11611"/>
                <a:gd name="connsiteY3" fmla="*/ 5352 h 48518"/>
                <a:gd name="connsiteX4" fmla="*/ 6769 w 11611"/>
                <a:gd name="connsiteY4" fmla="*/ 11263 h 48518"/>
                <a:gd name="connsiteX5" fmla="*/ 989 w 11611"/>
                <a:gd name="connsiteY5" fmla="*/ 5488 h 48518"/>
                <a:gd name="connsiteX6" fmla="*/ 991 w 11611"/>
                <a:gd name="connsiteY6" fmla="*/ 5352 h 48518"/>
                <a:gd name="connsiteX7" fmla="*/ 10710 w 11611"/>
                <a:gd name="connsiteY7" fmla="*/ 17521 h 48518"/>
                <a:gd name="connsiteX8" fmla="*/ 10710 w 11611"/>
                <a:gd name="connsiteY8" fmla="*/ 46144 h 48518"/>
                <a:gd name="connsiteX9" fmla="*/ 9019 w 11611"/>
                <a:gd name="connsiteY9" fmla="*/ 48165 h 48518"/>
                <a:gd name="connsiteX10" fmla="*/ 8713 w 11611"/>
                <a:gd name="connsiteY10" fmla="*/ 48167 h 48518"/>
                <a:gd name="connsiteX11" fmla="*/ 4000 w 11611"/>
                <a:gd name="connsiteY11" fmla="*/ 48167 h 48518"/>
                <a:gd name="connsiteX12" fmla="*/ 2001 w 11611"/>
                <a:gd name="connsiteY12" fmla="*/ 46450 h 48518"/>
                <a:gd name="connsiteX13" fmla="*/ 2003 w 11611"/>
                <a:gd name="connsiteY13" fmla="*/ 46144 h 48518"/>
                <a:gd name="connsiteX14" fmla="*/ 2003 w 11611"/>
                <a:gd name="connsiteY14" fmla="*/ 17600 h 48518"/>
                <a:gd name="connsiteX15" fmla="*/ 3665 w 11611"/>
                <a:gd name="connsiteY15" fmla="*/ 15603 h 48518"/>
                <a:gd name="connsiteX16" fmla="*/ 4000 w 11611"/>
                <a:gd name="connsiteY16" fmla="*/ 15603 h 48518"/>
                <a:gd name="connsiteX17" fmla="*/ 8713 w 11611"/>
                <a:gd name="connsiteY17" fmla="*/ 15603 h 48518"/>
                <a:gd name="connsiteX18" fmla="*/ 10710 w 11611"/>
                <a:gd name="connsiteY18" fmla="*/ 17265 h 48518"/>
                <a:gd name="connsiteX19" fmla="*/ 10710 w 11611"/>
                <a:gd name="connsiteY19" fmla="*/ 17600 h 48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11" h="48518">
                  <a:moveTo>
                    <a:pt x="1098" y="5352"/>
                  </a:moveTo>
                  <a:cubicBezTo>
                    <a:pt x="1098" y="2205"/>
                    <a:pt x="3649" y="-346"/>
                    <a:pt x="6796" y="-346"/>
                  </a:cubicBezTo>
                  <a:cubicBezTo>
                    <a:pt x="6823" y="-346"/>
                    <a:pt x="6849" y="-346"/>
                    <a:pt x="6876" y="-346"/>
                  </a:cubicBezTo>
                  <a:cubicBezTo>
                    <a:pt x="10004" y="-290"/>
                    <a:pt x="12529" y="2224"/>
                    <a:pt x="12600" y="5352"/>
                  </a:cubicBezTo>
                  <a:cubicBezTo>
                    <a:pt x="12600" y="8585"/>
                    <a:pt x="10002" y="11221"/>
                    <a:pt x="6769" y="11263"/>
                  </a:cubicBezTo>
                  <a:cubicBezTo>
                    <a:pt x="3579" y="11263"/>
                    <a:pt x="991" y="8678"/>
                    <a:pt x="989" y="5488"/>
                  </a:cubicBezTo>
                  <a:cubicBezTo>
                    <a:pt x="989" y="5443"/>
                    <a:pt x="991" y="5398"/>
                    <a:pt x="991" y="5352"/>
                  </a:cubicBezTo>
                  <a:moveTo>
                    <a:pt x="10710" y="17521"/>
                  </a:moveTo>
                  <a:lnTo>
                    <a:pt x="10710" y="46144"/>
                  </a:lnTo>
                  <a:cubicBezTo>
                    <a:pt x="10800" y="47169"/>
                    <a:pt x="10044" y="48074"/>
                    <a:pt x="9019" y="48165"/>
                  </a:cubicBezTo>
                  <a:cubicBezTo>
                    <a:pt x="8918" y="48175"/>
                    <a:pt x="8814" y="48175"/>
                    <a:pt x="8713" y="48167"/>
                  </a:cubicBezTo>
                  <a:lnTo>
                    <a:pt x="4000" y="48167"/>
                  </a:lnTo>
                  <a:cubicBezTo>
                    <a:pt x="2975" y="48244"/>
                    <a:pt x="2078" y="47475"/>
                    <a:pt x="2001" y="46450"/>
                  </a:cubicBezTo>
                  <a:cubicBezTo>
                    <a:pt x="1993" y="46349"/>
                    <a:pt x="1995" y="46245"/>
                    <a:pt x="2003" y="46144"/>
                  </a:cubicBezTo>
                  <a:lnTo>
                    <a:pt x="2003" y="17600"/>
                  </a:lnTo>
                  <a:cubicBezTo>
                    <a:pt x="1910" y="16591"/>
                    <a:pt x="2656" y="15697"/>
                    <a:pt x="3665" y="15603"/>
                  </a:cubicBezTo>
                  <a:cubicBezTo>
                    <a:pt x="3776" y="15593"/>
                    <a:pt x="3888" y="15593"/>
                    <a:pt x="4000" y="15603"/>
                  </a:cubicBezTo>
                  <a:lnTo>
                    <a:pt x="8713" y="15603"/>
                  </a:lnTo>
                  <a:cubicBezTo>
                    <a:pt x="9722" y="15510"/>
                    <a:pt x="10617" y="16256"/>
                    <a:pt x="10710" y="17265"/>
                  </a:cubicBezTo>
                  <a:cubicBezTo>
                    <a:pt x="10721" y="17377"/>
                    <a:pt x="10721" y="17489"/>
                    <a:pt x="10710" y="17600"/>
                  </a:cubicBezTo>
                </a:path>
              </a:pathLst>
            </a:custGeom>
            <a:solidFill>
              <a:srgbClr val="8FDB42"/>
            </a:solidFill>
            <a:ln w="2661" cap="flat">
              <a:noFill/>
              <a:prstDash val="solid"/>
              <a:miter/>
            </a:ln>
          </p:spPr>
          <p:txBody>
            <a:bodyPr rtlCol="0" anchor="ctr"/>
            <a:lstStyle/>
            <a:p>
              <a:endParaRPr lang="pl-PL"/>
            </a:p>
          </p:txBody>
        </p:sp>
        <p:sp>
          <p:nvSpPr>
            <p:cNvPr id="147" name="Freeform: Shape 146">
              <a:extLst>
                <a:ext uri="{FF2B5EF4-FFF2-40B4-BE49-F238E27FC236}">
                  <a16:creationId xmlns:a16="http://schemas.microsoft.com/office/drawing/2014/main" id="{44A80B17-9A73-46EA-A539-B0F35867C918}"/>
                </a:ext>
              </a:extLst>
            </p:cNvPr>
            <p:cNvSpPr/>
            <p:nvPr/>
          </p:nvSpPr>
          <p:spPr>
            <a:xfrm>
              <a:off x="11793381" y="6746197"/>
              <a:ext cx="13675" cy="23794"/>
            </a:xfrm>
            <a:custGeom>
              <a:avLst/>
              <a:gdLst>
                <a:gd name="connsiteX0" fmla="*/ 1029 w 24233"/>
                <a:gd name="connsiteY0" fmla="*/ 13782 h 42164"/>
                <a:gd name="connsiteX1" fmla="*/ 1029 w 24233"/>
                <a:gd name="connsiteY1" fmla="*/ 10533 h 42164"/>
                <a:gd name="connsiteX2" fmla="*/ 2608 w 24233"/>
                <a:gd name="connsiteY2" fmla="*/ 8518 h 42164"/>
                <a:gd name="connsiteX3" fmla="*/ 2972 w 24233"/>
                <a:gd name="connsiteY3" fmla="*/ 8510 h 42164"/>
                <a:gd name="connsiteX4" fmla="*/ 5049 w 24233"/>
                <a:gd name="connsiteY4" fmla="*/ 8510 h 42164"/>
                <a:gd name="connsiteX5" fmla="*/ 5741 w 24233"/>
                <a:gd name="connsiteY5" fmla="*/ 7817 h 42164"/>
                <a:gd name="connsiteX6" fmla="*/ 5741 w 24233"/>
                <a:gd name="connsiteY6" fmla="*/ 3105 h 42164"/>
                <a:gd name="connsiteX7" fmla="*/ 7419 w 24233"/>
                <a:gd name="connsiteY7" fmla="*/ 921 h 42164"/>
                <a:gd name="connsiteX8" fmla="*/ 11892 w 24233"/>
                <a:gd name="connsiteY8" fmla="*/ -224 h 42164"/>
                <a:gd name="connsiteX9" fmla="*/ 14043 w 24233"/>
                <a:gd name="connsiteY9" fmla="*/ 684 h 42164"/>
                <a:gd name="connsiteX10" fmla="*/ 14155 w 24233"/>
                <a:gd name="connsiteY10" fmla="*/ 1480 h 42164"/>
                <a:gd name="connsiteX11" fmla="*/ 14155 w 24233"/>
                <a:gd name="connsiteY11" fmla="*/ 7871 h 42164"/>
                <a:gd name="connsiteX12" fmla="*/ 14794 w 24233"/>
                <a:gd name="connsiteY12" fmla="*/ 8563 h 42164"/>
                <a:gd name="connsiteX13" fmla="*/ 14848 w 24233"/>
                <a:gd name="connsiteY13" fmla="*/ 8563 h 42164"/>
                <a:gd name="connsiteX14" fmla="*/ 22835 w 24233"/>
                <a:gd name="connsiteY14" fmla="*/ 8563 h 42164"/>
                <a:gd name="connsiteX15" fmla="*/ 24859 w 24233"/>
                <a:gd name="connsiteY15" fmla="*/ 10251 h 42164"/>
                <a:gd name="connsiteX16" fmla="*/ 24859 w 24233"/>
                <a:gd name="connsiteY16" fmla="*/ 10587 h 42164"/>
                <a:gd name="connsiteX17" fmla="*/ 24859 w 24233"/>
                <a:gd name="connsiteY17" fmla="*/ 13888 h 42164"/>
                <a:gd name="connsiteX18" fmla="*/ 23171 w 24233"/>
                <a:gd name="connsiteY18" fmla="*/ 15912 h 42164"/>
                <a:gd name="connsiteX19" fmla="*/ 22835 w 24233"/>
                <a:gd name="connsiteY19" fmla="*/ 15912 h 42164"/>
                <a:gd name="connsiteX20" fmla="*/ 14848 w 24233"/>
                <a:gd name="connsiteY20" fmla="*/ 15912 h 42164"/>
                <a:gd name="connsiteX21" fmla="*/ 14150 w 24233"/>
                <a:gd name="connsiteY21" fmla="*/ 16545 h 42164"/>
                <a:gd name="connsiteX22" fmla="*/ 14155 w 24233"/>
                <a:gd name="connsiteY22" fmla="*/ 16657 h 42164"/>
                <a:gd name="connsiteX23" fmla="*/ 14155 w 24233"/>
                <a:gd name="connsiteY23" fmla="*/ 30157 h 42164"/>
                <a:gd name="connsiteX24" fmla="*/ 17590 w 24233"/>
                <a:gd name="connsiteY24" fmla="*/ 34177 h 42164"/>
                <a:gd name="connsiteX25" fmla="*/ 22436 w 24233"/>
                <a:gd name="connsiteY25" fmla="*/ 33485 h 42164"/>
                <a:gd name="connsiteX26" fmla="*/ 24683 w 24233"/>
                <a:gd name="connsiteY26" fmla="*/ 34454 h 42164"/>
                <a:gd name="connsiteX27" fmla="*/ 24806 w 24233"/>
                <a:gd name="connsiteY27" fmla="*/ 35109 h 42164"/>
                <a:gd name="connsiteX28" fmla="*/ 25178 w 24233"/>
                <a:gd name="connsiteY28" fmla="*/ 38384 h 42164"/>
                <a:gd name="connsiteX29" fmla="*/ 23639 w 24233"/>
                <a:gd name="connsiteY29" fmla="*/ 40754 h 42164"/>
                <a:gd name="connsiteX30" fmla="*/ 23634 w 24233"/>
                <a:gd name="connsiteY30" fmla="*/ 40754 h 42164"/>
                <a:gd name="connsiteX31" fmla="*/ 15966 w 24233"/>
                <a:gd name="connsiteY31" fmla="*/ 41819 h 42164"/>
                <a:gd name="connsiteX32" fmla="*/ 5315 w 24233"/>
                <a:gd name="connsiteY32" fmla="*/ 30343 h 42164"/>
                <a:gd name="connsiteX33" fmla="*/ 5315 w 24233"/>
                <a:gd name="connsiteY33" fmla="*/ 16657 h 42164"/>
                <a:gd name="connsiteX34" fmla="*/ 4703 w 24233"/>
                <a:gd name="connsiteY34" fmla="*/ 15859 h 42164"/>
                <a:gd name="connsiteX35" fmla="*/ 2946 w 24233"/>
                <a:gd name="connsiteY35" fmla="*/ 15859 h 42164"/>
                <a:gd name="connsiteX36" fmla="*/ 994 w 24233"/>
                <a:gd name="connsiteY36" fmla="*/ 14200 h 42164"/>
                <a:gd name="connsiteX37" fmla="*/ 1002 w 24233"/>
                <a:gd name="connsiteY37" fmla="*/ 13835 h 42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233" h="42164">
                  <a:moveTo>
                    <a:pt x="1029" y="13782"/>
                  </a:moveTo>
                  <a:lnTo>
                    <a:pt x="1029" y="10533"/>
                  </a:lnTo>
                  <a:cubicBezTo>
                    <a:pt x="909" y="9540"/>
                    <a:pt x="1614" y="8637"/>
                    <a:pt x="2608" y="8518"/>
                  </a:cubicBezTo>
                  <a:cubicBezTo>
                    <a:pt x="2727" y="8502"/>
                    <a:pt x="2850" y="8499"/>
                    <a:pt x="2972" y="8510"/>
                  </a:cubicBezTo>
                  <a:lnTo>
                    <a:pt x="5049" y="8510"/>
                  </a:lnTo>
                  <a:cubicBezTo>
                    <a:pt x="5432" y="8510"/>
                    <a:pt x="5741" y="8201"/>
                    <a:pt x="5741" y="7817"/>
                  </a:cubicBezTo>
                  <a:lnTo>
                    <a:pt x="5741" y="3105"/>
                  </a:lnTo>
                  <a:cubicBezTo>
                    <a:pt x="5630" y="2045"/>
                    <a:pt x="6367" y="1086"/>
                    <a:pt x="7419" y="921"/>
                  </a:cubicBezTo>
                  <a:lnTo>
                    <a:pt x="11892" y="-224"/>
                  </a:lnTo>
                  <a:cubicBezTo>
                    <a:pt x="12736" y="-567"/>
                    <a:pt x="13700" y="-160"/>
                    <a:pt x="14043" y="684"/>
                  </a:cubicBezTo>
                  <a:cubicBezTo>
                    <a:pt x="14145" y="937"/>
                    <a:pt x="14184" y="1209"/>
                    <a:pt x="14155" y="1480"/>
                  </a:cubicBezTo>
                  <a:lnTo>
                    <a:pt x="14155" y="7871"/>
                  </a:lnTo>
                  <a:cubicBezTo>
                    <a:pt x="14139" y="8238"/>
                    <a:pt x="14427" y="8547"/>
                    <a:pt x="14794" y="8563"/>
                  </a:cubicBezTo>
                  <a:cubicBezTo>
                    <a:pt x="14810" y="8563"/>
                    <a:pt x="14829" y="8563"/>
                    <a:pt x="14848" y="8563"/>
                  </a:cubicBezTo>
                  <a:lnTo>
                    <a:pt x="22835" y="8563"/>
                  </a:lnTo>
                  <a:cubicBezTo>
                    <a:pt x="23861" y="8470"/>
                    <a:pt x="24766" y="9226"/>
                    <a:pt x="24859" y="10251"/>
                  </a:cubicBezTo>
                  <a:cubicBezTo>
                    <a:pt x="24870" y="10363"/>
                    <a:pt x="24870" y="10475"/>
                    <a:pt x="24859" y="10587"/>
                  </a:cubicBezTo>
                  <a:lnTo>
                    <a:pt x="24859" y="13888"/>
                  </a:lnTo>
                  <a:cubicBezTo>
                    <a:pt x="24952" y="14913"/>
                    <a:pt x="24196" y="15819"/>
                    <a:pt x="23171" y="15912"/>
                  </a:cubicBezTo>
                  <a:cubicBezTo>
                    <a:pt x="23059" y="15922"/>
                    <a:pt x="22947" y="15922"/>
                    <a:pt x="22835" y="15912"/>
                  </a:cubicBezTo>
                  <a:lnTo>
                    <a:pt x="14848" y="15912"/>
                  </a:lnTo>
                  <a:cubicBezTo>
                    <a:pt x="14480" y="15893"/>
                    <a:pt x="14169" y="16178"/>
                    <a:pt x="14150" y="16545"/>
                  </a:cubicBezTo>
                  <a:cubicBezTo>
                    <a:pt x="14150" y="16583"/>
                    <a:pt x="14150" y="16620"/>
                    <a:pt x="14155" y="16657"/>
                  </a:cubicBezTo>
                  <a:lnTo>
                    <a:pt x="14155" y="30157"/>
                  </a:lnTo>
                  <a:cubicBezTo>
                    <a:pt x="14155" y="32819"/>
                    <a:pt x="15034" y="34177"/>
                    <a:pt x="17590" y="34177"/>
                  </a:cubicBezTo>
                  <a:cubicBezTo>
                    <a:pt x="19230" y="34175"/>
                    <a:pt x="20860" y="33940"/>
                    <a:pt x="22436" y="33485"/>
                  </a:cubicBezTo>
                  <a:cubicBezTo>
                    <a:pt x="23325" y="33131"/>
                    <a:pt x="24332" y="33565"/>
                    <a:pt x="24683" y="34454"/>
                  </a:cubicBezTo>
                  <a:cubicBezTo>
                    <a:pt x="24766" y="34662"/>
                    <a:pt x="24808" y="34886"/>
                    <a:pt x="24806" y="35109"/>
                  </a:cubicBezTo>
                  <a:lnTo>
                    <a:pt x="25178" y="38384"/>
                  </a:lnTo>
                  <a:cubicBezTo>
                    <a:pt x="25407" y="39463"/>
                    <a:pt x="24718" y="40522"/>
                    <a:pt x="23639" y="40754"/>
                  </a:cubicBezTo>
                  <a:cubicBezTo>
                    <a:pt x="23639" y="40754"/>
                    <a:pt x="23637" y="40754"/>
                    <a:pt x="23634" y="40754"/>
                  </a:cubicBezTo>
                  <a:cubicBezTo>
                    <a:pt x="21139" y="41462"/>
                    <a:pt x="18559" y="41822"/>
                    <a:pt x="15966" y="41819"/>
                  </a:cubicBezTo>
                  <a:cubicBezTo>
                    <a:pt x="10241" y="41819"/>
                    <a:pt x="5315" y="38943"/>
                    <a:pt x="5315" y="30343"/>
                  </a:cubicBezTo>
                  <a:lnTo>
                    <a:pt x="5315" y="16657"/>
                  </a:lnTo>
                  <a:cubicBezTo>
                    <a:pt x="5363" y="16269"/>
                    <a:pt x="5092" y="15914"/>
                    <a:pt x="4703" y="15859"/>
                  </a:cubicBezTo>
                  <a:lnTo>
                    <a:pt x="2946" y="15859"/>
                  </a:lnTo>
                  <a:cubicBezTo>
                    <a:pt x="1950" y="15938"/>
                    <a:pt x="1076" y="15198"/>
                    <a:pt x="994" y="14200"/>
                  </a:cubicBezTo>
                  <a:cubicBezTo>
                    <a:pt x="986" y="14080"/>
                    <a:pt x="986" y="13957"/>
                    <a:pt x="1002" y="13835"/>
                  </a:cubicBezTo>
                </a:path>
              </a:pathLst>
            </a:custGeom>
            <a:solidFill>
              <a:srgbClr val="8FDB42"/>
            </a:solidFill>
            <a:ln w="2661" cap="flat">
              <a:noFill/>
              <a:prstDash val="solid"/>
              <a:miter/>
            </a:ln>
          </p:spPr>
          <p:txBody>
            <a:bodyPr rtlCol="0" anchor="ctr"/>
            <a:lstStyle/>
            <a:p>
              <a:endParaRPr lang="pl-PL"/>
            </a:p>
          </p:txBody>
        </p:sp>
        <p:sp>
          <p:nvSpPr>
            <p:cNvPr id="148" name="Freeform: Shape 147">
              <a:extLst>
                <a:ext uri="{FF2B5EF4-FFF2-40B4-BE49-F238E27FC236}">
                  <a16:creationId xmlns:a16="http://schemas.microsoft.com/office/drawing/2014/main" id="{D847A09E-107F-4B48-88A1-E82D4539EC5A}"/>
                </a:ext>
              </a:extLst>
            </p:cNvPr>
            <p:cNvSpPr/>
            <p:nvPr/>
          </p:nvSpPr>
          <p:spPr>
            <a:xfrm>
              <a:off x="11809766" y="6742209"/>
              <a:ext cx="6552" cy="27380"/>
            </a:xfrm>
            <a:custGeom>
              <a:avLst/>
              <a:gdLst>
                <a:gd name="connsiteX0" fmla="*/ 991 w 11611"/>
                <a:gd name="connsiteY0" fmla="*/ 5352 h 48518"/>
                <a:gd name="connsiteX1" fmla="*/ 6689 w 11611"/>
                <a:gd name="connsiteY1" fmla="*/ -346 h 48518"/>
                <a:gd name="connsiteX2" fmla="*/ 6769 w 11611"/>
                <a:gd name="connsiteY2" fmla="*/ -346 h 48518"/>
                <a:gd name="connsiteX3" fmla="*/ 12600 w 11611"/>
                <a:gd name="connsiteY3" fmla="*/ 5352 h 48518"/>
                <a:gd name="connsiteX4" fmla="*/ 6769 w 11611"/>
                <a:gd name="connsiteY4" fmla="*/ 11263 h 48518"/>
                <a:gd name="connsiteX5" fmla="*/ 989 w 11611"/>
                <a:gd name="connsiteY5" fmla="*/ 5488 h 48518"/>
                <a:gd name="connsiteX6" fmla="*/ 991 w 11611"/>
                <a:gd name="connsiteY6" fmla="*/ 5352 h 48518"/>
                <a:gd name="connsiteX7" fmla="*/ 10710 w 11611"/>
                <a:gd name="connsiteY7" fmla="*/ 17521 h 48518"/>
                <a:gd name="connsiteX8" fmla="*/ 10710 w 11611"/>
                <a:gd name="connsiteY8" fmla="*/ 46144 h 48518"/>
                <a:gd name="connsiteX9" fmla="*/ 9019 w 11611"/>
                <a:gd name="connsiteY9" fmla="*/ 48165 h 48518"/>
                <a:gd name="connsiteX10" fmla="*/ 8713 w 11611"/>
                <a:gd name="connsiteY10" fmla="*/ 48167 h 48518"/>
                <a:gd name="connsiteX11" fmla="*/ 4000 w 11611"/>
                <a:gd name="connsiteY11" fmla="*/ 48167 h 48518"/>
                <a:gd name="connsiteX12" fmla="*/ 2001 w 11611"/>
                <a:gd name="connsiteY12" fmla="*/ 46450 h 48518"/>
                <a:gd name="connsiteX13" fmla="*/ 2003 w 11611"/>
                <a:gd name="connsiteY13" fmla="*/ 46144 h 48518"/>
                <a:gd name="connsiteX14" fmla="*/ 2003 w 11611"/>
                <a:gd name="connsiteY14" fmla="*/ 17600 h 48518"/>
                <a:gd name="connsiteX15" fmla="*/ 3665 w 11611"/>
                <a:gd name="connsiteY15" fmla="*/ 15603 h 48518"/>
                <a:gd name="connsiteX16" fmla="*/ 4000 w 11611"/>
                <a:gd name="connsiteY16" fmla="*/ 15603 h 48518"/>
                <a:gd name="connsiteX17" fmla="*/ 8713 w 11611"/>
                <a:gd name="connsiteY17" fmla="*/ 15603 h 48518"/>
                <a:gd name="connsiteX18" fmla="*/ 10710 w 11611"/>
                <a:gd name="connsiteY18" fmla="*/ 17265 h 48518"/>
                <a:gd name="connsiteX19" fmla="*/ 10710 w 11611"/>
                <a:gd name="connsiteY19" fmla="*/ 17600 h 48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11" h="48518">
                  <a:moveTo>
                    <a:pt x="991" y="5352"/>
                  </a:moveTo>
                  <a:cubicBezTo>
                    <a:pt x="991" y="2205"/>
                    <a:pt x="3542" y="-346"/>
                    <a:pt x="6689" y="-346"/>
                  </a:cubicBezTo>
                  <a:cubicBezTo>
                    <a:pt x="6716" y="-346"/>
                    <a:pt x="6743" y="-346"/>
                    <a:pt x="6769" y="-346"/>
                  </a:cubicBezTo>
                  <a:cubicBezTo>
                    <a:pt x="9938" y="-346"/>
                    <a:pt x="12529" y="2184"/>
                    <a:pt x="12600" y="5352"/>
                  </a:cubicBezTo>
                  <a:cubicBezTo>
                    <a:pt x="12600" y="8585"/>
                    <a:pt x="10002" y="11221"/>
                    <a:pt x="6769" y="11263"/>
                  </a:cubicBezTo>
                  <a:cubicBezTo>
                    <a:pt x="3579" y="11263"/>
                    <a:pt x="991" y="8678"/>
                    <a:pt x="989" y="5488"/>
                  </a:cubicBezTo>
                  <a:cubicBezTo>
                    <a:pt x="989" y="5443"/>
                    <a:pt x="991" y="5398"/>
                    <a:pt x="991" y="5352"/>
                  </a:cubicBezTo>
                  <a:moveTo>
                    <a:pt x="10710" y="17521"/>
                  </a:moveTo>
                  <a:lnTo>
                    <a:pt x="10710" y="46144"/>
                  </a:lnTo>
                  <a:cubicBezTo>
                    <a:pt x="10800" y="47169"/>
                    <a:pt x="10044" y="48074"/>
                    <a:pt x="9019" y="48165"/>
                  </a:cubicBezTo>
                  <a:cubicBezTo>
                    <a:pt x="8918" y="48175"/>
                    <a:pt x="8814" y="48175"/>
                    <a:pt x="8713" y="48167"/>
                  </a:cubicBezTo>
                  <a:lnTo>
                    <a:pt x="4000" y="48167"/>
                  </a:lnTo>
                  <a:cubicBezTo>
                    <a:pt x="2975" y="48244"/>
                    <a:pt x="2078" y="47475"/>
                    <a:pt x="2001" y="46450"/>
                  </a:cubicBezTo>
                  <a:cubicBezTo>
                    <a:pt x="1993" y="46349"/>
                    <a:pt x="1995" y="46245"/>
                    <a:pt x="2003" y="46144"/>
                  </a:cubicBezTo>
                  <a:lnTo>
                    <a:pt x="2003" y="17600"/>
                  </a:lnTo>
                  <a:cubicBezTo>
                    <a:pt x="1910" y="16591"/>
                    <a:pt x="2656" y="15697"/>
                    <a:pt x="3665" y="15603"/>
                  </a:cubicBezTo>
                  <a:cubicBezTo>
                    <a:pt x="3777" y="15593"/>
                    <a:pt x="3888" y="15593"/>
                    <a:pt x="4000" y="15603"/>
                  </a:cubicBezTo>
                  <a:lnTo>
                    <a:pt x="8713" y="15603"/>
                  </a:lnTo>
                  <a:cubicBezTo>
                    <a:pt x="9722" y="15510"/>
                    <a:pt x="10617" y="16256"/>
                    <a:pt x="10710" y="17265"/>
                  </a:cubicBezTo>
                  <a:cubicBezTo>
                    <a:pt x="10721" y="17377"/>
                    <a:pt x="10721" y="17489"/>
                    <a:pt x="10710" y="17600"/>
                  </a:cubicBezTo>
                </a:path>
              </a:pathLst>
            </a:custGeom>
            <a:solidFill>
              <a:srgbClr val="8FDB42"/>
            </a:solidFill>
            <a:ln w="2661" cap="flat">
              <a:noFill/>
              <a:prstDash val="solid"/>
              <a:miter/>
            </a:ln>
          </p:spPr>
          <p:txBody>
            <a:bodyPr rtlCol="0" anchor="ctr"/>
            <a:lstStyle/>
            <a:p>
              <a:endParaRPr lang="pl-PL"/>
            </a:p>
          </p:txBody>
        </p:sp>
        <p:sp>
          <p:nvSpPr>
            <p:cNvPr id="149" name="Freeform: Shape 148">
              <a:extLst>
                <a:ext uri="{FF2B5EF4-FFF2-40B4-BE49-F238E27FC236}">
                  <a16:creationId xmlns:a16="http://schemas.microsoft.com/office/drawing/2014/main" id="{F6B34504-272A-49B9-9774-7F41DE82085F}"/>
                </a:ext>
              </a:extLst>
            </p:cNvPr>
            <p:cNvSpPr/>
            <p:nvPr/>
          </p:nvSpPr>
          <p:spPr>
            <a:xfrm>
              <a:off x="11818135" y="6751161"/>
              <a:ext cx="19391" cy="18427"/>
            </a:xfrm>
            <a:custGeom>
              <a:avLst/>
              <a:gdLst>
                <a:gd name="connsiteX0" fmla="*/ 3041 w 34361"/>
                <a:gd name="connsiteY0" fmla="*/ -340 h 32653"/>
                <a:gd name="connsiteX1" fmla="*/ 8766 w 34361"/>
                <a:gd name="connsiteY1" fmla="*/ -340 h 32653"/>
                <a:gd name="connsiteX2" fmla="*/ 11029 w 34361"/>
                <a:gd name="connsiteY2" fmla="*/ 1364 h 32653"/>
                <a:gd name="connsiteX3" fmla="*/ 17606 w 34361"/>
                <a:gd name="connsiteY3" fmla="*/ 22665 h 32653"/>
                <a:gd name="connsiteX4" fmla="*/ 19257 w 34361"/>
                <a:gd name="connsiteY4" fmla="*/ 22665 h 32653"/>
                <a:gd name="connsiteX5" fmla="*/ 26020 w 34361"/>
                <a:gd name="connsiteY5" fmla="*/ 1364 h 32653"/>
                <a:gd name="connsiteX6" fmla="*/ 28230 w 34361"/>
                <a:gd name="connsiteY6" fmla="*/ -340 h 32653"/>
                <a:gd name="connsiteX7" fmla="*/ 33555 w 34361"/>
                <a:gd name="connsiteY7" fmla="*/ -340 h 32653"/>
                <a:gd name="connsiteX8" fmla="*/ 35179 w 34361"/>
                <a:gd name="connsiteY8" fmla="*/ 1976 h 32653"/>
                <a:gd name="connsiteX9" fmla="*/ 23623 w 34361"/>
                <a:gd name="connsiteY9" fmla="*/ 30546 h 32653"/>
                <a:gd name="connsiteX10" fmla="*/ 20961 w 34361"/>
                <a:gd name="connsiteY10" fmla="*/ 32304 h 32653"/>
                <a:gd name="connsiteX11" fmla="*/ 15130 w 34361"/>
                <a:gd name="connsiteY11" fmla="*/ 32304 h 32653"/>
                <a:gd name="connsiteX12" fmla="*/ 12467 w 34361"/>
                <a:gd name="connsiteY12" fmla="*/ 30546 h 32653"/>
                <a:gd name="connsiteX13" fmla="*/ 1178 w 34361"/>
                <a:gd name="connsiteY13" fmla="*/ 1923 h 32653"/>
                <a:gd name="connsiteX14" fmla="*/ 2748 w 34361"/>
                <a:gd name="connsiteY14" fmla="*/ -340 h 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361" h="32653">
                  <a:moveTo>
                    <a:pt x="3041" y="-340"/>
                  </a:moveTo>
                  <a:lnTo>
                    <a:pt x="8766" y="-340"/>
                  </a:lnTo>
                  <a:cubicBezTo>
                    <a:pt x="9839" y="-417"/>
                    <a:pt x="10806" y="310"/>
                    <a:pt x="11029" y="1364"/>
                  </a:cubicBezTo>
                  <a:lnTo>
                    <a:pt x="17606" y="22665"/>
                  </a:lnTo>
                  <a:cubicBezTo>
                    <a:pt x="18005" y="23757"/>
                    <a:pt x="18884" y="23757"/>
                    <a:pt x="19257" y="22665"/>
                  </a:cubicBezTo>
                  <a:lnTo>
                    <a:pt x="26020" y="1364"/>
                  </a:lnTo>
                  <a:cubicBezTo>
                    <a:pt x="26230" y="326"/>
                    <a:pt x="27173" y="-401"/>
                    <a:pt x="28230" y="-340"/>
                  </a:cubicBezTo>
                  <a:lnTo>
                    <a:pt x="33555" y="-340"/>
                  </a:lnTo>
                  <a:cubicBezTo>
                    <a:pt x="35046" y="-340"/>
                    <a:pt x="35685" y="592"/>
                    <a:pt x="35179" y="1976"/>
                  </a:cubicBezTo>
                  <a:lnTo>
                    <a:pt x="23623" y="30546"/>
                  </a:lnTo>
                  <a:cubicBezTo>
                    <a:pt x="23224" y="31657"/>
                    <a:pt x="22140" y="32373"/>
                    <a:pt x="20961" y="32304"/>
                  </a:cubicBezTo>
                  <a:lnTo>
                    <a:pt x="15130" y="32304"/>
                  </a:lnTo>
                  <a:cubicBezTo>
                    <a:pt x="13950" y="32373"/>
                    <a:pt x="12866" y="31657"/>
                    <a:pt x="12467" y="30546"/>
                  </a:cubicBezTo>
                  <a:lnTo>
                    <a:pt x="1178" y="1923"/>
                  </a:lnTo>
                  <a:cubicBezTo>
                    <a:pt x="672" y="592"/>
                    <a:pt x="1178" y="-340"/>
                    <a:pt x="2748" y="-340"/>
                  </a:cubicBezTo>
                </a:path>
              </a:pathLst>
            </a:custGeom>
            <a:solidFill>
              <a:srgbClr val="8FDB42"/>
            </a:solidFill>
            <a:ln w="2661" cap="flat">
              <a:noFill/>
              <a:prstDash val="solid"/>
              <a:miter/>
            </a:ln>
          </p:spPr>
          <p:txBody>
            <a:bodyPr rtlCol="0" anchor="ctr"/>
            <a:lstStyle/>
            <a:p>
              <a:endParaRPr lang="pl-PL"/>
            </a:p>
          </p:txBody>
        </p:sp>
        <p:sp>
          <p:nvSpPr>
            <p:cNvPr id="150" name="Freeform: Shape 149">
              <a:extLst>
                <a:ext uri="{FF2B5EF4-FFF2-40B4-BE49-F238E27FC236}">
                  <a16:creationId xmlns:a16="http://schemas.microsoft.com/office/drawing/2014/main" id="{7DAB1B58-03D1-418A-9481-8732C7119CAD}"/>
                </a:ext>
              </a:extLst>
            </p:cNvPr>
            <p:cNvSpPr/>
            <p:nvPr/>
          </p:nvSpPr>
          <p:spPr>
            <a:xfrm>
              <a:off x="11839093" y="6750822"/>
              <a:ext cx="18454" cy="19157"/>
            </a:xfrm>
            <a:custGeom>
              <a:avLst/>
              <a:gdLst>
                <a:gd name="connsiteX0" fmla="*/ 17931 w 32701"/>
                <a:gd name="connsiteY0" fmla="*/ -324 h 33946"/>
                <a:gd name="connsiteX1" fmla="*/ 33689 w 32701"/>
                <a:gd name="connsiteY1" fmla="*/ 15867 h 33946"/>
                <a:gd name="connsiteX2" fmla="*/ 33614 w 32701"/>
                <a:gd name="connsiteY2" fmla="*/ 17196 h 33946"/>
                <a:gd name="connsiteX3" fmla="*/ 31809 w 32701"/>
                <a:gd name="connsiteY3" fmla="*/ 19012 h 33946"/>
                <a:gd name="connsiteX4" fmla="*/ 31670 w 32701"/>
                <a:gd name="connsiteY4" fmla="*/ 19006 h 33946"/>
                <a:gd name="connsiteX5" fmla="*/ 11568 w 32701"/>
                <a:gd name="connsiteY5" fmla="*/ 19006 h 33946"/>
                <a:gd name="connsiteX6" fmla="*/ 10130 w 32701"/>
                <a:gd name="connsiteY6" fmla="*/ 20950 h 33946"/>
                <a:gd name="connsiteX7" fmla="*/ 18118 w 32701"/>
                <a:gd name="connsiteY7" fmla="*/ 26488 h 33946"/>
                <a:gd name="connsiteX8" fmla="*/ 24455 w 32701"/>
                <a:gd name="connsiteY8" fmla="*/ 23613 h 33946"/>
                <a:gd name="connsiteX9" fmla="*/ 26771 w 32701"/>
                <a:gd name="connsiteY9" fmla="*/ 22148 h 33946"/>
                <a:gd name="connsiteX10" fmla="*/ 31058 w 32701"/>
                <a:gd name="connsiteY10" fmla="*/ 22148 h 33946"/>
                <a:gd name="connsiteX11" fmla="*/ 32789 w 32701"/>
                <a:gd name="connsiteY11" fmla="*/ 24358 h 33946"/>
                <a:gd name="connsiteX12" fmla="*/ 18118 w 32701"/>
                <a:gd name="connsiteY12" fmla="*/ 33571 h 33946"/>
                <a:gd name="connsiteX13" fmla="*/ 994 w 32701"/>
                <a:gd name="connsiteY13" fmla="*/ 17371 h 33946"/>
                <a:gd name="connsiteX14" fmla="*/ 997 w 32701"/>
                <a:gd name="connsiteY14" fmla="*/ 16370 h 33946"/>
                <a:gd name="connsiteX15" fmla="*/ 16866 w 32701"/>
                <a:gd name="connsiteY15" fmla="*/ -340 h 33946"/>
                <a:gd name="connsiteX16" fmla="*/ 18118 w 32701"/>
                <a:gd name="connsiteY16" fmla="*/ -324 h 33946"/>
                <a:gd name="connsiteX17" fmla="*/ 12020 w 32701"/>
                <a:gd name="connsiteY17" fmla="*/ 13362 h 33946"/>
                <a:gd name="connsiteX18" fmla="*/ 23257 w 32701"/>
                <a:gd name="connsiteY18" fmla="*/ 13362 h 33946"/>
                <a:gd name="connsiteX19" fmla="*/ 24774 w 32701"/>
                <a:gd name="connsiteY19" fmla="*/ 11365 h 33946"/>
                <a:gd name="connsiteX20" fmla="*/ 17984 w 32701"/>
                <a:gd name="connsiteY20" fmla="*/ 6705 h 33946"/>
                <a:gd name="connsiteX21" fmla="*/ 10582 w 32701"/>
                <a:gd name="connsiteY21" fmla="*/ 11285 h 33946"/>
                <a:gd name="connsiteX22" fmla="*/ 12020 w 32701"/>
                <a:gd name="connsiteY22" fmla="*/ 13362 h 3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701" h="33946">
                  <a:moveTo>
                    <a:pt x="17931" y="-324"/>
                  </a:moveTo>
                  <a:cubicBezTo>
                    <a:pt x="26753" y="-204"/>
                    <a:pt x="33809" y="7046"/>
                    <a:pt x="33689" y="15867"/>
                  </a:cubicBezTo>
                  <a:cubicBezTo>
                    <a:pt x="33681" y="16312"/>
                    <a:pt x="33657" y="16754"/>
                    <a:pt x="33614" y="17196"/>
                  </a:cubicBezTo>
                  <a:cubicBezTo>
                    <a:pt x="33617" y="18197"/>
                    <a:pt x="32807" y="19009"/>
                    <a:pt x="31809" y="19012"/>
                  </a:cubicBezTo>
                  <a:cubicBezTo>
                    <a:pt x="31764" y="19012"/>
                    <a:pt x="31716" y="19009"/>
                    <a:pt x="31670" y="19006"/>
                  </a:cubicBezTo>
                  <a:lnTo>
                    <a:pt x="11568" y="19006"/>
                  </a:lnTo>
                  <a:cubicBezTo>
                    <a:pt x="10369" y="19006"/>
                    <a:pt x="9624" y="19778"/>
                    <a:pt x="10130" y="20950"/>
                  </a:cubicBezTo>
                  <a:cubicBezTo>
                    <a:pt x="11272" y="24361"/>
                    <a:pt x="14523" y="26616"/>
                    <a:pt x="18118" y="26488"/>
                  </a:cubicBezTo>
                  <a:cubicBezTo>
                    <a:pt x="20589" y="26709"/>
                    <a:pt x="22996" y="25618"/>
                    <a:pt x="24455" y="23613"/>
                  </a:cubicBezTo>
                  <a:cubicBezTo>
                    <a:pt x="24897" y="22734"/>
                    <a:pt x="25789" y="22172"/>
                    <a:pt x="26771" y="22148"/>
                  </a:cubicBezTo>
                  <a:lnTo>
                    <a:pt x="31058" y="22148"/>
                  </a:lnTo>
                  <a:cubicBezTo>
                    <a:pt x="32416" y="22148"/>
                    <a:pt x="33295" y="23027"/>
                    <a:pt x="32789" y="24358"/>
                  </a:cubicBezTo>
                  <a:cubicBezTo>
                    <a:pt x="30387" y="30264"/>
                    <a:pt x="24479" y="33973"/>
                    <a:pt x="18118" y="33571"/>
                  </a:cubicBezTo>
                  <a:cubicBezTo>
                    <a:pt x="8916" y="33826"/>
                    <a:pt x="1250" y="26573"/>
                    <a:pt x="994" y="17371"/>
                  </a:cubicBezTo>
                  <a:cubicBezTo>
                    <a:pt x="986" y="17036"/>
                    <a:pt x="986" y="16703"/>
                    <a:pt x="997" y="16370"/>
                  </a:cubicBezTo>
                  <a:cubicBezTo>
                    <a:pt x="765" y="7373"/>
                    <a:pt x="7869" y="-109"/>
                    <a:pt x="16866" y="-340"/>
                  </a:cubicBezTo>
                  <a:cubicBezTo>
                    <a:pt x="17284" y="-351"/>
                    <a:pt x="17700" y="-346"/>
                    <a:pt x="18118" y="-324"/>
                  </a:cubicBezTo>
                  <a:moveTo>
                    <a:pt x="12020" y="13362"/>
                  </a:moveTo>
                  <a:lnTo>
                    <a:pt x="23257" y="13362"/>
                  </a:lnTo>
                  <a:cubicBezTo>
                    <a:pt x="24508" y="13362"/>
                    <a:pt x="25280" y="12616"/>
                    <a:pt x="24774" y="11365"/>
                  </a:cubicBezTo>
                  <a:cubicBezTo>
                    <a:pt x="23707" y="8545"/>
                    <a:pt x="20999" y="6686"/>
                    <a:pt x="17984" y="6705"/>
                  </a:cubicBezTo>
                  <a:cubicBezTo>
                    <a:pt x="14859" y="6737"/>
                    <a:pt x="12007" y="8502"/>
                    <a:pt x="10582" y="11285"/>
                  </a:cubicBezTo>
                  <a:cubicBezTo>
                    <a:pt x="10023" y="12483"/>
                    <a:pt x="10716" y="13362"/>
                    <a:pt x="12020" y="13362"/>
                  </a:cubicBezTo>
                </a:path>
              </a:pathLst>
            </a:custGeom>
            <a:solidFill>
              <a:srgbClr val="8FDB42"/>
            </a:solidFill>
            <a:ln w="2661" cap="flat">
              <a:noFill/>
              <a:prstDash val="solid"/>
              <a:miter/>
            </a:ln>
          </p:spPr>
          <p:txBody>
            <a:bodyPr rtlCol="0" anchor="ctr"/>
            <a:lstStyle/>
            <a:p>
              <a:endParaRPr lang="pl-PL"/>
            </a:p>
          </p:txBody>
        </p:sp>
        <p:sp>
          <p:nvSpPr>
            <p:cNvPr id="151" name="Freeform: Shape 150">
              <a:extLst>
                <a:ext uri="{FF2B5EF4-FFF2-40B4-BE49-F238E27FC236}">
                  <a16:creationId xmlns:a16="http://schemas.microsoft.com/office/drawing/2014/main" id="{2B95FE30-C1C0-49A4-970A-B90506753BEE}"/>
                </a:ext>
              </a:extLst>
            </p:cNvPr>
            <p:cNvSpPr/>
            <p:nvPr/>
          </p:nvSpPr>
          <p:spPr>
            <a:xfrm>
              <a:off x="11575064" y="6784526"/>
              <a:ext cx="208318" cy="27505"/>
            </a:xfrm>
            <a:custGeom>
              <a:avLst/>
              <a:gdLst>
                <a:gd name="connsiteX0" fmla="*/ 2220 w 369143"/>
                <a:gd name="connsiteY0" fmla="*/ 48333 h 48740"/>
                <a:gd name="connsiteX1" fmla="*/ 4004 w 369143"/>
                <a:gd name="connsiteY1" fmla="*/ 48333 h 48740"/>
                <a:gd name="connsiteX2" fmla="*/ 5226 w 369143"/>
                <a:gd name="connsiteY2" fmla="*/ 47390 h 48740"/>
                <a:gd name="connsiteX3" fmla="*/ 5229 w 369143"/>
                <a:gd name="connsiteY3" fmla="*/ 47135 h 48740"/>
                <a:gd name="connsiteX4" fmla="*/ 5229 w 369143"/>
                <a:gd name="connsiteY4" fmla="*/ 37043 h 48740"/>
                <a:gd name="connsiteX5" fmla="*/ 7172 w 369143"/>
                <a:gd name="connsiteY5" fmla="*/ 36165 h 48740"/>
                <a:gd name="connsiteX6" fmla="*/ 14202 w 369143"/>
                <a:gd name="connsiteY6" fmla="*/ 38109 h 48740"/>
                <a:gd name="connsiteX7" fmla="*/ 26961 w 369143"/>
                <a:gd name="connsiteY7" fmla="*/ 25096 h 48740"/>
                <a:gd name="connsiteX8" fmla="*/ 26955 w 369143"/>
                <a:gd name="connsiteY8" fmla="*/ 24795 h 48740"/>
                <a:gd name="connsiteX9" fmla="*/ 14444 w 369143"/>
                <a:gd name="connsiteY9" fmla="*/ 11751 h 48740"/>
                <a:gd name="connsiteX10" fmla="*/ 14281 w 369143"/>
                <a:gd name="connsiteY10" fmla="*/ 11749 h 48740"/>
                <a:gd name="connsiteX11" fmla="*/ 6533 w 369143"/>
                <a:gd name="connsiteY11" fmla="*/ 14198 h 48740"/>
                <a:gd name="connsiteX12" fmla="*/ 4403 w 369143"/>
                <a:gd name="connsiteY12" fmla="*/ 13453 h 48740"/>
                <a:gd name="connsiteX13" fmla="*/ 4403 w 369143"/>
                <a:gd name="connsiteY13" fmla="*/ 13453 h 48740"/>
                <a:gd name="connsiteX14" fmla="*/ 3098 w 369143"/>
                <a:gd name="connsiteY14" fmla="*/ 12334 h 48740"/>
                <a:gd name="connsiteX15" fmla="*/ 2220 w 369143"/>
                <a:gd name="connsiteY15" fmla="*/ 12334 h 48740"/>
                <a:gd name="connsiteX16" fmla="*/ 998 w 369143"/>
                <a:gd name="connsiteY16" fmla="*/ 13277 h 48740"/>
                <a:gd name="connsiteX17" fmla="*/ 995 w 369143"/>
                <a:gd name="connsiteY17" fmla="*/ 13533 h 48740"/>
                <a:gd name="connsiteX18" fmla="*/ 995 w 369143"/>
                <a:gd name="connsiteY18" fmla="*/ 47135 h 48740"/>
                <a:gd name="connsiteX19" fmla="*/ 1964 w 369143"/>
                <a:gd name="connsiteY19" fmla="*/ 48336 h 48740"/>
                <a:gd name="connsiteX20" fmla="*/ 2220 w 369143"/>
                <a:gd name="connsiteY20" fmla="*/ 48333 h 48740"/>
                <a:gd name="connsiteX21" fmla="*/ 5575 w 369143"/>
                <a:gd name="connsiteY21" fmla="*/ 27991 h 48740"/>
                <a:gd name="connsiteX22" fmla="*/ 5575 w 369143"/>
                <a:gd name="connsiteY22" fmla="*/ 21920 h 48740"/>
                <a:gd name="connsiteX23" fmla="*/ 6107 w 369143"/>
                <a:gd name="connsiteY23" fmla="*/ 19816 h 48740"/>
                <a:gd name="connsiteX24" fmla="*/ 13749 w 369143"/>
                <a:gd name="connsiteY24" fmla="*/ 15769 h 48740"/>
                <a:gd name="connsiteX25" fmla="*/ 22269 w 369143"/>
                <a:gd name="connsiteY25" fmla="*/ 24875 h 48740"/>
                <a:gd name="connsiteX26" fmla="*/ 13749 w 369143"/>
                <a:gd name="connsiteY26" fmla="*/ 34195 h 48740"/>
                <a:gd name="connsiteX27" fmla="*/ 6107 w 369143"/>
                <a:gd name="connsiteY27" fmla="*/ 30094 h 48740"/>
                <a:gd name="connsiteX28" fmla="*/ 5575 w 369143"/>
                <a:gd name="connsiteY28" fmla="*/ 27991 h 48740"/>
                <a:gd name="connsiteX29" fmla="*/ 36967 w 369143"/>
                <a:gd name="connsiteY29" fmla="*/ -340 h 48740"/>
                <a:gd name="connsiteX30" fmla="*/ 34837 w 369143"/>
                <a:gd name="connsiteY30" fmla="*/ -340 h 48740"/>
                <a:gd name="connsiteX31" fmla="*/ 33612 w 369143"/>
                <a:gd name="connsiteY31" fmla="*/ 662 h 48740"/>
                <a:gd name="connsiteX32" fmla="*/ 33612 w 369143"/>
                <a:gd name="connsiteY32" fmla="*/ 885 h 48740"/>
                <a:gd name="connsiteX33" fmla="*/ 33612 w 369143"/>
                <a:gd name="connsiteY33" fmla="*/ 36431 h 48740"/>
                <a:gd name="connsiteX34" fmla="*/ 34581 w 369143"/>
                <a:gd name="connsiteY34" fmla="*/ 37632 h 48740"/>
                <a:gd name="connsiteX35" fmla="*/ 34837 w 369143"/>
                <a:gd name="connsiteY35" fmla="*/ 37629 h 48740"/>
                <a:gd name="connsiteX36" fmla="*/ 36967 w 369143"/>
                <a:gd name="connsiteY36" fmla="*/ 37629 h 48740"/>
                <a:gd name="connsiteX37" fmla="*/ 38189 w 369143"/>
                <a:gd name="connsiteY37" fmla="*/ 36687 h 48740"/>
                <a:gd name="connsiteX38" fmla="*/ 38192 w 369143"/>
                <a:gd name="connsiteY38" fmla="*/ 36431 h 48740"/>
                <a:gd name="connsiteX39" fmla="*/ 38192 w 369143"/>
                <a:gd name="connsiteY39" fmla="*/ 885 h 48740"/>
                <a:gd name="connsiteX40" fmla="*/ 37191 w 369143"/>
                <a:gd name="connsiteY40" fmla="*/ -340 h 48740"/>
                <a:gd name="connsiteX41" fmla="*/ 36967 w 369143"/>
                <a:gd name="connsiteY41" fmla="*/ -340 h 48740"/>
                <a:gd name="connsiteX42" fmla="*/ 44768 w 369143"/>
                <a:gd name="connsiteY42" fmla="*/ 30680 h 48740"/>
                <a:gd name="connsiteX43" fmla="*/ 52485 w 369143"/>
                <a:gd name="connsiteY43" fmla="*/ 38141 h 48740"/>
                <a:gd name="connsiteX44" fmla="*/ 53049 w 369143"/>
                <a:gd name="connsiteY44" fmla="*/ 38109 h 48740"/>
                <a:gd name="connsiteX45" fmla="*/ 61756 w 369143"/>
                <a:gd name="connsiteY45" fmla="*/ 35446 h 48740"/>
                <a:gd name="connsiteX46" fmla="*/ 63992 w 369143"/>
                <a:gd name="connsiteY46" fmla="*/ 36218 h 48740"/>
                <a:gd name="connsiteX47" fmla="*/ 64152 w 369143"/>
                <a:gd name="connsiteY47" fmla="*/ 36724 h 48740"/>
                <a:gd name="connsiteX48" fmla="*/ 65510 w 369143"/>
                <a:gd name="connsiteY48" fmla="*/ 37736 h 48740"/>
                <a:gd name="connsiteX49" fmla="*/ 66096 w 369143"/>
                <a:gd name="connsiteY49" fmla="*/ 37736 h 48740"/>
                <a:gd name="connsiteX50" fmla="*/ 67294 w 369143"/>
                <a:gd name="connsiteY50" fmla="*/ 36761 h 48740"/>
                <a:gd name="connsiteX51" fmla="*/ 67294 w 369143"/>
                <a:gd name="connsiteY51" fmla="*/ 36538 h 48740"/>
                <a:gd name="connsiteX52" fmla="*/ 67294 w 369143"/>
                <a:gd name="connsiteY52" fmla="*/ 22905 h 48740"/>
                <a:gd name="connsiteX53" fmla="*/ 56644 w 369143"/>
                <a:gd name="connsiteY53" fmla="*/ 11935 h 48740"/>
                <a:gd name="connsiteX54" fmla="*/ 45993 w 369143"/>
                <a:gd name="connsiteY54" fmla="*/ 19497 h 48740"/>
                <a:gd name="connsiteX55" fmla="*/ 46712 w 369143"/>
                <a:gd name="connsiteY55" fmla="*/ 20778 h 48740"/>
                <a:gd name="connsiteX56" fmla="*/ 47165 w 369143"/>
                <a:gd name="connsiteY56" fmla="*/ 20802 h 48740"/>
                <a:gd name="connsiteX57" fmla="*/ 49055 w 369143"/>
                <a:gd name="connsiteY57" fmla="*/ 20802 h 48740"/>
                <a:gd name="connsiteX58" fmla="*/ 50386 w 369143"/>
                <a:gd name="connsiteY58" fmla="*/ 19736 h 48740"/>
                <a:gd name="connsiteX59" fmla="*/ 56510 w 369143"/>
                <a:gd name="connsiteY59" fmla="*/ 15929 h 48740"/>
                <a:gd name="connsiteX60" fmla="*/ 62938 w 369143"/>
                <a:gd name="connsiteY60" fmla="*/ 20791 h 48740"/>
                <a:gd name="connsiteX61" fmla="*/ 62981 w 369143"/>
                <a:gd name="connsiteY61" fmla="*/ 21920 h 48740"/>
                <a:gd name="connsiteX62" fmla="*/ 61277 w 369143"/>
                <a:gd name="connsiteY62" fmla="*/ 23491 h 48740"/>
                <a:gd name="connsiteX63" fmla="*/ 55632 w 369143"/>
                <a:gd name="connsiteY63" fmla="*/ 23491 h 48740"/>
                <a:gd name="connsiteX64" fmla="*/ 44981 w 369143"/>
                <a:gd name="connsiteY64" fmla="*/ 30840 h 48740"/>
                <a:gd name="connsiteX65" fmla="*/ 49561 w 369143"/>
                <a:gd name="connsiteY65" fmla="*/ 30840 h 48740"/>
                <a:gd name="connsiteX66" fmla="*/ 55792 w 369143"/>
                <a:gd name="connsiteY66" fmla="*/ 27325 h 48740"/>
                <a:gd name="connsiteX67" fmla="*/ 61330 w 369143"/>
                <a:gd name="connsiteY67" fmla="*/ 27325 h 48740"/>
                <a:gd name="connsiteX68" fmla="*/ 63034 w 369143"/>
                <a:gd name="connsiteY68" fmla="*/ 28691 h 48740"/>
                <a:gd name="connsiteX69" fmla="*/ 63034 w 369143"/>
                <a:gd name="connsiteY69" fmla="*/ 29029 h 48740"/>
                <a:gd name="connsiteX70" fmla="*/ 63034 w 369143"/>
                <a:gd name="connsiteY70" fmla="*/ 29535 h 48740"/>
                <a:gd name="connsiteX71" fmla="*/ 62022 w 369143"/>
                <a:gd name="connsiteY71" fmla="*/ 31585 h 48740"/>
                <a:gd name="connsiteX72" fmla="*/ 54274 w 369143"/>
                <a:gd name="connsiteY72" fmla="*/ 34248 h 48740"/>
                <a:gd name="connsiteX73" fmla="*/ 49561 w 369143"/>
                <a:gd name="connsiteY73" fmla="*/ 30733 h 48740"/>
                <a:gd name="connsiteX74" fmla="*/ 76826 w 369143"/>
                <a:gd name="connsiteY74" fmla="*/ 37789 h 48740"/>
                <a:gd name="connsiteX75" fmla="*/ 78956 w 369143"/>
                <a:gd name="connsiteY75" fmla="*/ 37789 h 48740"/>
                <a:gd name="connsiteX76" fmla="*/ 80179 w 369143"/>
                <a:gd name="connsiteY76" fmla="*/ 36846 h 48740"/>
                <a:gd name="connsiteX77" fmla="*/ 80181 w 369143"/>
                <a:gd name="connsiteY77" fmla="*/ 36591 h 48740"/>
                <a:gd name="connsiteX78" fmla="*/ 80181 w 369143"/>
                <a:gd name="connsiteY78" fmla="*/ 20988 h 48740"/>
                <a:gd name="connsiteX79" fmla="*/ 81299 w 369143"/>
                <a:gd name="connsiteY79" fmla="*/ 18964 h 48740"/>
                <a:gd name="connsiteX80" fmla="*/ 89580 w 369143"/>
                <a:gd name="connsiteY80" fmla="*/ 16035 h 48740"/>
                <a:gd name="connsiteX81" fmla="*/ 95140 w 369143"/>
                <a:gd name="connsiteY81" fmla="*/ 20658 h 48740"/>
                <a:gd name="connsiteX82" fmla="*/ 95118 w 369143"/>
                <a:gd name="connsiteY82" fmla="*/ 21787 h 48740"/>
                <a:gd name="connsiteX83" fmla="*/ 95118 w 369143"/>
                <a:gd name="connsiteY83" fmla="*/ 36591 h 48740"/>
                <a:gd name="connsiteX84" fmla="*/ 96088 w 369143"/>
                <a:gd name="connsiteY84" fmla="*/ 37792 h 48740"/>
                <a:gd name="connsiteX85" fmla="*/ 96343 w 369143"/>
                <a:gd name="connsiteY85" fmla="*/ 37789 h 48740"/>
                <a:gd name="connsiteX86" fmla="*/ 98473 w 369143"/>
                <a:gd name="connsiteY86" fmla="*/ 37789 h 48740"/>
                <a:gd name="connsiteX87" fmla="*/ 99696 w 369143"/>
                <a:gd name="connsiteY87" fmla="*/ 36846 h 48740"/>
                <a:gd name="connsiteX88" fmla="*/ 99698 w 369143"/>
                <a:gd name="connsiteY88" fmla="*/ 36591 h 48740"/>
                <a:gd name="connsiteX89" fmla="*/ 99698 w 369143"/>
                <a:gd name="connsiteY89" fmla="*/ 21574 h 48740"/>
                <a:gd name="connsiteX90" fmla="*/ 90885 w 369143"/>
                <a:gd name="connsiteY90" fmla="*/ 11988 h 48740"/>
                <a:gd name="connsiteX91" fmla="*/ 81326 w 369143"/>
                <a:gd name="connsiteY91" fmla="*/ 14811 h 48740"/>
                <a:gd name="connsiteX92" fmla="*/ 79143 w 369143"/>
                <a:gd name="connsiteY92" fmla="*/ 13932 h 48740"/>
                <a:gd name="connsiteX93" fmla="*/ 79143 w 369143"/>
                <a:gd name="connsiteY93" fmla="*/ 13559 h 48740"/>
                <a:gd name="connsiteX94" fmla="*/ 77758 w 369143"/>
                <a:gd name="connsiteY94" fmla="*/ 12494 h 48740"/>
                <a:gd name="connsiteX95" fmla="*/ 76906 w 369143"/>
                <a:gd name="connsiteY95" fmla="*/ 12494 h 48740"/>
                <a:gd name="connsiteX96" fmla="*/ 75684 w 369143"/>
                <a:gd name="connsiteY96" fmla="*/ 13437 h 48740"/>
                <a:gd name="connsiteX97" fmla="*/ 75681 w 369143"/>
                <a:gd name="connsiteY97" fmla="*/ 13692 h 48740"/>
                <a:gd name="connsiteX98" fmla="*/ 75681 w 369143"/>
                <a:gd name="connsiteY98" fmla="*/ 36591 h 48740"/>
                <a:gd name="connsiteX99" fmla="*/ 76651 w 369143"/>
                <a:gd name="connsiteY99" fmla="*/ 37792 h 48740"/>
                <a:gd name="connsiteX100" fmla="*/ 76906 w 369143"/>
                <a:gd name="connsiteY100" fmla="*/ 37789 h 48740"/>
                <a:gd name="connsiteX101" fmla="*/ 106195 w 369143"/>
                <a:gd name="connsiteY101" fmla="*/ 24982 h 48740"/>
                <a:gd name="connsiteX102" fmla="*/ 118323 w 369143"/>
                <a:gd name="connsiteY102" fmla="*/ 38282 h 48740"/>
                <a:gd name="connsiteX103" fmla="*/ 119055 w 369143"/>
                <a:gd name="connsiteY103" fmla="*/ 38295 h 48740"/>
                <a:gd name="connsiteX104" fmla="*/ 129945 w 369143"/>
                <a:gd name="connsiteY104" fmla="*/ 31212 h 48740"/>
                <a:gd name="connsiteX105" fmla="*/ 128880 w 369143"/>
                <a:gd name="connsiteY105" fmla="*/ 29828 h 48740"/>
                <a:gd name="connsiteX106" fmla="*/ 127043 w 369143"/>
                <a:gd name="connsiteY106" fmla="*/ 29828 h 48740"/>
                <a:gd name="connsiteX107" fmla="*/ 125632 w 369143"/>
                <a:gd name="connsiteY107" fmla="*/ 30813 h 48740"/>
                <a:gd name="connsiteX108" fmla="*/ 119055 w 369143"/>
                <a:gd name="connsiteY108" fmla="*/ 34381 h 48740"/>
                <a:gd name="connsiteX109" fmla="*/ 111068 w 369143"/>
                <a:gd name="connsiteY109" fmla="*/ 28177 h 48740"/>
                <a:gd name="connsiteX110" fmla="*/ 112638 w 369143"/>
                <a:gd name="connsiteY110" fmla="*/ 26340 h 48740"/>
                <a:gd name="connsiteX111" fmla="*/ 129173 w 369143"/>
                <a:gd name="connsiteY111" fmla="*/ 26340 h 48740"/>
                <a:gd name="connsiteX112" fmla="*/ 130821 w 369143"/>
                <a:gd name="connsiteY112" fmla="*/ 24905 h 48740"/>
                <a:gd name="connsiteX113" fmla="*/ 130824 w 369143"/>
                <a:gd name="connsiteY113" fmla="*/ 24769 h 48740"/>
                <a:gd name="connsiteX114" fmla="*/ 119372 w 369143"/>
                <a:gd name="connsiteY114" fmla="*/ 11975 h 48740"/>
                <a:gd name="connsiteX115" fmla="*/ 119055 w 369143"/>
                <a:gd name="connsiteY115" fmla="*/ 11962 h 48740"/>
                <a:gd name="connsiteX116" fmla="*/ 106245 w 369143"/>
                <a:gd name="connsiteY116" fmla="*/ 24444 h 48740"/>
                <a:gd name="connsiteX117" fmla="*/ 106248 w 369143"/>
                <a:gd name="connsiteY117" fmla="*/ 24955 h 48740"/>
                <a:gd name="connsiteX118" fmla="*/ 111707 w 369143"/>
                <a:gd name="connsiteY118" fmla="*/ 20535 h 48740"/>
                <a:gd name="connsiteX119" fmla="*/ 119002 w 369143"/>
                <a:gd name="connsiteY119" fmla="*/ 15849 h 48740"/>
                <a:gd name="connsiteX120" fmla="*/ 125792 w 369143"/>
                <a:gd name="connsiteY120" fmla="*/ 20589 h 48740"/>
                <a:gd name="connsiteX121" fmla="*/ 124327 w 369143"/>
                <a:gd name="connsiteY121" fmla="*/ 22532 h 48740"/>
                <a:gd name="connsiteX122" fmla="*/ 113065 w 369143"/>
                <a:gd name="connsiteY122" fmla="*/ 22532 h 48740"/>
                <a:gd name="connsiteX123" fmla="*/ 111707 w 369143"/>
                <a:gd name="connsiteY123" fmla="*/ 20589 h 48740"/>
                <a:gd name="connsiteX124" fmla="*/ 135670 w 369143"/>
                <a:gd name="connsiteY124" fmla="*/ 16408 h 48740"/>
                <a:gd name="connsiteX125" fmla="*/ 137720 w 369143"/>
                <a:gd name="connsiteY125" fmla="*/ 16408 h 48740"/>
                <a:gd name="connsiteX126" fmla="*/ 138200 w 369143"/>
                <a:gd name="connsiteY126" fmla="*/ 16832 h 48740"/>
                <a:gd name="connsiteX127" fmla="*/ 138200 w 369143"/>
                <a:gd name="connsiteY127" fmla="*/ 16888 h 48740"/>
                <a:gd name="connsiteX128" fmla="*/ 138200 w 369143"/>
                <a:gd name="connsiteY128" fmla="*/ 30414 h 48740"/>
                <a:gd name="connsiteX129" fmla="*/ 145495 w 369143"/>
                <a:gd name="connsiteY129" fmla="*/ 38401 h 48740"/>
                <a:gd name="connsiteX130" fmla="*/ 151592 w 369143"/>
                <a:gd name="connsiteY130" fmla="*/ 37443 h 48740"/>
                <a:gd name="connsiteX131" fmla="*/ 151939 w 369143"/>
                <a:gd name="connsiteY131" fmla="*/ 35819 h 48740"/>
                <a:gd name="connsiteX132" fmla="*/ 151779 w 369143"/>
                <a:gd name="connsiteY132" fmla="*/ 34354 h 48740"/>
                <a:gd name="connsiteX133" fmla="*/ 150314 w 369143"/>
                <a:gd name="connsiteY133" fmla="*/ 33476 h 48740"/>
                <a:gd name="connsiteX134" fmla="*/ 145735 w 369143"/>
                <a:gd name="connsiteY134" fmla="*/ 34221 h 48740"/>
                <a:gd name="connsiteX135" fmla="*/ 142247 w 369143"/>
                <a:gd name="connsiteY135" fmla="*/ 30281 h 48740"/>
                <a:gd name="connsiteX136" fmla="*/ 142247 w 369143"/>
                <a:gd name="connsiteY136" fmla="*/ 16834 h 48740"/>
                <a:gd name="connsiteX137" fmla="*/ 142670 w 369143"/>
                <a:gd name="connsiteY137" fmla="*/ 16355 h 48740"/>
                <a:gd name="connsiteX138" fmla="*/ 142726 w 369143"/>
                <a:gd name="connsiteY138" fmla="*/ 16355 h 48740"/>
                <a:gd name="connsiteX139" fmla="*/ 150714 w 369143"/>
                <a:gd name="connsiteY139" fmla="*/ 16355 h 48740"/>
                <a:gd name="connsiteX140" fmla="*/ 151939 w 369143"/>
                <a:gd name="connsiteY140" fmla="*/ 15354 h 48740"/>
                <a:gd name="connsiteX141" fmla="*/ 151939 w 369143"/>
                <a:gd name="connsiteY141" fmla="*/ 15130 h 48740"/>
                <a:gd name="connsiteX142" fmla="*/ 151939 w 369143"/>
                <a:gd name="connsiteY142" fmla="*/ 13666 h 48740"/>
                <a:gd name="connsiteX143" fmla="*/ 150969 w 369143"/>
                <a:gd name="connsiteY143" fmla="*/ 12465 h 48740"/>
                <a:gd name="connsiteX144" fmla="*/ 150714 w 369143"/>
                <a:gd name="connsiteY144" fmla="*/ 12468 h 48740"/>
                <a:gd name="connsiteX145" fmla="*/ 142726 w 369143"/>
                <a:gd name="connsiteY145" fmla="*/ 12468 h 48740"/>
                <a:gd name="connsiteX146" fmla="*/ 142247 w 369143"/>
                <a:gd name="connsiteY146" fmla="*/ 11988 h 48740"/>
                <a:gd name="connsiteX147" fmla="*/ 142247 w 369143"/>
                <a:gd name="connsiteY147" fmla="*/ 11962 h 48740"/>
                <a:gd name="connsiteX148" fmla="*/ 142247 w 369143"/>
                <a:gd name="connsiteY148" fmla="*/ 6636 h 48740"/>
                <a:gd name="connsiteX149" fmla="*/ 140889 w 369143"/>
                <a:gd name="connsiteY149" fmla="*/ 5571 h 48740"/>
                <a:gd name="connsiteX150" fmla="*/ 138839 w 369143"/>
                <a:gd name="connsiteY150" fmla="*/ 6104 h 48740"/>
                <a:gd name="connsiteX151" fmla="*/ 137827 w 369143"/>
                <a:gd name="connsiteY151" fmla="*/ 7462 h 48740"/>
                <a:gd name="connsiteX152" fmla="*/ 137827 w 369143"/>
                <a:gd name="connsiteY152" fmla="*/ 11855 h 48740"/>
                <a:gd name="connsiteX153" fmla="*/ 137377 w 369143"/>
                <a:gd name="connsiteY153" fmla="*/ 12361 h 48740"/>
                <a:gd name="connsiteX154" fmla="*/ 137321 w 369143"/>
                <a:gd name="connsiteY154" fmla="*/ 12361 h 48740"/>
                <a:gd name="connsiteX155" fmla="*/ 135138 w 369143"/>
                <a:gd name="connsiteY155" fmla="*/ 12361 h 48740"/>
                <a:gd name="connsiteX156" fmla="*/ 133915 w 369143"/>
                <a:gd name="connsiteY156" fmla="*/ 13304 h 48740"/>
                <a:gd name="connsiteX157" fmla="*/ 133913 w 369143"/>
                <a:gd name="connsiteY157" fmla="*/ 13559 h 48740"/>
                <a:gd name="connsiteX158" fmla="*/ 133913 w 369143"/>
                <a:gd name="connsiteY158" fmla="*/ 15024 h 48740"/>
                <a:gd name="connsiteX159" fmla="*/ 134914 w 369143"/>
                <a:gd name="connsiteY159" fmla="*/ 16248 h 48740"/>
                <a:gd name="connsiteX160" fmla="*/ 135138 w 369143"/>
                <a:gd name="connsiteY160" fmla="*/ 16248 h 48740"/>
                <a:gd name="connsiteX161" fmla="*/ 168820 w 369143"/>
                <a:gd name="connsiteY161" fmla="*/ 24023 h 48740"/>
                <a:gd name="connsiteX162" fmla="*/ 169821 w 369143"/>
                <a:gd name="connsiteY162" fmla="*/ 25248 h 48740"/>
                <a:gd name="connsiteX163" fmla="*/ 170044 w 369143"/>
                <a:gd name="connsiteY163" fmla="*/ 25248 h 48740"/>
                <a:gd name="connsiteX164" fmla="*/ 175609 w 369143"/>
                <a:gd name="connsiteY164" fmla="*/ 25248 h 48740"/>
                <a:gd name="connsiteX165" fmla="*/ 176674 w 369143"/>
                <a:gd name="connsiteY165" fmla="*/ 26087 h 48740"/>
                <a:gd name="connsiteX166" fmla="*/ 176674 w 369143"/>
                <a:gd name="connsiteY166" fmla="*/ 26313 h 48740"/>
                <a:gd name="connsiteX167" fmla="*/ 176674 w 369143"/>
                <a:gd name="connsiteY167" fmla="*/ 31772 h 48740"/>
                <a:gd name="connsiteX168" fmla="*/ 177556 w 369143"/>
                <a:gd name="connsiteY168" fmla="*/ 32994 h 48740"/>
                <a:gd name="connsiteX169" fmla="*/ 177872 w 369143"/>
                <a:gd name="connsiteY169" fmla="*/ 32996 h 48740"/>
                <a:gd name="connsiteX170" fmla="*/ 179230 w 369143"/>
                <a:gd name="connsiteY170" fmla="*/ 32996 h 48740"/>
                <a:gd name="connsiteX171" fmla="*/ 180455 w 369143"/>
                <a:gd name="connsiteY171" fmla="*/ 31995 h 48740"/>
                <a:gd name="connsiteX172" fmla="*/ 180455 w 369143"/>
                <a:gd name="connsiteY172" fmla="*/ 31772 h 48740"/>
                <a:gd name="connsiteX173" fmla="*/ 180455 w 369143"/>
                <a:gd name="connsiteY173" fmla="*/ 26313 h 48740"/>
                <a:gd name="connsiteX174" fmla="*/ 181353 w 369143"/>
                <a:gd name="connsiteY174" fmla="*/ 25248 h 48740"/>
                <a:gd name="connsiteX175" fmla="*/ 181520 w 369143"/>
                <a:gd name="connsiteY175" fmla="*/ 25248 h 48740"/>
                <a:gd name="connsiteX176" fmla="*/ 186979 w 369143"/>
                <a:gd name="connsiteY176" fmla="*/ 25248 h 48740"/>
                <a:gd name="connsiteX177" fmla="*/ 188203 w 369143"/>
                <a:gd name="connsiteY177" fmla="*/ 24247 h 48740"/>
                <a:gd name="connsiteX178" fmla="*/ 188203 w 369143"/>
                <a:gd name="connsiteY178" fmla="*/ 24023 h 48740"/>
                <a:gd name="connsiteX179" fmla="*/ 188203 w 369143"/>
                <a:gd name="connsiteY179" fmla="*/ 22665 h 48740"/>
                <a:gd name="connsiteX180" fmla="*/ 187234 w 369143"/>
                <a:gd name="connsiteY180" fmla="*/ 21465 h 48740"/>
                <a:gd name="connsiteX181" fmla="*/ 186979 w 369143"/>
                <a:gd name="connsiteY181" fmla="*/ 21467 h 48740"/>
                <a:gd name="connsiteX182" fmla="*/ 181520 w 369143"/>
                <a:gd name="connsiteY182" fmla="*/ 21467 h 48740"/>
                <a:gd name="connsiteX183" fmla="*/ 180453 w 369143"/>
                <a:gd name="connsiteY183" fmla="*/ 20573 h 48740"/>
                <a:gd name="connsiteX184" fmla="*/ 180455 w 369143"/>
                <a:gd name="connsiteY184" fmla="*/ 20376 h 48740"/>
                <a:gd name="connsiteX185" fmla="*/ 180455 w 369143"/>
                <a:gd name="connsiteY185" fmla="*/ 15050 h 48740"/>
                <a:gd name="connsiteX186" fmla="*/ 179515 w 369143"/>
                <a:gd name="connsiteY186" fmla="*/ 13825 h 48740"/>
                <a:gd name="connsiteX187" fmla="*/ 179230 w 369143"/>
                <a:gd name="connsiteY187" fmla="*/ 13825 h 48740"/>
                <a:gd name="connsiteX188" fmla="*/ 177846 w 369143"/>
                <a:gd name="connsiteY188" fmla="*/ 13825 h 48740"/>
                <a:gd name="connsiteX189" fmla="*/ 176621 w 369143"/>
                <a:gd name="connsiteY189" fmla="*/ 14702 h 48740"/>
                <a:gd name="connsiteX190" fmla="*/ 176621 w 369143"/>
                <a:gd name="connsiteY190" fmla="*/ 15050 h 48740"/>
                <a:gd name="connsiteX191" fmla="*/ 176621 w 369143"/>
                <a:gd name="connsiteY191" fmla="*/ 20376 h 48740"/>
                <a:gd name="connsiteX192" fmla="*/ 175814 w 369143"/>
                <a:gd name="connsiteY192" fmla="*/ 21465 h 48740"/>
                <a:gd name="connsiteX193" fmla="*/ 175556 w 369143"/>
                <a:gd name="connsiteY193" fmla="*/ 21467 h 48740"/>
                <a:gd name="connsiteX194" fmla="*/ 170044 w 369143"/>
                <a:gd name="connsiteY194" fmla="*/ 21467 h 48740"/>
                <a:gd name="connsiteX195" fmla="*/ 168822 w 369143"/>
                <a:gd name="connsiteY195" fmla="*/ 22410 h 48740"/>
                <a:gd name="connsiteX196" fmla="*/ 168820 w 369143"/>
                <a:gd name="connsiteY196" fmla="*/ 22665 h 48740"/>
                <a:gd name="connsiteX197" fmla="*/ 209185 w 369143"/>
                <a:gd name="connsiteY197" fmla="*/ 48360 h 48740"/>
                <a:gd name="connsiteX198" fmla="*/ 210995 w 369143"/>
                <a:gd name="connsiteY198" fmla="*/ 48360 h 48740"/>
                <a:gd name="connsiteX199" fmla="*/ 212194 w 369143"/>
                <a:gd name="connsiteY199" fmla="*/ 47385 h 48740"/>
                <a:gd name="connsiteX200" fmla="*/ 212194 w 369143"/>
                <a:gd name="connsiteY200" fmla="*/ 47161 h 48740"/>
                <a:gd name="connsiteX201" fmla="*/ 212194 w 369143"/>
                <a:gd name="connsiteY201" fmla="*/ 37070 h 48740"/>
                <a:gd name="connsiteX202" fmla="*/ 214137 w 369143"/>
                <a:gd name="connsiteY202" fmla="*/ 36192 h 48740"/>
                <a:gd name="connsiteX203" fmla="*/ 221167 w 369143"/>
                <a:gd name="connsiteY203" fmla="*/ 38135 h 48740"/>
                <a:gd name="connsiteX204" fmla="*/ 233926 w 369143"/>
                <a:gd name="connsiteY204" fmla="*/ 25123 h 48740"/>
                <a:gd name="connsiteX205" fmla="*/ 233921 w 369143"/>
                <a:gd name="connsiteY205" fmla="*/ 24822 h 48740"/>
                <a:gd name="connsiteX206" fmla="*/ 221409 w 369143"/>
                <a:gd name="connsiteY206" fmla="*/ 11778 h 48740"/>
                <a:gd name="connsiteX207" fmla="*/ 221247 w 369143"/>
                <a:gd name="connsiteY207" fmla="*/ 11775 h 48740"/>
                <a:gd name="connsiteX208" fmla="*/ 213525 w 369143"/>
                <a:gd name="connsiteY208" fmla="*/ 14225 h 48740"/>
                <a:gd name="connsiteX209" fmla="*/ 211368 w 369143"/>
                <a:gd name="connsiteY209" fmla="*/ 13479 h 48740"/>
                <a:gd name="connsiteX210" fmla="*/ 211368 w 369143"/>
                <a:gd name="connsiteY210" fmla="*/ 13479 h 48740"/>
                <a:gd name="connsiteX211" fmla="*/ 210064 w 369143"/>
                <a:gd name="connsiteY211" fmla="*/ 12361 h 48740"/>
                <a:gd name="connsiteX212" fmla="*/ 209185 w 369143"/>
                <a:gd name="connsiteY212" fmla="*/ 12361 h 48740"/>
                <a:gd name="connsiteX213" fmla="*/ 207963 w 369143"/>
                <a:gd name="connsiteY213" fmla="*/ 13304 h 48740"/>
                <a:gd name="connsiteX214" fmla="*/ 207960 w 369143"/>
                <a:gd name="connsiteY214" fmla="*/ 13559 h 48740"/>
                <a:gd name="connsiteX215" fmla="*/ 207960 w 369143"/>
                <a:gd name="connsiteY215" fmla="*/ 47161 h 48740"/>
                <a:gd name="connsiteX216" fmla="*/ 208929 w 369143"/>
                <a:gd name="connsiteY216" fmla="*/ 48362 h 48740"/>
                <a:gd name="connsiteX217" fmla="*/ 209185 w 369143"/>
                <a:gd name="connsiteY217" fmla="*/ 48360 h 48740"/>
                <a:gd name="connsiteX218" fmla="*/ 212540 w 369143"/>
                <a:gd name="connsiteY218" fmla="*/ 28017 h 48740"/>
                <a:gd name="connsiteX219" fmla="*/ 212540 w 369143"/>
                <a:gd name="connsiteY219" fmla="*/ 21947 h 48740"/>
                <a:gd name="connsiteX220" fmla="*/ 213072 w 369143"/>
                <a:gd name="connsiteY220" fmla="*/ 19843 h 48740"/>
                <a:gd name="connsiteX221" fmla="*/ 220714 w 369143"/>
                <a:gd name="connsiteY221" fmla="*/ 15796 h 48740"/>
                <a:gd name="connsiteX222" fmla="*/ 229234 w 369143"/>
                <a:gd name="connsiteY222" fmla="*/ 24902 h 48740"/>
                <a:gd name="connsiteX223" fmla="*/ 220714 w 369143"/>
                <a:gd name="connsiteY223" fmla="*/ 34221 h 48740"/>
                <a:gd name="connsiteX224" fmla="*/ 213072 w 369143"/>
                <a:gd name="connsiteY224" fmla="*/ 30121 h 48740"/>
                <a:gd name="connsiteX225" fmla="*/ 212540 w 369143"/>
                <a:gd name="connsiteY225" fmla="*/ 28017 h 48740"/>
                <a:gd name="connsiteX226" fmla="*/ 238740 w 369143"/>
                <a:gd name="connsiteY226" fmla="*/ 24849 h 48740"/>
                <a:gd name="connsiteX227" fmla="*/ 250868 w 369143"/>
                <a:gd name="connsiteY227" fmla="*/ 38148 h 48740"/>
                <a:gd name="connsiteX228" fmla="*/ 251600 w 369143"/>
                <a:gd name="connsiteY228" fmla="*/ 38162 h 48740"/>
                <a:gd name="connsiteX229" fmla="*/ 262491 w 369143"/>
                <a:gd name="connsiteY229" fmla="*/ 31079 h 48740"/>
                <a:gd name="connsiteX230" fmla="*/ 261425 w 369143"/>
                <a:gd name="connsiteY230" fmla="*/ 29695 h 48740"/>
                <a:gd name="connsiteX231" fmla="*/ 259588 w 369143"/>
                <a:gd name="connsiteY231" fmla="*/ 29695 h 48740"/>
                <a:gd name="connsiteX232" fmla="*/ 258177 w 369143"/>
                <a:gd name="connsiteY232" fmla="*/ 30680 h 48740"/>
                <a:gd name="connsiteX233" fmla="*/ 251600 w 369143"/>
                <a:gd name="connsiteY233" fmla="*/ 34248 h 48740"/>
                <a:gd name="connsiteX234" fmla="*/ 243612 w 369143"/>
                <a:gd name="connsiteY234" fmla="*/ 28044 h 48740"/>
                <a:gd name="connsiteX235" fmla="*/ 245184 w 369143"/>
                <a:gd name="connsiteY235" fmla="*/ 26207 h 48740"/>
                <a:gd name="connsiteX236" fmla="*/ 261718 w 369143"/>
                <a:gd name="connsiteY236" fmla="*/ 26207 h 48740"/>
                <a:gd name="connsiteX237" fmla="*/ 263366 w 369143"/>
                <a:gd name="connsiteY237" fmla="*/ 24774 h 48740"/>
                <a:gd name="connsiteX238" fmla="*/ 263369 w 369143"/>
                <a:gd name="connsiteY238" fmla="*/ 24636 h 48740"/>
                <a:gd name="connsiteX239" fmla="*/ 251917 w 369143"/>
                <a:gd name="connsiteY239" fmla="*/ 11842 h 48740"/>
                <a:gd name="connsiteX240" fmla="*/ 251600 w 369143"/>
                <a:gd name="connsiteY240" fmla="*/ 11829 h 48740"/>
                <a:gd name="connsiteX241" fmla="*/ 238791 w 369143"/>
                <a:gd name="connsiteY241" fmla="*/ 24311 h 48740"/>
                <a:gd name="connsiteX242" fmla="*/ 238793 w 369143"/>
                <a:gd name="connsiteY242" fmla="*/ 24822 h 48740"/>
                <a:gd name="connsiteX243" fmla="*/ 244118 w 369143"/>
                <a:gd name="connsiteY243" fmla="*/ 20402 h 48740"/>
                <a:gd name="connsiteX244" fmla="*/ 251414 w 369143"/>
                <a:gd name="connsiteY244" fmla="*/ 15716 h 48740"/>
                <a:gd name="connsiteX245" fmla="*/ 258204 w 369143"/>
                <a:gd name="connsiteY245" fmla="*/ 20455 h 48740"/>
                <a:gd name="connsiteX246" fmla="*/ 256739 w 369143"/>
                <a:gd name="connsiteY246" fmla="*/ 22399 h 48740"/>
                <a:gd name="connsiteX247" fmla="*/ 245476 w 369143"/>
                <a:gd name="connsiteY247" fmla="*/ 22399 h 48740"/>
                <a:gd name="connsiteX248" fmla="*/ 244118 w 369143"/>
                <a:gd name="connsiteY248" fmla="*/ 20455 h 48740"/>
                <a:gd name="connsiteX249" fmla="*/ 268082 w 369143"/>
                <a:gd name="connsiteY249" fmla="*/ 24875 h 48740"/>
                <a:gd name="connsiteX250" fmla="*/ 280801 w 369143"/>
                <a:gd name="connsiteY250" fmla="*/ 38188 h 48740"/>
                <a:gd name="connsiteX251" fmla="*/ 281395 w 369143"/>
                <a:gd name="connsiteY251" fmla="*/ 38188 h 48740"/>
                <a:gd name="connsiteX252" fmla="*/ 294708 w 369143"/>
                <a:gd name="connsiteY252" fmla="*/ 25469 h 48740"/>
                <a:gd name="connsiteX253" fmla="*/ 294708 w 369143"/>
                <a:gd name="connsiteY253" fmla="*/ 24875 h 48740"/>
                <a:gd name="connsiteX254" fmla="*/ 281989 w 369143"/>
                <a:gd name="connsiteY254" fmla="*/ 11874 h 48740"/>
                <a:gd name="connsiteX255" fmla="*/ 281395 w 369143"/>
                <a:gd name="connsiteY255" fmla="*/ 11882 h 48740"/>
                <a:gd name="connsiteX256" fmla="*/ 268087 w 369143"/>
                <a:gd name="connsiteY256" fmla="*/ 24335 h 48740"/>
                <a:gd name="connsiteX257" fmla="*/ 268082 w 369143"/>
                <a:gd name="connsiteY257" fmla="*/ 24875 h 48740"/>
                <a:gd name="connsiteX258" fmla="*/ 272662 w 369143"/>
                <a:gd name="connsiteY258" fmla="*/ 25035 h 48740"/>
                <a:gd name="connsiteX259" fmla="*/ 281012 w 369143"/>
                <a:gd name="connsiteY259" fmla="*/ 15833 h 48740"/>
                <a:gd name="connsiteX260" fmla="*/ 281528 w 369143"/>
                <a:gd name="connsiteY260" fmla="*/ 15822 h 48740"/>
                <a:gd name="connsiteX261" fmla="*/ 290349 w 369143"/>
                <a:gd name="connsiteY261" fmla="*/ 24628 h 48740"/>
                <a:gd name="connsiteX262" fmla="*/ 290341 w 369143"/>
                <a:gd name="connsiteY262" fmla="*/ 25035 h 48740"/>
                <a:gd name="connsiteX263" fmla="*/ 281882 w 369143"/>
                <a:gd name="connsiteY263" fmla="*/ 34240 h 48740"/>
                <a:gd name="connsiteX264" fmla="*/ 281528 w 369143"/>
                <a:gd name="connsiteY264" fmla="*/ 34248 h 48740"/>
                <a:gd name="connsiteX265" fmla="*/ 272654 w 369143"/>
                <a:gd name="connsiteY265" fmla="*/ 25442 h 48740"/>
                <a:gd name="connsiteX266" fmla="*/ 272662 w 369143"/>
                <a:gd name="connsiteY266" fmla="*/ 25035 h 48740"/>
                <a:gd name="connsiteX267" fmla="*/ 302749 w 369143"/>
                <a:gd name="connsiteY267" fmla="*/ 48386 h 48740"/>
                <a:gd name="connsiteX268" fmla="*/ 304533 w 369143"/>
                <a:gd name="connsiteY268" fmla="*/ 48386 h 48740"/>
                <a:gd name="connsiteX269" fmla="*/ 305755 w 369143"/>
                <a:gd name="connsiteY269" fmla="*/ 47444 h 48740"/>
                <a:gd name="connsiteX270" fmla="*/ 305758 w 369143"/>
                <a:gd name="connsiteY270" fmla="*/ 47188 h 48740"/>
                <a:gd name="connsiteX271" fmla="*/ 305758 w 369143"/>
                <a:gd name="connsiteY271" fmla="*/ 37097 h 48740"/>
                <a:gd name="connsiteX272" fmla="*/ 307702 w 369143"/>
                <a:gd name="connsiteY272" fmla="*/ 36218 h 48740"/>
                <a:gd name="connsiteX273" fmla="*/ 314731 w 369143"/>
                <a:gd name="connsiteY273" fmla="*/ 38162 h 48740"/>
                <a:gd name="connsiteX274" fmla="*/ 327490 w 369143"/>
                <a:gd name="connsiteY274" fmla="*/ 25096 h 48740"/>
                <a:gd name="connsiteX275" fmla="*/ 327485 w 369143"/>
                <a:gd name="connsiteY275" fmla="*/ 24849 h 48740"/>
                <a:gd name="connsiteX276" fmla="*/ 314973 w 369143"/>
                <a:gd name="connsiteY276" fmla="*/ 11805 h 48740"/>
                <a:gd name="connsiteX277" fmla="*/ 314811 w 369143"/>
                <a:gd name="connsiteY277" fmla="*/ 11802 h 48740"/>
                <a:gd name="connsiteX278" fmla="*/ 307063 w 369143"/>
                <a:gd name="connsiteY278" fmla="*/ 14252 h 48740"/>
                <a:gd name="connsiteX279" fmla="*/ 304933 w 369143"/>
                <a:gd name="connsiteY279" fmla="*/ 13506 h 48740"/>
                <a:gd name="connsiteX280" fmla="*/ 304933 w 369143"/>
                <a:gd name="connsiteY280" fmla="*/ 13506 h 48740"/>
                <a:gd name="connsiteX281" fmla="*/ 303628 w 369143"/>
                <a:gd name="connsiteY281" fmla="*/ 12388 h 48740"/>
                <a:gd name="connsiteX282" fmla="*/ 302749 w 369143"/>
                <a:gd name="connsiteY282" fmla="*/ 12388 h 48740"/>
                <a:gd name="connsiteX283" fmla="*/ 301527 w 369143"/>
                <a:gd name="connsiteY283" fmla="*/ 13330 h 48740"/>
                <a:gd name="connsiteX284" fmla="*/ 301524 w 369143"/>
                <a:gd name="connsiteY284" fmla="*/ 13586 h 48740"/>
                <a:gd name="connsiteX285" fmla="*/ 301524 w 369143"/>
                <a:gd name="connsiteY285" fmla="*/ 47188 h 48740"/>
                <a:gd name="connsiteX286" fmla="*/ 302494 w 369143"/>
                <a:gd name="connsiteY286" fmla="*/ 48389 h 48740"/>
                <a:gd name="connsiteX287" fmla="*/ 302749 w 369143"/>
                <a:gd name="connsiteY287" fmla="*/ 48386 h 48740"/>
                <a:gd name="connsiteX288" fmla="*/ 306104 w 369143"/>
                <a:gd name="connsiteY288" fmla="*/ 28044 h 48740"/>
                <a:gd name="connsiteX289" fmla="*/ 306104 w 369143"/>
                <a:gd name="connsiteY289" fmla="*/ 21973 h 48740"/>
                <a:gd name="connsiteX290" fmla="*/ 306637 w 369143"/>
                <a:gd name="connsiteY290" fmla="*/ 19870 h 48740"/>
                <a:gd name="connsiteX291" fmla="*/ 314278 w 369143"/>
                <a:gd name="connsiteY291" fmla="*/ 15822 h 48740"/>
                <a:gd name="connsiteX292" fmla="*/ 322799 w 369143"/>
                <a:gd name="connsiteY292" fmla="*/ 24929 h 48740"/>
                <a:gd name="connsiteX293" fmla="*/ 314278 w 369143"/>
                <a:gd name="connsiteY293" fmla="*/ 34248 h 48740"/>
                <a:gd name="connsiteX294" fmla="*/ 306637 w 369143"/>
                <a:gd name="connsiteY294" fmla="*/ 30147 h 48740"/>
                <a:gd name="connsiteX295" fmla="*/ 306104 w 369143"/>
                <a:gd name="connsiteY295" fmla="*/ 28044 h 48740"/>
                <a:gd name="connsiteX296" fmla="*/ 337496 w 369143"/>
                <a:gd name="connsiteY296" fmla="*/ -286 h 48740"/>
                <a:gd name="connsiteX297" fmla="*/ 335366 w 369143"/>
                <a:gd name="connsiteY297" fmla="*/ -286 h 48740"/>
                <a:gd name="connsiteX298" fmla="*/ 334141 w 369143"/>
                <a:gd name="connsiteY298" fmla="*/ 715 h 48740"/>
                <a:gd name="connsiteX299" fmla="*/ 334141 w 369143"/>
                <a:gd name="connsiteY299" fmla="*/ 938 h 48740"/>
                <a:gd name="connsiteX300" fmla="*/ 334141 w 369143"/>
                <a:gd name="connsiteY300" fmla="*/ 36484 h 48740"/>
                <a:gd name="connsiteX301" fmla="*/ 335111 w 369143"/>
                <a:gd name="connsiteY301" fmla="*/ 37685 h 48740"/>
                <a:gd name="connsiteX302" fmla="*/ 335366 w 369143"/>
                <a:gd name="connsiteY302" fmla="*/ 37683 h 48740"/>
                <a:gd name="connsiteX303" fmla="*/ 337496 w 369143"/>
                <a:gd name="connsiteY303" fmla="*/ 37683 h 48740"/>
                <a:gd name="connsiteX304" fmla="*/ 338718 w 369143"/>
                <a:gd name="connsiteY304" fmla="*/ 36740 h 48740"/>
                <a:gd name="connsiteX305" fmla="*/ 338721 w 369143"/>
                <a:gd name="connsiteY305" fmla="*/ 36484 h 48740"/>
                <a:gd name="connsiteX306" fmla="*/ 338721 w 369143"/>
                <a:gd name="connsiteY306" fmla="*/ 885 h 48740"/>
                <a:gd name="connsiteX307" fmla="*/ 337720 w 369143"/>
                <a:gd name="connsiteY307" fmla="*/ -340 h 48740"/>
                <a:gd name="connsiteX308" fmla="*/ 337496 w 369143"/>
                <a:gd name="connsiteY308" fmla="*/ -340 h 48740"/>
                <a:gd name="connsiteX309" fmla="*/ 345484 w 369143"/>
                <a:gd name="connsiteY309" fmla="*/ 24822 h 48740"/>
                <a:gd name="connsiteX310" fmla="*/ 357612 w 369143"/>
                <a:gd name="connsiteY310" fmla="*/ 38122 h 48740"/>
                <a:gd name="connsiteX311" fmla="*/ 358345 w 369143"/>
                <a:gd name="connsiteY311" fmla="*/ 38135 h 48740"/>
                <a:gd name="connsiteX312" fmla="*/ 369235 w 369143"/>
                <a:gd name="connsiteY312" fmla="*/ 31053 h 48740"/>
                <a:gd name="connsiteX313" fmla="*/ 368170 w 369143"/>
                <a:gd name="connsiteY313" fmla="*/ 29668 h 48740"/>
                <a:gd name="connsiteX314" fmla="*/ 366333 w 369143"/>
                <a:gd name="connsiteY314" fmla="*/ 29668 h 48740"/>
                <a:gd name="connsiteX315" fmla="*/ 364921 w 369143"/>
                <a:gd name="connsiteY315" fmla="*/ 30653 h 48740"/>
                <a:gd name="connsiteX316" fmla="*/ 358345 w 369143"/>
                <a:gd name="connsiteY316" fmla="*/ 34221 h 48740"/>
                <a:gd name="connsiteX317" fmla="*/ 350357 w 369143"/>
                <a:gd name="connsiteY317" fmla="*/ 28017 h 48740"/>
                <a:gd name="connsiteX318" fmla="*/ 351928 w 369143"/>
                <a:gd name="connsiteY318" fmla="*/ 26180 h 48740"/>
                <a:gd name="connsiteX319" fmla="*/ 368463 w 369143"/>
                <a:gd name="connsiteY319" fmla="*/ 26180 h 48740"/>
                <a:gd name="connsiteX320" fmla="*/ 370111 w 369143"/>
                <a:gd name="connsiteY320" fmla="*/ 24745 h 48740"/>
                <a:gd name="connsiteX321" fmla="*/ 370113 w 369143"/>
                <a:gd name="connsiteY321" fmla="*/ 24609 h 48740"/>
                <a:gd name="connsiteX322" fmla="*/ 358661 w 369143"/>
                <a:gd name="connsiteY322" fmla="*/ 11815 h 48740"/>
                <a:gd name="connsiteX323" fmla="*/ 358371 w 369143"/>
                <a:gd name="connsiteY323" fmla="*/ 11802 h 48740"/>
                <a:gd name="connsiteX324" fmla="*/ 345535 w 369143"/>
                <a:gd name="connsiteY324" fmla="*/ 24311 h 48740"/>
                <a:gd name="connsiteX325" fmla="*/ 345538 w 369143"/>
                <a:gd name="connsiteY325" fmla="*/ 24795 h 48740"/>
                <a:gd name="connsiteX326" fmla="*/ 350863 w 369143"/>
                <a:gd name="connsiteY326" fmla="*/ 20376 h 48740"/>
                <a:gd name="connsiteX327" fmla="*/ 358185 w 369143"/>
                <a:gd name="connsiteY327" fmla="*/ 15689 h 48740"/>
                <a:gd name="connsiteX328" fmla="*/ 364948 w 369143"/>
                <a:gd name="connsiteY328" fmla="*/ 20429 h 48740"/>
                <a:gd name="connsiteX329" fmla="*/ 363484 w 369143"/>
                <a:gd name="connsiteY329" fmla="*/ 22373 h 48740"/>
                <a:gd name="connsiteX330" fmla="*/ 352221 w 369143"/>
                <a:gd name="connsiteY330" fmla="*/ 22373 h 48740"/>
                <a:gd name="connsiteX331" fmla="*/ 350863 w 369143"/>
                <a:gd name="connsiteY331" fmla="*/ 20429 h 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Lst>
              <a:rect l="l" t="t" r="r" b="b"/>
              <a:pathLst>
                <a:path w="369143" h="48740">
                  <a:moveTo>
                    <a:pt x="2220" y="48333"/>
                  </a:moveTo>
                  <a:lnTo>
                    <a:pt x="4004" y="48333"/>
                  </a:lnTo>
                  <a:cubicBezTo>
                    <a:pt x="4603" y="48410"/>
                    <a:pt x="5149" y="47987"/>
                    <a:pt x="5226" y="47390"/>
                  </a:cubicBezTo>
                  <a:cubicBezTo>
                    <a:pt x="5237" y="47305"/>
                    <a:pt x="5237" y="47220"/>
                    <a:pt x="5229" y="47135"/>
                  </a:cubicBezTo>
                  <a:lnTo>
                    <a:pt x="5229" y="37043"/>
                  </a:lnTo>
                  <a:cubicBezTo>
                    <a:pt x="5229" y="35632"/>
                    <a:pt x="6001" y="35339"/>
                    <a:pt x="7172" y="36165"/>
                  </a:cubicBezTo>
                  <a:cubicBezTo>
                    <a:pt x="9265" y="37507"/>
                    <a:pt x="11717" y="38183"/>
                    <a:pt x="14202" y="38109"/>
                  </a:cubicBezTo>
                  <a:cubicBezTo>
                    <a:pt x="21319" y="38039"/>
                    <a:pt x="27033" y="32214"/>
                    <a:pt x="26961" y="25096"/>
                  </a:cubicBezTo>
                  <a:cubicBezTo>
                    <a:pt x="26961" y="24995"/>
                    <a:pt x="26958" y="24897"/>
                    <a:pt x="26955" y="24795"/>
                  </a:cubicBezTo>
                  <a:cubicBezTo>
                    <a:pt x="27102" y="17740"/>
                    <a:pt x="21502" y="11898"/>
                    <a:pt x="14444" y="11751"/>
                  </a:cubicBezTo>
                  <a:cubicBezTo>
                    <a:pt x="14391" y="11749"/>
                    <a:pt x="14335" y="11749"/>
                    <a:pt x="14281" y="11749"/>
                  </a:cubicBezTo>
                  <a:cubicBezTo>
                    <a:pt x="11496" y="11671"/>
                    <a:pt x="8767" y="12534"/>
                    <a:pt x="6533" y="14198"/>
                  </a:cubicBezTo>
                  <a:cubicBezTo>
                    <a:pt x="5468" y="15024"/>
                    <a:pt x="4643" y="14837"/>
                    <a:pt x="4403" y="13453"/>
                  </a:cubicBezTo>
                  <a:lnTo>
                    <a:pt x="4403" y="13453"/>
                  </a:lnTo>
                  <a:cubicBezTo>
                    <a:pt x="4347" y="12787"/>
                    <a:pt x="3767" y="12289"/>
                    <a:pt x="3098" y="12334"/>
                  </a:cubicBezTo>
                  <a:lnTo>
                    <a:pt x="2220" y="12334"/>
                  </a:lnTo>
                  <a:cubicBezTo>
                    <a:pt x="1621" y="12257"/>
                    <a:pt x="1075" y="12681"/>
                    <a:pt x="998" y="13277"/>
                  </a:cubicBezTo>
                  <a:cubicBezTo>
                    <a:pt x="987" y="13362"/>
                    <a:pt x="987" y="13447"/>
                    <a:pt x="995" y="13533"/>
                  </a:cubicBezTo>
                  <a:lnTo>
                    <a:pt x="995" y="47135"/>
                  </a:lnTo>
                  <a:cubicBezTo>
                    <a:pt x="931" y="47734"/>
                    <a:pt x="1365" y="48272"/>
                    <a:pt x="1964" y="48336"/>
                  </a:cubicBezTo>
                  <a:cubicBezTo>
                    <a:pt x="2049" y="48344"/>
                    <a:pt x="2134" y="48344"/>
                    <a:pt x="2220" y="48333"/>
                  </a:cubicBezTo>
                  <a:moveTo>
                    <a:pt x="5575" y="27991"/>
                  </a:moveTo>
                  <a:lnTo>
                    <a:pt x="5575" y="21920"/>
                  </a:lnTo>
                  <a:cubicBezTo>
                    <a:pt x="5535" y="21180"/>
                    <a:pt x="5721" y="20447"/>
                    <a:pt x="6107" y="19816"/>
                  </a:cubicBezTo>
                  <a:cubicBezTo>
                    <a:pt x="7777" y="17228"/>
                    <a:pt x="10671" y="15695"/>
                    <a:pt x="13749" y="15769"/>
                  </a:cubicBezTo>
                  <a:cubicBezTo>
                    <a:pt x="18606" y="15958"/>
                    <a:pt x="22405" y="20019"/>
                    <a:pt x="22269" y="24875"/>
                  </a:cubicBezTo>
                  <a:cubicBezTo>
                    <a:pt x="22480" y="29799"/>
                    <a:pt x="18672" y="33965"/>
                    <a:pt x="13749" y="34195"/>
                  </a:cubicBezTo>
                  <a:cubicBezTo>
                    <a:pt x="10655" y="34285"/>
                    <a:pt x="7745" y="32722"/>
                    <a:pt x="6107" y="30094"/>
                  </a:cubicBezTo>
                  <a:cubicBezTo>
                    <a:pt x="5721" y="29463"/>
                    <a:pt x="5535" y="28731"/>
                    <a:pt x="5575" y="27991"/>
                  </a:cubicBezTo>
                  <a:moveTo>
                    <a:pt x="36967" y="-340"/>
                  </a:moveTo>
                  <a:lnTo>
                    <a:pt x="34837" y="-340"/>
                  </a:lnTo>
                  <a:cubicBezTo>
                    <a:pt x="34222" y="-401"/>
                    <a:pt x="33673" y="46"/>
                    <a:pt x="33612" y="662"/>
                  </a:cubicBezTo>
                  <a:cubicBezTo>
                    <a:pt x="33604" y="736"/>
                    <a:pt x="33604" y="811"/>
                    <a:pt x="33612" y="885"/>
                  </a:cubicBezTo>
                  <a:lnTo>
                    <a:pt x="33612" y="36431"/>
                  </a:lnTo>
                  <a:cubicBezTo>
                    <a:pt x="33548" y="37030"/>
                    <a:pt x="33982" y="37568"/>
                    <a:pt x="34581" y="37632"/>
                  </a:cubicBezTo>
                  <a:cubicBezTo>
                    <a:pt x="34666" y="37640"/>
                    <a:pt x="34752" y="37640"/>
                    <a:pt x="34837" y="37629"/>
                  </a:cubicBezTo>
                  <a:lnTo>
                    <a:pt x="36967" y="37629"/>
                  </a:lnTo>
                  <a:cubicBezTo>
                    <a:pt x="37566" y="37707"/>
                    <a:pt x="38112" y="37283"/>
                    <a:pt x="38189" y="36687"/>
                  </a:cubicBezTo>
                  <a:cubicBezTo>
                    <a:pt x="38200" y="36602"/>
                    <a:pt x="38200" y="36516"/>
                    <a:pt x="38192" y="36431"/>
                  </a:cubicBezTo>
                  <a:lnTo>
                    <a:pt x="38192" y="885"/>
                  </a:lnTo>
                  <a:cubicBezTo>
                    <a:pt x="38253" y="270"/>
                    <a:pt x="37806" y="-278"/>
                    <a:pt x="37191" y="-340"/>
                  </a:cubicBezTo>
                  <a:cubicBezTo>
                    <a:pt x="37116" y="-348"/>
                    <a:pt x="37041" y="-348"/>
                    <a:pt x="36967" y="-340"/>
                  </a:cubicBezTo>
                  <a:moveTo>
                    <a:pt x="44768" y="30680"/>
                  </a:moveTo>
                  <a:cubicBezTo>
                    <a:pt x="44840" y="34871"/>
                    <a:pt x="48294" y="38210"/>
                    <a:pt x="52485" y="38141"/>
                  </a:cubicBezTo>
                  <a:cubicBezTo>
                    <a:pt x="52674" y="38135"/>
                    <a:pt x="52860" y="38125"/>
                    <a:pt x="53049" y="38109"/>
                  </a:cubicBezTo>
                  <a:cubicBezTo>
                    <a:pt x="56154" y="38127"/>
                    <a:pt x="59192" y="37198"/>
                    <a:pt x="61756" y="35446"/>
                  </a:cubicBezTo>
                  <a:cubicBezTo>
                    <a:pt x="62821" y="34780"/>
                    <a:pt x="63646" y="35020"/>
                    <a:pt x="63992" y="36218"/>
                  </a:cubicBezTo>
                  <a:lnTo>
                    <a:pt x="64152" y="36724"/>
                  </a:lnTo>
                  <a:cubicBezTo>
                    <a:pt x="64275" y="37363"/>
                    <a:pt x="64863" y="37802"/>
                    <a:pt x="65510" y="37736"/>
                  </a:cubicBezTo>
                  <a:lnTo>
                    <a:pt x="66096" y="37736"/>
                  </a:lnTo>
                  <a:cubicBezTo>
                    <a:pt x="66695" y="37797"/>
                    <a:pt x="67233" y="37363"/>
                    <a:pt x="67294" y="36761"/>
                  </a:cubicBezTo>
                  <a:cubicBezTo>
                    <a:pt x="67302" y="36687"/>
                    <a:pt x="67302" y="36612"/>
                    <a:pt x="67294" y="36538"/>
                  </a:cubicBezTo>
                  <a:lnTo>
                    <a:pt x="67294" y="22905"/>
                  </a:lnTo>
                  <a:cubicBezTo>
                    <a:pt x="67294" y="15982"/>
                    <a:pt x="63353" y="11935"/>
                    <a:pt x="56644" y="11935"/>
                  </a:cubicBezTo>
                  <a:cubicBezTo>
                    <a:pt x="50892" y="11935"/>
                    <a:pt x="46872" y="14864"/>
                    <a:pt x="45993" y="19497"/>
                  </a:cubicBezTo>
                  <a:cubicBezTo>
                    <a:pt x="45839" y="20048"/>
                    <a:pt x="46161" y="20623"/>
                    <a:pt x="46712" y="20778"/>
                  </a:cubicBezTo>
                  <a:cubicBezTo>
                    <a:pt x="46858" y="20818"/>
                    <a:pt x="47013" y="20825"/>
                    <a:pt x="47165" y="20802"/>
                  </a:cubicBezTo>
                  <a:lnTo>
                    <a:pt x="49055" y="20802"/>
                  </a:lnTo>
                  <a:cubicBezTo>
                    <a:pt x="49702" y="20825"/>
                    <a:pt x="50269" y="20373"/>
                    <a:pt x="50386" y="19736"/>
                  </a:cubicBezTo>
                  <a:cubicBezTo>
                    <a:pt x="51305" y="17207"/>
                    <a:pt x="53835" y="15633"/>
                    <a:pt x="56510" y="15929"/>
                  </a:cubicBezTo>
                  <a:cubicBezTo>
                    <a:pt x="59628" y="15498"/>
                    <a:pt x="62504" y="17673"/>
                    <a:pt x="62938" y="20791"/>
                  </a:cubicBezTo>
                  <a:cubicBezTo>
                    <a:pt x="62989" y="21164"/>
                    <a:pt x="63005" y="21542"/>
                    <a:pt x="62981" y="21920"/>
                  </a:cubicBezTo>
                  <a:cubicBezTo>
                    <a:pt x="62981" y="22958"/>
                    <a:pt x="62368" y="23491"/>
                    <a:pt x="61277" y="23491"/>
                  </a:cubicBezTo>
                  <a:lnTo>
                    <a:pt x="55632" y="23491"/>
                  </a:lnTo>
                  <a:cubicBezTo>
                    <a:pt x="48975" y="23491"/>
                    <a:pt x="44981" y="26606"/>
                    <a:pt x="44981" y="30840"/>
                  </a:cubicBezTo>
                  <a:moveTo>
                    <a:pt x="49561" y="30840"/>
                  </a:moveTo>
                  <a:cubicBezTo>
                    <a:pt x="49561" y="28417"/>
                    <a:pt x="51638" y="27325"/>
                    <a:pt x="55792" y="27325"/>
                  </a:cubicBezTo>
                  <a:lnTo>
                    <a:pt x="61330" y="27325"/>
                  </a:lnTo>
                  <a:cubicBezTo>
                    <a:pt x="62177" y="27232"/>
                    <a:pt x="62941" y="27844"/>
                    <a:pt x="63034" y="28691"/>
                  </a:cubicBezTo>
                  <a:cubicBezTo>
                    <a:pt x="63047" y="28803"/>
                    <a:pt x="63047" y="28917"/>
                    <a:pt x="63034" y="29029"/>
                  </a:cubicBezTo>
                  <a:lnTo>
                    <a:pt x="63034" y="29535"/>
                  </a:lnTo>
                  <a:cubicBezTo>
                    <a:pt x="63071" y="30347"/>
                    <a:pt x="62688" y="31119"/>
                    <a:pt x="62022" y="31585"/>
                  </a:cubicBezTo>
                  <a:cubicBezTo>
                    <a:pt x="59767" y="33233"/>
                    <a:pt x="57067" y="34160"/>
                    <a:pt x="54274" y="34248"/>
                  </a:cubicBezTo>
                  <a:cubicBezTo>
                    <a:pt x="51611" y="34248"/>
                    <a:pt x="49561" y="33129"/>
                    <a:pt x="49561" y="30733"/>
                  </a:cubicBezTo>
                  <a:moveTo>
                    <a:pt x="76826" y="37789"/>
                  </a:moveTo>
                  <a:lnTo>
                    <a:pt x="78956" y="37789"/>
                  </a:lnTo>
                  <a:cubicBezTo>
                    <a:pt x="79555" y="37866"/>
                    <a:pt x="80101" y="37443"/>
                    <a:pt x="80179" y="36846"/>
                  </a:cubicBezTo>
                  <a:cubicBezTo>
                    <a:pt x="80189" y="36761"/>
                    <a:pt x="80189" y="36676"/>
                    <a:pt x="80181" y="36591"/>
                  </a:cubicBezTo>
                  <a:lnTo>
                    <a:pt x="80181" y="20988"/>
                  </a:lnTo>
                  <a:cubicBezTo>
                    <a:pt x="80123" y="20152"/>
                    <a:pt x="80562" y="19361"/>
                    <a:pt x="81299" y="18964"/>
                  </a:cubicBezTo>
                  <a:cubicBezTo>
                    <a:pt x="83752" y="17274"/>
                    <a:pt x="86609" y="16264"/>
                    <a:pt x="89580" y="16035"/>
                  </a:cubicBezTo>
                  <a:cubicBezTo>
                    <a:pt x="92392" y="15777"/>
                    <a:pt x="94881" y="17846"/>
                    <a:pt x="95140" y="20658"/>
                  </a:cubicBezTo>
                  <a:cubicBezTo>
                    <a:pt x="95174" y="21033"/>
                    <a:pt x="95166" y="21411"/>
                    <a:pt x="95118" y="21787"/>
                  </a:cubicBezTo>
                  <a:lnTo>
                    <a:pt x="95118" y="36591"/>
                  </a:lnTo>
                  <a:cubicBezTo>
                    <a:pt x="95054" y="37190"/>
                    <a:pt x="95489" y="37728"/>
                    <a:pt x="96088" y="37792"/>
                  </a:cubicBezTo>
                  <a:cubicBezTo>
                    <a:pt x="96173" y="37800"/>
                    <a:pt x="96258" y="37800"/>
                    <a:pt x="96343" y="37789"/>
                  </a:cubicBezTo>
                  <a:lnTo>
                    <a:pt x="98473" y="37789"/>
                  </a:lnTo>
                  <a:cubicBezTo>
                    <a:pt x="99072" y="37866"/>
                    <a:pt x="99618" y="37443"/>
                    <a:pt x="99696" y="36846"/>
                  </a:cubicBezTo>
                  <a:cubicBezTo>
                    <a:pt x="99706" y="36761"/>
                    <a:pt x="99706" y="36676"/>
                    <a:pt x="99698" y="36591"/>
                  </a:cubicBezTo>
                  <a:lnTo>
                    <a:pt x="99698" y="21574"/>
                  </a:lnTo>
                  <a:cubicBezTo>
                    <a:pt x="99698" y="15343"/>
                    <a:pt x="96397" y="11988"/>
                    <a:pt x="90885" y="11988"/>
                  </a:cubicBezTo>
                  <a:cubicBezTo>
                    <a:pt x="87495" y="11996"/>
                    <a:pt x="84178" y="12976"/>
                    <a:pt x="81326" y="14811"/>
                  </a:cubicBezTo>
                  <a:cubicBezTo>
                    <a:pt x="80261" y="15503"/>
                    <a:pt x="79436" y="15210"/>
                    <a:pt x="79143" y="13932"/>
                  </a:cubicBezTo>
                  <a:lnTo>
                    <a:pt x="79143" y="13559"/>
                  </a:lnTo>
                  <a:cubicBezTo>
                    <a:pt x="79023" y="12902"/>
                    <a:pt x="78424" y="12444"/>
                    <a:pt x="77758" y="12494"/>
                  </a:cubicBezTo>
                  <a:lnTo>
                    <a:pt x="76906" y="12494"/>
                  </a:lnTo>
                  <a:cubicBezTo>
                    <a:pt x="76307" y="12417"/>
                    <a:pt x="75761" y="12840"/>
                    <a:pt x="75684" y="13437"/>
                  </a:cubicBezTo>
                  <a:cubicBezTo>
                    <a:pt x="75673" y="13522"/>
                    <a:pt x="75673" y="13607"/>
                    <a:pt x="75681" y="13692"/>
                  </a:cubicBezTo>
                  <a:lnTo>
                    <a:pt x="75681" y="36591"/>
                  </a:lnTo>
                  <a:cubicBezTo>
                    <a:pt x="75617" y="37190"/>
                    <a:pt x="76051" y="37728"/>
                    <a:pt x="76651" y="37792"/>
                  </a:cubicBezTo>
                  <a:cubicBezTo>
                    <a:pt x="76736" y="37800"/>
                    <a:pt x="76821" y="37800"/>
                    <a:pt x="76906" y="37789"/>
                  </a:cubicBezTo>
                  <a:moveTo>
                    <a:pt x="106195" y="24982"/>
                  </a:moveTo>
                  <a:cubicBezTo>
                    <a:pt x="105870" y="32003"/>
                    <a:pt x="111299" y="37959"/>
                    <a:pt x="118323" y="38282"/>
                  </a:cubicBezTo>
                  <a:cubicBezTo>
                    <a:pt x="118565" y="38292"/>
                    <a:pt x="118810" y="38298"/>
                    <a:pt x="119055" y="38295"/>
                  </a:cubicBezTo>
                  <a:cubicBezTo>
                    <a:pt x="123824" y="38492"/>
                    <a:pt x="128193" y="35651"/>
                    <a:pt x="129945" y="31212"/>
                  </a:cubicBezTo>
                  <a:cubicBezTo>
                    <a:pt x="130238" y="30387"/>
                    <a:pt x="129706" y="29828"/>
                    <a:pt x="128880" y="29828"/>
                  </a:cubicBezTo>
                  <a:lnTo>
                    <a:pt x="127043" y="29828"/>
                  </a:lnTo>
                  <a:cubicBezTo>
                    <a:pt x="126409" y="29817"/>
                    <a:pt x="125840" y="30214"/>
                    <a:pt x="125632" y="30813"/>
                  </a:cubicBezTo>
                  <a:cubicBezTo>
                    <a:pt x="124357" y="33217"/>
                    <a:pt x="121766" y="34623"/>
                    <a:pt x="119055" y="34381"/>
                  </a:cubicBezTo>
                  <a:cubicBezTo>
                    <a:pt x="115256" y="34477"/>
                    <a:pt x="111914" y="31881"/>
                    <a:pt x="111068" y="28177"/>
                  </a:cubicBezTo>
                  <a:cubicBezTo>
                    <a:pt x="110775" y="27059"/>
                    <a:pt x="111467" y="26340"/>
                    <a:pt x="112638" y="26340"/>
                  </a:cubicBezTo>
                  <a:lnTo>
                    <a:pt x="129173" y="26340"/>
                  </a:lnTo>
                  <a:cubicBezTo>
                    <a:pt x="130025" y="26398"/>
                    <a:pt x="130763" y="25757"/>
                    <a:pt x="130821" y="24905"/>
                  </a:cubicBezTo>
                  <a:cubicBezTo>
                    <a:pt x="130824" y="24859"/>
                    <a:pt x="130824" y="24814"/>
                    <a:pt x="130824" y="24769"/>
                  </a:cubicBezTo>
                  <a:cubicBezTo>
                    <a:pt x="131194" y="18072"/>
                    <a:pt x="126069" y="12345"/>
                    <a:pt x="119372" y="11975"/>
                  </a:cubicBezTo>
                  <a:cubicBezTo>
                    <a:pt x="119266" y="11970"/>
                    <a:pt x="119162" y="11964"/>
                    <a:pt x="119055" y="11962"/>
                  </a:cubicBezTo>
                  <a:cubicBezTo>
                    <a:pt x="112071" y="11871"/>
                    <a:pt x="106336" y="17460"/>
                    <a:pt x="106245" y="24444"/>
                  </a:cubicBezTo>
                  <a:cubicBezTo>
                    <a:pt x="106243" y="24614"/>
                    <a:pt x="106243" y="24785"/>
                    <a:pt x="106248" y="24955"/>
                  </a:cubicBezTo>
                  <a:moveTo>
                    <a:pt x="111707" y="20535"/>
                  </a:moveTo>
                  <a:cubicBezTo>
                    <a:pt x="113006" y="17676"/>
                    <a:pt x="115860" y="15841"/>
                    <a:pt x="119002" y="15849"/>
                  </a:cubicBezTo>
                  <a:cubicBezTo>
                    <a:pt x="122038" y="15844"/>
                    <a:pt x="124751" y="17737"/>
                    <a:pt x="125792" y="20589"/>
                  </a:cubicBezTo>
                  <a:cubicBezTo>
                    <a:pt x="126218" y="21760"/>
                    <a:pt x="125526" y="22532"/>
                    <a:pt x="124327" y="22532"/>
                  </a:cubicBezTo>
                  <a:lnTo>
                    <a:pt x="113065" y="22532"/>
                  </a:lnTo>
                  <a:cubicBezTo>
                    <a:pt x="111786" y="22532"/>
                    <a:pt x="111121" y="21707"/>
                    <a:pt x="111707" y="20589"/>
                  </a:cubicBezTo>
                  <a:moveTo>
                    <a:pt x="135670" y="16408"/>
                  </a:moveTo>
                  <a:lnTo>
                    <a:pt x="137720" y="16408"/>
                  </a:lnTo>
                  <a:cubicBezTo>
                    <a:pt x="137971" y="16392"/>
                    <a:pt x="138184" y="16584"/>
                    <a:pt x="138200" y="16832"/>
                  </a:cubicBezTo>
                  <a:cubicBezTo>
                    <a:pt x="138200" y="16850"/>
                    <a:pt x="138200" y="16869"/>
                    <a:pt x="138200" y="16888"/>
                  </a:cubicBezTo>
                  <a:lnTo>
                    <a:pt x="138200" y="30414"/>
                  </a:lnTo>
                  <a:cubicBezTo>
                    <a:pt x="138200" y="36218"/>
                    <a:pt x="141475" y="38401"/>
                    <a:pt x="145495" y="38401"/>
                  </a:cubicBezTo>
                  <a:cubicBezTo>
                    <a:pt x="147564" y="38404"/>
                    <a:pt x="149622" y="38079"/>
                    <a:pt x="151592" y="37443"/>
                  </a:cubicBezTo>
                  <a:cubicBezTo>
                    <a:pt x="152090" y="37059"/>
                    <a:pt x="152239" y="36373"/>
                    <a:pt x="151939" y="35819"/>
                  </a:cubicBezTo>
                  <a:lnTo>
                    <a:pt x="151779" y="34354"/>
                  </a:lnTo>
                  <a:cubicBezTo>
                    <a:pt x="151779" y="33529"/>
                    <a:pt x="151140" y="33183"/>
                    <a:pt x="150314" y="33476"/>
                  </a:cubicBezTo>
                  <a:cubicBezTo>
                    <a:pt x="148837" y="33963"/>
                    <a:pt x="147292" y="34216"/>
                    <a:pt x="145735" y="34221"/>
                  </a:cubicBezTo>
                  <a:cubicBezTo>
                    <a:pt x="143472" y="34221"/>
                    <a:pt x="142247" y="32996"/>
                    <a:pt x="142247" y="30281"/>
                  </a:cubicBezTo>
                  <a:lnTo>
                    <a:pt x="142247" y="16834"/>
                  </a:lnTo>
                  <a:cubicBezTo>
                    <a:pt x="142231" y="16584"/>
                    <a:pt x="142423" y="16371"/>
                    <a:pt x="142670" y="16355"/>
                  </a:cubicBezTo>
                  <a:cubicBezTo>
                    <a:pt x="142689" y="16355"/>
                    <a:pt x="142707" y="16355"/>
                    <a:pt x="142726" y="16355"/>
                  </a:cubicBezTo>
                  <a:lnTo>
                    <a:pt x="150714" y="16355"/>
                  </a:lnTo>
                  <a:cubicBezTo>
                    <a:pt x="151329" y="16416"/>
                    <a:pt x="151877" y="15969"/>
                    <a:pt x="151939" y="15354"/>
                  </a:cubicBezTo>
                  <a:cubicBezTo>
                    <a:pt x="151947" y="15279"/>
                    <a:pt x="151947" y="15205"/>
                    <a:pt x="151939" y="15130"/>
                  </a:cubicBezTo>
                  <a:lnTo>
                    <a:pt x="151939" y="13666"/>
                  </a:lnTo>
                  <a:cubicBezTo>
                    <a:pt x="152003" y="13067"/>
                    <a:pt x="151569" y="12529"/>
                    <a:pt x="150969" y="12465"/>
                  </a:cubicBezTo>
                  <a:cubicBezTo>
                    <a:pt x="150884" y="12457"/>
                    <a:pt x="150799" y="12457"/>
                    <a:pt x="150714" y="12468"/>
                  </a:cubicBezTo>
                  <a:lnTo>
                    <a:pt x="142726" y="12468"/>
                  </a:lnTo>
                  <a:cubicBezTo>
                    <a:pt x="142462" y="12468"/>
                    <a:pt x="142247" y="12255"/>
                    <a:pt x="142247" y="11988"/>
                  </a:cubicBezTo>
                  <a:cubicBezTo>
                    <a:pt x="142247" y="11980"/>
                    <a:pt x="142247" y="11970"/>
                    <a:pt x="142247" y="11962"/>
                  </a:cubicBezTo>
                  <a:lnTo>
                    <a:pt x="142247" y="6636"/>
                  </a:lnTo>
                  <a:cubicBezTo>
                    <a:pt x="142247" y="5811"/>
                    <a:pt x="141767" y="5332"/>
                    <a:pt x="140889" y="5571"/>
                  </a:cubicBezTo>
                  <a:lnTo>
                    <a:pt x="138839" y="6104"/>
                  </a:lnTo>
                  <a:cubicBezTo>
                    <a:pt x="138200" y="6224"/>
                    <a:pt x="137760" y="6815"/>
                    <a:pt x="137827" y="7462"/>
                  </a:cubicBezTo>
                  <a:lnTo>
                    <a:pt x="137827" y="11855"/>
                  </a:lnTo>
                  <a:cubicBezTo>
                    <a:pt x="137843" y="12119"/>
                    <a:pt x="137640" y="12345"/>
                    <a:pt x="137377" y="12361"/>
                  </a:cubicBezTo>
                  <a:cubicBezTo>
                    <a:pt x="137358" y="12361"/>
                    <a:pt x="137340" y="12361"/>
                    <a:pt x="137321" y="12361"/>
                  </a:cubicBezTo>
                  <a:lnTo>
                    <a:pt x="135138" y="12361"/>
                  </a:lnTo>
                  <a:cubicBezTo>
                    <a:pt x="134539" y="12284"/>
                    <a:pt x="133993" y="12707"/>
                    <a:pt x="133915" y="13304"/>
                  </a:cubicBezTo>
                  <a:cubicBezTo>
                    <a:pt x="133905" y="13389"/>
                    <a:pt x="133905" y="13474"/>
                    <a:pt x="133913" y="13559"/>
                  </a:cubicBezTo>
                  <a:lnTo>
                    <a:pt x="133913" y="15024"/>
                  </a:lnTo>
                  <a:cubicBezTo>
                    <a:pt x="133851" y="15639"/>
                    <a:pt x="134299" y="16187"/>
                    <a:pt x="134914" y="16248"/>
                  </a:cubicBezTo>
                  <a:cubicBezTo>
                    <a:pt x="134988" y="16257"/>
                    <a:pt x="135063" y="16257"/>
                    <a:pt x="135138" y="16248"/>
                  </a:cubicBezTo>
                  <a:moveTo>
                    <a:pt x="168820" y="24023"/>
                  </a:moveTo>
                  <a:cubicBezTo>
                    <a:pt x="168758" y="24638"/>
                    <a:pt x="169206" y="25187"/>
                    <a:pt x="169821" y="25248"/>
                  </a:cubicBezTo>
                  <a:cubicBezTo>
                    <a:pt x="169895" y="25256"/>
                    <a:pt x="169970" y="25256"/>
                    <a:pt x="170044" y="25248"/>
                  </a:cubicBezTo>
                  <a:lnTo>
                    <a:pt x="175609" y="25248"/>
                  </a:lnTo>
                  <a:cubicBezTo>
                    <a:pt x="176134" y="25187"/>
                    <a:pt x="176613" y="25562"/>
                    <a:pt x="176674" y="26087"/>
                  </a:cubicBezTo>
                  <a:cubicBezTo>
                    <a:pt x="176682" y="26161"/>
                    <a:pt x="176682" y="26239"/>
                    <a:pt x="176674" y="26313"/>
                  </a:cubicBezTo>
                  <a:lnTo>
                    <a:pt x="176674" y="31772"/>
                  </a:lnTo>
                  <a:cubicBezTo>
                    <a:pt x="176581" y="32352"/>
                    <a:pt x="176975" y="32898"/>
                    <a:pt x="177556" y="32994"/>
                  </a:cubicBezTo>
                  <a:cubicBezTo>
                    <a:pt x="177659" y="33010"/>
                    <a:pt x="177769" y="33010"/>
                    <a:pt x="177872" y="32996"/>
                  </a:cubicBezTo>
                  <a:lnTo>
                    <a:pt x="179230" y="32996"/>
                  </a:lnTo>
                  <a:cubicBezTo>
                    <a:pt x="179846" y="33058"/>
                    <a:pt x="180394" y="32610"/>
                    <a:pt x="180455" y="31995"/>
                  </a:cubicBezTo>
                  <a:cubicBezTo>
                    <a:pt x="180463" y="31921"/>
                    <a:pt x="180463" y="31846"/>
                    <a:pt x="180455" y="31772"/>
                  </a:cubicBezTo>
                  <a:lnTo>
                    <a:pt x="180455" y="26313"/>
                  </a:lnTo>
                  <a:cubicBezTo>
                    <a:pt x="180410" y="25770"/>
                    <a:pt x="180812" y="25293"/>
                    <a:pt x="181353" y="25248"/>
                  </a:cubicBezTo>
                  <a:cubicBezTo>
                    <a:pt x="181408" y="25243"/>
                    <a:pt x="181464" y="25243"/>
                    <a:pt x="181520" y="25248"/>
                  </a:cubicBezTo>
                  <a:lnTo>
                    <a:pt x="186979" y="25248"/>
                  </a:lnTo>
                  <a:cubicBezTo>
                    <a:pt x="187594" y="25309"/>
                    <a:pt x="188142" y="24862"/>
                    <a:pt x="188203" y="24247"/>
                  </a:cubicBezTo>
                  <a:cubicBezTo>
                    <a:pt x="188211" y="24172"/>
                    <a:pt x="188211" y="24098"/>
                    <a:pt x="188203" y="24023"/>
                  </a:cubicBezTo>
                  <a:lnTo>
                    <a:pt x="188203" y="22665"/>
                  </a:lnTo>
                  <a:cubicBezTo>
                    <a:pt x="188267" y="22066"/>
                    <a:pt x="187833" y="21528"/>
                    <a:pt x="187234" y="21465"/>
                  </a:cubicBezTo>
                  <a:cubicBezTo>
                    <a:pt x="187149" y="21457"/>
                    <a:pt x="187064" y="21457"/>
                    <a:pt x="186979" y="21467"/>
                  </a:cubicBezTo>
                  <a:lnTo>
                    <a:pt x="181520" y="21467"/>
                  </a:lnTo>
                  <a:cubicBezTo>
                    <a:pt x="180977" y="21515"/>
                    <a:pt x="180500" y="21113"/>
                    <a:pt x="180453" y="20573"/>
                  </a:cubicBezTo>
                  <a:cubicBezTo>
                    <a:pt x="180447" y="20506"/>
                    <a:pt x="180447" y="20439"/>
                    <a:pt x="180455" y="20376"/>
                  </a:cubicBezTo>
                  <a:lnTo>
                    <a:pt x="180455" y="15050"/>
                  </a:lnTo>
                  <a:cubicBezTo>
                    <a:pt x="180535" y="14454"/>
                    <a:pt x="180114" y="13905"/>
                    <a:pt x="179515" y="13825"/>
                  </a:cubicBezTo>
                  <a:cubicBezTo>
                    <a:pt x="179422" y="13812"/>
                    <a:pt x="179326" y="13812"/>
                    <a:pt x="179230" y="13825"/>
                  </a:cubicBezTo>
                  <a:lnTo>
                    <a:pt x="177846" y="13825"/>
                  </a:lnTo>
                  <a:cubicBezTo>
                    <a:pt x="177266" y="13730"/>
                    <a:pt x="176717" y="14121"/>
                    <a:pt x="176621" y="14702"/>
                  </a:cubicBezTo>
                  <a:cubicBezTo>
                    <a:pt x="176602" y="14819"/>
                    <a:pt x="176602" y="14936"/>
                    <a:pt x="176621" y="15050"/>
                  </a:cubicBezTo>
                  <a:lnTo>
                    <a:pt x="176621" y="20376"/>
                  </a:lnTo>
                  <a:cubicBezTo>
                    <a:pt x="176698" y="20900"/>
                    <a:pt x="176336" y="21387"/>
                    <a:pt x="175814" y="21465"/>
                  </a:cubicBezTo>
                  <a:cubicBezTo>
                    <a:pt x="175729" y="21478"/>
                    <a:pt x="175641" y="21478"/>
                    <a:pt x="175556" y="21467"/>
                  </a:cubicBezTo>
                  <a:lnTo>
                    <a:pt x="170044" y="21467"/>
                  </a:lnTo>
                  <a:cubicBezTo>
                    <a:pt x="169445" y="21390"/>
                    <a:pt x="168899" y="21813"/>
                    <a:pt x="168822" y="22410"/>
                  </a:cubicBezTo>
                  <a:cubicBezTo>
                    <a:pt x="168812" y="22495"/>
                    <a:pt x="168812" y="22580"/>
                    <a:pt x="168820" y="22665"/>
                  </a:cubicBezTo>
                  <a:close/>
                  <a:moveTo>
                    <a:pt x="209185" y="48360"/>
                  </a:moveTo>
                  <a:lnTo>
                    <a:pt x="210995" y="48360"/>
                  </a:lnTo>
                  <a:cubicBezTo>
                    <a:pt x="211595" y="48421"/>
                    <a:pt x="212132" y="47987"/>
                    <a:pt x="212194" y="47385"/>
                  </a:cubicBezTo>
                  <a:cubicBezTo>
                    <a:pt x="212202" y="47311"/>
                    <a:pt x="212202" y="47236"/>
                    <a:pt x="212194" y="47161"/>
                  </a:cubicBezTo>
                  <a:lnTo>
                    <a:pt x="212194" y="37070"/>
                  </a:lnTo>
                  <a:cubicBezTo>
                    <a:pt x="212194" y="35659"/>
                    <a:pt x="212966" y="35366"/>
                    <a:pt x="214137" y="36192"/>
                  </a:cubicBezTo>
                  <a:cubicBezTo>
                    <a:pt x="216233" y="37528"/>
                    <a:pt x="218682" y="38207"/>
                    <a:pt x="221167" y="38135"/>
                  </a:cubicBezTo>
                  <a:cubicBezTo>
                    <a:pt x="228284" y="38066"/>
                    <a:pt x="233998" y="32240"/>
                    <a:pt x="233926" y="25123"/>
                  </a:cubicBezTo>
                  <a:cubicBezTo>
                    <a:pt x="233926" y="25022"/>
                    <a:pt x="233923" y="24923"/>
                    <a:pt x="233921" y="24822"/>
                  </a:cubicBezTo>
                  <a:cubicBezTo>
                    <a:pt x="234067" y="17766"/>
                    <a:pt x="228468" y="11924"/>
                    <a:pt x="221409" y="11778"/>
                  </a:cubicBezTo>
                  <a:cubicBezTo>
                    <a:pt x="221356" y="11775"/>
                    <a:pt x="221300" y="11775"/>
                    <a:pt x="221247" y="11775"/>
                  </a:cubicBezTo>
                  <a:cubicBezTo>
                    <a:pt x="218469" y="11695"/>
                    <a:pt x="215748" y="12558"/>
                    <a:pt x="213525" y="14225"/>
                  </a:cubicBezTo>
                  <a:cubicBezTo>
                    <a:pt x="212433" y="15050"/>
                    <a:pt x="211608" y="14864"/>
                    <a:pt x="211368" y="13479"/>
                  </a:cubicBezTo>
                  <a:lnTo>
                    <a:pt x="211368" y="13479"/>
                  </a:lnTo>
                  <a:cubicBezTo>
                    <a:pt x="211312" y="12814"/>
                    <a:pt x="210732" y="12316"/>
                    <a:pt x="210064" y="12361"/>
                  </a:cubicBezTo>
                  <a:lnTo>
                    <a:pt x="209185" y="12361"/>
                  </a:lnTo>
                  <a:cubicBezTo>
                    <a:pt x="208586" y="12284"/>
                    <a:pt x="208040" y="12707"/>
                    <a:pt x="207963" y="13304"/>
                  </a:cubicBezTo>
                  <a:cubicBezTo>
                    <a:pt x="207952" y="13389"/>
                    <a:pt x="207952" y="13474"/>
                    <a:pt x="207960" y="13559"/>
                  </a:cubicBezTo>
                  <a:lnTo>
                    <a:pt x="207960" y="47161"/>
                  </a:lnTo>
                  <a:cubicBezTo>
                    <a:pt x="207896" y="47760"/>
                    <a:pt x="208330" y="48298"/>
                    <a:pt x="208929" y="48362"/>
                  </a:cubicBezTo>
                  <a:cubicBezTo>
                    <a:pt x="209014" y="48370"/>
                    <a:pt x="209100" y="48370"/>
                    <a:pt x="209185" y="48360"/>
                  </a:cubicBezTo>
                  <a:moveTo>
                    <a:pt x="212540" y="28017"/>
                  </a:moveTo>
                  <a:lnTo>
                    <a:pt x="212540" y="21947"/>
                  </a:lnTo>
                  <a:cubicBezTo>
                    <a:pt x="212500" y="21206"/>
                    <a:pt x="212686" y="20474"/>
                    <a:pt x="213072" y="19843"/>
                  </a:cubicBezTo>
                  <a:cubicBezTo>
                    <a:pt x="214744" y="17260"/>
                    <a:pt x="217636" y="15727"/>
                    <a:pt x="220714" y="15796"/>
                  </a:cubicBezTo>
                  <a:cubicBezTo>
                    <a:pt x="225571" y="15985"/>
                    <a:pt x="229370" y="20045"/>
                    <a:pt x="229234" y="24902"/>
                  </a:cubicBezTo>
                  <a:cubicBezTo>
                    <a:pt x="229445" y="29825"/>
                    <a:pt x="225637" y="33992"/>
                    <a:pt x="220714" y="34221"/>
                  </a:cubicBezTo>
                  <a:cubicBezTo>
                    <a:pt x="217620" y="34304"/>
                    <a:pt x="214712" y="32746"/>
                    <a:pt x="213072" y="30121"/>
                  </a:cubicBezTo>
                  <a:cubicBezTo>
                    <a:pt x="212686" y="29490"/>
                    <a:pt x="212500" y="28757"/>
                    <a:pt x="212540" y="28017"/>
                  </a:cubicBezTo>
                  <a:moveTo>
                    <a:pt x="238740" y="24849"/>
                  </a:moveTo>
                  <a:cubicBezTo>
                    <a:pt x="238415" y="31870"/>
                    <a:pt x="243844" y="37826"/>
                    <a:pt x="250868" y="38148"/>
                  </a:cubicBezTo>
                  <a:cubicBezTo>
                    <a:pt x="251110" y="38159"/>
                    <a:pt x="251355" y="38165"/>
                    <a:pt x="251600" y="38162"/>
                  </a:cubicBezTo>
                  <a:cubicBezTo>
                    <a:pt x="256369" y="38359"/>
                    <a:pt x="260738" y="35518"/>
                    <a:pt x="262491" y="31079"/>
                  </a:cubicBezTo>
                  <a:cubicBezTo>
                    <a:pt x="262783" y="30254"/>
                    <a:pt x="262251" y="29695"/>
                    <a:pt x="261425" y="29695"/>
                  </a:cubicBezTo>
                  <a:lnTo>
                    <a:pt x="259588" y="29695"/>
                  </a:lnTo>
                  <a:cubicBezTo>
                    <a:pt x="258955" y="29684"/>
                    <a:pt x="258385" y="30081"/>
                    <a:pt x="258177" y="30680"/>
                  </a:cubicBezTo>
                  <a:cubicBezTo>
                    <a:pt x="256907" y="33090"/>
                    <a:pt x="254311" y="34498"/>
                    <a:pt x="251600" y="34248"/>
                  </a:cubicBezTo>
                  <a:cubicBezTo>
                    <a:pt x="247801" y="34344"/>
                    <a:pt x="244459" y="31748"/>
                    <a:pt x="243612" y="28044"/>
                  </a:cubicBezTo>
                  <a:cubicBezTo>
                    <a:pt x="243320" y="26926"/>
                    <a:pt x="244012" y="26207"/>
                    <a:pt x="245184" y="26207"/>
                  </a:cubicBezTo>
                  <a:lnTo>
                    <a:pt x="261718" y="26207"/>
                  </a:lnTo>
                  <a:cubicBezTo>
                    <a:pt x="262570" y="26265"/>
                    <a:pt x="263308" y="25624"/>
                    <a:pt x="263366" y="24774"/>
                  </a:cubicBezTo>
                  <a:cubicBezTo>
                    <a:pt x="263369" y="24726"/>
                    <a:pt x="263369" y="24681"/>
                    <a:pt x="263369" y="24636"/>
                  </a:cubicBezTo>
                  <a:cubicBezTo>
                    <a:pt x="263739" y="17939"/>
                    <a:pt x="258611" y="12212"/>
                    <a:pt x="251917" y="11842"/>
                  </a:cubicBezTo>
                  <a:cubicBezTo>
                    <a:pt x="251811" y="11837"/>
                    <a:pt x="251707" y="11831"/>
                    <a:pt x="251600" y="11829"/>
                  </a:cubicBezTo>
                  <a:cubicBezTo>
                    <a:pt x="244616" y="11738"/>
                    <a:pt x="238881" y="17327"/>
                    <a:pt x="238791" y="24311"/>
                  </a:cubicBezTo>
                  <a:cubicBezTo>
                    <a:pt x="238788" y="24481"/>
                    <a:pt x="238788" y="24652"/>
                    <a:pt x="238793" y="24822"/>
                  </a:cubicBezTo>
                  <a:moveTo>
                    <a:pt x="244118" y="20402"/>
                  </a:moveTo>
                  <a:cubicBezTo>
                    <a:pt x="245418" y="17542"/>
                    <a:pt x="248272" y="15708"/>
                    <a:pt x="251414" y="15716"/>
                  </a:cubicBezTo>
                  <a:cubicBezTo>
                    <a:pt x="254449" y="15711"/>
                    <a:pt x="257163" y="17604"/>
                    <a:pt x="258204" y="20455"/>
                  </a:cubicBezTo>
                  <a:cubicBezTo>
                    <a:pt x="258630" y="21627"/>
                    <a:pt x="257964" y="22399"/>
                    <a:pt x="256739" y="22399"/>
                  </a:cubicBezTo>
                  <a:lnTo>
                    <a:pt x="245476" y="22399"/>
                  </a:lnTo>
                  <a:cubicBezTo>
                    <a:pt x="244225" y="22399"/>
                    <a:pt x="243533" y="21574"/>
                    <a:pt x="244118" y="20455"/>
                  </a:cubicBezTo>
                  <a:moveTo>
                    <a:pt x="268082" y="24875"/>
                  </a:moveTo>
                  <a:cubicBezTo>
                    <a:pt x="267920" y="32064"/>
                    <a:pt x="273615" y="38026"/>
                    <a:pt x="280801" y="38188"/>
                  </a:cubicBezTo>
                  <a:cubicBezTo>
                    <a:pt x="281001" y="38194"/>
                    <a:pt x="281198" y="38194"/>
                    <a:pt x="281395" y="38188"/>
                  </a:cubicBezTo>
                  <a:cubicBezTo>
                    <a:pt x="288584" y="38351"/>
                    <a:pt x="294546" y="32658"/>
                    <a:pt x="294708" y="25469"/>
                  </a:cubicBezTo>
                  <a:cubicBezTo>
                    <a:pt x="294713" y="25269"/>
                    <a:pt x="294713" y="25072"/>
                    <a:pt x="294708" y="24875"/>
                  </a:cubicBezTo>
                  <a:cubicBezTo>
                    <a:pt x="294785" y="17774"/>
                    <a:pt x="289093" y="11954"/>
                    <a:pt x="281989" y="11874"/>
                  </a:cubicBezTo>
                  <a:cubicBezTo>
                    <a:pt x="281792" y="11871"/>
                    <a:pt x="281592" y="11874"/>
                    <a:pt x="281395" y="11882"/>
                  </a:cubicBezTo>
                  <a:cubicBezTo>
                    <a:pt x="274281" y="11647"/>
                    <a:pt x="268324" y="17223"/>
                    <a:pt x="268087" y="24335"/>
                  </a:cubicBezTo>
                  <a:cubicBezTo>
                    <a:pt x="268082" y="24516"/>
                    <a:pt x="268079" y="24694"/>
                    <a:pt x="268082" y="24875"/>
                  </a:cubicBezTo>
                  <a:moveTo>
                    <a:pt x="272662" y="25035"/>
                  </a:moveTo>
                  <a:cubicBezTo>
                    <a:pt x="272427" y="20189"/>
                    <a:pt x="276166" y="16067"/>
                    <a:pt x="281012" y="15833"/>
                  </a:cubicBezTo>
                  <a:cubicBezTo>
                    <a:pt x="281185" y="15825"/>
                    <a:pt x="281355" y="15820"/>
                    <a:pt x="281528" y="15822"/>
                  </a:cubicBezTo>
                  <a:cubicBezTo>
                    <a:pt x="286395" y="15817"/>
                    <a:pt x="290347" y="19760"/>
                    <a:pt x="290349" y="24628"/>
                  </a:cubicBezTo>
                  <a:cubicBezTo>
                    <a:pt x="290352" y="24764"/>
                    <a:pt x="290347" y="24899"/>
                    <a:pt x="290341" y="25035"/>
                  </a:cubicBezTo>
                  <a:cubicBezTo>
                    <a:pt x="290546" y="29913"/>
                    <a:pt x="286760" y="34035"/>
                    <a:pt x="281882" y="34240"/>
                  </a:cubicBezTo>
                  <a:cubicBezTo>
                    <a:pt x="281765" y="34245"/>
                    <a:pt x="281645" y="34248"/>
                    <a:pt x="281528" y="34248"/>
                  </a:cubicBezTo>
                  <a:cubicBezTo>
                    <a:pt x="276645" y="34266"/>
                    <a:pt x="272672" y="30326"/>
                    <a:pt x="272654" y="25442"/>
                  </a:cubicBezTo>
                  <a:cubicBezTo>
                    <a:pt x="272654" y="25307"/>
                    <a:pt x="272656" y="25171"/>
                    <a:pt x="272662" y="25035"/>
                  </a:cubicBezTo>
                  <a:moveTo>
                    <a:pt x="302749" y="48386"/>
                  </a:moveTo>
                  <a:lnTo>
                    <a:pt x="304533" y="48386"/>
                  </a:lnTo>
                  <a:cubicBezTo>
                    <a:pt x="305132" y="48463"/>
                    <a:pt x="305678" y="48040"/>
                    <a:pt x="305755" y="47444"/>
                  </a:cubicBezTo>
                  <a:cubicBezTo>
                    <a:pt x="305766" y="47359"/>
                    <a:pt x="305766" y="47273"/>
                    <a:pt x="305758" y="47188"/>
                  </a:cubicBezTo>
                  <a:lnTo>
                    <a:pt x="305758" y="37097"/>
                  </a:lnTo>
                  <a:cubicBezTo>
                    <a:pt x="305758" y="35686"/>
                    <a:pt x="306530" y="35393"/>
                    <a:pt x="307702" y="36218"/>
                  </a:cubicBezTo>
                  <a:cubicBezTo>
                    <a:pt x="309795" y="37560"/>
                    <a:pt x="312247" y="38236"/>
                    <a:pt x="314731" y="38162"/>
                  </a:cubicBezTo>
                  <a:cubicBezTo>
                    <a:pt x="321861" y="38077"/>
                    <a:pt x="327575" y="32227"/>
                    <a:pt x="327490" y="25096"/>
                  </a:cubicBezTo>
                  <a:cubicBezTo>
                    <a:pt x="327490" y="25014"/>
                    <a:pt x="327488" y="24931"/>
                    <a:pt x="327485" y="24849"/>
                  </a:cubicBezTo>
                  <a:cubicBezTo>
                    <a:pt x="327631" y="17793"/>
                    <a:pt x="322032" y="11951"/>
                    <a:pt x="314973" y="11805"/>
                  </a:cubicBezTo>
                  <a:cubicBezTo>
                    <a:pt x="314920" y="11802"/>
                    <a:pt x="314864" y="11802"/>
                    <a:pt x="314811" y="11802"/>
                  </a:cubicBezTo>
                  <a:cubicBezTo>
                    <a:pt x="312026" y="11725"/>
                    <a:pt x="309297" y="12587"/>
                    <a:pt x="307063" y="14252"/>
                  </a:cubicBezTo>
                  <a:cubicBezTo>
                    <a:pt x="305998" y="15077"/>
                    <a:pt x="305172" y="14891"/>
                    <a:pt x="304933" y="13506"/>
                  </a:cubicBezTo>
                  <a:lnTo>
                    <a:pt x="304933" y="13506"/>
                  </a:lnTo>
                  <a:cubicBezTo>
                    <a:pt x="304877" y="12840"/>
                    <a:pt x="304296" y="12342"/>
                    <a:pt x="303628" y="12388"/>
                  </a:cubicBezTo>
                  <a:lnTo>
                    <a:pt x="302749" y="12388"/>
                  </a:lnTo>
                  <a:cubicBezTo>
                    <a:pt x="302150" y="12310"/>
                    <a:pt x="301604" y="12734"/>
                    <a:pt x="301527" y="13330"/>
                  </a:cubicBezTo>
                  <a:cubicBezTo>
                    <a:pt x="301516" y="13415"/>
                    <a:pt x="301516" y="13501"/>
                    <a:pt x="301524" y="13586"/>
                  </a:cubicBezTo>
                  <a:lnTo>
                    <a:pt x="301524" y="47188"/>
                  </a:lnTo>
                  <a:cubicBezTo>
                    <a:pt x="301461" y="47787"/>
                    <a:pt x="301894" y="48325"/>
                    <a:pt x="302494" y="48389"/>
                  </a:cubicBezTo>
                  <a:cubicBezTo>
                    <a:pt x="302579" y="48397"/>
                    <a:pt x="302664" y="48397"/>
                    <a:pt x="302749" y="48386"/>
                  </a:cubicBezTo>
                  <a:moveTo>
                    <a:pt x="306104" y="28044"/>
                  </a:moveTo>
                  <a:lnTo>
                    <a:pt x="306104" y="21973"/>
                  </a:lnTo>
                  <a:cubicBezTo>
                    <a:pt x="306051" y="21233"/>
                    <a:pt x="306237" y="20495"/>
                    <a:pt x="306637" y="19870"/>
                  </a:cubicBezTo>
                  <a:cubicBezTo>
                    <a:pt x="308306" y="17282"/>
                    <a:pt x="311200" y="15748"/>
                    <a:pt x="314278" y="15822"/>
                  </a:cubicBezTo>
                  <a:cubicBezTo>
                    <a:pt x="319135" y="16012"/>
                    <a:pt x="322935" y="20072"/>
                    <a:pt x="322799" y="24929"/>
                  </a:cubicBezTo>
                  <a:cubicBezTo>
                    <a:pt x="323009" y="29852"/>
                    <a:pt x="319201" y="34019"/>
                    <a:pt x="314278" y="34248"/>
                  </a:cubicBezTo>
                  <a:cubicBezTo>
                    <a:pt x="311184" y="34338"/>
                    <a:pt x="308274" y="32775"/>
                    <a:pt x="306637" y="30147"/>
                  </a:cubicBezTo>
                  <a:cubicBezTo>
                    <a:pt x="306237" y="29522"/>
                    <a:pt x="306051" y="28784"/>
                    <a:pt x="306104" y="28044"/>
                  </a:cubicBezTo>
                  <a:moveTo>
                    <a:pt x="337496" y="-286"/>
                  </a:moveTo>
                  <a:lnTo>
                    <a:pt x="335366" y="-286"/>
                  </a:lnTo>
                  <a:cubicBezTo>
                    <a:pt x="334751" y="-348"/>
                    <a:pt x="334203" y="100"/>
                    <a:pt x="334141" y="715"/>
                  </a:cubicBezTo>
                  <a:cubicBezTo>
                    <a:pt x="334133" y="789"/>
                    <a:pt x="334133" y="864"/>
                    <a:pt x="334141" y="938"/>
                  </a:cubicBezTo>
                  <a:lnTo>
                    <a:pt x="334141" y="36484"/>
                  </a:lnTo>
                  <a:cubicBezTo>
                    <a:pt x="334078" y="37083"/>
                    <a:pt x="334511" y="37621"/>
                    <a:pt x="335111" y="37685"/>
                  </a:cubicBezTo>
                  <a:cubicBezTo>
                    <a:pt x="335196" y="37693"/>
                    <a:pt x="335281" y="37693"/>
                    <a:pt x="335366" y="37683"/>
                  </a:cubicBezTo>
                  <a:lnTo>
                    <a:pt x="337496" y="37683"/>
                  </a:lnTo>
                  <a:cubicBezTo>
                    <a:pt x="338095" y="37760"/>
                    <a:pt x="338641" y="37336"/>
                    <a:pt x="338718" y="36740"/>
                  </a:cubicBezTo>
                  <a:cubicBezTo>
                    <a:pt x="338729" y="36655"/>
                    <a:pt x="338729" y="36570"/>
                    <a:pt x="338721" y="36484"/>
                  </a:cubicBezTo>
                  <a:lnTo>
                    <a:pt x="338721" y="885"/>
                  </a:lnTo>
                  <a:cubicBezTo>
                    <a:pt x="338782" y="270"/>
                    <a:pt x="338335" y="-278"/>
                    <a:pt x="337720" y="-340"/>
                  </a:cubicBezTo>
                  <a:cubicBezTo>
                    <a:pt x="337645" y="-348"/>
                    <a:pt x="337571" y="-348"/>
                    <a:pt x="337496" y="-340"/>
                  </a:cubicBezTo>
                  <a:moveTo>
                    <a:pt x="345484" y="24822"/>
                  </a:moveTo>
                  <a:cubicBezTo>
                    <a:pt x="345159" y="31843"/>
                    <a:pt x="350588" y="37800"/>
                    <a:pt x="357612" y="38122"/>
                  </a:cubicBezTo>
                  <a:cubicBezTo>
                    <a:pt x="357855" y="38132"/>
                    <a:pt x="358100" y="38138"/>
                    <a:pt x="358345" y="38135"/>
                  </a:cubicBezTo>
                  <a:cubicBezTo>
                    <a:pt x="363113" y="38332"/>
                    <a:pt x="367483" y="35491"/>
                    <a:pt x="369235" y="31053"/>
                  </a:cubicBezTo>
                  <a:cubicBezTo>
                    <a:pt x="369528" y="30227"/>
                    <a:pt x="368995" y="29668"/>
                    <a:pt x="368170" y="29668"/>
                  </a:cubicBezTo>
                  <a:lnTo>
                    <a:pt x="366333" y="29668"/>
                  </a:lnTo>
                  <a:cubicBezTo>
                    <a:pt x="365699" y="29657"/>
                    <a:pt x="365129" y="30054"/>
                    <a:pt x="364921" y="30653"/>
                  </a:cubicBezTo>
                  <a:cubicBezTo>
                    <a:pt x="363651" y="33063"/>
                    <a:pt x="361058" y="34471"/>
                    <a:pt x="358345" y="34221"/>
                  </a:cubicBezTo>
                  <a:cubicBezTo>
                    <a:pt x="354561" y="34266"/>
                    <a:pt x="351249" y="31694"/>
                    <a:pt x="350357" y="28017"/>
                  </a:cubicBezTo>
                  <a:cubicBezTo>
                    <a:pt x="350064" y="26899"/>
                    <a:pt x="350756" y="26180"/>
                    <a:pt x="351928" y="26180"/>
                  </a:cubicBezTo>
                  <a:lnTo>
                    <a:pt x="368463" y="26180"/>
                  </a:lnTo>
                  <a:cubicBezTo>
                    <a:pt x="369315" y="26239"/>
                    <a:pt x="370052" y="25597"/>
                    <a:pt x="370111" y="24745"/>
                  </a:cubicBezTo>
                  <a:cubicBezTo>
                    <a:pt x="370113" y="24700"/>
                    <a:pt x="370113" y="24654"/>
                    <a:pt x="370113" y="24609"/>
                  </a:cubicBezTo>
                  <a:cubicBezTo>
                    <a:pt x="370483" y="17913"/>
                    <a:pt x="365358" y="12185"/>
                    <a:pt x="358661" y="11815"/>
                  </a:cubicBezTo>
                  <a:cubicBezTo>
                    <a:pt x="358566" y="11810"/>
                    <a:pt x="358467" y="11805"/>
                    <a:pt x="358371" y="11802"/>
                  </a:cubicBezTo>
                  <a:cubicBezTo>
                    <a:pt x="351371" y="11711"/>
                    <a:pt x="345625" y="17311"/>
                    <a:pt x="345535" y="24311"/>
                  </a:cubicBezTo>
                  <a:cubicBezTo>
                    <a:pt x="345532" y="24473"/>
                    <a:pt x="345532" y="24633"/>
                    <a:pt x="345538" y="24795"/>
                  </a:cubicBezTo>
                  <a:moveTo>
                    <a:pt x="350863" y="20376"/>
                  </a:moveTo>
                  <a:cubicBezTo>
                    <a:pt x="352165" y="17505"/>
                    <a:pt x="355032" y="15671"/>
                    <a:pt x="358185" y="15689"/>
                  </a:cubicBezTo>
                  <a:cubicBezTo>
                    <a:pt x="361215" y="15679"/>
                    <a:pt x="363923" y="17577"/>
                    <a:pt x="364948" y="20429"/>
                  </a:cubicBezTo>
                  <a:cubicBezTo>
                    <a:pt x="365401" y="21600"/>
                    <a:pt x="364708" y="22373"/>
                    <a:pt x="363484" y="22373"/>
                  </a:cubicBezTo>
                  <a:lnTo>
                    <a:pt x="352221" y="22373"/>
                  </a:lnTo>
                  <a:cubicBezTo>
                    <a:pt x="350969" y="22373"/>
                    <a:pt x="350277" y="21547"/>
                    <a:pt x="350863" y="20429"/>
                  </a:cubicBezTo>
                </a:path>
              </a:pathLst>
            </a:custGeom>
            <a:solidFill>
              <a:srgbClr val="FFFFFF"/>
            </a:solidFill>
            <a:ln w="2661" cap="flat">
              <a:noFill/>
              <a:prstDash val="solid"/>
              <a:miter/>
            </a:ln>
          </p:spPr>
          <p:txBody>
            <a:bodyPr rtlCol="0" anchor="ctr"/>
            <a:lstStyle/>
            <a:p>
              <a:endParaRPr lang="pl-PL"/>
            </a:p>
          </p:txBody>
        </p:sp>
        <p:sp>
          <p:nvSpPr>
            <p:cNvPr id="152" name="Freeform: Shape 151">
              <a:extLst>
                <a:ext uri="{FF2B5EF4-FFF2-40B4-BE49-F238E27FC236}">
                  <a16:creationId xmlns:a16="http://schemas.microsoft.com/office/drawing/2014/main" id="{07EA594F-2B9F-4761-8A20-ACFEB0A84041}"/>
                </a:ext>
              </a:extLst>
            </p:cNvPr>
            <p:cNvSpPr/>
            <p:nvPr/>
          </p:nvSpPr>
          <p:spPr>
            <a:xfrm>
              <a:off x="11848503" y="6635533"/>
              <a:ext cx="6855" cy="8973"/>
            </a:xfrm>
            <a:custGeom>
              <a:avLst/>
              <a:gdLst>
                <a:gd name="connsiteX0" fmla="*/ 992 w 12147"/>
                <a:gd name="connsiteY0" fmla="*/ 1467 h 15900"/>
                <a:gd name="connsiteX1" fmla="*/ 992 w 12147"/>
                <a:gd name="connsiteY1" fmla="*/ 295 h 15900"/>
                <a:gd name="connsiteX2" fmla="*/ 1519 w 12147"/>
                <a:gd name="connsiteY2" fmla="*/ -344 h 15900"/>
                <a:gd name="connsiteX3" fmla="*/ 1631 w 12147"/>
                <a:gd name="connsiteY3" fmla="*/ -344 h 15900"/>
                <a:gd name="connsiteX4" fmla="*/ 12521 w 12147"/>
                <a:gd name="connsiteY4" fmla="*/ -344 h 15900"/>
                <a:gd name="connsiteX5" fmla="*/ 13136 w 12147"/>
                <a:gd name="connsiteY5" fmla="*/ 213 h 15900"/>
                <a:gd name="connsiteX6" fmla="*/ 13133 w 12147"/>
                <a:gd name="connsiteY6" fmla="*/ 295 h 15900"/>
                <a:gd name="connsiteX7" fmla="*/ 13133 w 12147"/>
                <a:gd name="connsiteY7" fmla="*/ 1467 h 15900"/>
                <a:gd name="connsiteX8" fmla="*/ 12603 w 12147"/>
                <a:gd name="connsiteY8" fmla="*/ 2103 h 15900"/>
                <a:gd name="connsiteX9" fmla="*/ 12521 w 12147"/>
                <a:gd name="connsiteY9" fmla="*/ 2106 h 15900"/>
                <a:gd name="connsiteX10" fmla="*/ 8926 w 12147"/>
                <a:gd name="connsiteY10" fmla="*/ 2106 h 15900"/>
                <a:gd name="connsiteX11" fmla="*/ 8447 w 12147"/>
                <a:gd name="connsiteY11" fmla="*/ 2471 h 15900"/>
                <a:gd name="connsiteX12" fmla="*/ 8447 w 12147"/>
                <a:gd name="connsiteY12" fmla="*/ 2585 h 15900"/>
                <a:gd name="connsiteX13" fmla="*/ 8447 w 12147"/>
                <a:gd name="connsiteY13" fmla="*/ 14940 h 15900"/>
                <a:gd name="connsiteX14" fmla="*/ 7890 w 12147"/>
                <a:gd name="connsiteY14" fmla="*/ 15555 h 15900"/>
                <a:gd name="connsiteX15" fmla="*/ 7808 w 12147"/>
                <a:gd name="connsiteY15" fmla="*/ 15552 h 15900"/>
                <a:gd name="connsiteX16" fmla="*/ 6184 w 12147"/>
                <a:gd name="connsiteY16" fmla="*/ 15552 h 15900"/>
                <a:gd name="connsiteX17" fmla="*/ 5547 w 12147"/>
                <a:gd name="connsiteY17" fmla="*/ 15022 h 15900"/>
                <a:gd name="connsiteX18" fmla="*/ 5545 w 12147"/>
                <a:gd name="connsiteY18" fmla="*/ 14940 h 15900"/>
                <a:gd name="connsiteX19" fmla="*/ 5545 w 12147"/>
                <a:gd name="connsiteY19" fmla="*/ 2585 h 15900"/>
                <a:gd name="connsiteX20" fmla="*/ 5180 w 12147"/>
                <a:gd name="connsiteY20" fmla="*/ 2106 h 15900"/>
                <a:gd name="connsiteX21" fmla="*/ 5065 w 12147"/>
                <a:gd name="connsiteY21" fmla="*/ 2106 h 15900"/>
                <a:gd name="connsiteX22" fmla="*/ 1631 w 12147"/>
                <a:gd name="connsiteY22" fmla="*/ 2106 h 15900"/>
                <a:gd name="connsiteX23" fmla="*/ 992 w 12147"/>
                <a:gd name="connsiteY23" fmla="*/ 1579 h 15900"/>
                <a:gd name="connsiteX24" fmla="*/ 992 w 12147"/>
                <a:gd name="connsiteY24" fmla="*/ 1467 h 1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147" h="15900">
                  <a:moveTo>
                    <a:pt x="992" y="1467"/>
                  </a:moveTo>
                  <a:lnTo>
                    <a:pt x="992" y="295"/>
                  </a:lnTo>
                  <a:cubicBezTo>
                    <a:pt x="960" y="-27"/>
                    <a:pt x="1197" y="-312"/>
                    <a:pt x="1519" y="-344"/>
                  </a:cubicBezTo>
                  <a:cubicBezTo>
                    <a:pt x="1556" y="-346"/>
                    <a:pt x="1593" y="-346"/>
                    <a:pt x="1631" y="-344"/>
                  </a:cubicBezTo>
                  <a:lnTo>
                    <a:pt x="12521" y="-344"/>
                  </a:lnTo>
                  <a:cubicBezTo>
                    <a:pt x="12843" y="-360"/>
                    <a:pt x="13120" y="-112"/>
                    <a:pt x="13136" y="213"/>
                  </a:cubicBezTo>
                  <a:cubicBezTo>
                    <a:pt x="13136" y="240"/>
                    <a:pt x="13136" y="269"/>
                    <a:pt x="13133" y="295"/>
                  </a:cubicBezTo>
                  <a:lnTo>
                    <a:pt x="13133" y="1467"/>
                  </a:lnTo>
                  <a:cubicBezTo>
                    <a:pt x="13163" y="1789"/>
                    <a:pt x="12925" y="2074"/>
                    <a:pt x="12603" y="2103"/>
                  </a:cubicBezTo>
                  <a:cubicBezTo>
                    <a:pt x="12577" y="2106"/>
                    <a:pt x="12547" y="2109"/>
                    <a:pt x="12521" y="2106"/>
                  </a:cubicBezTo>
                  <a:lnTo>
                    <a:pt x="8926" y="2106"/>
                  </a:lnTo>
                  <a:cubicBezTo>
                    <a:pt x="8692" y="2074"/>
                    <a:pt x="8479" y="2239"/>
                    <a:pt x="8447" y="2471"/>
                  </a:cubicBezTo>
                  <a:cubicBezTo>
                    <a:pt x="8442" y="2508"/>
                    <a:pt x="8442" y="2548"/>
                    <a:pt x="8447" y="2585"/>
                  </a:cubicBezTo>
                  <a:lnTo>
                    <a:pt x="8447" y="14940"/>
                  </a:lnTo>
                  <a:cubicBezTo>
                    <a:pt x="8463" y="15262"/>
                    <a:pt x="8215" y="15539"/>
                    <a:pt x="7890" y="15555"/>
                  </a:cubicBezTo>
                  <a:cubicBezTo>
                    <a:pt x="7864" y="15555"/>
                    <a:pt x="7835" y="15555"/>
                    <a:pt x="7808" y="15552"/>
                  </a:cubicBezTo>
                  <a:lnTo>
                    <a:pt x="6184" y="15552"/>
                  </a:lnTo>
                  <a:cubicBezTo>
                    <a:pt x="5862" y="15581"/>
                    <a:pt x="5577" y="15345"/>
                    <a:pt x="5547" y="15022"/>
                  </a:cubicBezTo>
                  <a:cubicBezTo>
                    <a:pt x="5545" y="14996"/>
                    <a:pt x="5545" y="14966"/>
                    <a:pt x="5545" y="14940"/>
                  </a:cubicBezTo>
                  <a:lnTo>
                    <a:pt x="5545" y="2585"/>
                  </a:lnTo>
                  <a:cubicBezTo>
                    <a:pt x="5577" y="2351"/>
                    <a:pt x="5412" y="2138"/>
                    <a:pt x="5180" y="2106"/>
                  </a:cubicBezTo>
                  <a:cubicBezTo>
                    <a:pt x="5143" y="2101"/>
                    <a:pt x="5103" y="2101"/>
                    <a:pt x="5065" y="2106"/>
                  </a:cubicBezTo>
                  <a:lnTo>
                    <a:pt x="1631" y="2106"/>
                  </a:lnTo>
                  <a:cubicBezTo>
                    <a:pt x="1308" y="2138"/>
                    <a:pt x="1024" y="1901"/>
                    <a:pt x="992" y="1579"/>
                  </a:cubicBezTo>
                  <a:cubicBezTo>
                    <a:pt x="989" y="1542"/>
                    <a:pt x="989" y="1504"/>
                    <a:pt x="992" y="1467"/>
                  </a:cubicBezTo>
                </a:path>
              </a:pathLst>
            </a:custGeom>
            <a:solidFill>
              <a:srgbClr val="FFFFFF"/>
            </a:solidFill>
            <a:ln w="2661" cap="flat">
              <a:noFill/>
              <a:prstDash val="solid"/>
              <a:miter/>
            </a:ln>
          </p:spPr>
          <p:txBody>
            <a:bodyPr rtlCol="0" anchor="ctr"/>
            <a:lstStyle/>
            <a:p>
              <a:endParaRPr lang="pl-PL"/>
            </a:p>
          </p:txBody>
        </p:sp>
        <p:sp>
          <p:nvSpPr>
            <p:cNvPr id="153" name="Freeform: Shape 152">
              <a:extLst>
                <a:ext uri="{FF2B5EF4-FFF2-40B4-BE49-F238E27FC236}">
                  <a16:creationId xmlns:a16="http://schemas.microsoft.com/office/drawing/2014/main" id="{D71D7DED-FBE6-4A95-9476-899ABA9F95D6}"/>
                </a:ext>
              </a:extLst>
            </p:cNvPr>
            <p:cNvSpPr/>
            <p:nvPr/>
          </p:nvSpPr>
          <p:spPr>
            <a:xfrm>
              <a:off x="11857776" y="6635662"/>
              <a:ext cx="8810" cy="8977"/>
            </a:xfrm>
            <a:custGeom>
              <a:avLst/>
              <a:gdLst>
                <a:gd name="connsiteX0" fmla="*/ 991 w 15611"/>
                <a:gd name="connsiteY0" fmla="*/ 14943 h 15907"/>
                <a:gd name="connsiteX1" fmla="*/ 991 w 15611"/>
                <a:gd name="connsiteY1" fmla="*/ 458 h 15907"/>
                <a:gd name="connsiteX2" fmla="*/ 1675 w 15611"/>
                <a:gd name="connsiteY2" fmla="*/ -343 h 15907"/>
                <a:gd name="connsiteX3" fmla="*/ 1816 w 15611"/>
                <a:gd name="connsiteY3" fmla="*/ -340 h 15907"/>
                <a:gd name="connsiteX4" fmla="*/ 2668 w 15611"/>
                <a:gd name="connsiteY4" fmla="*/ -340 h 15907"/>
                <a:gd name="connsiteX5" fmla="*/ 3627 w 15611"/>
                <a:gd name="connsiteY5" fmla="*/ 192 h 15907"/>
                <a:gd name="connsiteX6" fmla="*/ 8526 w 15611"/>
                <a:gd name="connsiteY6" fmla="*/ 7381 h 15907"/>
                <a:gd name="connsiteX7" fmla="*/ 8915 w 15611"/>
                <a:gd name="connsiteY7" fmla="*/ 7525 h 15907"/>
                <a:gd name="connsiteX8" fmla="*/ 9059 w 15611"/>
                <a:gd name="connsiteY8" fmla="*/ 7381 h 15907"/>
                <a:gd name="connsiteX9" fmla="*/ 14064 w 15611"/>
                <a:gd name="connsiteY9" fmla="*/ 166 h 15907"/>
                <a:gd name="connsiteX10" fmla="*/ 15050 w 15611"/>
                <a:gd name="connsiteY10" fmla="*/ -340 h 15907"/>
                <a:gd name="connsiteX11" fmla="*/ 15795 w 15611"/>
                <a:gd name="connsiteY11" fmla="*/ -340 h 15907"/>
                <a:gd name="connsiteX12" fmla="*/ 16594 w 15611"/>
                <a:gd name="connsiteY12" fmla="*/ 288 h 15907"/>
                <a:gd name="connsiteX13" fmla="*/ 16594 w 15611"/>
                <a:gd name="connsiteY13" fmla="*/ 458 h 15907"/>
                <a:gd name="connsiteX14" fmla="*/ 16594 w 15611"/>
                <a:gd name="connsiteY14" fmla="*/ 14943 h 15907"/>
                <a:gd name="connsiteX15" fmla="*/ 16035 w 15611"/>
                <a:gd name="connsiteY15" fmla="*/ 15556 h 15907"/>
                <a:gd name="connsiteX16" fmla="*/ 15982 w 15611"/>
                <a:gd name="connsiteY16" fmla="*/ 15556 h 15907"/>
                <a:gd name="connsiteX17" fmla="*/ 14677 w 15611"/>
                <a:gd name="connsiteY17" fmla="*/ 15556 h 15907"/>
                <a:gd name="connsiteX18" fmla="*/ 14064 w 15611"/>
                <a:gd name="connsiteY18" fmla="*/ 15055 h 15907"/>
                <a:gd name="connsiteX19" fmla="*/ 14064 w 15611"/>
                <a:gd name="connsiteY19" fmla="*/ 14943 h 15907"/>
                <a:gd name="connsiteX20" fmla="*/ 14064 w 15611"/>
                <a:gd name="connsiteY20" fmla="*/ 4878 h 15907"/>
                <a:gd name="connsiteX21" fmla="*/ 13585 w 15611"/>
                <a:gd name="connsiteY21" fmla="*/ 4745 h 15907"/>
                <a:gd name="connsiteX22" fmla="*/ 9804 w 15611"/>
                <a:gd name="connsiteY22" fmla="*/ 10284 h 15907"/>
                <a:gd name="connsiteX23" fmla="*/ 8846 w 15611"/>
                <a:gd name="connsiteY23" fmla="*/ 10789 h 15907"/>
                <a:gd name="connsiteX24" fmla="*/ 8846 w 15611"/>
                <a:gd name="connsiteY24" fmla="*/ 10789 h 15907"/>
                <a:gd name="connsiteX25" fmla="*/ 7914 w 15611"/>
                <a:gd name="connsiteY25" fmla="*/ 10284 h 15907"/>
                <a:gd name="connsiteX26" fmla="*/ 4133 w 15611"/>
                <a:gd name="connsiteY26" fmla="*/ 4745 h 15907"/>
                <a:gd name="connsiteX27" fmla="*/ 3654 w 15611"/>
                <a:gd name="connsiteY27" fmla="*/ 4905 h 15907"/>
                <a:gd name="connsiteX28" fmla="*/ 3654 w 15611"/>
                <a:gd name="connsiteY28" fmla="*/ 14943 h 15907"/>
                <a:gd name="connsiteX29" fmla="*/ 3097 w 15611"/>
                <a:gd name="connsiteY29" fmla="*/ 15558 h 15907"/>
                <a:gd name="connsiteX30" fmla="*/ 3015 w 15611"/>
                <a:gd name="connsiteY30" fmla="*/ 15556 h 15907"/>
                <a:gd name="connsiteX31" fmla="*/ 1736 w 15611"/>
                <a:gd name="connsiteY31" fmla="*/ 15556 h 15907"/>
                <a:gd name="connsiteX32" fmla="*/ 1100 w 15611"/>
                <a:gd name="connsiteY32" fmla="*/ 15087 h 15907"/>
                <a:gd name="connsiteX33" fmla="*/ 1097 w 15611"/>
                <a:gd name="connsiteY33" fmla="*/ 14943 h 15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611" h="15907">
                  <a:moveTo>
                    <a:pt x="991" y="14943"/>
                  </a:moveTo>
                  <a:lnTo>
                    <a:pt x="991" y="458"/>
                  </a:lnTo>
                  <a:cubicBezTo>
                    <a:pt x="959" y="48"/>
                    <a:pt x="1265" y="-311"/>
                    <a:pt x="1675" y="-343"/>
                  </a:cubicBezTo>
                  <a:cubicBezTo>
                    <a:pt x="1723" y="-346"/>
                    <a:pt x="1771" y="-346"/>
                    <a:pt x="1816" y="-340"/>
                  </a:cubicBezTo>
                  <a:lnTo>
                    <a:pt x="2668" y="-340"/>
                  </a:lnTo>
                  <a:cubicBezTo>
                    <a:pt x="3062" y="-359"/>
                    <a:pt x="3435" y="-154"/>
                    <a:pt x="3627" y="192"/>
                  </a:cubicBezTo>
                  <a:lnTo>
                    <a:pt x="8526" y="7381"/>
                  </a:lnTo>
                  <a:cubicBezTo>
                    <a:pt x="8593" y="7528"/>
                    <a:pt x="8768" y="7592"/>
                    <a:pt x="8915" y="7525"/>
                  </a:cubicBezTo>
                  <a:cubicBezTo>
                    <a:pt x="8979" y="7496"/>
                    <a:pt x="9029" y="7445"/>
                    <a:pt x="9059" y="7381"/>
                  </a:cubicBezTo>
                  <a:lnTo>
                    <a:pt x="14064" y="166"/>
                  </a:lnTo>
                  <a:cubicBezTo>
                    <a:pt x="14280" y="-165"/>
                    <a:pt x="14655" y="-356"/>
                    <a:pt x="15050" y="-340"/>
                  </a:cubicBezTo>
                  <a:lnTo>
                    <a:pt x="15795" y="-340"/>
                  </a:lnTo>
                  <a:cubicBezTo>
                    <a:pt x="16189" y="-388"/>
                    <a:pt x="16546" y="-106"/>
                    <a:pt x="16594" y="288"/>
                  </a:cubicBezTo>
                  <a:cubicBezTo>
                    <a:pt x="16602" y="344"/>
                    <a:pt x="16602" y="403"/>
                    <a:pt x="16594" y="458"/>
                  </a:cubicBezTo>
                  <a:lnTo>
                    <a:pt x="16594" y="14943"/>
                  </a:lnTo>
                  <a:cubicBezTo>
                    <a:pt x="16610" y="15265"/>
                    <a:pt x="16360" y="15540"/>
                    <a:pt x="16035" y="15556"/>
                  </a:cubicBezTo>
                  <a:cubicBezTo>
                    <a:pt x="16019" y="15556"/>
                    <a:pt x="16000" y="15556"/>
                    <a:pt x="15982" y="15556"/>
                  </a:cubicBezTo>
                  <a:lnTo>
                    <a:pt x="14677" y="15556"/>
                  </a:lnTo>
                  <a:cubicBezTo>
                    <a:pt x="14371" y="15587"/>
                    <a:pt x="14096" y="15364"/>
                    <a:pt x="14064" y="15055"/>
                  </a:cubicBezTo>
                  <a:cubicBezTo>
                    <a:pt x="14062" y="15018"/>
                    <a:pt x="14062" y="14980"/>
                    <a:pt x="14064" y="14943"/>
                  </a:cubicBezTo>
                  <a:lnTo>
                    <a:pt x="14064" y="4878"/>
                  </a:lnTo>
                  <a:cubicBezTo>
                    <a:pt x="14064" y="4506"/>
                    <a:pt x="13798" y="4399"/>
                    <a:pt x="13585" y="4745"/>
                  </a:cubicBezTo>
                  <a:lnTo>
                    <a:pt x="9804" y="10284"/>
                  </a:lnTo>
                  <a:cubicBezTo>
                    <a:pt x="9602" y="10614"/>
                    <a:pt x="9234" y="10808"/>
                    <a:pt x="8846" y="10789"/>
                  </a:cubicBezTo>
                  <a:lnTo>
                    <a:pt x="8846" y="10789"/>
                  </a:lnTo>
                  <a:cubicBezTo>
                    <a:pt x="8465" y="10803"/>
                    <a:pt x="8108" y="10611"/>
                    <a:pt x="7914" y="10284"/>
                  </a:cubicBezTo>
                  <a:lnTo>
                    <a:pt x="4133" y="4745"/>
                  </a:lnTo>
                  <a:cubicBezTo>
                    <a:pt x="3920" y="4452"/>
                    <a:pt x="3654" y="4532"/>
                    <a:pt x="3654" y="4905"/>
                  </a:cubicBezTo>
                  <a:lnTo>
                    <a:pt x="3654" y="14943"/>
                  </a:lnTo>
                  <a:cubicBezTo>
                    <a:pt x="3670" y="15265"/>
                    <a:pt x="3422" y="15542"/>
                    <a:pt x="3097" y="15558"/>
                  </a:cubicBezTo>
                  <a:cubicBezTo>
                    <a:pt x="3071" y="15558"/>
                    <a:pt x="3041" y="15558"/>
                    <a:pt x="3015" y="15556"/>
                  </a:cubicBezTo>
                  <a:lnTo>
                    <a:pt x="1736" y="15556"/>
                  </a:lnTo>
                  <a:cubicBezTo>
                    <a:pt x="1430" y="15601"/>
                    <a:pt x="1145" y="15390"/>
                    <a:pt x="1100" y="15087"/>
                  </a:cubicBezTo>
                  <a:cubicBezTo>
                    <a:pt x="1092" y="15039"/>
                    <a:pt x="1092" y="14991"/>
                    <a:pt x="1097" y="14943"/>
                  </a:cubicBezTo>
                </a:path>
              </a:pathLst>
            </a:custGeom>
            <a:solidFill>
              <a:srgbClr val="FFFFFF"/>
            </a:solidFill>
            <a:ln w="2661" cap="flat">
              <a:noFill/>
              <a:prstDash val="solid"/>
              <a:miter/>
            </a:ln>
          </p:spPr>
          <p:txBody>
            <a:bodyPr rtlCol="0" anchor="ctr"/>
            <a:lstStyle/>
            <a:p>
              <a:endParaRPr lang="pl-PL"/>
            </a:p>
          </p:txBody>
        </p:sp>
      </p:grpSp>
      <p:grpSp>
        <p:nvGrpSpPr>
          <p:cNvPr id="154" name="Group 153">
            <a:extLst>
              <a:ext uri="{FF2B5EF4-FFF2-40B4-BE49-F238E27FC236}">
                <a16:creationId xmlns:a16="http://schemas.microsoft.com/office/drawing/2014/main" id="{A9972A30-E87E-405D-B3B6-7181637B47AA}"/>
              </a:ext>
            </a:extLst>
          </p:cNvPr>
          <p:cNvGrpSpPr/>
          <p:nvPr userDrawn="1"/>
        </p:nvGrpSpPr>
        <p:grpSpPr>
          <a:xfrm>
            <a:off x="10855488" y="6628477"/>
            <a:ext cx="218951" cy="162658"/>
            <a:chOff x="10506075" y="6628477"/>
            <a:chExt cx="218951" cy="162658"/>
          </a:xfrm>
        </p:grpSpPr>
        <p:sp>
          <p:nvSpPr>
            <p:cNvPr id="155" name="Rectangle: Rounded Corners 154">
              <a:hlinkClick r:id="" action="ppaction://noaction"/>
              <a:extLst>
                <a:ext uri="{FF2B5EF4-FFF2-40B4-BE49-F238E27FC236}">
                  <a16:creationId xmlns:a16="http://schemas.microsoft.com/office/drawing/2014/main" id="{FFD124B8-F2BE-43C9-B797-F4C3AEF6EF7F}"/>
                </a:ext>
              </a:extLst>
            </p:cNvPr>
            <p:cNvSpPr/>
            <p:nvPr userDrawn="1"/>
          </p:nvSpPr>
          <p:spPr>
            <a:xfrm>
              <a:off x="10506075" y="6628477"/>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56" name="Rectangle: Rounded Corners 155">
              <a:hlinkClick r:id="" action="ppaction://noaction"/>
              <a:extLst>
                <a:ext uri="{FF2B5EF4-FFF2-40B4-BE49-F238E27FC236}">
                  <a16:creationId xmlns:a16="http://schemas.microsoft.com/office/drawing/2014/main" id="{01DE4D20-C0D0-45DD-8FC1-646FD2E9D1B2}"/>
                </a:ext>
              </a:extLst>
            </p:cNvPr>
            <p:cNvSpPr/>
            <p:nvPr userDrawn="1"/>
          </p:nvSpPr>
          <p:spPr>
            <a:xfrm>
              <a:off x="10506075" y="6691806"/>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57" name="Rectangle: Rounded Corners 156">
              <a:hlinkClick r:id="" action="ppaction://noaction"/>
              <a:extLst>
                <a:ext uri="{FF2B5EF4-FFF2-40B4-BE49-F238E27FC236}">
                  <a16:creationId xmlns:a16="http://schemas.microsoft.com/office/drawing/2014/main" id="{44D2956D-FDB9-4A9A-BCCF-FCD7230F44E3}"/>
                </a:ext>
              </a:extLst>
            </p:cNvPr>
            <p:cNvSpPr/>
            <p:nvPr userDrawn="1"/>
          </p:nvSpPr>
          <p:spPr>
            <a:xfrm>
              <a:off x="10506075" y="6755135"/>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grpSp>
      <p:sp>
        <p:nvSpPr>
          <p:cNvPr id="158" name="Rectangle 157">
            <a:hlinkClick r:id="" action="ppaction://noaction"/>
            <a:extLst>
              <a:ext uri="{FF2B5EF4-FFF2-40B4-BE49-F238E27FC236}">
                <a16:creationId xmlns:a16="http://schemas.microsoft.com/office/drawing/2014/main" id="{EE436261-AE45-47D0-AC3E-42EF8018C7CF}"/>
              </a:ext>
            </a:extLst>
          </p:cNvPr>
          <p:cNvSpPr/>
          <p:nvPr userDrawn="1"/>
        </p:nvSpPr>
        <p:spPr>
          <a:xfrm>
            <a:off x="10760869" y="6579908"/>
            <a:ext cx="406177" cy="273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cxnSp>
        <p:nvCxnSpPr>
          <p:cNvPr id="159" name="Straight Connector 158">
            <a:extLst>
              <a:ext uri="{FF2B5EF4-FFF2-40B4-BE49-F238E27FC236}">
                <a16:creationId xmlns:a16="http://schemas.microsoft.com/office/drawing/2014/main" id="{D2D238A1-A1EF-4CD0-8ECD-6EB064F6B6B5}"/>
              </a:ext>
            </a:extLst>
          </p:cNvPr>
          <p:cNvCxnSpPr/>
          <p:nvPr userDrawn="1"/>
        </p:nvCxnSpPr>
        <p:spPr>
          <a:xfrm>
            <a:off x="521472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60" name="Rectangle 159">
            <a:hlinkClick r:id="" action="ppaction://noaction"/>
            <a:hlinkHover r:id="" action="ppaction://noaction" highlightClick="1"/>
            <a:extLst>
              <a:ext uri="{FF2B5EF4-FFF2-40B4-BE49-F238E27FC236}">
                <a16:creationId xmlns:a16="http://schemas.microsoft.com/office/drawing/2014/main" id="{24A6E41D-CF52-4FC2-B670-31048C145FEB}"/>
              </a:ext>
            </a:extLst>
          </p:cNvPr>
          <p:cNvSpPr/>
          <p:nvPr userDrawn="1"/>
        </p:nvSpPr>
        <p:spPr>
          <a:xfrm>
            <a:off x="9539162" y="6570000"/>
            <a:ext cx="1200924"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GB" sz="800" b="0" noProof="0">
                <a:solidFill>
                  <a:schemeClr val="bg1">
                    <a:alpha val="50000"/>
                  </a:schemeClr>
                </a:solidFill>
                <a:latin typeface="Leelawadee" panose="020B0502040204020203" pitchFamily="34" charset="-34"/>
                <a:cs typeface="Leelawadee" panose="020B0502040204020203" pitchFamily="34" charset="-34"/>
              </a:rPr>
              <a:t>Additional </a:t>
            </a:r>
            <a:br>
              <a:rPr lang="en-GB" sz="800" b="0" noProof="0">
                <a:solidFill>
                  <a:schemeClr val="bg1">
                    <a:alpha val="50000"/>
                  </a:schemeClr>
                </a:solidFill>
                <a:latin typeface="Leelawadee" panose="020B0502040204020203" pitchFamily="34" charset="-34"/>
                <a:cs typeface="Leelawadee" panose="020B0502040204020203" pitchFamily="34" charset="-34"/>
              </a:rPr>
            </a:br>
            <a:r>
              <a:rPr lang="en-GB" sz="800" b="0" noProof="0">
                <a:solidFill>
                  <a:schemeClr val="bg1">
                    <a:alpha val="50000"/>
                  </a:schemeClr>
                </a:solidFill>
                <a:latin typeface="Leelawadee" panose="020B0502040204020203" pitchFamily="34" charset="-34"/>
                <a:cs typeface="Leelawadee" panose="020B0502040204020203" pitchFamily="34" charset="-34"/>
              </a:rPr>
              <a:t>Supporting content</a:t>
            </a:r>
          </a:p>
        </p:txBody>
      </p:sp>
      <p:cxnSp>
        <p:nvCxnSpPr>
          <p:cNvPr id="161" name="Straight Connector 160">
            <a:extLst>
              <a:ext uri="{FF2B5EF4-FFF2-40B4-BE49-F238E27FC236}">
                <a16:creationId xmlns:a16="http://schemas.microsoft.com/office/drawing/2014/main" id="{5D67BD7A-26AE-4E35-8209-14C2F4CF6E97}"/>
              </a:ext>
            </a:extLst>
          </p:cNvPr>
          <p:cNvCxnSpPr/>
          <p:nvPr userDrawn="1"/>
        </p:nvCxnSpPr>
        <p:spPr>
          <a:xfrm>
            <a:off x="10737865"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62" name="TextBox 161">
            <a:extLst>
              <a:ext uri="{FF2B5EF4-FFF2-40B4-BE49-F238E27FC236}">
                <a16:creationId xmlns:a16="http://schemas.microsoft.com/office/drawing/2014/main" id="{311B1661-F675-4D88-80C3-68686E9FC926}"/>
              </a:ext>
            </a:extLst>
          </p:cNvPr>
          <p:cNvSpPr txBox="1"/>
          <p:nvPr userDrawn="1"/>
        </p:nvSpPr>
        <p:spPr>
          <a:xfrm>
            <a:off x="208348" y="6587078"/>
            <a:ext cx="428589" cy="261610"/>
          </a:xfrm>
          <a:prstGeom prst="rect">
            <a:avLst/>
          </a:prstGeom>
          <a:noFill/>
        </p:spPr>
        <p:txBody>
          <a:bodyPr wrap="square" rtlCol="0">
            <a:spAutoFit/>
          </a:bodyPr>
          <a:lstStyle/>
          <a:p>
            <a:fld id="{2AD15D81-AC1A-4BFA-95F9-38C1BF89B685}" type="slidenum">
              <a:rPr lang="pl-PL" sz="1050" smtClean="0">
                <a:solidFill>
                  <a:schemeClr val="bg1"/>
                </a:solidFill>
                <a:latin typeface="Leelawadee" panose="020B0502040204020203" pitchFamily="34" charset="-34"/>
                <a:cs typeface="Leelawadee" panose="020B0502040204020203" pitchFamily="34" charset="-34"/>
              </a:rPr>
              <a:t>‹#›</a:t>
            </a:fld>
            <a:endParaRPr lang="pl-PL" sz="1200">
              <a:solidFill>
                <a:schemeClr val="bg1"/>
              </a:solidFill>
              <a:latin typeface="Leelawadee" panose="020B0502040204020203" pitchFamily="34" charset="-34"/>
              <a:cs typeface="Leelawadee" panose="020B0502040204020203" pitchFamily="34" charset="-34"/>
            </a:endParaRPr>
          </a:p>
        </p:txBody>
      </p:sp>
    </p:spTree>
    <p:extLst>
      <p:ext uri="{BB962C8B-B14F-4D97-AF65-F5344CB8AC3E}">
        <p14:creationId xmlns:p14="http://schemas.microsoft.com/office/powerpoint/2010/main" val="290781280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 Columns ">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3B5177-9A2E-416D-9807-DE5D658623A4}"/>
              </a:ext>
            </a:extLst>
          </p:cNvPr>
          <p:cNvGraphicFramePr>
            <a:graphicFrameLocks noChangeAspect="1"/>
          </p:cNvGraphicFramePr>
          <p:nvPr userDrawn="1">
            <p:custDataLst>
              <p:tags r:id="rId1"/>
            </p:custDataLst>
            <p:extLst>
              <p:ext uri="{D42A27DB-BD31-4B8C-83A1-F6EECF244321}">
                <p14:modId xmlns:p14="http://schemas.microsoft.com/office/powerpoint/2010/main" val="128011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913B5177-9A2E-416D-9807-DE5D658623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Text Placeholder 2">
            <a:extLst>
              <a:ext uri="{FF2B5EF4-FFF2-40B4-BE49-F238E27FC236}">
                <a16:creationId xmlns:a16="http://schemas.microsoft.com/office/drawing/2014/main" id="{7E89A75F-199B-D74E-9E7C-2B147373EE6E}"/>
              </a:ext>
            </a:extLst>
          </p:cNvPr>
          <p:cNvSpPr>
            <a:spLocks noGrp="1"/>
          </p:cNvSpPr>
          <p:nvPr>
            <p:ph type="body" sz="quarter" idx="26"/>
          </p:nvPr>
        </p:nvSpPr>
        <p:spPr>
          <a:xfrm>
            <a:off x="290098" y="2308359"/>
            <a:ext cx="3416804" cy="3749541"/>
          </a:xfrm>
          <a:prstGeom prst="rect">
            <a:avLst/>
          </a:prstGeom>
        </p:spPr>
        <p:txBody>
          <a:bodyPr lIns="0" tIns="0" rIns="0" bIns="0">
            <a:noAutofit/>
          </a:bodyPr>
          <a:lstStyle>
            <a:lvl1pPr marL="0" indent="0" rtl="0">
              <a:lnSpc>
                <a:spcPct val="100000"/>
              </a:lnSpc>
              <a:spcBef>
                <a:spcPts val="0"/>
              </a:spcBef>
              <a:buFont typeface="Arial" panose="020B0604020202020204" pitchFamily="34" charset="0"/>
              <a:buNone/>
              <a:tabLst/>
              <a:defRPr sz="1800" b="0" i="0">
                <a:solidFill>
                  <a:schemeClr val="bg1"/>
                </a:solidFill>
                <a:latin typeface="Leelawadee" panose="020B0502040204020203" pitchFamily="34" charset="-34"/>
                <a:cs typeface="Leelawadee" panose="020B0502040204020203" pitchFamily="34" charset="-34"/>
              </a:defRPr>
            </a:lvl1pPr>
            <a:lvl2pPr marL="576263" marR="0" indent="-290513" algn="l" defTabSz="914400" rtl="0" eaLnBrk="1" fontAlgn="auto" latinLnBrk="0" hangingPunct="1">
              <a:lnSpc>
                <a:spcPct val="100000"/>
              </a:lnSpc>
              <a:spcBef>
                <a:spcPts val="0"/>
              </a:spcBef>
              <a:spcAft>
                <a:spcPts val="0"/>
              </a:spcAft>
              <a:buClrTx/>
              <a:buSzPct val="70000"/>
              <a:buFont typeface="Courier New" panose="02070309020205020404" pitchFamily="49" charset="0"/>
              <a:buChar char="o"/>
              <a:tabLst/>
              <a:defRPr sz="18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tabLst/>
              <a:defRPr sz="1800">
                <a:solidFill>
                  <a:schemeClr val="bg1"/>
                </a:solidFill>
              </a:defRPr>
            </a:lvl4pPr>
            <a:lvl5pPr marL="1717675" indent="-298450">
              <a:lnSpc>
                <a:spcPct val="100000"/>
              </a:lnSpc>
              <a:buClr>
                <a:schemeClr val="bg1"/>
              </a:buClr>
              <a:buSzPct val="80000"/>
              <a:buFont typeface="Wingdings" pitchFamily="2" charset="2"/>
              <a:buChar char="§"/>
              <a:tabLst/>
              <a:defRPr sz="1800">
                <a:solidFill>
                  <a:schemeClr val="bg1"/>
                </a:solidFill>
              </a:defRPr>
            </a:lvl5pPr>
          </a:lstStyle>
          <a:p>
            <a:pPr lvl="0"/>
            <a:endParaRPr lang="en-US" noProof="0"/>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80024" y="3244334"/>
            <a:ext cx="242374" cy="369332"/>
          </a:xfrm>
          <a:prstGeom prst="rect">
            <a:avLst/>
          </a:prstGeom>
        </p:spPr>
        <p:txBody>
          <a:bodyPr wrap="none">
            <a:spAutoFit/>
          </a:bodyPr>
          <a:lstStyle/>
          <a:p>
            <a:pPr rtl="0"/>
            <a:r>
              <a:rPr lang="en-US" b="0" i="0" noProof="0">
                <a:solidFill>
                  <a:srgbClr val="000000"/>
                </a:solidFill>
                <a:effectLst/>
                <a:latin typeface="Times New Roman" panose="02020603050405020304" pitchFamily="18" charset="0"/>
              </a:rPr>
              <a:t> </a:t>
            </a:r>
            <a:endParaRPr lang="en-US" noProof="0"/>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80024" y="3244334"/>
            <a:ext cx="242374" cy="369332"/>
          </a:xfrm>
          <a:prstGeom prst="rect">
            <a:avLst/>
          </a:prstGeom>
        </p:spPr>
        <p:txBody>
          <a:bodyPr wrap="none">
            <a:spAutoFit/>
          </a:bodyPr>
          <a:lstStyle/>
          <a:p>
            <a:pPr rtl="0"/>
            <a:r>
              <a:rPr lang="en-US" b="0" i="0" noProof="0">
                <a:solidFill>
                  <a:srgbClr val="000000"/>
                </a:solidFill>
                <a:effectLst/>
                <a:latin typeface="Times New Roman" panose="02020603050405020304" pitchFamily="18" charset="0"/>
              </a:rPr>
              <a:t> </a:t>
            </a:r>
            <a:endParaRPr lang="en-US" noProof="0"/>
          </a:p>
        </p:txBody>
      </p:sp>
      <p:sp>
        <p:nvSpPr>
          <p:cNvPr id="33" name="Oval 32">
            <a:extLst>
              <a:ext uri="{FF2B5EF4-FFF2-40B4-BE49-F238E27FC236}">
                <a16:creationId xmlns:a16="http://schemas.microsoft.com/office/drawing/2014/main" id="{D21E6825-4ADB-4046-805F-23ADDDCA0E2B}"/>
              </a:ext>
            </a:extLst>
          </p:cNvPr>
          <p:cNvSpPr/>
          <p:nvPr userDrawn="1"/>
        </p:nvSpPr>
        <p:spPr>
          <a:xfrm>
            <a:off x="1718475" y="1124935"/>
            <a:ext cx="560051" cy="560051"/>
          </a:xfrm>
          <a:prstGeom prst="ellipse">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2800" b="1" noProof="0">
                <a:latin typeface="Leelawadee" panose="020B0502040204020203" pitchFamily="34" charset="-34"/>
                <a:cs typeface="Leelawadee" panose="020B0502040204020203" pitchFamily="34" charset="-34"/>
              </a:rPr>
              <a:t>1</a:t>
            </a:r>
          </a:p>
        </p:txBody>
      </p:sp>
      <p:cxnSp>
        <p:nvCxnSpPr>
          <p:cNvPr id="35" name="Straight Connector 34">
            <a:extLst>
              <a:ext uri="{FF2B5EF4-FFF2-40B4-BE49-F238E27FC236}">
                <a16:creationId xmlns:a16="http://schemas.microsoft.com/office/drawing/2014/main" id="{FE787688-92FC-034B-9EE0-7D88C5556919}"/>
              </a:ext>
            </a:extLst>
          </p:cNvPr>
          <p:cNvCxnSpPr>
            <a:cxnSpLocks/>
          </p:cNvCxnSpPr>
          <p:nvPr userDrawn="1"/>
        </p:nvCxnSpPr>
        <p:spPr>
          <a:xfrm>
            <a:off x="1221260" y="1952283"/>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30DEE947-0818-3245-A202-52BD0F5B8C08}"/>
              </a:ext>
            </a:extLst>
          </p:cNvPr>
          <p:cNvCxnSpPr>
            <a:cxnSpLocks/>
          </p:cNvCxnSpPr>
          <p:nvPr userDrawn="1"/>
        </p:nvCxnSpPr>
        <p:spPr>
          <a:xfrm>
            <a:off x="5323971" y="1952283"/>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E0E9C8AC-8AD7-3940-8EF1-2CA30256A3AE}"/>
              </a:ext>
            </a:extLst>
          </p:cNvPr>
          <p:cNvCxnSpPr>
            <a:cxnSpLocks/>
          </p:cNvCxnSpPr>
          <p:nvPr userDrawn="1"/>
        </p:nvCxnSpPr>
        <p:spPr>
          <a:xfrm>
            <a:off x="9379123" y="1957179"/>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sp>
        <p:nvSpPr>
          <p:cNvPr id="47" name="Oval 46">
            <a:extLst>
              <a:ext uri="{FF2B5EF4-FFF2-40B4-BE49-F238E27FC236}">
                <a16:creationId xmlns:a16="http://schemas.microsoft.com/office/drawing/2014/main" id="{3CEE7091-C6CC-7E4E-982C-70CAE3B3A885}"/>
              </a:ext>
            </a:extLst>
          </p:cNvPr>
          <p:cNvSpPr/>
          <p:nvPr userDrawn="1"/>
        </p:nvSpPr>
        <p:spPr>
          <a:xfrm>
            <a:off x="5821186" y="1124935"/>
            <a:ext cx="560051" cy="560051"/>
          </a:xfrm>
          <a:prstGeom prst="ellipse">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2800" b="1" noProof="0">
                <a:latin typeface="Leelawadee" panose="020B0502040204020203" pitchFamily="34" charset="-34"/>
                <a:cs typeface="Leelawadee" panose="020B0502040204020203" pitchFamily="34" charset="-34"/>
              </a:rPr>
              <a:t>2</a:t>
            </a:r>
          </a:p>
        </p:txBody>
      </p:sp>
      <p:sp>
        <p:nvSpPr>
          <p:cNvPr id="55" name="Oval 54">
            <a:extLst>
              <a:ext uri="{FF2B5EF4-FFF2-40B4-BE49-F238E27FC236}">
                <a16:creationId xmlns:a16="http://schemas.microsoft.com/office/drawing/2014/main" id="{06B24090-F46C-7846-857E-10992A03ED7E}"/>
              </a:ext>
            </a:extLst>
          </p:cNvPr>
          <p:cNvSpPr/>
          <p:nvPr userDrawn="1"/>
        </p:nvSpPr>
        <p:spPr>
          <a:xfrm>
            <a:off x="9876338" y="1124935"/>
            <a:ext cx="560051" cy="560051"/>
          </a:xfrm>
          <a:prstGeom prst="ellipse">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en-US" sz="2800" b="1" noProof="0">
                <a:latin typeface="Leelawadee" panose="020B0502040204020203" pitchFamily="34" charset="-34"/>
                <a:cs typeface="Leelawadee" panose="020B0502040204020203" pitchFamily="34" charset="-34"/>
              </a:rPr>
              <a:t>3</a:t>
            </a:r>
          </a:p>
        </p:txBody>
      </p:sp>
      <p:sp>
        <p:nvSpPr>
          <p:cNvPr id="30" name="Text Placeholder 2">
            <a:extLst>
              <a:ext uri="{FF2B5EF4-FFF2-40B4-BE49-F238E27FC236}">
                <a16:creationId xmlns:a16="http://schemas.microsoft.com/office/drawing/2014/main" id="{6E791674-06AF-9849-B5D3-C736E8F2C6F9}"/>
              </a:ext>
            </a:extLst>
          </p:cNvPr>
          <p:cNvSpPr>
            <a:spLocks noGrp="1"/>
          </p:cNvSpPr>
          <p:nvPr>
            <p:ph type="body" sz="quarter" idx="27"/>
          </p:nvPr>
        </p:nvSpPr>
        <p:spPr>
          <a:xfrm>
            <a:off x="4392809" y="2308359"/>
            <a:ext cx="3416804" cy="3749541"/>
          </a:xfrm>
          <a:prstGeom prst="rect">
            <a:avLst/>
          </a:prstGeom>
        </p:spPr>
        <p:txBody>
          <a:bodyPr lIns="0" tIns="0" rIns="0" bIns="0">
            <a:noAutofit/>
          </a:bodyPr>
          <a:lstStyle>
            <a:lvl1pPr marL="0" indent="0" rtl="0">
              <a:lnSpc>
                <a:spcPct val="100000"/>
              </a:lnSpc>
              <a:spcBef>
                <a:spcPts val="0"/>
              </a:spcBef>
              <a:buFont typeface="Arial" panose="020B0604020202020204" pitchFamily="34" charset="0"/>
              <a:buNone/>
              <a:tabLst/>
              <a:defRPr sz="1800" b="0" i="0">
                <a:solidFill>
                  <a:schemeClr val="bg1"/>
                </a:solidFill>
                <a:latin typeface="Leelawadee" panose="020B0502040204020203" pitchFamily="34" charset="-34"/>
                <a:cs typeface="Leelawadee" panose="020B0502040204020203" pitchFamily="34" charset="-34"/>
              </a:defRPr>
            </a:lvl1pPr>
            <a:lvl2pPr marL="576263" marR="0" indent="-290513" algn="l" defTabSz="914400" rtl="0" eaLnBrk="1" fontAlgn="auto" latinLnBrk="0" hangingPunct="1">
              <a:lnSpc>
                <a:spcPct val="100000"/>
              </a:lnSpc>
              <a:spcBef>
                <a:spcPts val="0"/>
              </a:spcBef>
              <a:spcAft>
                <a:spcPts val="0"/>
              </a:spcAft>
              <a:buClrTx/>
              <a:buSzPct val="70000"/>
              <a:buFont typeface="Courier New" panose="02070309020205020404" pitchFamily="49" charset="0"/>
              <a:buChar char="o"/>
              <a:tabLst/>
              <a:defRPr sz="18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tabLst/>
              <a:defRPr sz="1800">
                <a:solidFill>
                  <a:schemeClr val="bg1"/>
                </a:solidFill>
              </a:defRPr>
            </a:lvl4pPr>
            <a:lvl5pPr marL="1717675" indent="-298450">
              <a:lnSpc>
                <a:spcPct val="100000"/>
              </a:lnSpc>
              <a:buClr>
                <a:schemeClr val="bg1"/>
              </a:buClr>
              <a:buSzPct val="80000"/>
              <a:buFont typeface="Wingdings" pitchFamily="2" charset="2"/>
              <a:buChar char="§"/>
              <a:tabLst/>
              <a:defRPr sz="1800">
                <a:solidFill>
                  <a:schemeClr val="bg1"/>
                </a:solidFill>
              </a:defRPr>
            </a:lvl5pPr>
          </a:lstStyle>
          <a:p>
            <a:pPr lvl="0"/>
            <a:endParaRPr lang="en-US" noProof="0"/>
          </a:p>
        </p:txBody>
      </p:sp>
      <p:sp>
        <p:nvSpPr>
          <p:cNvPr id="31" name="Text Placeholder 2">
            <a:extLst>
              <a:ext uri="{FF2B5EF4-FFF2-40B4-BE49-F238E27FC236}">
                <a16:creationId xmlns:a16="http://schemas.microsoft.com/office/drawing/2014/main" id="{A1E65449-ABFF-EE4C-9268-A2EA0829DED2}"/>
              </a:ext>
            </a:extLst>
          </p:cNvPr>
          <p:cNvSpPr>
            <a:spLocks noGrp="1"/>
          </p:cNvSpPr>
          <p:nvPr>
            <p:ph type="body" sz="quarter" idx="28"/>
          </p:nvPr>
        </p:nvSpPr>
        <p:spPr>
          <a:xfrm>
            <a:off x="8447961" y="2308359"/>
            <a:ext cx="3416804" cy="3749541"/>
          </a:xfrm>
          <a:prstGeom prst="rect">
            <a:avLst/>
          </a:prstGeom>
        </p:spPr>
        <p:txBody>
          <a:bodyPr lIns="0" tIns="0" rIns="0" bIns="0">
            <a:noAutofit/>
          </a:bodyPr>
          <a:lstStyle>
            <a:lvl1pPr marL="0" indent="0" rtl="0">
              <a:lnSpc>
                <a:spcPct val="100000"/>
              </a:lnSpc>
              <a:spcBef>
                <a:spcPts val="0"/>
              </a:spcBef>
              <a:buFont typeface="Arial" panose="020B0604020202020204" pitchFamily="34" charset="0"/>
              <a:buNone/>
              <a:tabLst/>
              <a:defRPr sz="1800" b="0" i="0">
                <a:solidFill>
                  <a:schemeClr val="bg1"/>
                </a:solidFill>
                <a:latin typeface="Leelawadee" panose="020B0502040204020203" pitchFamily="34" charset="-34"/>
                <a:cs typeface="Leelawadee" panose="020B0502040204020203" pitchFamily="34" charset="-34"/>
              </a:defRPr>
            </a:lvl1pPr>
            <a:lvl2pPr marL="576263" marR="0" indent="-290513" algn="l" defTabSz="914400" rtl="0" eaLnBrk="1" fontAlgn="auto" latinLnBrk="0" hangingPunct="1">
              <a:lnSpc>
                <a:spcPct val="100000"/>
              </a:lnSpc>
              <a:spcBef>
                <a:spcPts val="0"/>
              </a:spcBef>
              <a:spcAft>
                <a:spcPts val="0"/>
              </a:spcAft>
              <a:buClrTx/>
              <a:buSzPct val="70000"/>
              <a:buFont typeface="Courier New" panose="02070309020205020404" pitchFamily="49" charset="0"/>
              <a:buChar char="o"/>
              <a:tabLst/>
              <a:defRPr sz="1800" b="0" i="0">
                <a:solidFill>
                  <a:schemeClr val="bg1"/>
                </a:solidFill>
                <a:latin typeface="Leelawadee" panose="020B0502040204020203" pitchFamily="34" charset="-34"/>
                <a:cs typeface="Leelawadee" panose="020B0502040204020203" pitchFamily="34" charset="-34"/>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tabLst/>
              <a:defRPr sz="1800">
                <a:solidFill>
                  <a:schemeClr val="bg1"/>
                </a:solidFill>
              </a:defRPr>
            </a:lvl4pPr>
            <a:lvl5pPr marL="1717675" indent="-298450">
              <a:lnSpc>
                <a:spcPct val="100000"/>
              </a:lnSpc>
              <a:buClr>
                <a:schemeClr val="bg1"/>
              </a:buClr>
              <a:buSzPct val="80000"/>
              <a:buFont typeface="Wingdings" pitchFamily="2" charset="2"/>
              <a:buChar char="§"/>
              <a:tabLst/>
              <a:defRPr sz="1800">
                <a:solidFill>
                  <a:schemeClr val="bg1"/>
                </a:solidFill>
              </a:defRPr>
            </a:lvl5pPr>
          </a:lstStyle>
          <a:p>
            <a:pPr lvl="0"/>
            <a:endParaRPr lang="en-US" noProof="0"/>
          </a:p>
        </p:txBody>
      </p:sp>
      <p:sp>
        <p:nvSpPr>
          <p:cNvPr id="21" name="Text Placeholder 3">
            <a:extLst>
              <a:ext uri="{FF2B5EF4-FFF2-40B4-BE49-F238E27FC236}">
                <a16:creationId xmlns:a16="http://schemas.microsoft.com/office/drawing/2014/main" id="{210CF0DF-41D9-4CFE-806D-5118A5AA5A19}"/>
              </a:ext>
            </a:extLst>
          </p:cNvPr>
          <p:cNvSpPr>
            <a:spLocks noGrp="1"/>
          </p:cNvSpPr>
          <p:nvPr>
            <p:ph type="body" sz="quarter" idx="15" hasCustomPrompt="1"/>
          </p:nvPr>
        </p:nvSpPr>
        <p:spPr>
          <a:xfrm>
            <a:off x="300037" y="323075"/>
            <a:ext cx="11591925" cy="472463"/>
          </a:xfrm>
          <a:prstGeom prst="rect">
            <a:avLst/>
          </a:prstGeom>
        </p:spPr>
        <p:txBody>
          <a:bodyPr lIns="0" anchor="ctr">
            <a:noAutofit/>
          </a:bodyPr>
          <a:lstStyle>
            <a:lvl1pPr marL="7938" indent="-7938" algn="l" rtl="0">
              <a:spcBef>
                <a:spcPts val="0"/>
              </a:spcBef>
              <a:buNone/>
              <a:tabLst/>
              <a:defRPr sz="4000" b="1" i="0">
                <a:solidFill>
                  <a:schemeClr val="bg1"/>
                </a:solidFill>
                <a:latin typeface="Leelawadee" panose="020B0502040204020203" pitchFamily="34" charset="-34"/>
                <a:cs typeface="Leelawadee" panose="020B0502040204020203" pitchFamily="34" charset="-34"/>
              </a:defRPr>
            </a:lvl1pPr>
          </a:lstStyle>
          <a:p>
            <a:pPr lvl="0"/>
            <a:r>
              <a:rPr lang="en-US" noProof="0"/>
              <a:t>Title</a:t>
            </a:r>
          </a:p>
        </p:txBody>
      </p:sp>
      <p:sp>
        <p:nvSpPr>
          <p:cNvPr id="96" name="Rectangle 95">
            <a:extLst>
              <a:ext uri="{FF2B5EF4-FFF2-40B4-BE49-F238E27FC236}">
                <a16:creationId xmlns:a16="http://schemas.microsoft.com/office/drawing/2014/main" id="{E9A57D4F-D542-408E-9020-FEA5A9A47479}"/>
              </a:ext>
            </a:extLst>
          </p:cNvPr>
          <p:cNvSpPr/>
          <p:nvPr userDrawn="1"/>
        </p:nvSpPr>
        <p:spPr>
          <a:xfrm>
            <a:off x="0" y="6570000"/>
            <a:ext cx="12192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100" noProof="0"/>
          </a:p>
        </p:txBody>
      </p:sp>
      <p:cxnSp>
        <p:nvCxnSpPr>
          <p:cNvPr id="97" name="Straight Connector 96">
            <a:extLst>
              <a:ext uri="{FF2B5EF4-FFF2-40B4-BE49-F238E27FC236}">
                <a16:creationId xmlns:a16="http://schemas.microsoft.com/office/drawing/2014/main" id="{2DFE9976-F9DE-4F7A-9649-B685D22AE32B}"/>
              </a:ext>
            </a:extLst>
          </p:cNvPr>
          <p:cNvCxnSpPr/>
          <p:nvPr userDrawn="1"/>
        </p:nvCxnSpPr>
        <p:spPr>
          <a:xfrm>
            <a:off x="634587" y="6570000"/>
            <a:ext cx="0" cy="288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8" name="TextBox 97">
            <a:extLst>
              <a:ext uri="{FF2B5EF4-FFF2-40B4-BE49-F238E27FC236}">
                <a16:creationId xmlns:a16="http://schemas.microsoft.com/office/drawing/2014/main" id="{1D191BD1-5D8F-4391-8018-080A6C1C42ED}"/>
              </a:ext>
            </a:extLst>
          </p:cNvPr>
          <p:cNvSpPr txBox="1"/>
          <p:nvPr userDrawn="1"/>
        </p:nvSpPr>
        <p:spPr>
          <a:xfrm>
            <a:off x="806034" y="6650942"/>
            <a:ext cx="3896596" cy="123111"/>
          </a:xfrm>
          <a:prstGeom prst="rect">
            <a:avLst/>
          </a:prstGeom>
          <a:noFill/>
        </p:spPr>
        <p:txBody>
          <a:bodyPr wrap="square" lIns="0" tIns="0" rIns="0" bIns="0" rtlCol="0">
            <a:spAutoFit/>
          </a:bodyPr>
          <a:lstStyle/>
          <a:p>
            <a:pPr rtl="0"/>
            <a:r>
              <a:rPr lang="en-US" sz="800" spc="300" baseline="0" noProof="0">
                <a:solidFill>
                  <a:schemeClr val="bg1"/>
                </a:solidFill>
                <a:latin typeface="Leelawadee" panose="020B0502040204020203" pitchFamily="34" charset="-34"/>
                <a:cs typeface="Leelawadee" panose="020B0502040204020203" pitchFamily="34" charset="-34"/>
              </a:rPr>
              <a:t>CONFIDENTIAL &amp; PROPRIETARY</a:t>
            </a:r>
          </a:p>
        </p:txBody>
      </p:sp>
      <p:sp>
        <p:nvSpPr>
          <p:cNvPr id="99" name="Rectangle 98">
            <a:hlinkClick r:id="" action="ppaction://noaction"/>
            <a:extLst>
              <a:ext uri="{FF2B5EF4-FFF2-40B4-BE49-F238E27FC236}">
                <a16:creationId xmlns:a16="http://schemas.microsoft.com/office/drawing/2014/main" id="{9BBDAF38-C2AF-42D1-90C0-4264D5695919}"/>
              </a:ext>
            </a:extLst>
          </p:cNvPr>
          <p:cNvSpPr/>
          <p:nvPr userDrawn="1"/>
        </p:nvSpPr>
        <p:spPr>
          <a:xfrm>
            <a:off x="5214721" y="6579908"/>
            <a:ext cx="1147937"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lnSpc>
                <a:spcPct val="90000"/>
              </a:lnSpc>
            </a:pPr>
            <a:r>
              <a:rPr lang="en-GB" sz="800" b="0">
                <a:solidFill>
                  <a:schemeClr val="bg1">
                    <a:alpha val="50000"/>
                  </a:schemeClr>
                </a:solidFill>
                <a:latin typeface="Leelawadee" panose="020B0502040204020203" pitchFamily="34" charset="-34"/>
                <a:cs typeface="Leelawadee" panose="020B0502040204020203" pitchFamily="34" charset="-34"/>
              </a:rPr>
              <a:t>Intro &amp; objectives</a:t>
            </a:r>
          </a:p>
        </p:txBody>
      </p:sp>
      <p:sp>
        <p:nvSpPr>
          <p:cNvPr id="100" name="Rectangle 99">
            <a:hlinkClick r:id="rId6" action="ppaction://hlinksldjump"/>
            <a:extLst>
              <a:ext uri="{FF2B5EF4-FFF2-40B4-BE49-F238E27FC236}">
                <a16:creationId xmlns:a16="http://schemas.microsoft.com/office/drawing/2014/main" id="{965EB8D4-D1CA-4636-8B67-472F1154BA4F}"/>
              </a:ext>
            </a:extLst>
          </p:cNvPr>
          <p:cNvSpPr/>
          <p:nvPr userDrawn="1"/>
        </p:nvSpPr>
        <p:spPr>
          <a:xfrm>
            <a:off x="6367021" y="6579908"/>
            <a:ext cx="1126055"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US" sz="800" b="0" noProof="0">
                <a:solidFill>
                  <a:schemeClr val="bg1">
                    <a:alpha val="50000"/>
                  </a:schemeClr>
                </a:solidFill>
                <a:latin typeface="Leelawadee" panose="020B0502040204020203" pitchFamily="34" charset="-34"/>
                <a:cs typeface="Leelawadee" panose="020B0502040204020203" pitchFamily="34" charset="-34"/>
              </a:rPr>
              <a:t>Introducing pep+ </a:t>
            </a:r>
            <a:br>
              <a:rPr lang="en-US" sz="800" b="0" noProof="0">
                <a:solidFill>
                  <a:schemeClr val="bg1">
                    <a:alpha val="50000"/>
                  </a:schemeClr>
                </a:solidFill>
                <a:latin typeface="Leelawadee" panose="020B0502040204020203" pitchFamily="34" charset="-34"/>
                <a:cs typeface="Leelawadee" panose="020B0502040204020203" pitchFamily="34" charset="-34"/>
              </a:rPr>
            </a:br>
            <a:r>
              <a:rPr lang="en-US" sz="800" b="0" noProof="0">
                <a:solidFill>
                  <a:schemeClr val="bg1">
                    <a:alpha val="50000"/>
                  </a:schemeClr>
                </a:solidFill>
                <a:latin typeface="Leelawadee" panose="020B0502040204020203" pitchFamily="34" charset="-34"/>
                <a:cs typeface="Leelawadee" panose="020B0502040204020203" pitchFamily="34" charset="-34"/>
              </a:rPr>
              <a:t>to Customers</a:t>
            </a:r>
          </a:p>
        </p:txBody>
      </p:sp>
      <p:sp>
        <p:nvSpPr>
          <p:cNvPr id="101" name="Rectangle 100">
            <a:hlinkClick r:id="" action="ppaction://noaction"/>
            <a:extLst>
              <a:ext uri="{FF2B5EF4-FFF2-40B4-BE49-F238E27FC236}">
                <a16:creationId xmlns:a16="http://schemas.microsoft.com/office/drawing/2014/main" id="{7A2C6D2A-AC49-4E01-B682-B0CF04382F9B}"/>
              </a:ext>
            </a:extLst>
          </p:cNvPr>
          <p:cNvSpPr/>
          <p:nvPr userDrawn="1"/>
        </p:nvSpPr>
        <p:spPr>
          <a:xfrm>
            <a:off x="7510981" y="6579908"/>
            <a:ext cx="967705"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US" sz="800" b="0" noProof="0">
                <a:solidFill>
                  <a:schemeClr val="bg1">
                    <a:alpha val="50000"/>
                  </a:schemeClr>
                </a:solidFill>
                <a:latin typeface="Leelawadee" panose="020B0502040204020203" pitchFamily="34" charset="-34"/>
                <a:cs typeface="Leelawadee" panose="020B0502040204020203" pitchFamily="34" charset="-34"/>
              </a:rPr>
              <a:t>Exploring </a:t>
            </a:r>
            <a:br>
              <a:rPr lang="en-US" sz="800" b="0" noProof="0">
                <a:solidFill>
                  <a:schemeClr val="bg1">
                    <a:alpha val="50000"/>
                  </a:schemeClr>
                </a:solidFill>
                <a:latin typeface="Leelawadee" panose="020B0502040204020203" pitchFamily="34" charset="-34"/>
                <a:cs typeface="Leelawadee" panose="020B0502040204020203" pitchFamily="34" charset="-34"/>
              </a:rPr>
            </a:br>
            <a:r>
              <a:rPr lang="en-US" sz="800" b="0" noProof="0">
                <a:solidFill>
                  <a:schemeClr val="bg1">
                    <a:alpha val="50000"/>
                  </a:schemeClr>
                </a:solidFill>
                <a:latin typeface="Leelawadee" panose="020B0502040204020203" pitchFamily="34" charset="-34"/>
                <a:cs typeface="Leelawadee" panose="020B0502040204020203" pitchFamily="34" charset="-34"/>
              </a:rPr>
              <a:t>pep+ areas</a:t>
            </a:r>
          </a:p>
        </p:txBody>
      </p:sp>
      <p:sp>
        <p:nvSpPr>
          <p:cNvPr id="102" name="Rectangle 101">
            <a:hlinkClick r:id="" action="ppaction://noaction"/>
            <a:hlinkHover r:id="" action="ppaction://noaction" highlightClick="1"/>
            <a:extLst>
              <a:ext uri="{FF2B5EF4-FFF2-40B4-BE49-F238E27FC236}">
                <a16:creationId xmlns:a16="http://schemas.microsoft.com/office/drawing/2014/main" id="{7220620B-973C-4D6D-9D1F-24B461D519F0}"/>
              </a:ext>
            </a:extLst>
          </p:cNvPr>
          <p:cNvSpPr/>
          <p:nvPr userDrawn="1"/>
        </p:nvSpPr>
        <p:spPr>
          <a:xfrm>
            <a:off x="8544692" y="6579908"/>
            <a:ext cx="994577"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GB" sz="800" b="0" noProof="0">
                <a:solidFill>
                  <a:schemeClr val="bg1">
                    <a:alpha val="50000"/>
                  </a:schemeClr>
                </a:solidFill>
                <a:latin typeface="Leelawadee" panose="020B0502040204020203" pitchFamily="34" charset="-34"/>
                <a:cs typeface="Leelawadee" panose="020B0502040204020203" pitchFamily="34" charset="-34"/>
              </a:rPr>
              <a:t>pep+ Customer Engagement</a:t>
            </a:r>
          </a:p>
        </p:txBody>
      </p:sp>
      <p:cxnSp>
        <p:nvCxnSpPr>
          <p:cNvPr id="103" name="Straight Connector 102">
            <a:extLst>
              <a:ext uri="{FF2B5EF4-FFF2-40B4-BE49-F238E27FC236}">
                <a16:creationId xmlns:a16="http://schemas.microsoft.com/office/drawing/2014/main" id="{22AF86F3-F7F0-40FD-B6EB-64C05986E16C}"/>
              </a:ext>
            </a:extLst>
          </p:cNvPr>
          <p:cNvCxnSpPr/>
          <p:nvPr userDrawn="1"/>
        </p:nvCxnSpPr>
        <p:spPr>
          <a:xfrm>
            <a:off x="9539270"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3DCC6D9F-E724-4E73-88E4-F7DF9A44A6D8}"/>
              </a:ext>
            </a:extLst>
          </p:cNvPr>
          <p:cNvCxnSpPr/>
          <p:nvPr userDrawn="1"/>
        </p:nvCxnSpPr>
        <p:spPr>
          <a:xfrm>
            <a:off x="848143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92B7B578-8CDC-4E2E-8611-87B1ABB10410}"/>
              </a:ext>
            </a:extLst>
          </p:cNvPr>
          <p:cNvCxnSpPr/>
          <p:nvPr userDrawn="1"/>
        </p:nvCxnSpPr>
        <p:spPr>
          <a:xfrm>
            <a:off x="7493596"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05D4F216-8E22-400C-94D0-3C0FC29C1997}"/>
              </a:ext>
            </a:extLst>
          </p:cNvPr>
          <p:cNvCxnSpPr/>
          <p:nvPr userDrawn="1"/>
        </p:nvCxnSpPr>
        <p:spPr>
          <a:xfrm>
            <a:off x="636702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581B5862-C34F-4008-8D66-A7DE9F34EE12}"/>
              </a:ext>
            </a:extLst>
          </p:cNvPr>
          <p:cNvCxnSpPr/>
          <p:nvPr userDrawn="1"/>
        </p:nvCxnSpPr>
        <p:spPr>
          <a:xfrm>
            <a:off x="11186336"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nvGrpSpPr>
          <p:cNvPr id="108" name="Group 107">
            <a:extLst>
              <a:ext uri="{FF2B5EF4-FFF2-40B4-BE49-F238E27FC236}">
                <a16:creationId xmlns:a16="http://schemas.microsoft.com/office/drawing/2014/main" id="{7BCA756F-6A9D-4EBB-843C-E00E92621197}"/>
              </a:ext>
            </a:extLst>
          </p:cNvPr>
          <p:cNvGrpSpPr/>
          <p:nvPr userDrawn="1"/>
        </p:nvGrpSpPr>
        <p:grpSpPr>
          <a:xfrm>
            <a:off x="11393217" y="6628477"/>
            <a:ext cx="473369" cy="183554"/>
            <a:chOff x="11393217" y="6628477"/>
            <a:chExt cx="473369" cy="183554"/>
          </a:xfrm>
        </p:grpSpPr>
        <p:sp>
          <p:nvSpPr>
            <p:cNvPr id="109" name="Freeform: Shape 108">
              <a:extLst>
                <a:ext uri="{FF2B5EF4-FFF2-40B4-BE49-F238E27FC236}">
                  <a16:creationId xmlns:a16="http://schemas.microsoft.com/office/drawing/2014/main" id="{65D809B7-DB0B-43A7-8E52-A9B6F155B0D2}"/>
                </a:ext>
              </a:extLst>
            </p:cNvPr>
            <p:cNvSpPr/>
            <p:nvPr/>
          </p:nvSpPr>
          <p:spPr>
            <a:xfrm>
              <a:off x="11432435" y="6628477"/>
              <a:ext cx="90651" cy="18332"/>
            </a:xfrm>
            <a:custGeom>
              <a:avLst/>
              <a:gdLst>
                <a:gd name="connsiteX0" fmla="*/ 11746 w 160635"/>
                <a:gd name="connsiteY0" fmla="*/ 19438 h 32484"/>
                <a:gd name="connsiteX1" fmla="*/ 53842 w 160635"/>
                <a:gd name="connsiteY1" fmla="*/ 32138 h 32484"/>
                <a:gd name="connsiteX2" fmla="*/ 96443 w 160635"/>
                <a:gd name="connsiteY2" fmla="*/ 19438 h 32484"/>
                <a:gd name="connsiteX3" fmla="*/ 138646 w 160635"/>
                <a:gd name="connsiteY3" fmla="*/ 32138 h 32484"/>
                <a:gd name="connsiteX4" fmla="*/ 161624 w 160635"/>
                <a:gd name="connsiteY4" fmla="*/ 25721 h 32484"/>
                <a:gd name="connsiteX5" fmla="*/ 78205 w 160635"/>
                <a:gd name="connsiteY5" fmla="*/ -345 h 32484"/>
                <a:gd name="connsiteX6" fmla="*/ 989 w 160635"/>
                <a:gd name="connsiteY6" fmla="*/ 21648 h 32484"/>
                <a:gd name="connsiteX7" fmla="*/ 11879 w 160635"/>
                <a:gd name="connsiteY7" fmla="*/ 19438 h 3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635" h="32484">
                  <a:moveTo>
                    <a:pt x="11746" y="19438"/>
                  </a:moveTo>
                  <a:cubicBezTo>
                    <a:pt x="29798" y="19438"/>
                    <a:pt x="34671" y="32138"/>
                    <a:pt x="53842" y="32138"/>
                  </a:cubicBezTo>
                  <a:cubicBezTo>
                    <a:pt x="73012" y="32138"/>
                    <a:pt x="77645" y="19438"/>
                    <a:pt x="96443" y="19438"/>
                  </a:cubicBezTo>
                  <a:cubicBezTo>
                    <a:pt x="113644" y="19438"/>
                    <a:pt x="120700" y="32138"/>
                    <a:pt x="138646" y="32138"/>
                  </a:cubicBezTo>
                  <a:cubicBezTo>
                    <a:pt x="146732" y="32029"/>
                    <a:pt x="154651" y="29819"/>
                    <a:pt x="161624" y="25721"/>
                  </a:cubicBezTo>
                  <a:cubicBezTo>
                    <a:pt x="137136" y="8707"/>
                    <a:pt x="108023" y="-388"/>
                    <a:pt x="78205" y="-345"/>
                  </a:cubicBezTo>
                  <a:cubicBezTo>
                    <a:pt x="50915" y="-377"/>
                    <a:pt x="24164" y="7240"/>
                    <a:pt x="989" y="21648"/>
                  </a:cubicBezTo>
                  <a:cubicBezTo>
                    <a:pt x="4440" y="20210"/>
                    <a:pt x="8140" y="19459"/>
                    <a:pt x="11879" y="19438"/>
                  </a:cubicBezTo>
                </a:path>
              </a:pathLst>
            </a:custGeom>
            <a:solidFill>
              <a:srgbClr val="4FE3F2"/>
            </a:solidFill>
            <a:ln w="2661" cap="flat">
              <a:noFill/>
              <a:prstDash val="solid"/>
              <a:miter/>
            </a:ln>
          </p:spPr>
          <p:txBody>
            <a:bodyPr rtlCol="0" anchor="ctr"/>
            <a:lstStyle/>
            <a:p>
              <a:endParaRPr lang="pl-PL"/>
            </a:p>
          </p:txBody>
        </p:sp>
        <p:sp>
          <p:nvSpPr>
            <p:cNvPr id="110" name="Freeform: Shape 109">
              <a:extLst>
                <a:ext uri="{FF2B5EF4-FFF2-40B4-BE49-F238E27FC236}">
                  <a16:creationId xmlns:a16="http://schemas.microsoft.com/office/drawing/2014/main" id="{F91BFF9D-2658-4503-9379-2150C2A845DE}"/>
                </a:ext>
              </a:extLst>
            </p:cNvPr>
            <p:cNvSpPr/>
            <p:nvPr/>
          </p:nvSpPr>
          <p:spPr>
            <a:xfrm>
              <a:off x="11432374" y="6628522"/>
              <a:ext cx="90726" cy="18332"/>
            </a:xfrm>
            <a:custGeom>
              <a:avLst/>
              <a:gdLst>
                <a:gd name="connsiteX0" fmla="*/ 78205 w 160768"/>
                <a:gd name="connsiteY0" fmla="*/ -345 h 32484"/>
                <a:gd name="connsiteX1" fmla="*/ 989 w 160768"/>
                <a:gd name="connsiteY1" fmla="*/ 21648 h 32484"/>
                <a:gd name="connsiteX2" fmla="*/ 11879 w 160768"/>
                <a:gd name="connsiteY2" fmla="*/ 19438 h 32484"/>
                <a:gd name="connsiteX3" fmla="*/ 53975 w 160768"/>
                <a:gd name="connsiteY3" fmla="*/ 32138 h 32484"/>
                <a:gd name="connsiteX4" fmla="*/ 96577 w 160768"/>
                <a:gd name="connsiteY4" fmla="*/ 19438 h 32484"/>
                <a:gd name="connsiteX5" fmla="*/ 138806 w 160768"/>
                <a:gd name="connsiteY5" fmla="*/ 32138 h 32484"/>
                <a:gd name="connsiteX6" fmla="*/ 161757 w 160768"/>
                <a:gd name="connsiteY6" fmla="*/ 25722 h 32484"/>
                <a:gd name="connsiteX7" fmla="*/ 78338 w 160768"/>
                <a:gd name="connsiteY7" fmla="*/ -345 h 3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8" h="32484">
                  <a:moveTo>
                    <a:pt x="78205" y="-345"/>
                  </a:moveTo>
                  <a:cubicBezTo>
                    <a:pt x="50915" y="-377"/>
                    <a:pt x="24164" y="7240"/>
                    <a:pt x="989" y="21648"/>
                  </a:cubicBezTo>
                  <a:cubicBezTo>
                    <a:pt x="4439" y="20210"/>
                    <a:pt x="8140" y="19459"/>
                    <a:pt x="11879" y="19438"/>
                  </a:cubicBezTo>
                  <a:cubicBezTo>
                    <a:pt x="29931" y="19438"/>
                    <a:pt x="34804" y="32138"/>
                    <a:pt x="53975" y="32138"/>
                  </a:cubicBezTo>
                  <a:cubicBezTo>
                    <a:pt x="73146" y="32138"/>
                    <a:pt x="77778" y="19438"/>
                    <a:pt x="96577" y="19438"/>
                  </a:cubicBezTo>
                  <a:cubicBezTo>
                    <a:pt x="113777" y="19438"/>
                    <a:pt x="120833" y="32138"/>
                    <a:pt x="138806" y="32138"/>
                  </a:cubicBezTo>
                  <a:cubicBezTo>
                    <a:pt x="146884" y="32027"/>
                    <a:pt x="154792" y="29814"/>
                    <a:pt x="161757" y="25722"/>
                  </a:cubicBezTo>
                  <a:cubicBezTo>
                    <a:pt x="137269" y="8707"/>
                    <a:pt x="108156" y="-388"/>
                    <a:pt x="78338" y="-345"/>
                  </a:cubicBezTo>
                </a:path>
              </a:pathLst>
            </a:custGeom>
            <a:solidFill>
              <a:srgbClr val="BAF2FA"/>
            </a:solidFill>
            <a:ln w="2661" cap="flat">
              <a:noFill/>
              <a:prstDash val="solid"/>
              <a:miter/>
            </a:ln>
          </p:spPr>
          <p:txBody>
            <a:bodyPr rtlCol="0" anchor="ctr"/>
            <a:lstStyle/>
            <a:p>
              <a:endParaRPr lang="pl-PL"/>
            </a:p>
          </p:txBody>
        </p:sp>
        <p:sp>
          <p:nvSpPr>
            <p:cNvPr id="111" name="Freeform: Shape 110">
              <a:extLst>
                <a:ext uri="{FF2B5EF4-FFF2-40B4-BE49-F238E27FC236}">
                  <a16:creationId xmlns:a16="http://schemas.microsoft.com/office/drawing/2014/main" id="{8350268B-C3C9-4173-BD26-DA2DC879E1D0}"/>
                </a:ext>
              </a:extLst>
            </p:cNvPr>
            <p:cNvSpPr/>
            <p:nvPr/>
          </p:nvSpPr>
          <p:spPr>
            <a:xfrm>
              <a:off x="11427415" y="6639597"/>
              <a:ext cx="108562" cy="21802"/>
            </a:xfrm>
            <a:custGeom>
              <a:avLst/>
              <a:gdLst>
                <a:gd name="connsiteX0" fmla="*/ 105230 w 192373"/>
                <a:gd name="connsiteY0" fmla="*/ -266 h 38634"/>
                <a:gd name="connsiteX1" fmla="*/ 62628 w 192373"/>
                <a:gd name="connsiteY1" fmla="*/ 12435 h 38634"/>
                <a:gd name="connsiteX2" fmla="*/ 20532 w 192373"/>
                <a:gd name="connsiteY2" fmla="*/ -266 h 38634"/>
                <a:gd name="connsiteX3" fmla="*/ 9642 w 192373"/>
                <a:gd name="connsiteY3" fmla="*/ 1944 h 38634"/>
                <a:gd name="connsiteX4" fmla="*/ 989 w 192373"/>
                <a:gd name="connsiteY4" fmla="*/ 7775 h 38634"/>
                <a:gd name="connsiteX5" fmla="*/ 21171 w 192373"/>
                <a:gd name="connsiteY5" fmla="*/ 25615 h 38634"/>
                <a:gd name="connsiteX6" fmla="*/ 62628 w 192373"/>
                <a:gd name="connsiteY6" fmla="*/ 38289 h 38634"/>
                <a:gd name="connsiteX7" fmla="*/ 105230 w 192373"/>
                <a:gd name="connsiteY7" fmla="*/ 25588 h 38634"/>
                <a:gd name="connsiteX8" fmla="*/ 147459 w 192373"/>
                <a:gd name="connsiteY8" fmla="*/ 38289 h 38634"/>
                <a:gd name="connsiteX9" fmla="*/ 190700 w 192373"/>
                <a:gd name="connsiteY9" fmla="*/ 25588 h 38634"/>
                <a:gd name="connsiteX10" fmla="*/ 193363 w 192373"/>
                <a:gd name="connsiteY10" fmla="*/ 25588 h 38634"/>
                <a:gd name="connsiteX11" fmla="*/ 170438 w 192373"/>
                <a:gd name="connsiteY11" fmla="*/ 5938 h 38634"/>
                <a:gd name="connsiteX12" fmla="*/ 147486 w 192373"/>
                <a:gd name="connsiteY12" fmla="*/ 12355 h 38634"/>
                <a:gd name="connsiteX13" fmla="*/ 105257 w 192373"/>
                <a:gd name="connsiteY13" fmla="*/ -346 h 38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2373" h="38634">
                  <a:moveTo>
                    <a:pt x="105230" y="-266"/>
                  </a:moveTo>
                  <a:cubicBezTo>
                    <a:pt x="86592" y="-266"/>
                    <a:pt x="81799" y="12435"/>
                    <a:pt x="62628" y="12435"/>
                  </a:cubicBezTo>
                  <a:cubicBezTo>
                    <a:pt x="43457" y="12435"/>
                    <a:pt x="38665" y="-266"/>
                    <a:pt x="20532" y="-266"/>
                  </a:cubicBezTo>
                  <a:cubicBezTo>
                    <a:pt x="16794" y="-244"/>
                    <a:pt x="13093" y="506"/>
                    <a:pt x="9642" y="1944"/>
                  </a:cubicBezTo>
                  <a:cubicBezTo>
                    <a:pt x="6687" y="3781"/>
                    <a:pt x="3785" y="5725"/>
                    <a:pt x="989" y="7775"/>
                  </a:cubicBezTo>
                  <a:cubicBezTo>
                    <a:pt x="8031" y="13356"/>
                    <a:pt x="14768" y="19312"/>
                    <a:pt x="21171" y="25615"/>
                  </a:cubicBezTo>
                  <a:cubicBezTo>
                    <a:pt x="38691" y="25908"/>
                    <a:pt x="43697" y="38289"/>
                    <a:pt x="62628" y="38289"/>
                  </a:cubicBezTo>
                  <a:cubicBezTo>
                    <a:pt x="81559" y="38289"/>
                    <a:pt x="86432" y="25588"/>
                    <a:pt x="105230" y="25588"/>
                  </a:cubicBezTo>
                  <a:cubicBezTo>
                    <a:pt x="122431" y="25588"/>
                    <a:pt x="129487" y="38289"/>
                    <a:pt x="147459" y="38289"/>
                  </a:cubicBezTo>
                  <a:cubicBezTo>
                    <a:pt x="167456" y="38289"/>
                    <a:pt x="173872" y="25588"/>
                    <a:pt x="190700" y="25588"/>
                  </a:cubicBezTo>
                  <a:cubicBezTo>
                    <a:pt x="191632" y="25588"/>
                    <a:pt x="192484" y="25588"/>
                    <a:pt x="193363" y="25588"/>
                  </a:cubicBezTo>
                  <a:cubicBezTo>
                    <a:pt x="186416" y="18269"/>
                    <a:pt x="178734" y="11684"/>
                    <a:pt x="170438" y="5938"/>
                  </a:cubicBezTo>
                  <a:cubicBezTo>
                    <a:pt x="163472" y="10031"/>
                    <a:pt x="155564" y="12243"/>
                    <a:pt x="147486" y="12355"/>
                  </a:cubicBezTo>
                  <a:cubicBezTo>
                    <a:pt x="129513" y="12355"/>
                    <a:pt x="122457" y="-346"/>
                    <a:pt x="105257" y="-346"/>
                  </a:cubicBezTo>
                </a:path>
              </a:pathLst>
            </a:custGeom>
            <a:solidFill>
              <a:srgbClr val="4FE3F2"/>
            </a:solidFill>
            <a:ln w="2661" cap="flat">
              <a:noFill/>
              <a:prstDash val="solid"/>
              <a:miter/>
            </a:ln>
          </p:spPr>
          <p:txBody>
            <a:bodyPr rtlCol="0" anchor="ctr"/>
            <a:lstStyle/>
            <a:p>
              <a:endParaRPr lang="pl-PL"/>
            </a:p>
          </p:txBody>
        </p:sp>
        <p:sp>
          <p:nvSpPr>
            <p:cNvPr id="112" name="Freeform: Shape 111">
              <a:extLst>
                <a:ext uri="{FF2B5EF4-FFF2-40B4-BE49-F238E27FC236}">
                  <a16:creationId xmlns:a16="http://schemas.microsoft.com/office/drawing/2014/main" id="{477F3D5B-06FE-47E5-8103-AE1F618D8F7D}"/>
                </a:ext>
              </a:extLst>
            </p:cNvPr>
            <p:cNvSpPr/>
            <p:nvPr/>
          </p:nvSpPr>
          <p:spPr>
            <a:xfrm>
              <a:off x="11438745" y="6654277"/>
              <a:ext cx="111537" cy="22389"/>
            </a:xfrm>
            <a:custGeom>
              <a:avLst/>
              <a:gdLst>
                <a:gd name="connsiteX0" fmla="*/ 127250 w 197645"/>
                <a:gd name="connsiteY0" fmla="*/ 12355 h 39673"/>
                <a:gd name="connsiteX1" fmla="*/ 85048 w 197645"/>
                <a:gd name="connsiteY1" fmla="*/ -346 h 39673"/>
                <a:gd name="connsiteX2" fmla="*/ 42446 w 197645"/>
                <a:gd name="connsiteY2" fmla="*/ 12355 h 39673"/>
                <a:gd name="connsiteX3" fmla="*/ 989 w 197645"/>
                <a:gd name="connsiteY3" fmla="*/ -319 h 39673"/>
                <a:gd name="connsiteX4" fmla="*/ 24233 w 197645"/>
                <a:gd name="connsiteY4" fmla="*/ 25881 h 39673"/>
                <a:gd name="connsiteX5" fmla="*/ 33100 w 197645"/>
                <a:gd name="connsiteY5" fmla="*/ 38209 h 39673"/>
                <a:gd name="connsiteX6" fmla="*/ 42446 w 197645"/>
                <a:gd name="connsiteY6" fmla="*/ 39327 h 39673"/>
                <a:gd name="connsiteX7" fmla="*/ 85048 w 197645"/>
                <a:gd name="connsiteY7" fmla="*/ 26627 h 39673"/>
                <a:gd name="connsiteX8" fmla="*/ 127250 w 197645"/>
                <a:gd name="connsiteY8" fmla="*/ 39327 h 39673"/>
                <a:gd name="connsiteX9" fmla="*/ 170517 w 197645"/>
                <a:gd name="connsiteY9" fmla="*/ 26627 h 39673"/>
                <a:gd name="connsiteX10" fmla="*/ 198635 w 197645"/>
                <a:gd name="connsiteY10" fmla="*/ 36478 h 39673"/>
                <a:gd name="connsiteX11" fmla="*/ 173153 w 197645"/>
                <a:gd name="connsiteY11" fmla="*/ -266 h 39673"/>
                <a:gd name="connsiteX12" fmla="*/ 170491 w 197645"/>
                <a:gd name="connsiteY12" fmla="*/ -266 h 39673"/>
                <a:gd name="connsiteX13" fmla="*/ 127223 w 197645"/>
                <a:gd name="connsiteY13" fmla="*/ 12435 h 39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7645" h="39673">
                  <a:moveTo>
                    <a:pt x="127250" y="12355"/>
                  </a:moveTo>
                  <a:cubicBezTo>
                    <a:pt x="109304" y="12355"/>
                    <a:pt x="102248" y="-346"/>
                    <a:pt x="85048" y="-346"/>
                  </a:cubicBezTo>
                  <a:cubicBezTo>
                    <a:pt x="66409" y="-346"/>
                    <a:pt x="61616" y="12355"/>
                    <a:pt x="42446" y="12355"/>
                  </a:cubicBezTo>
                  <a:cubicBezTo>
                    <a:pt x="23275" y="12355"/>
                    <a:pt x="18482" y="-26"/>
                    <a:pt x="989" y="-319"/>
                  </a:cubicBezTo>
                  <a:cubicBezTo>
                    <a:pt x="9333" y="7866"/>
                    <a:pt x="17100" y="16621"/>
                    <a:pt x="24233" y="25881"/>
                  </a:cubicBezTo>
                  <a:cubicBezTo>
                    <a:pt x="27295" y="29902"/>
                    <a:pt x="30277" y="34002"/>
                    <a:pt x="33100" y="38209"/>
                  </a:cubicBezTo>
                  <a:cubicBezTo>
                    <a:pt x="36157" y="38971"/>
                    <a:pt x="39296" y="39346"/>
                    <a:pt x="42446" y="39327"/>
                  </a:cubicBezTo>
                  <a:cubicBezTo>
                    <a:pt x="61510" y="39327"/>
                    <a:pt x="66249" y="26627"/>
                    <a:pt x="85048" y="26627"/>
                  </a:cubicBezTo>
                  <a:cubicBezTo>
                    <a:pt x="102248" y="26627"/>
                    <a:pt x="109304" y="39327"/>
                    <a:pt x="127250" y="39327"/>
                  </a:cubicBezTo>
                  <a:cubicBezTo>
                    <a:pt x="147273" y="39327"/>
                    <a:pt x="153690" y="26627"/>
                    <a:pt x="170517" y="26627"/>
                  </a:cubicBezTo>
                  <a:cubicBezTo>
                    <a:pt x="184283" y="26627"/>
                    <a:pt x="189635" y="32245"/>
                    <a:pt x="198635" y="36478"/>
                  </a:cubicBezTo>
                  <a:cubicBezTo>
                    <a:pt x="192063" y="23003"/>
                    <a:pt x="183471" y="10611"/>
                    <a:pt x="173153" y="-266"/>
                  </a:cubicBezTo>
                  <a:cubicBezTo>
                    <a:pt x="172301" y="-266"/>
                    <a:pt x="171449" y="-266"/>
                    <a:pt x="170491" y="-266"/>
                  </a:cubicBezTo>
                  <a:cubicBezTo>
                    <a:pt x="153663" y="-266"/>
                    <a:pt x="147246" y="12435"/>
                    <a:pt x="127223" y="12435"/>
                  </a:cubicBezTo>
                </a:path>
              </a:pathLst>
            </a:custGeom>
            <a:solidFill>
              <a:srgbClr val="0066E5"/>
            </a:solidFill>
            <a:ln w="2661" cap="flat">
              <a:noFill/>
              <a:prstDash val="solid"/>
              <a:miter/>
            </a:ln>
          </p:spPr>
          <p:txBody>
            <a:bodyPr rtlCol="0" anchor="ctr"/>
            <a:lstStyle/>
            <a:p>
              <a:endParaRPr lang="pl-PL"/>
            </a:p>
          </p:txBody>
        </p:sp>
        <p:sp>
          <p:nvSpPr>
            <p:cNvPr id="113" name="Freeform: Shape 112">
              <a:extLst>
                <a:ext uri="{FF2B5EF4-FFF2-40B4-BE49-F238E27FC236}">
                  <a16:creationId xmlns:a16="http://schemas.microsoft.com/office/drawing/2014/main" id="{108A08BB-BD33-4EFE-914F-DC06E47DFB76}"/>
                </a:ext>
              </a:extLst>
            </p:cNvPr>
            <p:cNvSpPr/>
            <p:nvPr/>
          </p:nvSpPr>
          <p:spPr>
            <a:xfrm>
              <a:off x="11456867" y="6669498"/>
              <a:ext cx="99186" cy="29390"/>
            </a:xfrm>
            <a:custGeom>
              <a:avLst/>
              <a:gdLst>
                <a:gd name="connsiteX0" fmla="*/ 95139 w 175759"/>
                <a:gd name="connsiteY0" fmla="*/ 12355 h 52080"/>
                <a:gd name="connsiteX1" fmla="*/ 52936 w 175759"/>
                <a:gd name="connsiteY1" fmla="*/ -346 h 52080"/>
                <a:gd name="connsiteX2" fmla="*/ 10335 w 175759"/>
                <a:gd name="connsiteY2" fmla="*/ 12355 h 52080"/>
                <a:gd name="connsiteX3" fmla="*/ 989 w 175759"/>
                <a:gd name="connsiteY3" fmla="*/ 11210 h 52080"/>
                <a:gd name="connsiteX4" fmla="*/ 23248 w 175759"/>
                <a:gd name="connsiteY4" fmla="*/ 51735 h 52080"/>
                <a:gd name="connsiteX5" fmla="*/ 22929 w 175759"/>
                <a:gd name="connsiteY5" fmla="*/ 50963 h 52080"/>
                <a:gd name="connsiteX6" fmla="*/ 110183 w 175759"/>
                <a:gd name="connsiteY6" fmla="*/ 22633 h 52080"/>
                <a:gd name="connsiteX7" fmla="*/ 176748 w 175759"/>
                <a:gd name="connsiteY7" fmla="*/ 38262 h 52080"/>
                <a:gd name="connsiteX8" fmla="*/ 166310 w 175759"/>
                <a:gd name="connsiteY8" fmla="*/ 9506 h 52080"/>
                <a:gd name="connsiteX9" fmla="*/ 138193 w 175759"/>
                <a:gd name="connsiteY9" fmla="*/ -346 h 52080"/>
                <a:gd name="connsiteX10" fmla="*/ 94926 w 175759"/>
                <a:gd name="connsiteY10" fmla="*/ 12355 h 52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5759" h="52080">
                  <a:moveTo>
                    <a:pt x="95139" y="12355"/>
                  </a:moveTo>
                  <a:cubicBezTo>
                    <a:pt x="77193" y="12355"/>
                    <a:pt x="70137" y="-346"/>
                    <a:pt x="52936" y="-346"/>
                  </a:cubicBezTo>
                  <a:cubicBezTo>
                    <a:pt x="34298" y="-346"/>
                    <a:pt x="29505" y="12355"/>
                    <a:pt x="10335" y="12355"/>
                  </a:cubicBezTo>
                  <a:cubicBezTo>
                    <a:pt x="7182" y="12379"/>
                    <a:pt x="4043" y="11993"/>
                    <a:pt x="989" y="11210"/>
                  </a:cubicBezTo>
                  <a:cubicBezTo>
                    <a:pt x="9634" y="24007"/>
                    <a:pt x="17087" y="37573"/>
                    <a:pt x="23248" y="51735"/>
                  </a:cubicBezTo>
                  <a:lnTo>
                    <a:pt x="22929" y="50963"/>
                  </a:lnTo>
                  <a:cubicBezTo>
                    <a:pt x="48205" y="32375"/>
                    <a:pt x="78806" y="22438"/>
                    <a:pt x="110183" y="22633"/>
                  </a:cubicBezTo>
                  <a:cubicBezTo>
                    <a:pt x="133286" y="22574"/>
                    <a:pt x="156083" y="27926"/>
                    <a:pt x="176748" y="38262"/>
                  </a:cubicBezTo>
                  <a:cubicBezTo>
                    <a:pt x="174298" y="28333"/>
                    <a:pt x="170800" y="18695"/>
                    <a:pt x="166310" y="9506"/>
                  </a:cubicBezTo>
                  <a:cubicBezTo>
                    <a:pt x="157311" y="5273"/>
                    <a:pt x="151959" y="-346"/>
                    <a:pt x="138193" y="-346"/>
                  </a:cubicBezTo>
                  <a:cubicBezTo>
                    <a:pt x="121365" y="-346"/>
                    <a:pt x="114949" y="12355"/>
                    <a:pt x="94926" y="12355"/>
                  </a:cubicBezTo>
                </a:path>
              </a:pathLst>
            </a:custGeom>
            <a:solidFill>
              <a:srgbClr val="143DCF"/>
            </a:solidFill>
            <a:ln w="2661" cap="flat">
              <a:noFill/>
              <a:prstDash val="solid"/>
              <a:miter/>
            </a:ln>
          </p:spPr>
          <p:txBody>
            <a:bodyPr rtlCol="0" anchor="ctr"/>
            <a:lstStyle/>
            <a:p>
              <a:endParaRPr lang="pl-PL"/>
            </a:p>
          </p:txBody>
        </p:sp>
        <p:sp>
          <p:nvSpPr>
            <p:cNvPr id="114" name="Freeform: Shape 113">
              <a:extLst>
                <a:ext uri="{FF2B5EF4-FFF2-40B4-BE49-F238E27FC236}">
                  <a16:creationId xmlns:a16="http://schemas.microsoft.com/office/drawing/2014/main" id="{109B9A8A-21BA-4C44-9995-0B1ADDA6FDB2}"/>
                </a:ext>
              </a:extLst>
            </p:cNvPr>
            <p:cNvSpPr/>
            <p:nvPr/>
          </p:nvSpPr>
          <p:spPr>
            <a:xfrm>
              <a:off x="11469428" y="6682464"/>
              <a:ext cx="88352" cy="28821"/>
            </a:xfrm>
            <a:custGeom>
              <a:avLst/>
              <a:gdLst>
                <a:gd name="connsiteX0" fmla="*/ 154808 w 156561"/>
                <a:gd name="connsiteY0" fmla="*/ 15287 h 51071"/>
                <a:gd name="connsiteX1" fmla="*/ 88243 w 156561"/>
                <a:gd name="connsiteY1" fmla="*/ -343 h 51071"/>
                <a:gd name="connsiteX2" fmla="*/ 989 w 156561"/>
                <a:gd name="connsiteY2" fmla="*/ 27987 h 51071"/>
                <a:gd name="connsiteX3" fmla="*/ 1308 w 156561"/>
                <a:gd name="connsiteY3" fmla="*/ 28760 h 51071"/>
                <a:gd name="connsiteX4" fmla="*/ 2533 w 156561"/>
                <a:gd name="connsiteY4" fmla="*/ 31635 h 51071"/>
                <a:gd name="connsiteX5" fmla="*/ 3172 w 156561"/>
                <a:gd name="connsiteY5" fmla="*/ 33153 h 51071"/>
                <a:gd name="connsiteX6" fmla="*/ 5568 w 156561"/>
                <a:gd name="connsiteY6" fmla="*/ 39170 h 51071"/>
                <a:gd name="connsiteX7" fmla="*/ 5888 w 156561"/>
                <a:gd name="connsiteY7" fmla="*/ 40049 h 51071"/>
                <a:gd name="connsiteX8" fmla="*/ 6740 w 156561"/>
                <a:gd name="connsiteY8" fmla="*/ 42339 h 51071"/>
                <a:gd name="connsiteX9" fmla="*/ 7619 w 156561"/>
                <a:gd name="connsiteY9" fmla="*/ 44709 h 51071"/>
                <a:gd name="connsiteX10" fmla="*/ 8364 w 156561"/>
                <a:gd name="connsiteY10" fmla="*/ 46892 h 51071"/>
                <a:gd name="connsiteX11" fmla="*/ 9269 w 156561"/>
                <a:gd name="connsiteY11" fmla="*/ 49555 h 51071"/>
                <a:gd name="connsiteX12" fmla="*/ 9669 w 156561"/>
                <a:gd name="connsiteY12" fmla="*/ 50726 h 51071"/>
                <a:gd name="connsiteX13" fmla="*/ 88243 w 156561"/>
                <a:gd name="connsiteY13" fmla="*/ 28360 h 51071"/>
                <a:gd name="connsiteX14" fmla="*/ 109544 w 156561"/>
                <a:gd name="connsiteY14" fmla="*/ 29825 h 51071"/>
                <a:gd name="connsiteX15" fmla="*/ 112606 w 156561"/>
                <a:gd name="connsiteY15" fmla="*/ 30038 h 51071"/>
                <a:gd name="connsiteX16" fmla="*/ 112925 w 156561"/>
                <a:gd name="connsiteY16" fmla="*/ 30038 h 51071"/>
                <a:gd name="connsiteX17" fmla="*/ 113378 w 156561"/>
                <a:gd name="connsiteY17" fmla="*/ 30038 h 51071"/>
                <a:gd name="connsiteX18" fmla="*/ 116040 w 156561"/>
                <a:gd name="connsiteY18" fmla="*/ 30677 h 51071"/>
                <a:gd name="connsiteX19" fmla="*/ 116040 w 156561"/>
                <a:gd name="connsiteY19" fmla="*/ 30677 h 51071"/>
                <a:gd name="connsiteX20" fmla="*/ 123256 w 156561"/>
                <a:gd name="connsiteY20" fmla="*/ 18722 h 51071"/>
                <a:gd name="connsiteX21" fmla="*/ 139232 w 156561"/>
                <a:gd name="connsiteY21" fmla="*/ 15873 h 51071"/>
                <a:gd name="connsiteX22" fmla="*/ 139232 w 156561"/>
                <a:gd name="connsiteY22" fmla="*/ 15873 h 51071"/>
                <a:gd name="connsiteX23" fmla="*/ 140536 w 156561"/>
                <a:gd name="connsiteY23" fmla="*/ 37520 h 51071"/>
                <a:gd name="connsiteX24" fmla="*/ 150015 w 156561"/>
                <a:gd name="connsiteY24" fmla="*/ 29691 h 51071"/>
                <a:gd name="connsiteX25" fmla="*/ 157550 w 156561"/>
                <a:gd name="connsiteY25" fmla="*/ 29212 h 51071"/>
                <a:gd name="connsiteX26" fmla="*/ 154888 w 156561"/>
                <a:gd name="connsiteY26" fmla="*/ 15180 h 5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6561" h="51071">
                  <a:moveTo>
                    <a:pt x="154808" y="15287"/>
                  </a:moveTo>
                  <a:cubicBezTo>
                    <a:pt x="134143" y="4950"/>
                    <a:pt x="111346" y="-401"/>
                    <a:pt x="88243" y="-343"/>
                  </a:cubicBezTo>
                  <a:cubicBezTo>
                    <a:pt x="56866" y="-537"/>
                    <a:pt x="26265" y="9400"/>
                    <a:pt x="989" y="27987"/>
                  </a:cubicBezTo>
                  <a:lnTo>
                    <a:pt x="1308" y="28760"/>
                  </a:lnTo>
                  <a:cubicBezTo>
                    <a:pt x="1734" y="29718"/>
                    <a:pt x="2134" y="30677"/>
                    <a:pt x="2533" y="31635"/>
                  </a:cubicBezTo>
                  <a:lnTo>
                    <a:pt x="3172" y="33153"/>
                  </a:lnTo>
                  <a:cubicBezTo>
                    <a:pt x="3997" y="35150"/>
                    <a:pt x="4796" y="37147"/>
                    <a:pt x="5568" y="39170"/>
                  </a:cubicBezTo>
                  <a:lnTo>
                    <a:pt x="5888" y="40049"/>
                  </a:lnTo>
                  <a:cubicBezTo>
                    <a:pt x="6181" y="40821"/>
                    <a:pt x="6474" y="41593"/>
                    <a:pt x="6740" y="42339"/>
                  </a:cubicBezTo>
                  <a:lnTo>
                    <a:pt x="7619" y="44709"/>
                  </a:lnTo>
                  <a:cubicBezTo>
                    <a:pt x="7858" y="45454"/>
                    <a:pt x="8124" y="46173"/>
                    <a:pt x="8364" y="46892"/>
                  </a:cubicBezTo>
                  <a:cubicBezTo>
                    <a:pt x="8604" y="47611"/>
                    <a:pt x="8977" y="48649"/>
                    <a:pt x="9269" y="49555"/>
                  </a:cubicBezTo>
                  <a:lnTo>
                    <a:pt x="9669" y="50726"/>
                  </a:lnTo>
                  <a:cubicBezTo>
                    <a:pt x="33212" y="35978"/>
                    <a:pt x="60461" y="28222"/>
                    <a:pt x="88243" y="28360"/>
                  </a:cubicBezTo>
                  <a:cubicBezTo>
                    <a:pt x="95368" y="28358"/>
                    <a:pt x="102485" y="28847"/>
                    <a:pt x="109544" y="29825"/>
                  </a:cubicBezTo>
                  <a:cubicBezTo>
                    <a:pt x="110569" y="29835"/>
                    <a:pt x="111591" y="29907"/>
                    <a:pt x="112606" y="30038"/>
                  </a:cubicBezTo>
                  <a:lnTo>
                    <a:pt x="112925" y="30038"/>
                  </a:lnTo>
                  <a:lnTo>
                    <a:pt x="113378" y="30038"/>
                  </a:lnTo>
                  <a:cubicBezTo>
                    <a:pt x="114278" y="30189"/>
                    <a:pt x="115170" y="30402"/>
                    <a:pt x="116040" y="30677"/>
                  </a:cubicBezTo>
                  <a:lnTo>
                    <a:pt x="116040" y="30677"/>
                  </a:lnTo>
                  <a:cubicBezTo>
                    <a:pt x="116123" y="25684"/>
                    <a:pt x="118879" y="21121"/>
                    <a:pt x="123256" y="18722"/>
                  </a:cubicBezTo>
                  <a:cubicBezTo>
                    <a:pt x="129460" y="14994"/>
                    <a:pt x="139232" y="15873"/>
                    <a:pt x="139232" y="15873"/>
                  </a:cubicBezTo>
                  <a:lnTo>
                    <a:pt x="139232" y="15873"/>
                  </a:lnTo>
                  <a:cubicBezTo>
                    <a:pt x="140068" y="23059"/>
                    <a:pt x="140504" y="30285"/>
                    <a:pt x="140536" y="37520"/>
                  </a:cubicBezTo>
                  <a:cubicBezTo>
                    <a:pt x="142291" y="33566"/>
                    <a:pt x="145800" y="30666"/>
                    <a:pt x="150015" y="29691"/>
                  </a:cubicBezTo>
                  <a:cubicBezTo>
                    <a:pt x="152483" y="29124"/>
                    <a:pt x="155029" y="28962"/>
                    <a:pt x="157550" y="29212"/>
                  </a:cubicBezTo>
                  <a:cubicBezTo>
                    <a:pt x="156858" y="24446"/>
                    <a:pt x="155953" y="19787"/>
                    <a:pt x="154888" y="15180"/>
                  </a:cubicBezTo>
                </a:path>
              </a:pathLst>
            </a:custGeom>
            <a:solidFill>
              <a:srgbClr val="00A652"/>
            </a:solidFill>
            <a:ln w="2661" cap="flat">
              <a:noFill/>
              <a:prstDash val="solid"/>
              <a:miter/>
            </a:ln>
          </p:spPr>
          <p:txBody>
            <a:bodyPr rtlCol="0" anchor="ctr"/>
            <a:lstStyle/>
            <a:p>
              <a:endParaRPr lang="pl-PL"/>
            </a:p>
          </p:txBody>
        </p:sp>
        <p:sp>
          <p:nvSpPr>
            <p:cNvPr id="115" name="Freeform: Shape 114">
              <a:extLst>
                <a:ext uri="{FF2B5EF4-FFF2-40B4-BE49-F238E27FC236}">
                  <a16:creationId xmlns:a16="http://schemas.microsoft.com/office/drawing/2014/main" id="{B5E920C3-804F-4CED-A138-F83C5402C9A4}"/>
                </a:ext>
              </a:extLst>
            </p:cNvPr>
            <p:cNvSpPr/>
            <p:nvPr/>
          </p:nvSpPr>
          <p:spPr>
            <a:xfrm>
              <a:off x="11474267" y="6698648"/>
              <a:ext cx="56271" cy="28174"/>
            </a:xfrm>
            <a:custGeom>
              <a:avLst/>
              <a:gdLst>
                <a:gd name="connsiteX0" fmla="*/ 79563 w 99714"/>
                <a:gd name="connsiteY0" fmla="*/ -344 h 49925"/>
                <a:gd name="connsiteX1" fmla="*/ 989 w 99714"/>
                <a:gd name="connsiteY1" fmla="*/ 22022 h 49925"/>
                <a:gd name="connsiteX2" fmla="*/ 1228 w 99714"/>
                <a:gd name="connsiteY2" fmla="*/ 22821 h 49925"/>
                <a:gd name="connsiteX3" fmla="*/ 2373 w 99714"/>
                <a:gd name="connsiteY3" fmla="*/ 26442 h 49925"/>
                <a:gd name="connsiteX4" fmla="*/ 2773 w 99714"/>
                <a:gd name="connsiteY4" fmla="*/ 27694 h 49925"/>
                <a:gd name="connsiteX5" fmla="*/ 4184 w 99714"/>
                <a:gd name="connsiteY5" fmla="*/ 32540 h 49925"/>
                <a:gd name="connsiteX6" fmla="*/ 4610 w 99714"/>
                <a:gd name="connsiteY6" fmla="*/ 34137 h 49925"/>
                <a:gd name="connsiteX7" fmla="*/ 5515 w 99714"/>
                <a:gd name="connsiteY7" fmla="*/ 37545 h 49925"/>
                <a:gd name="connsiteX8" fmla="*/ 6021 w 99714"/>
                <a:gd name="connsiteY8" fmla="*/ 39542 h 49925"/>
                <a:gd name="connsiteX9" fmla="*/ 6767 w 99714"/>
                <a:gd name="connsiteY9" fmla="*/ 42658 h 49925"/>
                <a:gd name="connsiteX10" fmla="*/ 7246 w 99714"/>
                <a:gd name="connsiteY10" fmla="*/ 44708 h 49925"/>
                <a:gd name="connsiteX11" fmla="*/ 8231 w 99714"/>
                <a:gd name="connsiteY11" fmla="*/ 49128 h 49925"/>
                <a:gd name="connsiteX12" fmla="*/ 8231 w 99714"/>
                <a:gd name="connsiteY12" fmla="*/ 49580 h 49925"/>
                <a:gd name="connsiteX13" fmla="*/ 61936 w 99714"/>
                <a:gd name="connsiteY13" fmla="*/ 32566 h 49925"/>
                <a:gd name="connsiteX14" fmla="*/ 65877 w 99714"/>
                <a:gd name="connsiteY14" fmla="*/ 29904 h 49925"/>
                <a:gd name="connsiteX15" fmla="*/ 78125 w 99714"/>
                <a:gd name="connsiteY15" fmla="*/ 28732 h 49925"/>
                <a:gd name="connsiteX16" fmla="*/ 81373 w 99714"/>
                <a:gd name="connsiteY16" fmla="*/ 29478 h 49925"/>
                <a:gd name="connsiteX17" fmla="*/ 82278 w 99714"/>
                <a:gd name="connsiteY17" fmla="*/ 24339 h 49925"/>
                <a:gd name="connsiteX18" fmla="*/ 88509 w 99714"/>
                <a:gd name="connsiteY18" fmla="*/ 6579 h 49925"/>
                <a:gd name="connsiteX19" fmla="*/ 100704 w 99714"/>
                <a:gd name="connsiteY19" fmla="*/ 1254 h 49925"/>
                <a:gd name="connsiteX20" fmla="*/ 79403 w 99714"/>
                <a:gd name="connsiteY20" fmla="*/ -211 h 49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9714" h="49925">
                  <a:moveTo>
                    <a:pt x="79563" y="-344"/>
                  </a:moveTo>
                  <a:cubicBezTo>
                    <a:pt x="51781" y="-482"/>
                    <a:pt x="24532" y="7274"/>
                    <a:pt x="989" y="22022"/>
                  </a:cubicBezTo>
                  <a:lnTo>
                    <a:pt x="1228" y="22821"/>
                  </a:lnTo>
                  <a:cubicBezTo>
                    <a:pt x="1628" y="24019"/>
                    <a:pt x="2001" y="25244"/>
                    <a:pt x="2373" y="26442"/>
                  </a:cubicBezTo>
                  <a:lnTo>
                    <a:pt x="2773" y="27694"/>
                  </a:lnTo>
                  <a:cubicBezTo>
                    <a:pt x="3252" y="29318"/>
                    <a:pt x="3731" y="30915"/>
                    <a:pt x="4184" y="32540"/>
                  </a:cubicBezTo>
                  <a:cubicBezTo>
                    <a:pt x="4317" y="33072"/>
                    <a:pt x="4450" y="33605"/>
                    <a:pt x="4610" y="34137"/>
                  </a:cubicBezTo>
                  <a:cubicBezTo>
                    <a:pt x="4903" y="35282"/>
                    <a:pt x="5222" y="36400"/>
                    <a:pt x="5515" y="37545"/>
                  </a:cubicBezTo>
                  <a:cubicBezTo>
                    <a:pt x="5675" y="38211"/>
                    <a:pt x="5861" y="38877"/>
                    <a:pt x="6021" y="39542"/>
                  </a:cubicBezTo>
                  <a:cubicBezTo>
                    <a:pt x="6181" y="40208"/>
                    <a:pt x="6527" y="41619"/>
                    <a:pt x="6767" y="42658"/>
                  </a:cubicBezTo>
                  <a:lnTo>
                    <a:pt x="7246" y="44708"/>
                  </a:lnTo>
                  <a:cubicBezTo>
                    <a:pt x="7592" y="46172"/>
                    <a:pt x="7912" y="47663"/>
                    <a:pt x="8231" y="49128"/>
                  </a:cubicBezTo>
                  <a:lnTo>
                    <a:pt x="8231" y="49580"/>
                  </a:lnTo>
                  <a:cubicBezTo>
                    <a:pt x="24862" y="40482"/>
                    <a:pt x="43101" y="34704"/>
                    <a:pt x="61936" y="32566"/>
                  </a:cubicBezTo>
                  <a:cubicBezTo>
                    <a:pt x="63078" y="31451"/>
                    <a:pt x="64415" y="30548"/>
                    <a:pt x="65877" y="29904"/>
                  </a:cubicBezTo>
                  <a:cubicBezTo>
                    <a:pt x="69748" y="28287"/>
                    <a:pt x="74016" y="27880"/>
                    <a:pt x="78125" y="28732"/>
                  </a:cubicBezTo>
                  <a:cubicBezTo>
                    <a:pt x="79227" y="28892"/>
                    <a:pt x="80313" y="29139"/>
                    <a:pt x="81373" y="29478"/>
                  </a:cubicBezTo>
                  <a:cubicBezTo>
                    <a:pt x="81719" y="27773"/>
                    <a:pt x="82012" y="26069"/>
                    <a:pt x="82278" y="24339"/>
                  </a:cubicBezTo>
                  <a:cubicBezTo>
                    <a:pt x="82278" y="24339"/>
                    <a:pt x="84355" y="11558"/>
                    <a:pt x="88509" y="6579"/>
                  </a:cubicBezTo>
                  <a:cubicBezTo>
                    <a:pt x="91555" y="3043"/>
                    <a:pt x="96042" y="1086"/>
                    <a:pt x="100704" y="1254"/>
                  </a:cubicBezTo>
                  <a:cubicBezTo>
                    <a:pt x="93645" y="277"/>
                    <a:pt x="86528" y="-213"/>
                    <a:pt x="79403" y="-211"/>
                  </a:cubicBezTo>
                </a:path>
              </a:pathLst>
            </a:custGeom>
            <a:solidFill>
              <a:srgbClr val="8FD942"/>
            </a:solidFill>
            <a:ln w="2661" cap="flat">
              <a:noFill/>
              <a:prstDash val="solid"/>
              <a:miter/>
            </a:ln>
          </p:spPr>
          <p:txBody>
            <a:bodyPr rtlCol="0" anchor="ctr"/>
            <a:lstStyle/>
            <a:p>
              <a:endParaRPr lang="pl-PL"/>
            </a:p>
          </p:txBody>
        </p:sp>
        <p:sp>
          <p:nvSpPr>
            <p:cNvPr id="116" name="Freeform: Shape 115">
              <a:extLst>
                <a:ext uri="{FF2B5EF4-FFF2-40B4-BE49-F238E27FC236}">
                  <a16:creationId xmlns:a16="http://schemas.microsoft.com/office/drawing/2014/main" id="{2ABE67D5-0FD5-41EE-B69D-FEE2A8B2A738}"/>
                </a:ext>
              </a:extLst>
            </p:cNvPr>
            <p:cNvSpPr/>
            <p:nvPr/>
          </p:nvSpPr>
          <p:spPr>
            <a:xfrm>
              <a:off x="11478444" y="6717190"/>
              <a:ext cx="30172" cy="26310"/>
            </a:xfrm>
            <a:custGeom>
              <a:avLst/>
              <a:gdLst>
                <a:gd name="connsiteX0" fmla="*/ 989 w 53465"/>
                <a:gd name="connsiteY0" fmla="*/ 16669 h 46622"/>
                <a:gd name="connsiteX1" fmla="*/ 1415 w 53465"/>
                <a:gd name="connsiteY1" fmla="*/ 18878 h 46622"/>
                <a:gd name="connsiteX2" fmla="*/ 1921 w 53465"/>
                <a:gd name="connsiteY2" fmla="*/ 21541 h 46622"/>
                <a:gd name="connsiteX3" fmla="*/ 2426 w 53465"/>
                <a:gd name="connsiteY3" fmla="*/ 24337 h 46622"/>
                <a:gd name="connsiteX4" fmla="*/ 2719 w 53465"/>
                <a:gd name="connsiteY4" fmla="*/ 26014 h 46622"/>
                <a:gd name="connsiteX5" fmla="*/ 2719 w 53465"/>
                <a:gd name="connsiteY5" fmla="*/ 26361 h 46622"/>
                <a:gd name="connsiteX6" fmla="*/ 2719 w 53465"/>
                <a:gd name="connsiteY6" fmla="*/ 26573 h 46622"/>
                <a:gd name="connsiteX7" fmla="*/ 3199 w 53465"/>
                <a:gd name="connsiteY7" fmla="*/ 29449 h 46622"/>
                <a:gd name="connsiteX8" fmla="*/ 3651 w 53465"/>
                <a:gd name="connsiteY8" fmla="*/ 32484 h 46622"/>
                <a:gd name="connsiteX9" fmla="*/ 3891 w 53465"/>
                <a:gd name="connsiteY9" fmla="*/ 34268 h 46622"/>
                <a:gd name="connsiteX10" fmla="*/ 4370 w 53465"/>
                <a:gd name="connsiteY10" fmla="*/ 38103 h 46622"/>
                <a:gd name="connsiteX11" fmla="*/ 4743 w 53465"/>
                <a:gd name="connsiteY11" fmla="*/ 41165 h 46622"/>
                <a:gd name="connsiteX12" fmla="*/ 4743 w 53465"/>
                <a:gd name="connsiteY12" fmla="*/ 41324 h 46622"/>
                <a:gd name="connsiteX13" fmla="*/ 4743 w 53465"/>
                <a:gd name="connsiteY13" fmla="*/ 41324 h 46622"/>
                <a:gd name="connsiteX14" fmla="*/ 4743 w 53465"/>
                <a:gd name="connsiteY14" fmla="*/ 41324 h 46622"/>
                <a:gd name="connsiteX15" fmla="*/ 4743 w 53465"/>
                <a:gd name="connsiteY15" fmla="*/ 41671 h 46622"/>
                <a:gd name="connsiteX16" fmla="*/ 4743 w 53465"/>
                <a:gd name="connsiteY16" fmla="*/ 42443 h 46622"/>
                <a:gd name="connsiteX17" fmla="*/ 4743 w 53465"/>
                <a:gd name="connsiteY17" fmla="*/ 42949 h 46622"/>
                <a:gd name="connsiteX18" fmla="*/ 5063 w 53465"/>
                <a:gd name="connsiteY18" fmla="*/ 46277 h 46622"/>
                <a:gd name="connsiteX19" fmla="*/ 5063 w 53465"/>
                <a:gd name="connsiteY19" fmla="*/ 46037 h 46622"/>
                <a:gd name="connsiteX20" fmla="*/ 24313 w 53465"/>
                <a:gd name="connsiteY20" fmla="*/ 38049 h 46622"/>
                <a:gd name="connsiteX21" fmla="*/ 36668 w 53465"/>
                <a:gd name="connsiteY21" fmla="*/ 34481 h 46622"/>
                <a:gd name="connsiteX22" fmla="*/ 44416 w 53465"/>
                <a:gd name="connsiteY22" fmla="*/ 21168 h 46622"/>
                <a:gd name="connsiteX23" fmla="*/ 50460 w 53465"/>
                <a:gd name="connsiteY23" fmla="*/ 6737 h 46622"/>
                <a:gd name="connsiteX24" fmla="*/ 50833 w 53465"/>
                <a:gd name="connsiteY24" fmla="*/ 5592 h 46622"/>
                <a:gd name="connsiteX25" fmla="*/ 54454 w 53465"/>
                <a:gd name="connsiteY25" fmla="*/ -346 h 46622"/>
                <a:gd name="connsiteX26" fmla="*/ 989 w 53465"/>
                <a:gd name="connsiteY26" fmla="*/ 16669 h 4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3465" h="46622">
                  <a:moveTo>
                    <a:pt x="989" y="16669"/>
                  </a:moveTo>
                  <a:cubicBezTo>
                    <a:pt x="1148" y="17414"/>
                    <a:pt x="1282" y="18160"/>
                    <a:pt x="1415" y="18878"/>
                  </a:cubicBezTo>
                  <a:cubicBezTo>
                    <a:pt x="1548" y="19597"/>
                    <a:pt x="1761" y="20609"/>
                    <a:pt x="1921" y="21541"/>
                  </a:cubicBezTo>
                  <a:cubicBezTo>
                    <a:pt x="2080" y="22473"/>
                    <a:pt x="2267" y="23405"/>
                    <a:pt x="2426" y="24337"/>
                  </a:cubicBezTo>
                  <a:cubicBezTo>
                    <a:pt x="2586" y="25269"/>
                    <a:pt x="2613" y="25455"/>
                    <a:pt x="2719" y="26014"/>
                  </a:cubicBezTo>
                  <a:cubicBezTo>
                    <a:pt x="2719" y="26147"/>
                    <a:pt x="2719" y="26254"/>
                    <a:pt x="2719" y="26361"/>
                  </a:cubicBezTo>
                  <a:lnTo>
                    <a:pt x="2719" y="26573"/>
                  </a:lnTo>
                  <a:lnTo>
                    <a:pt x="3199" y="29449"/>
                  </a:lnTo>
                  <a:cubicBezTo>
                    <a:pt x="3358" y="30461"/>
                    <a:pt x="3492" y="31473"/>
                    <a:pt x="3651" y="32484"/>
                  </a:cubicBezTo>
                  <a:lnTo>
                    <a:pt x="3891" y="34268"/>
                  </a:lnTo>
                  <a:cubicBezTo>
                    <a:pt x="4077" y="35546"/>
                    <a:pt x="4211" y="36931"/>
                    <a:pt x="4370" y="38103"/>
                  </a:cubicBezTo>
                  <a:cubicBezTo>
                    <a:pt x="4530" y="39274"/>
                    <a:pt x="4610" y="40153"/>
                    <a:pt x="4743" y="41165"/>
                  </a:cubicBezTo>
                  <a:lnTo>
                    <a:pt x="4743" y="41324"/>
                  </a:lnTo>
                  <a:lnTo>
                    <a:pt x="4743" y="41324"/>
                  </a:lnTo>
                  <a:lnTo>
                    <a:pt x="4743" y="41324"/>
                  </a:lnTo>
                  <a:cubicBezTo>
                    <a:pt x="4743" y="41324"/>
                    <a:pt x="4743" y="41564"/>
                    <a:pt x="4743" y="41671"/>
                  </a:cubicBezTo>
                  <a:lnTo>
                    <a:pt x="4743" y="42443"/>
                  </a:lnTo>
                  <a:cubicBezTo>
                    <a:pt x="4756" y="42610"/>
                    <a:pt x="4756" y="42781"/>
                    <a:pt x="4743" y="42949"/>
                  </a:cubicBezTo>
                  <a:cubicBezTo>
                    <a:pt x="4743" y="44067"/>
                    <a:pt x="4983" y="45185"/>
                    <a:pt x="5063" y="46277"/>
                  </a:cubicBezTo>
                  <a:lnTo>
                    <a:pt x="5063" y="46037"/>
                  </a:lnTo>
                  <a:cubicBezTo>
                    <a:pt x="11274" y="42906"/>
                    <a:pt x="17710" y="40235"/>
                    <a:pt x="24313" y="38049"/>
                  </a:cubicBezTo>
                  <a:cubicBezTo>
                    <a:pt x="28360" y="36691"/>
                    <a:pt x="32487" y="35387"/>
                    <a:pt x="36668" y="34481"/>
                  </a:cubicBezTo>
                  <a:cubicBezTo>
                    <a:pt x="39546" y="30224"/>
                    <a:pt x="42134" y="25775"/>
                    <a:pt x="44416" y="21168"/>
                  </a:cubicBezTo>
                  <a:cubicBezTo>
                    <a:pt x="46735" y="16493"/>
                    <a:pt x="48756" y="11671"/>
                    <a:pt x="50460" y="6737"/>
                  </a:cubicBezTo>
                  <a:cubicBezTo>
                    <a:pt x="50460" y="6338"/>
                    <a:pt x="50700" y="5965"/>
                    <a:pt x="50833" y="5592"/>
                  </a:cubicBezTo>
                  <a:cubicBezTo>
                    <a:pt x="51589" y="3371"/>
                    <a:pt x="52825" y="1343"/>
                    <a:pt x="54454" y="-346"/>
                  </a:cubicBezTo>
                  <a:cubicBezTo>
                    <a:pt x="35701" y="1822"/>
                    <a:pt x="17545" y="7600"/>
                    <a:pt x="989" y="16669"/>
                  </a:cubicBezTo>
                </a:path>
              </a:pathLst>
            </a:custGeom>
            <a:solidFill>
              <a:srgbClr val="00A652"/>
            </a:solidFill>
            <a:ln w="2661" cap="flat">
              <a:noFill/>
              <a:prstDash val="solid"/>
              <a:miter/>
            </a:ln>
          </p:spPr>
          <p:txBody>
            <a:bodyPr rtlCol="0" anchor="ctr"/>
            <a:lstStyle/>
            <a:p>
              <a:endParaRPr lang="pl-PL"/>
            </a:p>
          </p:txBody>
        </p:sp>
        <p:sp>
          <p:nvSpPr>
            <p:cNvPr id="117" name="Freeform: Shape 116">
              <a:extLst>
                <a:ext uri="{FF2B5EF4-FFF2-40B4-BE49-F238E27FC236}">
                  <a16:creationId xmlns:a16="http://schemas.microsoft.com/office/drawing/2014/main" id="{C605B662-9888-4302-9CA0-D55D88DF22A8}"/>
                </a:ext>
              </a:extLst>
            </p:cNvPr>
            <p:cNvSpPr/>
            <p:nvPr/>
          </p:nvSpPr>
          <p:spPr>
            <a:xfrm>
              <a:off x="11480833" y="6736694"/>
              <a:ext cx="17385" cy="17249"/>
            </a:xfrm>
            <a:custGeom>
              <a:avLst/>
              <a:gdLst>
                <a:gd name="connsiteX0" fmla="*/ 20239 w 30806"/>
                <a:gd name="connsiteY0" fmla="*/ 3409 h 30566"/>
                <a:gd name="connsiteX1" fmla="*/ 989 w 30806"/>
                <a:gd name="connsiteY1" fmla="*/ 11397 h 30566"/>
                <a:gd name="connsiteX2" fmla="*/ 989 w 30806"/>
                <a:gd name="connsiteY2" fmla="*/ 11636 h 30566"/>
                <a:gd name="connsiteX3" fmla="*/ 989 w 30806"/>
                <a:gd name="connsiteY3" fmla="*/ 13154 h 30566"/>
                <a:gd name="connsiteX4" fmla="*/ 989 w 30806"/>
                <a:gd name="connsiteY4" fmla="*/ 13314 h 30566"/>
                <a:gd name="connsiteX5" fmla="*/ 1122 w 30806"/>
                <a:gd name="connsiteY5" fmla="*/ 15550 h 30566"/>
                <a:gd name="connsiteX6" fmla="*/ 1122 w 30806"/>
                <a:gd name="connsiteY6" fmla="*/ 16029 h 30566"/>
                <a:gd name="connsiteX7" fmla="*/ 1122 w 30806"/>
                <a:gd name="connsiteY7" fmla="*/ 16029 h 30566"/>
                <a:gd name="connsiteX8" fmla="*/ 1122 w 30806"/>
                <a:gd name="connsiteY8" fmla="*/ 16269 h 30566"/>
                <a:gd name="connsiteX9" fmla="*/ 1122 w 30806"/>
                <a:gd name="connsiteY9" fmla="*/ 18186 h 30566"/>
                <a:gd name="connsiteX10" fmla="*/ 1122 w 30806"/>
                <a:gd name="connsiteY10" fmla="*/ 19731 h 30566"/>
                <a:gd name="connsiteX11" fmla="*/ 1122 w 30806"/>
                <a:gd name="connsiteY11" fmla="*/ 19917 h 30566"/>
                <a:gd name="connsiteX12" fmla="*/ 1122 w 30806"/>
                <a:gd name="connsiteY12" fmla="*/ 21674 h 30566"/>
                <a:gd name="connsiteX13" fmla="*/ 1122 w 30806"/>
                <a:gd name="connsiteY13" fmla="*/ 23219 h 30566"/>
                <a:gd name="connsiteX14" fmla="*/ 1122 w 30806"/>
                <a:gd name="connsiteY14" fmla="*/ 23538 h 30566"/>
                <a:gd name="connsiteX15" fmla="*/ 1122 w 30806"/>
                <a:gd name="connsiteY15" fmla="*/ 23538 h 30566"/>
                <a:gd name="connsiteX16" fmla="*/ 1122 w 30806"/>
                <a:gd name="connsiteY16" fmla="*/ 24710 h 30566"/>
                <a:gd name="connsiteX17" fmla="*/ 1122 w 30806"/>
                <a:gd name="connsiteY17" fmla="*/ 26174 h 30566"/>
                <a:gd name="connsiteX18" fmla="*/ 1122 w 30806"/>
                <a:gd name="connsiteY18" fmla="*/ 26174 h 30566"/>
                <a:gd name="connsiteX19" fmla="*/ 1122 w 30806"/>
                <a:gd name="connsiteY19" fmla="*/ 26307 h 30566"/>
                <a:gd name="connsiteX20" fmla="*/ 1122 w 30806"/>
                <a:gd name="connsiteY20" fmla="*/ 27266 h 30566"/>
                <a:gd name="connsiteX21" fmla="*/ 1122 w 30806"/>
                <a:gd name="connsiteY21" fmla="*/ 29023 h 30566"/>
                <a:gd name="connsiteX22" fmla="*/ 1122 w 30806"/>
                <a:gd name="connsiteY22" fmla="*/ 30221 h 30566"/>
                <a:gd name="connsiteX23" fmla="*/ 1122 w 30806"/>
                <a:gd name="connsiteY23" fmla="*/ 30221 h 30566"/>
                <a:gd name="connsiteX24" fmla="*/ 2852 w 30806"/>
                <a:gd name="connsiteY24" fmla="*/ 29050 h 30566"/>
                <a:gd name="connsiteX25" fmla="*/ 12172 w 30806"/>
                <a:gd name="connsiteY25" fmla="*/ 22020 h 30566"/>
                <a:gd name="connsiteX26" fmla="*/ 27988 w 30806"/>
                <a:gd name="connsiteY26" fmla="*/ 5060 h 30566"/>
                <a:gd name="connsiteX27" fmla="*/ 29345 w 30806"/>
                <a:gd name="connsiteY27" fmla="*/ 3222 h 30566"/>
                <a:gd name="connsiteX28" fmla="*/ 31795 w 30806"/>
                <a:gd name="connsiteY28" fmla="*/ -346 h 30566"/>
                <a:gd name="connsiteX29" fmla="*/ 19441 w 30806"/>
                <a:gd name="connsiteY29" fmla="*/ 3222 h 30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0806" h="30566">
                  <a:moveTo>
                    <a:pt x="20239" y="3409"/>
                  </a:moveTo>
                  <a:cubicBezTo>
                    <a:pt x="13636" y="5600"/>
                    <a:pt x="7203" y="8268"/>
                    <a:pt x="989" y="11397"/>
                  </a:cubicBezTo>
                  <a:lnTo>
                    <a:pt x="989" y="11636"/>
                  </a:lnTo>
                  <a:cubicBezTo>
                    <a:pt x="989" y="12142"/>
                    <a:pt x="989" y="12648"/>
                    <a:pt x="989" y="13154"/>
                  </a:cubicBezTo>
                  <a:lnTo>
                    <a:pt x="989" y="13314"/>
                  </a:lnTo>
                  <a:cubicBezTo>
                    <a:pt x="989" y="14059"/>
                    <a:pt x="989" y="14805"/>
                    <a:pt x="1122" y="15550"/>
                  </a:cubicBezTo>
                  <a:lnTo>
                    <a:pt x="1122" y="16029"/>
                  </a:lnTo>
                  <a:lnTo>
                    <a:pt x="1122" y="16029"/>
                  </a:lnTo>
                  <a:lnTo>
                    <a:pt x="1122" y="16269"/>
                  </a:lnTo>
                  <a:cubicBezTo>
                    <a:pt x="1122" y="16908"/>
                    <a:pt x="1122" y="17547"/>
                    <a:pt x="1122" y="18186"/>
                  </a:cubicBezTo>
                  <a:cubicBezTo>
                    <a:pt x="1122" y="18825"/>
                    <a:pt x="1122" y="19225"/>
                    <a:pt x="1122" y="19731"/>
                  </a:cubicBezTo>
                  <a:lnTo>
                    <a:pt x="1122" y="19917"/>
                  </a:lnTo>
                  <a:lnTo>
                    <a:pt x="1122" y="21674"/>
                  </a:lnTo>
                  <a:cubicBezTo>
                    <a:pt x="1122" y="22207"/>
                    <a:pt x="1122" y="22713"/>
                    <a:pt x="1122" y="23219"/>
                  </a:cubicBezTo>
                  <a:cubicBezTo>
                    <a:pt x="1135" y="23325"/>
                    <a:pt x="1135" y="23432"/>
                    <a:pt x="1122" y="23538"/>
                  </a:cubicBezTo>
                  <a:lnTo>
                    <a:pt x="1122" y="23538"/>
                  </a:lnTo>
                  <a:cubicBezTo>
                    <a:pt x="1122" y="23937"/>
                    <a:pt x="1122" y="24310"/>
                    <a:pt x="1122" y="24710"/>
                  </a:cubicBezTo>
                  <a:cubicBezTo>
                    <a:pt x="1122" y="25109"/>
                    <a:pt x="1122" y="25695"/>
                    <a:pt x="1122" y="26174"/>
                  </a:cubicBezTo>
                  <a:lnTo>
                    <a:pt x="1122" y="26174"/>
                  </a:lnTo>
                  <a:lnTo>
                    <a:pt x="1122" y="26307"/>
                  </a:lnTo>
                  <a:cubicBezTo>
                    <a:pt x="1122" y="26627"/>
                    <a:pt x="1122" y="26946"/>
                    <a:pt x="1122" y="27266"/>
                  </a:cubicBezTo>
                  <a:cubicBezTo>
                    <a:pt x="1122" y="27585"/>
                    <a:pt x="1122" y="28437"/>
                    <a:pt x="1122" y="29023"/>
                  </a:cubicBezTo>
                  <a:cubicBezTo>
                    <a:pt x="1122" y="29609"/>
                    <a:pt x="1122" y="29822"/>
                    <a:pt x="1122" y="30221"/>
                  </a:cubicBezTo>
                  <a:lnTo>
                    <a:pt x="1122" y="30221"/>
                  </a:lnTo>
                  <a:lnTo>
                    <a:pt x="2852" y="29050"/>
                  </a:lnTo>
                  <a:cubicBezTo>
                    <a:pt x="6090" y="26888"/>
                    <a:pt x="9203" y="24539"/>
                    <a:pt x="12172" y="22020"/>
                  </a:cubicBezTo>
                  <a:cubicBezTo>
                    <a:pt x="18035" y="16948"/>
                    <a:pt x="23336" y="11263"/>
                    <a:pt x="27988" y="5060"/>
                  </a:cubicBezTo>
                  <a:lnTo>
                    <a:pt x="29345" y="3222"/>
                  </a:lnTo>
                  <a:cubicBezTo>
                    <a:pt x="30198" y="2024"/>
                    <a:pt x="31023" y="853"/>
                    <a:pt x="31795" y="-346"/>
                  </a:cubicBezTo>
                  <a:cubicBezTo>
                    <a:pt x="27615" y="666"/>
                    <a:pt x="23488" y="1864"/>
                    <a:pt x="19441" y="3222"/>
                  </a:cubicBezTo>
                </a:path>
              </a:pathLst>
            </a:custGeom>
            <a:solidFill>
              <a:srgbClr val="8FD942"/>
            </a:solidFill>
            <a:ln w="2661" cap="flat">
              <a:noFill/>
              <a:prstDash val="solid"/>
              <a:miter/>
            </a:ln>
          </p:spPr>
          <p:txBody>
            <a:bodyPr rtlCol="0" anchor="ctr"/>
            <a:lstStyle/>
            <a:p>
              <a:endParaRPr lang="pl-PL"/>
            </a:p>
          </p:txBody>
        </p:sp>
        <p:sp>
          <p:nvSpPr>
            <p:cNvPr id="118" name="Freeform: Shape 117">
              <a:extLst>
                <a:ext uri="{FF2B5EF4-FFF2-40B4-BE49-F238E27FC236}">
                  <a16:creationId xmlns:a16="http://schemas.microsoft.com/office/drawing/2014/main" id="{C1706E08-D1E3-490A-8E25-6D6814805B4A}"/>
                </a:ext>
              </a:extLst>
            </p:cNvPr>
            <p:cNvSpPr/>
            <p:nvPr/>
          </p:nvSpPr>
          <p:spPr>
            <a:xfrm>
              <a:off x="11402788" y="6644225"/>
              <a:ext cx="49180" cy="59563"/>
            </a:xfrm>
            <a:custGeom>
              <a:avLst/>
              <a:gdLst>
                <a:gd name="connsiteX0" fmla="*/ 64918 w 87147"/>
                <a:gd name="connsiteY0" fmla="*/ 17494 h 105546"/>
                <a:gd name="connsiteX1" fmla="*/ 44735 w 87147"/>
                <a:gd name="connsiteY1" fmla="*/ -346 h 105546"/>
                <a:gd name="connsiteX2" fmla="*/ 14302 w 87147"/>
                <a:gd name="connsiteY2" fmla="*/ 29263 h 105546"/>
                <a:gd name="connsiteX3" fmla="*/ 989 w 87147"/>
                <a:gd name="connsiteY3" fmla="*/ 50111 h 105546"/>
                <a:gd name="connsiteX4" fmla="*/ 2160 w 87147"/>
                <a:gd name="connsiteY4" fmla="*/ 51602 h 105546"/>
                <a:gd name="connsiteX5" fmla="*/ 36774 w 87147"/>
                <a:gd name="connsiteY5" fmla="*/ 105200 h 105546"/>
                <a:gd name="connsiteX6" fmla="*/ 80015 w 87147"/>
                <a:gd name="connsiteY6" fmla="*/ 49286 h 105546"/>
                <a:gd name="connsiteX7" fmla="*/ 80894 w 87147"/>
                <a:gd name="connsiteY7" fmla="*/ 48647 h 105546"/>
                <a:gd name="connsiteX8" fmla="*/ 88136 w 87147"/>
                <a:gd name="connsiteY8" fmla="*/ 43641 h 105546"/>
                <a:gd name="connsiteX9" fmla="*/ 64891 w 87147"/>
                <a:gd name="connsiteY9" fmla="*/ 17441 h 105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147" h="105546">
                  <a:moveTo>
                    <a:pt x="64918" y="17494"/>
                  </a:moveTo>
                  <a:cubicBezTo>
                    <a:pt x="58514" y="11192"/>
                    <a:pt x="51778" y="5235"/>
                    <a:pt x="44735" y="-346"/>
                  </a:cubicBezTo>
                  <a:cubicBezTo>
                    <a:pt x="33206" y="7994"/>
                    <a:pt x="22955" y="17968"/>
                    <a:pt x="14302" y="29263"/>
                  </a:cubicBezTo>
                  <a:cubicBezTo>
                    <a:pt x="9269" y="35815"/>
                    <a:pt x="4815" y="42791"/>
                    <a:pt x="989" y="50111"/>
                  </a:cubicBezTo>
                  <a:cubicBezTo>
                    <a:pt x="1388" y="50590"/>
                    <a:pt x="1761" y="51096"/>
                    <a:pt x="2160" y="51602"/>
                  </a:cubicBezTo>
                  <a:cubicBezTo>
                    <a:pt x="15061" y="68552"/>
                    <a:pt x="26632" y="86472"/>
                    <a:pt x="36774" y="105200"/>
                  </a:cubicBezTo>
                  <a:cubicBezTo>
                    <a:pt x="45936" y="83034"/>
                    <a:pt x="60868" y="63728"/>
                    <a:pt x="80015" y="49286"/>
                  </a:cubicBezTo>
                  <a:lnTo>
                    <a:pt x="80894" y="48647"/>
                  </a:lnTo>
                  <a:cubicBezTo>
                    <a:pt x="83263" y="46916"/>
                    <a:pt x="85660" y="45238"/>
                    <a:pt x="88136" y="43641"/>
                  </a:cubicBezTo>
                  <a:cubicBezTo>
                    <a:pt x="81003" y="34380"/>
                    <a:pt x="73236" y="25626"/>
                    <a:pt x="64891" y="17441"/>
                  </a:cubicBezTo>
                </a:path>
              </a:pathLst>
            </a:custGeom>
            <a:solidFill>
              <a:srgbClr val="FAC200"/>
            </a:solidFill>
            <a:ln w="2661" cap="flat">
              <a:noFill/>
              <a:prstDash val="solid"/>
              <a:miter/>
            </a:ln>
          </p:spPr>
          <p:txBody>
            <a:bodyPr rtlCol="0" anchor="ctr"/>
            <a:lstStyle/>
            <a:p>
              <a:endParaRPr lang="pl-PL"/>
            </a:p>
          </p:txBody>
        </p:sp>
        <p:sp>
          <p:nvSpPr>
            <p:cNvPr id="119" name="Freeform: Shape 118">
              <a:extLst>
                <a:ext uri="{FF2B5EF4-FFF2-40B4-BE49-F238E27FC236}">
                  <a16:creationId xmlns:a16="http://schemas.microsoft.com/office/drawing/2014/main" id="{D6144834-38B3-41E6-8DEB-21FEA0CD0C26}"/>
                </a:ext>
              </a:extLst>
            </p:cNvPr>
            <p:cNvSpPr/>
            <p:nvPr/>
          </p:nvSpPr>
          <p:spPr>
            <a:xfrm>
              <a:off x="11393217" y="6700272"/>
              <a:ext cx="51283" cy="56601"/>
            </a:xfrm>
            <a:custGeom>
              <a:avLst/>
              <a:gdLst>
                <a:gd name="connsiteX0" fmla="*/ 90133 w 90874"/>
                <a:gd name="connsiteY0" fmla="*/ 93882 h 100298"/>
                <a:gd name="connsiteX1" fmla="*/ 81613 w 90874"/>
                <a:gd name="connsiteY1" fmla="*/ 68055 h 100298"/>
                <a:gd name="connsiteX2" fmla="*/ 53762 w 90874"/>
                <a:gd name="connsiteY2" fmla="*/ 5909 h 100298"/>
                <a:gd name="connsiteX3" fmla="*/ 53762 w 90874"/>
                <a:gd name="connsiteY3" fmla="*/ 5909 h 100298"/>
                <a:gd name="connsiteX4" fmla="*/ 34165 w 90874"/>
                <a:gd name="connsiteY4" fmla="*/ 1276 h 100298"/>
                <a:gd name="connsiteX5" fmla="*/ 2213 w 90874"/>
                <a:gd name="connsiteY5" fmla="*/ 132 h 100298"/>
                <a:gd name="connsiteX6" fmla="*/ 989 w 90874"/>
                <a:gd name="connsiteY6" fmla="*/ 19089 h 100298"/>
                <a:gd name="connsiteX7" fmla="*/ 9376 w 90874"/>
                <a:gd name="connsiteY7" fmla="*/ 68081 h 100298"/>
                <a:gd name="connsiteX8" fmla="*/ 14888 w 90874"/>
                <a:gd name="connsiteY8" fmla="*/ 81395 h 100298"/>
                <a:gd name="connsiteX9" fmla="*/ 27854 w 90874"/>
                <a:gd name="connsiteY9" fmla="*/ 81182 h 100298"/>
                <a:gd name="connsiteX10" fmla="*/ 80388 w 90874"/>
                <a:gd name="connsiteY10" fmla="*/ 93829 h 100298"/>
                <a:gd name="connsiteX11" fmla="*/ 91864 w 90874"/>
                <a:gd name="connsiteY11" fmla="*/ 99953 h 100298"/>
                <a:gd name="connsiteX12" fmla="*/ 90080 w 90874"/>
                <a:gd name="connsiteY12" fmla="*/ 93829 h 10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874" h="100298">
                  <a:moveTo>
                    <a:pt x="90133" y="93882"/>
                  </a:moveTo>
                  <a:cubicBezTo>
                    <a:pt x="87470" y="85008"/>
                    <a:pt x="84629" y="76397"/>
                    <a:pt x="81613" y="68055"/>
                  </a:cubicBezTo>
                  <a:cubicBezTo>
                    <a:pt x="73918" y="46663"/>
                    <a:pt x="64607" y="25890"/>
                    <a:pt x="53762" y="5909"/>
                  </a:cubicBezTo>
                  <a:lnTo>
                    <a:pt x="53762" y="5909"/>
                  </a:lnTo>
                  <a:cubicBezTo>
                    <a:pt x="47353" y="3883"/>
                    <a:pt x="40803" y="2336"/>
                    <a:pt x="34165" y="1276"/>
                  </a:cubicBezTo>
                  <a:cubicBezTo>
                    <a:pt x="23600" y="-390"/>
                    <a:pt x="12872" y="-774"/>
                    <a:pt x="2213" y="132"/>
                  </a:cubicBezTo>
                  <a:cubicBezTo>
                    <a:pt x="1401" y="6418"/>
                    <a:pt x="991" y="12750"/>
                    <a:pt x="989" y="19089"/>
                  </a:cubicBezTo>
                  <a:cubicBezTo>
                    <a:pt x="973" y="35779"/>
                    <a:pt x="3808" y="52348"/>
                    <a:pt x="9376" y="68081"/>
                  </a:cubicBezTo>
                  <a:cubicBezTo>
                    <a:pt x="10992" y="72627"/>
                    <a:pt x="12829" y="77063"/>
                    <a:pt x="14888" y="81395"/>
                  </a:cubicBezTo>
                  <a:cubicBezTo>
                    <a:pt x="19174" y="81128"/>
                    <a:pt x="23488" y="81048"/>
                    <a:pt x="27854" y="81182"/>
                  </a:cubicBezTo>
                  <a:cubicBezTo>
                    <a:pt x="46046" y="81775"/>
                    <a:pt x="63920" y="86078"/>
                    <a:pt x="80388" y="93829"/>
                  </a:cubicBezTo>
                  <a:cubicBezTo>
                    <a:pt x="84329" y="95605"/>
                    <a:pt x="88155" y="97645"/>
                    <a:pt x="91864" y="99953"/>
                  </a:cubicBezTo>
                  <a:cubicBezTo>
                    <a:pt x="91278" y="97903"/>
                    <a:pt x="90692" y="95853"/>
                    <a:pt x="90080" y="93829"/>
                  </a:cubicBezTo>
                </a:path>
              </a:pathLst>
            </a:custGeom>
            <a:solidFill>
              <a:srgbClr val="FAC200"/>
            </a:solidFill>
            <a:ln w="2661" cap="flat">
              <a:noFill/>
              <a:prstDash val="solid"/>
              <a:miter/>
            </a:ln>
          </p:spPr>
          <p:txBody>
            <a:bodyPr rtlCol="0" anchor="ctr"/>
            <a:lstStyle/>
            <a:p>
              <a:endParaRPr lang="pl-PL"/>
            </a:p>
          </p:txBody>
        </p:sp>
        <p:sp>
          <p:nvSpPr>
            <p:cNvPr id="120" name="Freeform: Shape 119">
              <a:extLst>
                <a:ext uri="{FF2B5EF4-FFF2-40B4-BE49-F238E27FC236}">
                  <a16:creationId xmlns:a16="http://schemas.microsoft.com/office/drawing/2014/main" id="{E9999010-EC3F-4CA3-9409-88AF47832212}"/>
                </a:ext>
              </a:extLst>
            </p:cNvPr>
            <p:cNvSpPr/>
            <p:nvPr/>
          </p:nvSpPr>
          <p:spPr>
            <a:xfrm>
              <a:off x="11444530" y="6711466"/>
              <a:ext cx="36834" cy="78871"/>
            </a:xfrm>
            <a:custGeom>
              <a:avLst/>
              <a:gdLst>
                <a:gd name="connsiteX0" fmla="*/ 64785 w 65270"/>
                <a:gd name="connsiteY0" fmla="*/ 76205 h 139760"/>
                <a:gd name="connsiteX1" fmla="*/ 66249 w 65270"/>
                <a:gd name="connsiteY1" fmla="*/ 75246 h 139760"/>
                <a:gd name="connsiteX2" fmla="*/ 66249 w 65270"/>
                <a:gd name="connsiteY2" fmla="*/ 74048 h 139760"/>
                <a:gd name="connsiteX3" fmla="*/ 66249 w 65270"/>
                <a:gd name="connsiteY3" fmla="*/ 72291 h 139760"/>
                <a:gd name="connsiteX4" fmla="*/ 66249 w 65270"/>
                <a:gd name="connsiteY4" fmla="*/ 71332 h 139760"/>
                <a:gd name="connsiteX5" fmla="*/ 66249 w 65270"/>
                <a:gd name="connsiteY5" fmla="*/ 71199 h 139760"/>
                <a:gd name="connsiteX6" fmla="*/ 66249 w 65270"/>
                <a:gd name="connsiteY6" fmla="*/ 71199 h 139760"/>
                <a:gd name="connsiteX7" fmla="*/ 66249 w 65270"/>
                <a:gd name="connsiteY7" fmla="*/ 69734 h 139760"/>
                <a:gd name="connsiteX8" fmla="*/ 66249 w 65270"/>
                <a:gd name="connsiteY8" fmla="*/ 68563 h 139760"/>
                <a:gd name="connsiteX9" fmla="*/ 66249 w 65270"/>
                <a:gd name="connsiteY9" fmla="*/ 68563 h 139760"/>
                <a:gd name="connsiteX10" fmla="*/ 66249 w 65270"/>
                <a:gd name="connsiteY10" fmla="*/ 68243 h 139760"/>
                <a:gd name="connsiteX11" fmla="*/ 66249 w 65270"/>
                <a:gd name="connsiteY11" fmla="*/ 66699 h 139760"/>
                <a:gd name="connsiteX12" fmla="*/ 66249 w 65270"/>
                <a:gd name="connsiteY12" fmla="*/ 64942 h 139760"/>
                <a:gd name="connsiteX13" fmla="*/ 66249 w 65270"/>
                <a:gd name="connsiteY13" fmla="*/ 64755 h 139760"/>
                <a:gd name="connsiteX14" fmla="*/ 66249 w 65270"/>
                <a:gd name="connsiteY14" fmla="*/ 63211 h 139760"/>
                <a:gd name="connsiteX15" fmla="*/ 66249 w 65270"/>
                <a:gd name="connsiteY15" fmla="*/ 61294 h 139760"/>
                <a:gd name="connsiteX16" fmla="*/ 66249 w 65270"/>
                <a:gd name="connsiteY16" fmla="*/ 61054 h 139760"/>
                <a:gd name="connsiteX17" fmla="*/ 66249 w 65270"/>
                <a:gd name="connsiteY17" fmla="*/ 61054 h 139760"/>
                <a:gd name="connsiteX18" fmla="*/ 66249 w 65270"/>
                <a:gd name="connsiteY18" fmla="*/ 60575 h 139760"/>
                <a:gd name="connsiteX19" fmla="*/ 66116 w 65270"/>
                <a:gd name="connsiteY19" fmla="*/ 58338 h 139760"/>
                <a:gd name="connsiteX20" fmla="*/ 66116 w 65270"/>
                <a:gd name="connsiteY20" fmla="*/ 58179 h 139760"/>
                <a:gd name="connsiteX21" fmla="*/ 66116 w 65270"/>
                <a:gd name="connsiteY21" fmla="*/ 56661 h 139760"/>
                <a:gd name="connsiteX22" fmla="*/ 65797 w 65270"/>
                <a:gd name="connsiteY22" fmla="*/ 53333 h 139760"/>
                <a:gd name="connsiteX23" fmla="*/ 65797 w 65270"/>
                <a:gd name="connsiteY23" fmla="*/ 52827 h 139760"/>
                <a:gd name="connsiteX24" fmla="*/ 65797 w 65270"/>
                <a:gd name="connsiteY24" fmla="*/ 51868 h 139760"/>
                <a:gd name="connsiteX25" fmla="*/ 65797 w 65270"/>
                <a:gd name="connsiteY25" fmla="*/ 51442 h 139760"/>
                <a:gd name="connsiteX26" fmla="*/ 65424 w 65270"/>
                <a:gd name="connsiteY26" fmla="*/ 48380 h 139760"/>
                <a:gd name="connsiteX27" fmla="*/ 64971 w 65270"/>
                <a:gd name="connsiteY27" fmla="*/ 44546 h 139760"/>
                <a:gd name="connsiteX28" fmla="*/ 64705 w 65270"/>
                <a:gd name="connsiteY28" fmla="*/ 42762 h 139760"/>
                <a:gd name="connsiteX29" fmla="*/ 64705 w 65270"/>
                <a:gd name="connsiteY29" fmla="*/ 41830 h 139760"/>
                <a:gd name="connsiteX30" fmla="*/ 64386 w 65270"/>
                <a:gd name="connsiteY30" fmla="*/ 39753 h 139760"/>
                <a:gd name="connsiteX31" fmla="*/ 64386 w 65270"/>
                <a:gd name="connsiteY31" fmla="*/ 39753 h 139760"/>
                <a:gd name="connsiteX32" fmla="*/ 63906 w 65270"/>
                <a:gd name="connsiteY32" fmla="*/ 36878 h 139760"/>
                <a:gd name="connsiteX33" fmla="*/ 63906 w 65270"/>
                <a:gd name="connsiteY33" fmla="*/ 36665 h 139760"/>
                <a:gd name="connsiteX34" fmla="*/ 63640 w 65270"/>
                <a:gd name="connsiteY34" fmla="*/ 35094 h 139760"/>
                <a:gd name="connsiteX35" fmla="*/ 63640 w 65270"/>
                <a:gd name="connsiteY35" fmla="*/ 34641 h 139760"/>
                <a:gd name="connsiteX36" fmla="*/ 63640 w 65270"/>
                <a:gd name="connsiteY36" fmla="*/ 33816 h 139760"/>
                <a:gd name="connsiteX37" fmla="*/ 63294 w 65270"/>
                <a:gd name="connsiteY37" fmla="*/ 31979 h 139760"/>
                <a:gd name="connsiteX38" fmla="*/ 63294 w 65270"/>
                <a:gd name="connsiteY38" fmla="*/ 31845 h 139760"/>
                <a:gd name="connsiteX39" fmla="*/ 62815 w 65270"/>
                <a:gd name="connsiteY39" fmla="*/ 29183 h 139760"/>
                <a:gd name="connsiteX40" fmla="*/ 62362 w 65270"/>
                <a:gd name="connsiteY40" fmla="*/ 26973 h 139760"/>
                <a:gd name="connsiteX41" fmla="*/ 62362 w 65270"/>
                <a:gd name="connsiteY41" fmla="*/ 26520 h 139760"/>
                <a:gd name="connsiteX42" fmla="*/ 61377 w 65270"/>
                <a:gd name="connsiteY42" fmla="*/ 22100 h 139760"/>
                <a:gd name="connsiteX43" fmla="*/ 61377 w 65270"/>
                <a:gd name="connsiteY43" fmla="*/ 22100 h 139760"/>
                <a:gd name="connsiteX44" fmla="*/ 60951 w 65270"/>
                <a:gd name="connsiteY44" fmla="*/ 20316 h 139760"/>
                <a:gd name="connsiteX45" fmla="*/ 60951 w 65270"/>
                <a:gd name="connsiteY45" fmla="*/ 20130 h 139760"/>
                <a:gd name="connsiteX46" fmla="*/ 60205 w 65270"/>
                <a:gd name="connsiteY46" fmla="*/ 17015 h 139760"/>
                <a:gd name="connsiteX47" fmla="*/ 60205 w 65270"/>
                <a:gd name="connsiteY47" fmla="*/ 17015 h 139760"/>
                <a:gd name="connsiteX48" fmla="*/ 59753 w 65270"/>
                <a:gd name="connsiteY48" fmla="*/ 15177 h 139760"/>
                <a:gd name="connsiteX49" fmla="*/ 59753 w 65270"/>
                <a:gd name="connsiteY49" fmla="*/ 15177 h 139760"/>
                <a:gd name="connsiteX50" fmla="*/ 58847 w 65270"/>
                <a:gd name="connsiteY50" fmla="*/ 11769 h 139760"/>
                <a:gd name="connsiteX51" fmla="*/ 58421 w 65270"/>
                <a:gd name="connsiteY51" fmla="*/ 10172 h 139760"/>
                <a:gd name="connsiteX52" fmla="*/ 57010 w 65270"/>
                <a:gd name="connsiteY52" fmla="*/ 5326 h 139760"/>
                <a:gd name="connsiteX53" fmla="*/ 57010 w 65270"/>
                <a:gd name="connsiteY53" fmla="*/ 5166 h 139760"/>
                <a:gd name="connsiteX54" fmla="*/ 56691 w 65270"/>
                <a:gd name="connsiteY54" fmla="*/ 4208 h 139760"/>
                <a:gd name="connsiteX55" fmla="*/ 56691 w 65270"/>
                <a:gd name="connsiteY55" fmla="*/ 4074 h 139760"/>
                <a:gd name="connsiteX56" fmla="*/ 55546 w 65270"/>
                <a:gd name="connsiteY56" fmla="*/ 453 h 139760"/>
                <a:gd name="connsiteX57" fmla="*/ 55306 w 65270"/>
                <a:gd name="connsiteY57" fmla="*/ -346 h 139760"/>
                <a:gd name="connsiteX58" fmla="*/ 55306 w 65270"/>
                <a:gd name="connsiteY58" fmla="*/ -346 h 139760"/>
                <a:gd name="connsiteX59" fmla="*/ 32141 w 65270"/>
                <a:gd name="connsiteY59" fmla="*/ 19597 h 139760"/>
                <a:gd name="connsiteX60" fmla="*/ 11293 w 65270"/>
                <a:gd name="connsiteY60" fmla="*/ 48114 h 139760"/>
                <a:gd name="connsiteX61" fmla="*/ 2320 w 65270"/>
                <a:gd name="connsiteY61" fmla="*/ 73941 h 139760"/>
                <a:gd name="connsiteX62" fmla="*/ 989 w 65270"/>
                <a:gd name="connsiteY62" fmla="*/ 80065 h 139760"/>
                <a:gd name="connsiteX63" fmla="*/ 5355 w 65270"/>
                <a:gd name="connsiteY63" fmla="*/ 96467 h 139760"/>
                <a:gd name="connsiteX64" fmla="*/ 6447 w 65270"/>
                <a:gd name="connsiteY64" fmla="*/ 100940 h 139760"/>
                <a:gd name="connsiteX65" fmla="*/ 14142 w 65270"/>
                <a:gd name="connsiteY65" fmla="*/ 139415 h 139760"/>
                <a:gd name="connsiteX66" fmla="*/ 35443 w 65270"/>
                <a:gd name="connsiteY66" fmla="*/ 100940 h 139760"/>
                <a:gd name="connsiteX67" fmla="*/ 64732 w 65270"/>
                <a:gd name="connsiteY67" fmla="*/ 76098 h 13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5270" h="139760">
                  <a:moveTo>
                    <a:pt x="64785" y="76205"/>
                  </a:moveTo>
                  <a:lnTo>
                    <a:pt x="66249" y="75246"/>
                  </a:lnTo>
                  <a:cubicBezTo>
                    <a:pt x="66249" y="74847"/>
                    <a:pt x="66249" y="74447"/>
                    <a:pt x="66249" y="74048"/>
                  </a:cubicBezTo>
                  <a:cubicBezTo>
                    <a:pt x="66249" y="73648"/>
                    <a:pt x="66249" y="72876"/>
                    <a:pt x="66249" y="72291"/>
                  </a:cubicBezTo>
                  <a:cubicBezTo>
                    <a:pt x="66249" y="71705"/>
                    <a:pt x="66249" y="71652"/>
                    <a:pt x="66249" y="71332"/>
                  </a:cubicBezTo>
                  <a:lnTo>
                    <a:pt x="66249" y="71199"/>
                  </a:lnTo>
                  <a:lnTo>
                    <a:pt x="66249" y="71199"/>
                  </a:lnTo>
                  <a:cubicBezTo>
                    <a:pt x="66249" y="70720"/>
                    <a:pt x="66249" y="70214"/>
                    <a:pt x="66249" y="69734"/>
                  </a:cubicBezTo>
                  <a:cubicBezTo>
                    <a:pt x="66249" y="69255"/>
                    <a:pt x="66249" y="68962"/>
                    <a:pt x="66249" y="68563"/>
                  </a:cubicBezTo>
                  <a:lnTo>
                    <a:pt x="66249" y="68563"/>
                  </a:lnTo>
                  <a:cubicBezTo>
                    <a:pt x="66263" y="68456"/>
                    <a:pt x="66263" y="68350"/>
                    <a:pt x="66249" y="68243"/>
                  </a:cubicBezTo>
                  <a:cubicBezTo>
                    <a:pt x="66249" y="67737"/>
                    <a:pt x="66249" y="67232"/>
                    <a:pt x="66249" y="66699"/>
                  </a:cubicBezTo>
                  <a:lnTo>
                    <a:pt x="66249" y="64942"/>
                  </a:lnTo>
                  <a:lnTo>
                    <a:pt x="66249" y="64755"/>
                  </a:lnTo>
                  <a:cubicBezTo>
                    <a:pt x="66249" y="64249"/>
                    <a:pt x="66249" y="63744"/>
                    <a:pt x="66249" y="63211"/>
                  </a:cubicBezTo>
                  <a:cubicBezTo>
                    <a:pt x="66249" y="62679"/>
                    <a:pt x="66249" y="61933"/>
                    <a:pt x="66249" y="61294"/>
                  </a:cubicBezTo>
                  <a:lnTo>
                    <a:pt x="66249" y="61054"/>
                  </a:lnTo>
                  <a:lnTo>
                    <a:pt x="66249" y="61054"/>
                  </a:lnTo>
                  <a:lnTo>
                    <a:pt x="66249" y="60575"/>
                  </a:lnTo>
                  <a:cubicBezTo>
                    <a:pt x="66249" y="59830"/>
                    <a:pt x="66249" y="59084"/>
                    <a:pt x="66116" y="58338"/>
                  </a:cubicBezTo>
                  <a:lnTo>
                    <a:pt x="66116" y="58179"/>
                  </a:lnTo>
                  <a:cubicBezTo>
                    <a:pt x="66116" y="57673"/>
                    <a:pt x="66116" y="57167"/>
                    <a:pt x="66116" y="56661"/>
                  </a:cubicBezTo>
                  <a:cubicBezTo>
                    <a:pt x="66116" y="55543"/>
                    <a:pt x="65930" y="54451"/>
                    <a:pt x="65797" y="53333"/>
                  </a:cubicBezTo>
                  <a:cubicBezTo>
                    <a:pt x="65797" y="53146"/>
                    <a:pt x="65797" y="52987"/>
                    <a:pt x="65797" y="52827"/>
                  </a:cubicBezTo>
                  <a:cubicBezTo>
                    <a:pt x="65797" y="52667"/>
                    <a:pt x="65797" y="52188"/>
                    <a:pt x="65797" y="51868"/>
                  </a:cubicBezTo>
                  <a:lnTo>
                    <a:pt x="65797" y="51442"/>
                  </a:lnTo>
                  <a:cubicBezTo>
                    <a:pt x="65797" y="50430"/>
                    <a:pt x="65557" y="49392"/>
                    <a:pt x="65424" y="48380"/>
                  </a:cubicBezTo>
                  <a:cubicBezTo>
                    <a:pt x="65291" y="47368"/>
                    <a:pt x="65131" y="45718"/>
                    <a:pt x="64971" y="44546"/>
                  </a:cubicBezTo>
                  <a:cubicBezTo>
                    <a:pt x="64971" y="43960"/>
                    <a:pt x="64785" y="43348"/>
                    <a:pt x="64705" y="42762"/>
                  </a:cubicBezTo>
                  <a:cubicBezTo>
                    <a:pt x="64625" y="42176"/>
                    <a:pt x="64705" y="42150"/>
                    <a:pt x="64705" y="41830"/>
                  </a:cubicBezTo>
                  <a:lnTo>
                    <a:pt x="64386" y="39753"/>
                  </a:lnTo>
                  <a:lnTo>
                    <a:pt x="64386" y="39753"/>
                  </a:lnTo>
                  <a:lnTo>
                    <a:pt x="63906" y="36878"/>
                  </a:lnTo>
                  <a:lnTo>
                    <a:pt x="63906" y="36665"/>
                  </a:lnTo>
                  <a:cubicBezTo>
                    <a:pt x="63906" y="36132"/>
                    <a:pt x="63720" y="35600"/>
                    <a:pt x="63640" y="35094"/>
                  </a:cubicBezTo>
                  <a:lnTo>
                    <a:pt x="63640" y="34641"/>
                  </a:lnTo>
                  <a:cubicBezTo>
                    <a:pt x="63640" y="34348"/>
                    <a:pt x="63640" y="34082"/>
                    <a:pt x="63640" y="33816"/>
                  </a:cubicBezTo>
                  <a:cubicBezTo>
                    <a:pt x="63640" y="33550"/>
                    <a:pt x="63400" y="32591"/>
                    <a:pt x="63294" y="31979"/>
                  </a:cubicBezTo>
                  <a:lnTo>
                    <a:pt x="63294" y="31845"/>
                  </a:lnTo>
                  <a:lnTo>
                    <a:pt x="62815" y="29183"/>
                  </a:lnTo>
                  <a:cubicBezTo>
                    <a:pt x="62655" y="28437"/>
                    <a:pt x="62522" y="27718"/>
                    <a:pt x="62362" y="26973"/>
                  </a:cubicBezTo>
                  <a:lnTo>
                    <a:pt x="62362" y="26520"/>
                  </a:lnTo>
                  <a:cubicBezTo>
                    <a:pt x="62042" y="25056"/>
                    <a:pt x="61723" y="23565"/>
                    <a:pt x="61377" y="22100"/>
                  </a:cubicBezTo>
                  <a:lnTo>
                    <a:pt x="61377" y="22100"/>
                  </a:lnTo>
                  <a:cubicBezTo>
                    <a:pt x="61244" y="21515"/>
                    <a:pt x="61084" y="20902"/>
                    <a:pt x="60951" y="20316"/>
                  </a:cubicBezTo>
                  <a:lnTo>
                    <a:pt x="60951" y="20130"/>
                  </a:lnTo>
                  <a:cubicBezTo>
                    <a:pt x="60711" y="19092"/>
                    <a:pt x="60472" y="18053"/>
                    <a:pt x="60205" y="17015"/>
                  </a:cubicBezTo>
                  <a:lnTo>
                    <a:pt x="60205" y="17015"/>
                  </a:lnTo>
                  <a:cubicBezTo>
                    <a:pt x="60046" y="16402"/>
                    <a:pt x="59912" y="15790"/>
                    <a:pt x="59753" y="15177"/>
                  </a:cubicBezTo>
                  <a:lnTo>
                    <a:pt x="59753" y="15177"/>
                  </a:lnTo>
                  <a:cubicBezTo>
                    <a:pt x="59460" y="14033"/>
                    <a:pt x="59140" y="12914"/>
                    <a:pt x="58847" y="11769"/>
                  </a:cubicBezTo>
                  <a:cubicBezTo>
                    <a:pt x="58688" y="11237"/>
                    <a:pt x="58554" y="10704"/>
                    <a:pt x="58421" y="10172"/>
                  </a:cubicBezTo>
                  <a:cubicBezTo>
                    <a:pt x="57969" y="8548"/>
                    <a:pt x="57489" y="6950"/>
                    <a:pt x="57010" y="5326"/>
                  </a:cubicBezTo>
                  <a:lnTo>
                    <a:pt x="57010" y="5166"/>
                  </a:lnTo>
                  <a:lnTo>
                    <a:pt x="56691" y="4208"/>
                  </a:lnTo>
                  <a:lnTo>
                    <a:pt x="56691" y="4074"/>
                  </a:lnTo>
                  <a:cubicBezTo>
                    <a:pt x="56318" y="2876"/>
                    <a:pt x="55945" y="1651"/>
                    <a:pt x="55546" y="453"/>
                  </a:cubicBezTo>
                  <a:lnTo>
                    <a:pt x="55306" y="-346"/>
                  </a:lnTo>
                  <a:lnTo>
                    <a:pt x="55306" y="-346"/>
                  </a:lnTo>
                  <a:cubicBezTo>
                    <a:pt x="46772" y="5297"/>
                    <a:pt x="38990" y="11998"/>
                    <a:pt x="32141" y="19597"/>
                  </a:cubicBezTo>
                  <a:cubicBezTo>
                    <a:pt x="23791" y="27995"/>
                    <a:pt x="16762" y="37610"/>
                    <a:pt x="11293" y="48114"/>
                  </a:cubicBezTo>
                  <a:cubicBezTo>
                    <a:pt x="7430" y="56395"/>
                    <a:pt x="4423" y="65048"/>
                    <a:pt x="2320" y="73941"/>
                  </a:cubicBezTo>
                  <a:cubicBezTo>
                    <a:pt x="1814" y="76071"/>
                    <a:pt x="1362" y="78122"/>
                    <a:pt x="989" y="80065"/>
                  </a:cubicBezTo>
                  <a:cubicBezTo>
                    <a:pt x="2533" y="85391"/>
                    <a:pt x="3971" y="90876"/>
                    <a:pt x="5355" y="96467"/>
                  </a:cubicBezTo>
                  <a:cubicBezTo>
                    <a:pt x="5728" y="97932"/>
                    <a:pt x="6101" y="99449"/>
                    <a:pt x="6447" y="100940"/>
                  </a:cubicBezTo>
                  <a:cubicBezTo>
                    <a:pt x="9376" y="113215"/>
                    <a:pt x="11985" y="126022"/>
                    <a:pt x="14142" y="139415"/>
                  </a:cubicBezTo>
                  <a:cubicBezTo>
                    <a:pt x="18559" y="125279"/>
                    <a:pt x="25807" y="112187"/>
                    <a:pt x="35443" y="100940"/>
                  </a:cubicBezTo>
                  <a:cubicBezTo>
                    <a:pt x="44062" y="91398"/>
                    <a:pt x="53911" y="83045"/>
                    <a:pt x="64732" y="76098"/>
                  </a:cubicBezTo>
                </a:path>
              </a:pathLst>
            </a:custGeom>
            <a:solidFill>
              <a:srgbClr val="FAC200"/>
            </a:solidFill>
            <a:ln w="2661" cap="flat">
              <a:noFill/>
              <a:prstDash val="solid"/>
              <a:miter/>
            </a:ln>
          </p:spPr>
          <p:txBody>
            <a:bodyPr rtlCol="0" anchor="ctr"/>
            <a:lstStyle/>
            <a:p>
              <a:endParaRPr lang="pl-PL"/>
            </a:p>
          </p:txBody>
        </p:sp>
        <p:sp>
          <p:nvSpPr>
            <p:cNvPr id="121" name="Freeform: Shape 120">
              <a:extLst>
                <a:ext uri="{FF2B5EF4-FFF2-40B4-BE49-F238E27FC236}">
                  <a16:creationId xmlns:a16="http://schemas.microsoft.com/office/drawing/2014/main" id="{EEE43B68-B01B-4E87-B6AB-08A19AC9CCE2}"/>
                </a:ext>
              </a:extLst>
            </p:cNvPr>
            <p:cNvSpPr/>
            <p:nvPr/>
          </p:nvSpPr>
          <p:spPr>
            <a:xfrm>
              <a:off x="11422998" y="6669063"/>
              <a:ext cx="51268" cy="87781"/>
            </a:xfrm>
            <a:custGeom>
              <a:avLst/>
              <a:gdLst>
                <a:gd name="connsiteX0" fmla="*/ 91837 w 90848"/>
                <a:gd name="connsiteY0" fmla="*/ 74447 h 155549"/>
                <a:gd name="connsiteX1" fmla="*/ 91438 w 90848"/>
                <a:gd name="connsiteY1" fmla="*/ 73276 h 155549"/>
                <a:gd name="connsiteX2" fmla="*/ 90532 w 90848"/>
                <a:gd name="connsiteY2" fmla="*/ 70613 h 155549"/>
                <a:gd name="connsiteX3" fmla="*/ 89787 w 90848"/>
                <a:gd name="connsiteY3" fmla="*/ 68430 h 155549"/>
                <a:gd name="connsiteX4" fmla="*/ 88908 w 90848"/>
                <a:gd name="connsiteY4" fmla="*/ 66060 h 155549"/>
                <a:gd name="connsiteX5" fmla="*/ 88056 w 90848"/>
                <a:gd name="connsiteY5" fmla="*/ 63770 h 155549"/>
                <a:gd name="connsiteX6" fmla="*/ 87737 w 90848"/>
                <a:gd name="connsiteY6" fmla="*/ 62892 h 155549"/>
                <a:gd name="connsiteX7" fmla="*/ 85341 w 90848"/>
                <a:gd name="connsiteY7" fmla="*/ 56874 h 155549"/>
                <a:gd name="connsiteX8" fmla="*/ 84701 w 90848"/>
                <a:gd name="connsiteY8" fmla="*/ 55356 h 155549"/>
                <a:gd name="connsiteX9" fmla="*/ 83477 w 90848"/>
                <a:gd name="connsiteY9" fmla="*/ 52481 h 155549"/>
                <a:gd name="connsiteX10" fmla="*/ 61217 w 90848"/>
                <a:gd name="connsiteY10" fmla="*/ 11956 h 155549"/>
                <a:gd name="connsiteX11" fmla="*/ 52351 w 90848"/>
                <a:gd name="connsiteY11" fmla="*/ -346 h 155549"/>
                <a:gd name="connsiteX12" fmla="*/ 45108 w 90848"/>
                <a:gd name="connsiteY12" fmla="*/ 4660 h 155549"/>
                <a:gd name="connsiteX13" fmla="*/ 44230 w 90848"/>
                <a:gd name="connsiteY13" fmla="*/ 5299 h 155549"/>
                <a:gd name="connsiteX14" fmla="*/ 989 w 90848"/>
                <a:gd name="connsiteY14" fmla="*/ 61214 h 155549"/>
                <a:gd name="connsiteX15" fmla="*/ 989 w 90848"/>
                <a:gd name="connsiteY15" fmla="*/ 61214 h 155549"/>
                <a:gd name="connsiteX16" fmla="*/ 28840 w 90848"/>
                <a:gd name="connsiteY16" fmla="*/ 123253 h 155549"/>
                <a:gd name="connsiteX17" fmla="*/ 37360 w 90848"/>
                <a:gd name="connsiteY17" fmla="*/ 149080 h 155549"/>
                <a:gd name="connsiteX18" fmla="*/ 39144 w 90848"/>
                <a:gd name="connsiteY18" fmla="*/ 155204 h 155549"/>
                <a:gd name="connsiteX19" fmla="*/ 40475 w 90848"/>
                <a:gd name="connsiteY19" fmla="*/ 149080 h 155549"/>
                <a:gd name="connsiteX20" fmla="*/ 49448 w 90848"/>
                <a:gd name="connsiteY20" fmla="*/ 123253 h 155549"/>
                <a:gd name="connsiteX21" fmla="*/ 68646 w 90848"/>
                <a:gd name="connsiteY21" fmla="*/ 94284 h 155549"/>
                <a:gd name="connsiteX22" fmla="*/ 91811 w 90848"/>
                <a:gd name="connsiteY22" fmla="*/ 74341 h 155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0848" h="155549">
                  <a:moveTo>
                    <a:pt x="91837" y="74447"/>
                  </a:moveTo>
                  <a:lnTo>
                    <a:pt x="91438" y="73276"/>
                  </a:lnTo>
                  <a:cubicBezTo>
                    <a:pt x="91145" y="72397"/>
                    <a:pt x="90852" y="71518"/>
                    <a:pt x="90532" y="70613"/>
                  </a:cubicBezTo>
                  <a:lnTo>
                    <a:pt x="89787" y="68430"/>
                  </a:lnTo>
                  <a:lnTo>
                    <a:pt x="88908" y="66060"/>
                  </a:lnTo>
                  <a:cubicBezTo>
                    <a:pt x="88642" y="65288"/>
                    <a:pt x="88349" y="64516"/>
                    <a:pt x="88056" y="63770"/>
                  </a:cubicBezTo>
                  <a:lnTo>
                    <a:pt x="87737" y="62892"/>
                  </a:lnTo>
                  <a:cubicBezTo>
                    <a:pt x="86965" y="60868"/>
                    <a:pt x="86166" y="58871"/>
                    <a:pt x="85341" y="56874"/>
                  </a:cubicBezTo>
                  <a:lnTo>
                    <a:pt x="84701" y="55356"/>
                  </a:lnTo>
                  <a:cubicBezTo>
                    <a:pt x="84302" y="54398"/>
                    <a:pt x="83903" y="53439"/>
                    <a:pt x="83477" y="52481"/>
                  </a:cubicBezTo>
                  <a:cubicBezTo>
                    <a:pt x="77315" y="38318"/>
                    <a:pt x="69863" y="24752"/>
                    <a:pt x="61217" y="11956"/>
                  </a:cubicBezTo>
                  <a:cubicBezTo>
                    <a:pt x="58395" y="7775"/>
                    <a:pt x="55413" y="3675"/>
                    <a:pt x="52351" y="-346"/>
                  </a:cubicBezTo>
                  <a:cubicBezTo>
                    <a:pt x="49874" y="1252"/>
                    <a:pt x="47478" y="2929"/>
                    <a:pt x="45108" y="4660"/>
                  </a:cubicBezTo>
                  <a:lnTo>
                    <a:pt x="44230" y="5299"/>
                  </a:lnTo>
                  <a:cubicBezTo>
                    <a:pt x="25083" y="19741"/>
                    <a:pt x="10151" y="39048"/>
                    <a:pt x="989" y="61214"/>
                  </a:cubicBezTo>
                  <a:lnTo>
                    <a:pt x="989" y="61214"/>
                  </a:lnTo>
                  <a:cubicBezTo>
                    <a:pt x="11823" y="81162"/>
                    <a:pt x="21134" y="101901"/>
                    <a:pt x="28840" y="123253"/>
                  </a:cubicBezTo>
                  <a:cubicBezTo>
                    <a:pt x="31822" y="131534"/>
                    <a:pt x="34698" y="140134"/>
                    <a:pt x="37360" y="149080"/>
                  </a:cubicBezTo>
                  <a:cubicBezTo>
                    <a:pt x="37972" y="151104"/>
                    <a:pt x="38558" y="153154"/>
                    <a:pt x="39144" y="155204"/>
                  </a:cubicBezTo>
                  <a:cubicBezTo>
                    <a:pt x="39517" y="153261"/>
                    <a:pt x="39969" y="151210"/>
                    <a:pt x="40475" y="149080"/>
                  </a:cubicBezTo>
                  <a:cubicBezTo>
                    <a:pt x="42579" y="140187"/>
                    <a:pt x="45585" y="131534"/>
                    <a:pt x="49448" y="123253"/>
                  </a:cubicBezTo>
                  <a:cubicBezTo>
                    <a:pt x="54372" y="112696"/>
                    <a:pt x="60842" y="102932"/>
                    <a:pt x="68646" y="94284"/>
                  </a:cubicBezTo>
                  <a:cubicBezTo>
                    <a:pt x="75494" y="86685"/>
                    <a:pt x="83277" y="79983"/>
                    <a:pt x="91811" y="74341"/>
                  </a:cubicBezTo>
                  <a:close/>
                </a:path>
              </a:pathLst>
            </a:custGeom>
            <a:solidFill>
              <a:srgbClr val="E09C00"/>
            </a:solidFill>
            <a:ln w="2661" cap="flat">
              <a:noFill/>
              <a:prstDash val="solid"/>
              <a:miter/>
            </a:ln>
          </p:spPr>
          <p:txBody>
            <a:bodyPr rtlCol="0" anchor="ctr"/>
            <a:lstStyle/>
            <a:p>
              <a:endParaRPr lang="pl-PL"/>
            </a:p>
          </p:txBody>
        </p:sp>
        <p:sp>
          <p:nvSpPr>
            <p:cNvPr id="122" name="Freeform: Shape 121">
              <a:extLst>
                <a:ext uri="{FF2B5EF4-FFF2-40B4-BE49-F238E27FC236}">
                  <a16:creationId xmlns:a16="http://schemas.microsoft.com/office/drawing/2014/main" id="{2078D9F4-B8C2-4F66-9F70-28364BAD07ED}"/>
                </a:ext>
              </a:extLst>
            </p:cNvPr>
            <p:cNvSpPr/>
            <p:nvPr/>
          </p:nvSpPr>
          <p:spPr>
            <a:xfrm>
              <a:off x="11393940" y="6672699"/>
              <a:ext cx="29090" cy="31088"/>
            </a:xfrm>
            <a:custGeom>
              <a:avLst/>
              <a:gdLst>
                <a:gd name="connsiteX0" fmla="*/ 17790 w 51548"/>
                <a:gd name="connsiteY0" fmla="*/ 1145 h 55089"/>
                <a:gd name="connsiteX1" fmla="*/ 16618 w 51548"/>
                <a:gd name="connsiteY1" fmla="*/ -346 h 55089"/>
                <a:gd name="connsiteX2" fmla="*/ 16272 w 51548"/>
                <a:gd name="connsiteY2" fmla="*/ 293 h 55089"/>
                <a:gd name="connsiteX3" fmla="*/ 989 w 51548"/>
                <a:gd name="connsiteY3" fmla="*/ 48939 h 55089"/>
                <a:gd name="connsiteX4" fmla="*/ 32940 w 51548"/>
                <a:gd name="connsiteY4" fmla="*/ 50111 h 55089"/>
                <a:gd name="connsiteX5" fmla="*/ 52537 w 51548"/>
                <a:gd name="connsiteY5" fmla="*/ 54744 h 55089"/>
                <a:gd name="connsiteX6" fmla="*/ 17923 w 51548"/>
                <a:gd name="connsiteY6" fmla="*/ 1145 h 55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48" h="55089">
                  <a:moveTo>
                    <a:pt x="17790" y="1145"/>
                  </a:moveTo>
                  <a:cubicBezTo>
                    <a:pt x="17390" y="640"/>
                    <a:pt x="17018" y="134"/>
                    <a:pt x="16618" y="-346"/>
                  </a:cubicBezTo>
                  <a:cubicBezTo>
                    <a:pt x="16618" y="-133"/>
                    <a:pt x="16405" y="80"/>
                    <a:pt x="16272" y="293"/>
                  </a:cubicBezTo>
                  <a:cubicBezTo>
                    <a:pt x="8353" y="15484"/>
                    <a:pt x="3180" y="31952"/>
                    <a:pt x="989" y="48939"/>
                  </a:cubicBezTo>
                  <a:cubicBezTo>
                    <a:pt x="11647" y="48055"/>
                    <a:pt x="22375" y="48449"/>
                    <a:pt x="32940" y="50111"/>
                  </a:cubicBezTo>
                  <a:cubicBezTo>
                    <a:pt x="39578" y="51171"/>
                    <a:pt x="46128" y="52718"/>
                    <a:pt x="52537" y="54744"/>
                  </a:cubicBezTo>
                  <a:cubicBezTo>
                    <a:pt x="42395" y="36015"/>
                    <a:pt x="30823" y="18096"/>
                    <a:pt x="17923" y="1145"/>
                  </a:cubicBezTo>
                </a:path>
              </a:pathLst>
            </a:custGeom>
            <a:solidFill>
              <a:srgbClr val="E09C00"/>
            </a:solidFill>
            <a:ln w="2661" cap="flat">
              <a:noFill/>
              <a:prstDash val="solid"/>
              <a:miter/>
            </a:ln>
          </p:spPr>
          <p:txBody>
            <a:bodyPr rtlCol="0" anchor="ctr"/>
            <a:lstStyle/>
            <a:p>
              <a:endParaRPr lang="pl-PL"/>
            </a:p>
          </p:txBody>
        </p:sp>
        <p:sp>
          <p:nvSpPr>
            <p:cNvPr id="123" name="Freeform: Shape 122">
              <a:extLst>
                <a:ext uri="{FF2B5EF4-FFF2-40B4-BE49-F238E27FC236}">
                  <a16:creationId xmlns:a16="http://schemas.microsoft.com/office/drawing/2014/main" id="{1C1DA8AB-9E4D-4C21-854E-C331E0CC0C88}"/>
                </a:ext>
              </a:extLst>
            </p:cNvPr>
            <p:cNvSpPr/>
            <p:nvPr/>
          </p:nvSpPr>
          <p:spPr>
            <a:xfrm>
              <a:off x="11401092" y="6746296"/>
              <a:ext cx="50862" cy="44116"/>
            </a:xfrm>
            <a:custGeom>
              <a:avLst/>
              <a:gdLst>
                <a:gd name="connsiteX0" fmla="*/ 83423 w 90129"/>
                <a:gd name="connsiteY0" fmla="*/ 39327 h 78174"/>
                <a:gd name="connsiteX1" fmla="*/ 82332 w 90129"/>
                <a:gd name="connsiteY1" fmla="*/ 34854 h 78174"/>
                <a:gd name="connsiteX2" fmla="*/ 77965 w 90129"/>
                <a:gd name="connsiteY2" fmla="*/ 18453 h 78174"/>
                <a:gd name="connsiteX3" fmla="*/ 66489 w 90129"/>
                <a:gd name="connsiteY3" fmla="*/ 12328 h 78174"/>
                <a:gd name="connsiteX4" fmla="*/ 13956 w 90129"/>
                <a:gd name="connsiteY4" fmla="*/ -292 h 78174"/>
                <a:gd name="connsiteX5" fmla="*/ 989 w 90129"/>
                <a:gd name="connsiteY5" fmla="*/ -79 h 78174"/>
                <a:gd name="connsiteX6" fmla="*/ 7619 w 90129"/>
                <a:gd name="connsiteY6" fmla="*/ 12355 h 78174"/>
                <a:gd name="connsiteX7" fmla="*/ 28227 w 90129"/>
                <a:gd name="connsiteY7" fmla="*/ 39354 h 78174"/>
                <a:gd name="connsiteX8" fmla="*/ 91118 w 90129"/>
                <a:gd name="connsiteY8" fmla="*/ 77829 h 78174"/>
                <a:gd name="connsiteX9" fmla="*/ 83423 w 90129"/>
                <a:gd name="connsiteY9" fmla="*/ 39354 h 78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129" h="78174">
                  <a:moveTo>
                    <a:pt x="83423" y="39327"/>
                  </a:moveTo>
                  <a:cubicBezTo>
                    <a:pt x="83077" y="37836"/>
                    <a:pt x="82704" y="36319"/>
                    <a:pt x="82332" y="34854"/>
                  </a:cubicBezTo>
                  <a:cubicBezTo>
                    <a:pt x="80947" y="29263"/>
                    <a:pt x="79509" y="23804"/>
                    <a:pt x="77965" y="18453"/>
                  </a:cubicBezTo>
                  <a:cubicBezTo>
                    <a:pt x="74272" y="16235"/>
                    <a:pt x="70448" y="14192"/>
                    <a:pt x="66489" y="12328"/>
                  </a:cubicBezTo>
                  <a:cubicBezTo>
                    <a:pt x="50021" y="4588"/>
                    <a:pt x="32144" y="293"/>
                    <a:pt x="13956" y="-292"/>
                  </a:cubicBezTo>
                  <a:cubicBezTo>
                    <a:pt x="9589" y="-425"/>
                    <a:pt x="5275" y="-292"/>
                    <a:pt x="989" y="-79"/>
                  </a:cubicBezTo>
                  <a:cubicBezTo>
                    <a:pt x="3012" y="4181"/>
                    <a:pt x="5222" y="8327"/>
                    <a:pt x="7619" y="12355"/>
                  </a:cubicBezTo>
                  <a:cubicBezTo>
                    <a:pt x="13418" y="22122"/>
                    <a:pt x="20335" y="31182"/>
                    <a:pt x="28227" y="39354"/>
                  </a:cubicBezTo>
                  <a:cubicBezTo>
                    <a:pt x="45566" y="57332"/>
                    <a:pt x="67216" y="70576"/>
                    <a:pt x="91118" y="77829"/>
                  </a:cubicBezTo>
                  <a:cubicBezTo>
                    <a:pt x="88961" y="64516"/>
                    <a:pt x="86352" y="51629"/>
                    <a:pt x="83423" y="39354"/>
                  </a:cubicBezTo>
                </a:path>
              </a:pathLst>
            </a:custGeom>
            <a:solidFill>
              <a:srgbClr val="E09C00"/>
            </a:solidFill>
            <a:ln w="2661" cap="flat">
              <a:noFill/>
              <a:prstDash val="solid"/>
              <a:miter/>
            </a:ln>
          </p:spPr>
          <p:txBody>
            <a:bodyPr rtlCol="0" anchor="ctr"/>
            <a:lstStyle/>
            <a:p>
              <a:endParaRPr lang="pl-PL"/>
            </a:p>
          </p:txBody>
        </p:sp>
        <p:sp>
          <p:nvSpPr>
            <p:cNvPr id="124" name="Freeform: Shape 123">
              <a:extLst>
                <a:ext uri="{FF2B5EF4-FFF2-40B4-BE49-F238E27FC236}">
                  <a16:creationId xmlns:a16="http://schemas.microsoft.com/office/drawing/2014/main" id="{0628A310-CA1E-4959-BEBC-4B24DD9702C9}"/>
                </a:ext>
              </a:extLst>
            </p:cNvPr>
            <p:cNvSpPr/>
            <p:nvPr/>
          </p:nvSpPr>
          <p:spPr>
            <a:xfrm>
              <a:off x="11451983" y="6691629"/>
              <a:ext cx="106699" cy="102254"/>
            </a:xfrm>
            <a:custGeom>
              <a:avLst/>
              <a:gdLst>
                <a:gd name="connsiteX0" fmla="*/ 189954 w 189072"/>
                <a:gd name="connsiteY0" fmla="*/ 30014 h 181196"/>
                <a:gd name="connsiteX1" fmla="*/ 188463 w 189072"/>
                <a:gd name="connsiteY1" fmla="*/ 13159 h 181196"/>
                <a:gd name="connsiteX2" fmla="*/ 180928 w 189072"/>
                <a:gd name="connsiteY2" fmla="*/ 13639 h 181196"/>
                <a:gd name="connsiteX3" fmla="*/ 171449 w 189072"/>
                <a:gd name="connsiteY3" fmla="*/ 21467 h 181196"/>
                <a:gd name="connsiteX4" fmla="*/ 171449 w 189072"/>
                <a:gd name="connsiteY4" fmla="*/ 21467 h 181196"/>
                <a:gd name="connsiteX5" fmla="*/ 171449 w 189072"/>
                <a:gd name="connsiteY5" fmla="*/ 21467 h 181196"/>
                <a:gd name="connsiteX6" fmla="*/ 169080 w 189072"/>
                <a:gd name="connsiteY6" fmla="*/ 52513 h 181196"/>
                <a:gd name="connsiteX7" fmla="*/ 162370 w 189072"/>
                <a:gd name="connsiteY7" fmla="*/ 81988 h 181196"/>
                <a:gd name="connsiteX8" fmla="*/ 161944 w 189072"/>
                <a:gd name="connsiteY8" fmla="*/ 83373 h 181196"/>
                <a:gd name="connsiteX9" fmla="*/ 151773 w 189072"/>
                <a:gd name="connsiteY9" fmla="*/ 109200 h 181196"/>
                <a:gd name="connsiteX10" fmla="*/ 145169 w 189072"/>
                <a:gd name="connsiteY10" fmla="*/ 120649 h 181196"/>
                <a:gd name="connsiteX11" fmla="*/ 143785 w 189072"/>
                <a:gd name="connsiteY11" fmla="*/ 121395 h 181196"/>
                <a:gd name="connsiteX12" fmla="*/ 142853 w 189072"/>
                <a:gd name="connsiteY12" fmla="*/ 121102 h 181196"/>
                <a:gd name="connsiteX13" fmla="*/ 142400 w 189072"/>
                <a:gd name="connsiteY13" fmla="*/ 118785 h 181196"/>
                <a:gd name="connsiteX14" fmla="*/ 147992 w 189072"/>
                <a:gd name="connsiteY14" fmla="*/ 109200 h 181196"/>
                <a:gd name="connsiteX15" fmla="*/ 158323 w 189072"/>
                <a:gd name="connsiteY15" fmla="*/ 83373 h 181196"/>
                <a:gd name="connsiteX16" fmla="*/ 159042 w 189072"/>
                <a:gd name="connsiteY16" fmla="*/ 81030 h 181196"/>
                <a:gd name="connsiteX17" fmla="*/ 165725 w 189072"/>
                <a:gd name="connsiteY17" fmla="*/ 51315 h 181196"/>
                <a:gd name="connsiteX18" fmla="*/ 168121 w 189072"/>
                <a:gd name="connsiteY18" fmla="*/ 20215 h 181196"/>
                <a:gd name="connsiteX19" fmla="*/ 166763 w 189072"/>
                <a:gd name="connsiteY19" fmla="*/ -340 h 181196"/>
                <a:gd name="connsiteX20" fmla="*/ 166763 w 189072"/>
                <a:gd name="connsiteY20" fmla="*/ -340 h 181196"/>
                <a:gd name="connsiteX21" fmla="*/ 166763 w 189072"/>
                <a:gd name="connsiteY21" fmla="*/ -340 h 181196"/>
                <a:gd name="connsiteX22" fmla="*/ 154062 w 189072"/>
                <a:gd name="connsiteY22" fmla="*/ 2589 h 181196"/>
                <a:gd name="connsiteX23" fmla="*/ 146847 w 189072"/>
                <a:gd name="connsiteY23" fmla="*/ 14544 h 181196"/>
                <a:gd name="connsiteX24" fmla="*/ 146847 w 189072"/>
                <a:gd name="connsiteY24" fmla="*/ 14544 h 181196"/>
                <a:gd name="connsiteX25" fmla="*/ 144371 w 189072"/>
                <a:gd name="connsiteY25" fmla="*/ 46016 h 181196"/>
                <a:gd name="connsiteX26" fmla="*/ 137181 w 189072"/>
                <a:gd name="connsiteY26" fmla="*/ 76636 h 181196"/>
                <a:gd name="connsiteX27" fmla="*/ 134972 w 189072"/>
                <a:gd name="connsiteY27" fmla="*/ 83293 h 181196"/>
                <a:gd name="connsiteX28" fmla="*/ 123070 w 189072"/>
                <a:gd name="connsiteY28" fmla="*/ 109120 h 181196"/>
                <a:gd name="connsiteX29" fmla="*/ 120167 w 189072"/>
                <a:gd name="connsiteY29" fmla="*/ 113700 h 181196"/>
                <a:gd name="connsiteX30" fmla="*/ 118783 w 189072"/>
                <a:gd name="connsiteY30" fmla="*/ 114445 h 181196"/>
                <a:gd name="connsiteX31" fmla="*/ 117851 w 189072"/>
                <a:gd name="connsiteY31" fmla="*/ 114152 h 181196"/>
                <a:gd name="connsiteX32" fmla="*/ 117409 w 189072"/>
                <a:gd name="connsiteY32" fmla="*/ 111860 h 181196"/>
                <a:gd name="connsiteX33" fmla="*/ 117425 w 189072"/>
                <a:gd name="connsiteY33" fmla="*/ 111836 h 181196"/>
                <a:gd name="connsiteX34" fmla="*/ 119156 w 189072"/>
                <a:gd name="connsiteY34" fmla="*/ 109173 h 181196"/>
                <a:gd name="connsiteX35" fmla="*/ 131430 w 189072"/>
                <a:gd name="connsiteY35" fmla="*/ 83346 h 181196"/>
                <a:gd name="connsiteX36" fmla="*/ 133827 w 189072"/>
                <a:gd name="connsiteY36" fmla="*/ 76343 h 181196"/>
                <a:gd name="connsiteX37" fmla="*/ 141069 w 189072"/>
                <a:gd name="connsiteY37" fmla="*/ 45590 h 181196"/>
                <a:gd name="connsiteX38" fmla="*/ 143465 w 189072"/>
                <a:gd name="connsiteY38" fmla="*/ 14038 h 181196"/>
                <a:gd name="connsiteX39" fmla="*/ 143465 w 189072"/>
                <a:gd name="connsiteY39" fmla="*/ 13798 h 181196"/>
                <a:gd name="connsiteX40" fmla="*/ 143465 w 189072"/>
                <a:gd name="connsiteY40" fmla="*/ 13798 h 181196"/>
                <a:gd name="connsiteX41" fmla="*/ 140403 w 189072"/>
                <a:gd name="connsiteY41" fmla="*/ 13585 h 181196"/>
                <a:gd name="connsiteX42" fmla="*/ 128208 w 189072"/>
                <a:gd name="connsiteY42" fmla="*/ 18911 h 181196"/>
                <a:gd name="connsiteX43" fmla="*/ 121978 w 189072"/>
                <a:gd name="connsiteY43" fmla="*/ 36670 h 181196"/>
                <a:gd name="connsiteX44" fmla="*/ 121073 w 189072"/>
                <a:gd name="connsiteY44" fmla="*/ 41809 h 181196"/>
                <a:gd name="connsiteX45" fmla="*/ 120673 w 189072"/>
                <a:gd name="connsiteY45" fmla="*/ 43993 h 181196"/>
                <a:gd name="connsiteX46" fmla="*/ 110901 w 189072"/>
                <a:gd name="connsiteY46" fmla="*/ 75944 h 181196"/>
                <a:gd name="connsiteX47" fmla="*/ 107546 w 189072"/>
                <a:gd name="connsiteY47" fmla="*/ 83453 h 181196"/>
                <a:gd name="connsiteX48" fmla="*/ 93807 w 189072"/>
                <a:gd name="connsiteY48" fmla="*/ 106218 h 181196"/>
                <a:gd name="connsiteX49" fmla="*/ 92476 w 189072"/>
                <a:gd name="connsiteY49" fmla="*/ 106883 h 181196"/>
                <a:gd name="connsiteX50" fmla="*/ 91464 w 189072"/>
                <a:gd name="connsiteY50" fmla="*/ 106564 h 181196"/>
                <a:gd name="connsiteX51" fmla="*/ 91118 w 189072"/>
                <a:gd name="connsiteY51" fmla="*/ 104221 h 181196"/>
                <a:gd name="connsiteX52" fmla="*/ 103792 w 189072"/>
                <a:gd name="connsiteY52" fmla="*/ 83266 h 181196"/>
                <a:gd name="connsiteX53" fmla="*/ 107147 w 189072"/>
                <a:gd name="connsiteY53" fmla="*/ 76024 h 181196"/>
                <a:gd name="connsiteX54" fmla="*/ 117105 w 189072"/>
                <a:gd name="connsiteY54" fmla="*/ 44019 h 181196"/>
                <a:gd name="connsiteX55" fmla="*/ 117691 w 189072"/>
                <a:gd name="connsiteY55" fmla="*/ 41064 h 181196"/>
                <a:gd name="connsiteX56" fmla="*/ 105470 w 189072"/>
                <a:gd name="connsiteY56" fmla="*/ 42235 h 181196"/>
                <a:gd name="connsiteX57" fmla="*/ 101502 w 189072"/>
                <a:gd name="connsiteY57" fmla="*/ 44898 h 181196"/>
                <a:gd name="connsiteX58" fmla="*/ 97881 w 189072"/>
                <a:gd name="connsiteY58" fmla="*/ 50835 h 181196"/>
                <a:gd name="connsiteX59" fmla="*/ 97509 w 189072"/>
                <a:gd name="connsiteY59" fmla="*/ 51980 h 181196"/>
                <a:gd name="connsiteX60" fmla="*/ 91491 w 189072"/>
                <a:gd name="connsiteY60" fmla="*/ 66412 h 181196"/>
                <a:gd name="connsiteX61" fmla="*/ 83716 w 189072"/>
                <a:gd name="connsiteY61" fmla="*/ 79725 h 181196"/>
                <a:gd name="connsiteX62" fmla="*/ 81266 w 189072"/>
                <a:gd name="connsiteY62" fmla="*/ 83293 h 181196"/>
                <a:gd name="connsiteX63" fmla="*/ 79909 w 189072"/>
                <a:gd name="connsiteY63" fmla="*/ 85130 h 181196"/>
                <a:gd name="connsiteX64" fmla="*/ 64093 w 189072"/>
                <a:gd name="connsiteY64" fmla="*/ 102091 h 181196"/>
                <a:gd name="connsiteX65" fmla="*/ 54774 w 189072"/>
                <a:gd name="connsiteY65" fmla="*/ 109120 h 181196"/>
                <a:gd name="connsiteX66" fmla="*/ 53043 w 189072"/>
                <a:gd name="connsiteY66" fmla="*/ 110292 h 181196"/>
                <a:gd name="connsiteX67" fmla="*/ 53043 w 189072"/>
                <a:gd name="connsiteY67" fmla="*/ 110292 h 181196"/>
                <a:gd name="connsiteX68" fmla="*/ 51578 w 189072"/>
                <a:gd name="connsiteY68" fmla="*/ 111250 h 181196"/>
                <a:gd name="connsiteX69" fmla="*/ 22290 w 189072"/>
                <a:gd name="connsiteY69" fmla="*/ 136092 h 181196"/>
                <a:gd name="connsiteX70" fmla="*/ 989 w 189072"/>
                <a:gd name="connsiteY70" fmla="*/ 174567 h 181196"/>
                <a:gd name="connsiteX71" fmla="*/ 1468 w 189072"/>
                <a:gd name="connsiteY71" fmla="*/ 174700 h 181196"/>
                <a:gd name="connsiteX72" fmla="*/ 21065 w 189072"/>
                <a:gd name="connsiteY72" fmla="*/ 179120 h 181196"/>
                <a:gd name="connsiteX73" fmla="*/ 43511 w 189072"/>
                <a:gd name="connsiteY73" fmla="*/ 180851 h 181196"/>
                <a:gd name="connsiteX74" fmla="*/ 43910 w 189072"/>
                <a:gd name="connsiteY74" fmla="*/ 180851 h 181196"/>
                <a:gd name="connsiteX75" fmla="*/ 148924 w 189072"/>
                <a:gd name="connsiteY75" fmla="*/ 136119 h 181196"/>
                <a:gd name="connsiteX76" fmla="*/ 169559 w 189072"/>
                <a:gd name="connsiteY76" fmla="*/ 109120 h 181196"/>
                <a:gd name="connsiteX77" fmla="*/ 179783 w 189072"/>
                <a:gd name="connsiteY77" fmla="*/ 88325 h 181196"/>
                <a:gd name="connsiteX78" fmla="*/ 181674 w 189072"/>
                <a:gd name="connsiteY78" fmla="*/ 83293 h 181196"/>
                <a:gd name="connsiteX79" fmla="*/ 187718 w 189072"/>
                <a:gd name="connsiteY79" fmla="*/ 60527 h 181196"/>
                <a:gd name="connsiteX80" fmla="*/ 190061 w 189072"/>
                <a:gd name="connsiteY80" fmla="*/ 34301 h 181196"/>
                <a:gd name="connsiteX81" fmla="*/ 190061 w 189072"/>
                <a:gd name="connsiteY81" fmla="*/ 29854 h 181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89072" h="181196">
                  <a:moveTo>
                    <a:pt x="189954" y="30014"/>
                  </a:moveTo>
                  <a:cubicBezTo>
                    <a:pt x="189784" y="24372"/>
                    <a:pt x="189286" y="18743"/>
                    <a:pt x="188463" y="13159"/>
                  </a:cubicBezTo>
                  <a:cubicBezTo>
                    <a:pt x="185942" y="12909"/>
                    <a:pt x="183396" y="13072"/>
                    <a:pt x="180928" y="13639"/>
                  </a:cubicBezTo>
                  <a:cubicBezTo>
                    <a:pt x="176713" y="14613"/>
                    <a:pt x="173204" y="17513"/>
                    <a:pt x="171449" y="21467"/>
                  </a:cubicBezTo>
                  <a:lnTo>
                    <a:pt x="171449" y="21467"/>
                  </a:lnTo>
                  <a:lnTo>
                    <a:pt x="171449" y="21467"/>
                  </a:lnTo>
                  <a:cubicBezTo>
                    <a:pt x="171487" y="31862"/>
                    <a:pt x="170693" y="42243"/>
                    <a:pt x="169080" y="52513"/>
                  </a:cubicBezTo>
                  <a:cubicBezTo>
                    <a:pt x="167522" y="62479"/>
                    <a:pt x="165280" y="72328"/>
                    <a:pt x="162370" y="81988"/>
                  </a:cubicBezTo>
                  <a:cubicBezTo>
                    <a:pt x="162210" y="82441"/>
                    <a:pt x="162077" y="82893"/>
                    <a:pt x="161944" y="83373"/>
                  </a:cubicBezTo>
                  <a:cubicBezTo>
                    <a:pt x="159260" y="92244"/>
                    <a:pt x="155860" y="100882"/>
                    <a:pt x="151773" y="109200"/>
                  </a:cubicBezTo>
                  <a:cubicBezTo>
                    <a:pt x="149821" y="113154"/>
                    <a:pt x="147614" y="116980"/>
                    <a:pt x="145169" y="120649"/>
                  </a:cubicBezTo>
                  <a:cubicBezTo>
                    <a:pt x="144860" y="121112"/>
                    <a:pt x="144341" y="121392"/>
                    <a:pt x="143785" y="121395"/>
                  </a:cubicBezTo>
                  <a:cubicBezTo>
                    <a:pt x="143452" y="121387"/>
                    <a:pt x="143130" y="121286"/>
                    <a:pt x="142853" y="121102"/>
                  </a:cubicBezTo>
                  <a:cubicBezTo>
                    <a:pt x="142091" y="120585"/>
                    <a:pt x="141892" y="119552"/>
                    <a:pt x="142400" y="118785"/>
                  </a:cubicBezTo>
                  <a:cubicBezTo>
                    <a:pt x="144458" y="115707"/>
                    <a:pt x="146325" y="112507"/>
                    <a:pt x="147992" y="109200"/>
                  </a:cubicBezTo>
                  <a:cubicBezTo>
                    <a:pt x="152161" y="100898"/>
                    <a:pt x="155617" y="92258"/>
                    <a:pt x="158323" y="83373"/>
                  </a:cubicBezTo>
                  <a:lnTo>
                    <a:pt x="159042" y="81030"/>
                  </a:lnTo>
                  <a:cubicBezTo>
                    <a:pt x="161944" y="71290"/>
                    <a:pt x="164178" y="61361"/>
                    <a:pt x="165725" y="51315"/>
                  </a:cubicBezTo>
                  <a:cubicBezTo>
                    <a:pt x="167306" y="41024"/>
                    <a:pt x="168108" y="30626"/>
                    <a:pt x="168121" y="20215"/>
                  </a:cubicBezTo>
                  <a:cubicBezTo>
                    <a:pt x="168116" y="13341"/>
                    <a:pt x="167663" y="6474"/>
                    <a:pt x="166763" y="-340"/>
                  </a:cubicBezTo>
                  <a:lnTo>
                    <a:pt x="166763" y="-340"/>
                  </a:lnTo>
                  <a:lnTo>
                    <a:pt x="166763" y="-340"/>
                  </a:lnTo>
                  <a:cubicBezTo>
                    <a:pt x="162351" y="-431"/>
                    <a:pt x="157987" y="576"/>
                    <a:pt x="154062" y="2589"/>
                  </a:cubicBezTo>
                  <a:cubicBezTo>
                    <a:pt x="149685" y="4988"/>
                    <a:pt x="146929" y="9552"/>
                    <a:pt x="146847" y="14544"/>
                  </a:cubicBezTo>
                  <a:lnTo>
                    <a:pt x="146847" y="14544"/>
                  </a:lnTo>
                  <a:cubicBezTo>
                    <a:pt x="146868" y="25085"/>
                    <a:pt x="146040" y="35608"/>
                    <a:pt x="144371" y="46016"/>
                  </a:cubicBezTo>
                  <a:cubicBezTo>
                    <a:pt x="142752" y="56390"/>
                    <a:pt x="140347" y="66625"/>
                    <a:pt x="137181" y="76636"/>
                  </a:cubicBezTo>
                  <a:cubicBezTo>
                    <a:pt x="136489" y="78899"/>
                    <a:pt x="135744" y="81109"/>
                    <a:pt x="134972" y="83293"/>
                  </a:cubicBezTo>
                  <a:cubicBezTo>
                    <a:pt x="131840" y="92263"/>
                    <a:pt x="127854" y="100911"/>
                    <a:pt x="123070" y="109120"/>
                  </a:cubicBezTo>
                  <a:cubicBezTo>
                    <a:pt x="122111" y="110744"/>
                    <a:pt x="121153" y="112262"/>
                    <a:pt x="120167" y="113700"/>
                  </a:cubicBezTo>
                  <a:cubicBezTo>
                    <a:pt x="119861" y="114166"/>
                    <a:pt x="119342" y="114448"/>
                    <a:pt x="118783" y="114445"/>
                  </a:cubicBezTo>
                  <a:cubicBezTo>
                    <a:pt x="118450" y="114437"/>
                    <a:pt x="118128" y="114336"/>
                    <a:pt x="117851" y="114152"/>
                  </a:cubicBezTo>
                  <a:cubicBezTo>
                    <a:pt x="117095" y="113641"/>
                    <a:pt x="116898" y="112616"/>
                    <a:pt x="117409" y="111860"/>
                  </a:cubicBezTo>
                  <a:cubicBezTo>
                    <a:pt x="117414" y="111852"/>
                    <a:pt x="117419" y="111844"/>
                    <a:pt x="117425" y="111836"/>
                  </a:cubicBezTo>
                  <a:cubicBezTo>
                    <a:pt x="118011" y="110957"/>
                    <a:pt x="118570" y="110052"/>
                    <a:pt x="119156" y="109173"/>
                  </a:cubicBezTo>
                  <a:cubicBezTo>
                    <a:pt x="124127" y="101010"/>
                    <a:pt x="128240" y="92356"/>
                    <a:pt x="131430" y="83346"/>
                  </a:cubicBezTo>
                  <a:cubicBezTo>
                    <a:pt x="132256" y="81056"/>
                    <a:pt x="133054" y="78713"/>
                    <a:pt x="133827" y="76343"/>
                  </a:cubicBezTo>
                  <a:cubicBezTo>
                    <a:pt x="137027" y="66292"/>
                    <a:pt x="139447" y="56012"/>
                    <a:pt x="141069" y="45590"/>
                  </a:cubicBezTo>
                  <a:cubicBezTo>
                    <a:pt x="142738" y="35158"/>
                    <a:pt x="143540" y="24603"/>
                    <a:pt x="143465" y="14038"/>
                  </a:cubicBezTo>
                  <a:lnTo>
                    <a:pt x="143465" y="13798"/>
                  </a:lnTo>
                  <a:lnTo>
                    <a:pt x="143465" y="13798"/>
                  </a:lnTo>
                  <a:cubicBezTo>
                    <a:pt x="142451" y="13655"/>
                    <a:pt x="141428" y="13583"/>
                    <a:pt x="140403" y="13585"/>
                  </a:cubicBezTo>
                  <a:cubicBezTo>
                    <a:pt x="135741" y="13418"/>
                    <a:pt x="131255" y="15375"/>
                    <a:pt x="128208" y="18911"/>
                  </a:cubicBezTo>
                  <a:cubicBezTo>
                    <a:pt x="124055" y="23890"/>
                    <a:pt x="121978" y="36670"/>
                    <a:pt x="121978" y="36670"/>
                  </a:cubicBezTo>
                  <a:cubicBezTo>
                    <a:pt x="121712" y="38401"/>
                    <a:pt x="121419" y="40105"/>
                    <a:pt x="121073" y="41809"/>
                  </a:cubicBezTo>
                  <a:cubicBezTo>
                    <a:pt x="121073" y="41809"/>
                    <a:pt x="121073" y="42608"/>
                    <a:pt x="120673" y="43993"/>
                  </a:cubicBezTo>
                  <a:cubicBezTo>
                    <a:pt x="118469" y="54936"/>
                    <a:pt x="115196" y="65640"/>
                    <a:pt x="110901" y="75944"/>
                  </a:cubicBezTo>
                  <a:cubicBezTo>
                    <a:pt x="109871" y="78394"/>
                    <a:pt x="108753" y="80896"/>
                    <a:pt x="107546" y="83453"/>
                  </a:cubicBezTo>
                  <a:cubicBezTo>
                    <a:pt x="103744" y="91483"/>
                    <a:pt x="99141" y="99111"/>
                    <a:pt x="93807" y="106218"/>
                  </a:cubicBezTo>
                  <a:cubicBezTo>
                    <a:pt x="93488" y="106633"/>
                    <a:pt x="92998" y="106878"/>
                    <a:pt x="92476" y="106883"/>
                  </a:cubicBezTo>
                  <a:cubicBezTo>
                    <a:pt x="92114" y="106886"/>
                    <a:pt x="91760" y="106774"/>
                    <a:pt x="91464" y="106564"/>
                  </a:cubicBezTo>
                  <a:cubicBezTo>
                    <a:pt x="90724" y="106013"/>
                    <a:pt x="90567" y="104964"/>
                    <a:pt x="91118" y="104221"/>
                  </a:cubicBezTo>
                  <a:cubicBezTo>
                    <a:pt x="95956" y="97626"/>
                    <a:pt x="100198" y="90615"/>
                    <a:pt x="103792" y="83266"/>
                  </a:cubicBezTo>
                  <a:cubicBezTo>
                    <a:pt x="104964" y="80896"/>
                    <a:pt x="106082" y="78473"/>
                    <a:pt x="107147" y="76024"/>
                  </a:cubicBezTo>
                  <a:cubicBezTo>
                    <a:pt x="111572" y="65733"/>
                    <a:pt x="114911" y="55005"/>
                    <a:pt x="117105" y="44019"/>
                  </a:cubicBezTo>
                  <a:cubicBezTo>
                    <a:pt x="117318" y="43034"/>
                    <a:pt x="117505" y="42049"/>
                    <a:pt x="117691" y="41064"/>
                  </a:cubicBezTo>
                  <a:cubicBezTo>
                    <a:pt x="113593" y="40212"/>
                    <a:pt x="109333" y="40619"/>
                    <a:pt x="105470" y="42235"/>
                  </a:cubicBezTo>
                  <a:cubicBezTo>
                    <a:pt x="103995" y="42872"/>
                    <a:pt x="102650" y="43774"/>
                    <a:pt x="101502" y="44898"/>
                  </a:cubicBezTo>
                  <a:cubicBezTo>
                    <a:pt x="99868" y="46583"/>
                    <a:pt x="98632" y="48612"/>
                    <a:pt x="97881" y="50835"/>
                  </a:cubicBezTo>
                  <a:cubicBezTo>
                    <a:pt x="97881" y="51208"/>
                    <a:pt x="97615" y="51581"/>
                    <a:pt x="97509" y="51980"/>
                  </a:cubicBezTo>
                  <a:cubicBezTo>
                    <a:pt x="95812" y="56914"/>
                    <a:pt x="93802" y="61734"/>
                    <a:pt x="91491" y="66412"/>
                  </a:cubicBezTo>
                  <a:cubicBezTo>
                    <a:pt x="89190" y="71013"/>
                    <a:pt x="86594" y="75459"/>
                    <a:pt x="83716" y="79725"/>
                  </a:cubicBezTo>
                  <a:cubicBezTo>
                    <a:pt x="82944" y="80923"/>
                    <a:pt x="82119" y="82095"/>
                    <a:pt x="81266" y="83293"/>
                  </a:cubicBezTo>
                  <a:lnTo>
                    <a:pt x="79909" y="85130"/>
                  </a:lnTo>
                  <a:cubicBezTo>
                    <a:pt x="75257" y="91334"/>
                    <a:pt x="69956" y="97019"/>
                    <a:pt x="64093" y="102091"/>
                  </a:cubicBezTo>
                  <a:cubicBezTo>
                    <a:pt x="61124" y="104610"/>
                    <a:pt x="58011" y="106958"/>
                    <a:pt x="54774" y="109120"/>
                  </a:cubicBezTo>
                  <a:lnTo>
                    <a:pt x="53043" y="110292"/>
                  </a:lnTo>
                  <a:lnTo>
                    <a:pt x="53043" y="110292"/>
                  </a:lnTo>
                  <a:lnTo>
                    <a:pt x="51578" y="111250"/>
                  </a:lnTo>
                  <a:cubicBezTo>
                    <a:pt x="40757" y="118197"/>
                    <a:pt x="30909" y="126550"/>
                    <a:pt x="22290" y="136092"/>
                  </a:cubicBezTo>
                  <a:cubicBezTo>
                    <a:pt x="12654" y="147339"/>
                    <a:pt x="5406" y="160429"/>
                    <a:pt x="989" y="174567"/>
                  </a:cubicBezTo>
                  <a:lnTo>
                    <a:pt x="1468" y="174700"/>
                  </a:lnTo>
                  <a:cubicBezTo>
                    <a:pt x="7888" y="176636"/>
                    <a:pt x="14435" y="178114"/>
                    <a:pt x="21065" y="179120"/>
                  </a:cubicBezTo>
                  <a:cubicBezTo>
                    <a:pt x="28491" y="180278"/>
                    <a:pt x="35994" y="180856"/>
                    <a:pt x="43511" y="180851"/>
                  </a:cubicBezTo>
                  <a:lnTo>
                    <a:pt x="43910" y="180851"/>
                  </a:lnTo>
                  <a:cubicBezTo>
                    <a:pt x="83532" y="180798"/>
                    <a:pt x="121432" y="164652"/>
                    <a:pt x="148924" y="136119"/>
                  </a:cubicBezTo>
                  <a:cubicBezTo>
                    <a:pt x="156824" y="127947"/>
                    <a:pt x="163749" y="118889"/>
                    <a:pt x="169559" y="109120"/>
                  </a:cubicBezTo>
                  <a:cubicBezTo>
                    <a:pt x="173507" y="102466"/>
                    <a:pt x="176926" y="95514"/>
                    <a:pt x="179783" y="88325"/>
                  </a:cubicBezTo>
                  <a:cubicBezTo>
                    <a:pt x="180449" y="86674"/>
                    <a:pt x="181088" y="84970"/>
                    <a:pt x="181674" y="83293"/>
                  </a:cubicBezTo>
                  <a:cubicBezTo>
                    <a:pt x="184304" y="75880"/>
                    <a:pt x="186325" y="68268"/>
                    <a:pt x="187718" y="60527"/>
                  </a:cubicBezTo>
                  <a:cubicBezTo>
                    <a:pt x="189283" y="51874"/>
                    <a:pt x="190066" y="43095"/>
                    <a:pt x="190061" y="34301"/>
                  </a:cubicBezTo>
                  <a:cubicBezTo>
                    <a:pt x="190061" y="32810"/>
                    <a:pt x="190061" y="31318"/>
                    <a:pt x="190061" y="29854"/>
                  </a:cubicBezTo>
                </a:path>
              </a:pathLst>
            </a:custGeom>
            <a:solidFill>
              <a:srgbClr val="143DCF"/>
            </a:solidFill>
            <a:ln w="2661" cap="flat">
              <a:noFill/>
              <a:prstDash val="solid"/>
              <a:miter/>
            </a:ln>
          </p:spPr>
          <p:txBody>
            <a:bodyPr rtlCol="0" anchor="ctr"/>
            <a:lstStyle/>
            <a:p>
              <a:endParaRPr lang="pl-PL"/>
            </a:p>
          </p:txBody>
        </p:sp>
        <p:sp>
          <p:nvSpPr>
            <p:cNvPr id="125" name="Freeform: Shape 124">
              <a:extLst>
                <a:ext uri="{FF2B5EF4-FFF2-40B4-BE49-F238E27FC236}">
                  <a16:creationId xmlns:a16="http://schemas.microsoft.com/office/drawing/2014/main" id="{47B2BB6A-9391-425E-8F17-C81E456408FB}"/>
                </a:ext>
              </a:extLst>
            </p:cNvPr>
            <p:cNvSpPr/>
            <p:nvPr/>
          </p:nvSpPr>
          <p:spPr>
            <a:xfrm>
              <a:off x="11502581" y="6714997"/>
              <a:ext cx="17090" cy="37099"/>
            </a:xfrm>
            <a:custGeom>
              <a:avLst/>
              <a:gdLst>
                <a:gd name="connsiteX0" fmla="*/ 31273 w 30283"/>
                <a:gd name="connsiteY0" fmla="*/ 400 h 65740"/>
                <a:gd name="connsiteX1" fmla="*/ 28024 w 30283"/>
                <a:gd name="connsiteY1" fmla="*/ -346 h 65740"/>
                <a:gd name="connsiteX2" fmla="*/ 27438 w 30283"/>
                <a:gd name="connsiteY2" fmla="*/ 2610 h 65740"/>
                <a:gd name="connsiteX3" fmla="*/ 17374 w 30283"/>
                <a:gd name="connsiteY3" fmla="*/ 34721 h 65740"/>
                <a:gd name="connsiteX4" fmla="*/ 13992 w 30283"/>
                <a:gd name="connsiteY4" fmla="*/ 41963 h 65740"/>
                <a:gd name="connsiteX5" fmla="*/ 1318 w 30283"/>
                <a:gd name="connsiteY5" fmla="*/ 62732 h 65740"/>
                <a:gd name="connsiteX6" fmla="*/ 1664 w 30283"/>
                <a:gd name="connsiteY6" fmla="*/ 65075 h 65740"/>
                <a:gd name="connsiteX7" fmla="*/ 2650 w 30283"/>
                <a:gd name="connsiteY7" fmla="*/ 65394 h 65740"/>
                <a:gd name="connsiteX8" fmla="*/ 4007 w 30283"/>
                <a:gd name="connsiteY8" fmla="*/ 64729 h 65740"/>
                <a:gd name="connsiteX9" fmla="*/ 17747 w 30283"/>
                <a:gd name="connsiteY9" fmla="*/ 41963 h 65740"/>
                <a:gd name="connsiteX10" fmla="*/ 21101 w 30283"/>
                <a:gd name="connsiteY10" fmla="*/ 34481 h 65740"/>
                <a:gd name="connsiteX11" fmla="*/ 30873 w 30283"/>
                <a:gd name="connsiteY11" fmla="*/ 2530 h 65740"/>
                <a:gd name="connsiteX12" fmla="*/ 31273 w 30283"/>
                <a:gd name="connsiteY12" fmla="*/ 347 h 6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283" h="65740">
                  <a:moveTo>
                    <a:pt x="31273" y="400"/>
                  </a:moveTo>
                  <a:cubicBezTo>
                    <a:pt x="30213" y="62"/>
                    <a:pt x="29126" y="-186"/>
                    <a:pt x="28024" y="-346"/>
                  </a:cubicBezTo>
                  <a:cubicBezTo>
                    <a:pt x="27838" y="640"/>
                    <a:pt x="27652" y="1625"/>
                    <a:pt x="27438" y="2610"/>
                  </a:cubicBezTo>
                  <a:cubicBezTo>
                    <a:pt x="25218" y="13636"/>
                    <a:pt x="21844" y="24398"/>
                    <a:pt x="17374" y="34721"/>
                  </a:cubicBezTo>
                  <a:cubicBezTo>
                    <a:pt x="16309" y="37171"/>
                    <a:pt x="15190" y="39594"/>
                    <a:pt x="13992" y="41963"/>
                  </a:cubicBezTo>
                  <a:cubicBezTo>
                    <a:pt x="10400" y="49254"/>
                    <a:pt x="6159" y="56203"/>
                    <a:pt x="1318" y="62732"/>
                  </a:cubicBezTo>
                  <a:cubicBezTo>
                    <a:pt x="767" y="63475"/>
                    <a:pt x="924" y="64524"/>
                    <a:pt x="1664" y="65075"/>
                  </a:cubicBezTo>
                  <a:cubicBezTo>
                    <a:pt x="1952" y="65283"/>
                    <a:pt x="2295" y="65394"/>
                    <a:pt x="2650" y="65394"/>
                  </a:cubicBezTo>
                  <a:cubicBezTo>
                    <a:pt x="3182" y="65405"/>
                    <a:pt x="3688" y="65157"/>
                    <a:pt x="4007" y="64729"/>
                  </a:cubicBezTo>
                  <a:cubicBezTo>
                    <a:pt x="9341" y="57622"/>
                    <a:pt x="13944" y="49994"/>
                    <a:pt x="17747" y="41963"/>
                  </a:cubicBezTo>
                  <a:cubicBezTo>
                    <a:pt x="18945" y="39301"/>
                    <a:pt x="20063" y="36931"/>
                    <a:pt x="21101" y="34481"/>
                  </a:cubicBezTo>
                  <a:cubicBezTo>
                    <a:pt x="25380" y="24172"/>
                    <a:pt x="28653" y="13471"/>
                    <a:pt x="30873" y="2530"/>
                  </a:cubicBezTo>
                  <a:cubicBezTo>
                    <a:pt x="31140" y="1145"/>
                    <a:pt x="31273" y="347"/>
                    <a:pt x="31273" y="347"/>
                  </a:cubicBezTo>
                </a:path>
              </a:pathLst>
            </a:custGeom>
            <a:solidFill>
              <a:srgbClr val="8FD942"/>
            </a:solidFill>
            <a:ln w="2661" cap="flat">
              <a:noFill/>
              <a:prstDash val="solid"/>
              <a:miter/>
            </a:ln>
          </p:spPr>
          <p:txBody>
            <a:bodyPr rtlCol="0" anchor="ctr"/>
            <a:lstStyle/>
            <a:p>
              <a:endParaRPr lang="pl-PL"/>
            </a:p>
          </p:txBody>
        </p:sp>
        <p:sp>
          <p:nvSpPr>
            <p:cNvPr id="126" name="Freeform: Shape 125">
              <a:extLst>
                <a:ext uri="{FF2B5EF4-FFF2-40B4-BE49-F238E27FC236}">
                  <a16:creationId xmlns:a16="http://schemas.microsoft.com/office/drawing/2014/main" id="{02C1EEDE-701D-49BA-A672-62953D8C6CB5}"/>
                </a:ext>
              </a:extLst>
            </p:cNvPr>
            <p:cNvSpPr/>
            <p:nvPr/>
          </p:nvSpPr>
          <p:spPr>
            <a:xfrm>
              <a:off x="11517500" y="6699685"/>
              <a:ext cx="16773" cy="56738"/>
            </a:xfrm>
            <a:custGeom>
              <a:avLst/>
              <a:gdLst>
                <a:gd name="connsiteX0" fmla="*/ 27995 w 29722"/>
                <a:gd name="connsiteY0" fmla="*/ -239 h 100540"/>
                <a:gd name="connsiteX1" fmla="*/ 27542 w 29722"/>
                <a:gd name="connsiteY1" fmla="*/ -239 h 100540"/>
                <a:gd name="connsiteX2" fmla="*/ 27356 w 29722"/>
                <a:gd name="connsiteY2" fmla="*/ -239 h 100540"/>
                <a:gd name="connsiteX3" fmla="*/ 27356 w 29722"/>
                <a:gd name="connsiteY3" fmla="*/ -239 h 100540"/>
                <a:gd name="connsiteX4" fmla="*/ 24959 w 29722"/>
                <a:gd name="connsiteY4" fmla="*/ 31313 h 100540"/>
                <a:gd name="connsiteX5" fmla="*/ 17691 w 29722"/>
                <a:gd name="connsiteY5" fmla="*/ 62093 h 100540"/>
                <a:gd name="connsiteX6" fmla="*/ 15294 w 29722"/>
                <a:gd name="connsiteY6" fmla="*/ 69095 h 100540"/>
                <a:gd name="connsiteX7" fmla="*/ 3020 w 29722"/>
                <a:gd name="connsiteY7" fmla="*/ 94923 h 100540"/>
                <a:gd name="connsiteX8" fmla="*/ 1289 w 29722"/>
                <a:gd name="connsiteY8" fmla="*/ 97585 h 100540"/>
                <a:gd name="connsiteX9" fmla="*/ 1691 w 29722"/>
                <a:gd name="connsiteY9" fmla="*/ 99886 h 100540"/>
                <a:gd name="connsiteX10" fmla="*/ 1715 w 29722"/>
                <a:gd name="connsiteY10" fmla="*/ 99902 h 100540"/>
                <a:gd name="connsiteX11" fmla="*/ 2647 w 29722"/>
                <a:gd name="connsiteY11" fmla="*/ 100195 h 100540"/>
                <a:gd name="connsiteX12" fmla="*/ 4031 w 29722"/>
                <a:gd name="connsiteY12" fmla="*/ 99449 h 100540"/>
                <a:gd name="connsiteX13" fmla="*/ 6933 w 29722"/>
                <a:gd name="connsiteY13" fmla="*/ 94870 h 100540"/>
                <a:gd name="connsiteX14" fmla="*/ 18835 w 29722"/>
                <a:gd name="connsiteY14" fmla="*/ 69042 h 100540"/>
                <a:gd name="connsiteX15" fmla="*/ 21045 w 29722"/>
                <a:gd name="connsiteY15" fmla="*/ 62386 h 100540"/>
                <a:gd name="connsiteX16" fmla="*/ 28234 w 29722"/>
                <a:gd name="connsiteY16" fmla="*/ 31766 h 100540"/>
                <a:gd name="connsiteX17" fmla="*/ 30711 w 29722"/>
                <a:gd name="connsiteY17" fmla="*/ 293 h 100540"/>
                <a:gd name="connsiteX18" fmla="*/ 30711 w 29722"/>
                <a:gd name="connsiteY18" fmla="*/ 293 h 100540"/>
                <a:gd name="connsiteX19" fmla="*/ 30711 w 29722"/>
                <a:gd name="connsiteY19" fmla="*/ 293 h 100540"/>
                <a:gd name="connsiteX20" fmla="*/ 28048 w 29722"/>
                <a:gd name="connsiteY20" fmla="*/ -346 h 100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722" h="100540">
                  <a:moveTo>
                    <a:pt x="27995" y="-239"/>
                  </a:moveTo>
                  <a:lnTo>
                    <a:pt x="27542" y="-239"/>
                  </a:lnTo>
                  <a:lnTo>
                    <a:pt x="27356" y="-239"/>
                  </a:lnTo>
                  <a:lnTo>
                    <a:pt x="27356" y="-239"/>
                  </a:lnTo>
                  <a:cubicBezTo>
                    <a:pt x="27430" y="10326"/>
                    <a:pt x="26629" y="20881"/>
                    <a:pt x="24959" y="31313"/>
                  </a:cubicBezTo>
                  <a:cubicBezTo>
                    <a:pt x="23330" y="41745"/>
                    <a:pt x="20899" y="52033"/>
                    <a:pt x="17691" y="62093"/>
                  </a:cubicBezTo>
                  <a:cubicBezTo>
                    <a:pt x="16918" y="64462"/>
                    <a:pt x="16120" y="66806"/>
                    <a:pt x="15294" y="69095"/>
                  </a:cubicBezTo>
                  <a:cubicBezTo>
                    <a:pt x="12104" y="78106"/>
                    <a:pt x="7991" y="86759"/>
                    <a:pt x="3020" y="94923"/>
                  </a:cubicBezTo>
                  <a:cubicBezTo>
                    <a:pt x="2434" y="95855"/>
                    <a:pt x="1875" y="96760"/>
                    <a:pt x="1289" y="97585"/>
                  </a:cubicBezTo>
                  <a:cubicBezTo>
                    <a:pt x="764" y="98331"/>
                    <a:pt x="945" y="99361"/>
                    <a:pt x="1691" y="99886"/>
                  </a:cubicBezTo>
                  <a:cubicBezTo>
                    <a:pt x="1699" y="99891"/>
                    <a:pt x="1707" y="99897"/>
                    <a:pt x="1715" y="99902"/>
                  </a:cubicBezTo>
                  <a:cubicBezTo>
                    <a:pt x="1992" y="100086"/>
                    <a:pt x="2314" y="100187"/>
                    <a:pt x="2647" y="100195"/>
                  </a:cubicBezTo>
                  <a:cubicBezTo>
                    <a:pt x="3203" y="100195"/>
                    <a:pt x="3725" y="99915"/>
                    <a:pt x="4031" y="99449"/>
                  </a:cubicBezTo>
                  <a:cubicBezTo>
                    <a:pt x="5016" y="98011"/>
                    <a:pt x="5975" y="96494"/>
                    <a:pt x="6933" y="94870"/>
                  </a:cubicBezTo>
                  <a:cubicBezTo>
                    <a:pt x="11718" y="86661"/>
                    <a:pt x="15704" y="78013"/>
                    <a:pt x="18835" y="69042"/>
                  </a:cubicBezTo>
                  <a:cubicBezTo>
                    <a:pt x="19608" y="66859"/>
                    <a:pt x="20327" y="64649"/>
                    <a:pt x="21045" y="62386"/>
                  </a:cubicBezTo>
                  <a:cubicBezTo>
                    <a:pt x="24211" y="52374"/>
                    <a:pt x="26616" y="42139"/>
                    <a:pt x="28234" y="31766"/>
                  </a:cubicBezTo>
                  <a:cubicBezTo>
                    <a:pt x="29904" y="21357"/>
                    <a:pt x="30732" y="10835"/>
                    <a:pt x="30711" y="293"/>
                  </a:cubicBezTo>
                  <a:lnTo>
                    <a:pt x="30711" y="293"/>
                  </a:lnTo>
                  <a:lnTo>
                    <a:pt x="30711" y="293"/>
                  </a:lnTo>
                  <a:cubicBezTo>
                    <a:pt x="29840" y="19"/>
                    <a:pt x="28948" y="-194"/>
                    <a:pt x="28048" y="-346"/>
                  </a:cubicBezTo>
                </a:path>
              </a:pathLst>
            </a:custGeom>
            <a:solidFill>
              <a:srgbClr val="8FD942"/>
            </a:solidFill>
            <a:ln w="2661" cap="flat">
              <a:noFill/>
              <a:prstDash val="solid"/>
              <a:miter/>
            </a:ln>
          </p:spPr>
          <p:txBody>
            <a:bodyPr rtlCol="0" anchor="ctr"/>
            <a:lstStyle/>
            <a:p>
              <a:endParaRPr lang="pl-PL"/>
            </a:p>
          </p:txBody>
        </p:sp>
        <p:sp>
          <p:nvSpPr>
            <p:cNvPr id="127" name="Freeform: Shape 126">
              <a:extLst>
                <a:ext uri="{FF2B5EF4-FFF2-40B4-BE49-F238E27FC236}">
                  <a16:creationId xmlns:a16="http://schemas.microsoft.com/office/drawing/2014/main" id="{1A2ED676-59D7-4A47-8C63-A11B63303E47}"/>
                </a:ext>
              </a:extLst>
            </p:cNvPr>
            <p:cNvSpPr/>
            <p:nvPr/>
          </p:nvSpPr>
          <p:spPr>
            <a:xfrm>
              <a:off x="11531661" y="6691648"/>
              <a:ext cx="16507" cy="68726"/>
            </a:xfrm>
            <a:custGeom>
              <a:avLst/>
              <a:gdLst>
                <a:gd name="connsiteX0" fmla="*/ 30239 w 29251"/>
                <a:gd name="connsiteY0" fmla="*/ 21351 h 121784"/>
                <a:gd name="connsiteX1" fmla="*/ 28934 w 29251"/>
                <a:gd name="connsiteY1" fmla="*/ -296 h 121784"/>
                <a:gd name="connsiteX2" fmla="*/ 25526 w 29251"/>
                <a:gd name="connsiteY2" fmla="*/ -296 h 121784"/>
                <a:gd name="connsiteX3" fmla="*/ 26911 w 29251"/>
                <a:gd name="connsiteY3" fmla="*/ 20313 h 121784"/>
                <a:gd name="connsiteX4" fmla="*/ 24514 w 29251"/>
                <a:gd name="connsiteY4" fmla="*/ 51412 h 121784"/>
                <a:gd name="connsiteX5" fmla="*/ 17911 w 29251"/>
                <a:gd name="connsiteY5" fmla="*/ 81074 h 121784"/>
                <a:gd name="connsiteX6" fmla="*/ 17192 w 29251"/>
                <a:gd name="connsiteY6" fmla="*/ 83417 h 121784"/>
                <a:gd name="connsiteX7" fmla="*/ 6861 w 29251"/>
                <a:gd name="connsiteY7" fmla="*/ 109244 h 121784"/>
                <a:gd name="connsiteX8" fmla="*/ 1270 w 29251"/>
                <a:gd name="connsiteY8" fmla="*/ 118830 h 121784"/>
                <a:gd name="connsiteX9" fmla="*/ 1722 w 29251"/>
                <a:gd name="connsiteY9" fmla="*/ 121146 h 121784"/>
                <a:gd name="connsiteX10" fmla="*/ 2654 w 29251"/>
                <a:gd name="connsiteY10" fmla="*/ 121439 h 121784"/>
                <a:gd name="connsiteX11" fmla="*/ 4039 w 29251"/>
                <a:gd name="connsiteY11" fmla="*/ 120694 h 121784"/>
                <a:gd name="connsiteX12" fmla="*/ 10642 w 29251"/>
                <a:gd name="connsiteY12" fmla="*/ 109244 h 121784"/>
                <a:gd name="connsiteX13" fmla="*/ 20813 w 29251"/>
                <a:gd name="connsiteY13" fmla="*/ 83417 h 121784"/>
                <a:gd name="connsiteX14" fmla="*/ 21239 w 29251"/>
                <a:gd name="connsiteY14" fmla="*/ 82032 h 121784"/>
                <a:gd name="connsiteX15" fmla="*/ 27869 w 29251"/>
                <a:gd name="connsiteY15" fmla="*/ 52557 h 121784"/>
                <a:gd name="connsiteX16" fmla="*/ 30239 w 29251"/>
                <a:gd name="connsiteY16" fmla="*/ 21511 h 121784"/>
                <a:gd name="connsiteX17" fmla="*/ 30239 w 29251"/>
                <a:gd name="connsiteY17" fmla="*/ 21511 h 121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251" h="121784">
                  <a:moveTo>
                    <a:pt x="30239" y="21351"/>
                  </a:moveTo>
                  <a:cubicBezTo>
                    <a:pt x="30207" y="14117"/>
                    <a:pt x="29770" y="6891"/>
                    <a:pt x="28934" y="-296"/>
                  </a:cubicBezTo>
                  <a:cubicBezTo>
                    <a:pt x="27800" y="-362"/>
                    <a:pt x="26660" y="-362"/>
                    <a:pt x="25526" y="-296"/>
                  </a:cubicBezTo>
                  <a:cubicBezTo>
                    <a:pt x="26448" y="6534"/>
                    <a:pt x="26911" y="13419"/>
                    <a:pt x="26911" y="20313"/>
                  </a:cubicBezTo>
                  <a:cubicBezTo>
                    <a:pt x="26898" y="30724"/>
                    <a:pt x="26096" y="41121"/>
                    <a:pt x="24514" y="51412"/>
                  </a:cubicBezTo>
                  <a:cubicBezTo>
                    <a:pt x="22991" y="61437"/>
                    <a:pt x="20784" y="71347"/>
                    <a:pt x="17911" y="81074"/>
                  </a:cubicBezTo>
                  <a:lnTo>
                    <a:pt x="17192" y="83417"/>
                  </a:lnTo>
                  <a:cubicBezTo>
                    <a:pt x="14487" y="92302"/>
                    <a:pt x="11031" y="100942"/>
                    <a:pt x="6861" y="109244"/>
                  </a:cubicBezTo>
                  <a:cubicBezTo>
                    <a:pt x="5189" y="112549"/>
                    <a:pt x="3323" y="115749"/>
                    <a:pt x="1270" y="118830"/>
                  </a:cubicBezTo>
                  <a:cubicBezTo>
                    <a:pt x="761" y="119596"/>
                    <a:pt x="961" y="120630"/>
                    <a:pt x="1722" y="121146"/>
                  </a:cubicBezTo>
                  <a:cubicBezTo>
                    <a:pt x="1999" y="121330"/>
                    <a:pt x="2321" y="121431"/>
                    <a:pt x="2654" y="121439"/>
                  </a:cubicBezTo>
                  <a:cubicBezTo>
                    <a:pt x="3211" y="121436"/>
                    <a:pt x="3730" y="121157"/>
                    <a:pt x="4039" y="120694"/>
                  </a:cubicBezTo>
                  <a:cubicBezTo>
                    <a:pt x="6483" y="117024"/>
                    <a:pt x="8691" y="113198"/>
                    <a:pt x="10642" y="109244"/>
                  </a:cubicBezTo>
                  <a:cubicBezTo>
                    <a:pt x="14729" y="100926"/>
                    <a:pt x="18129" y="92289"/>
                    <a:pt x="20813" y="83417"/>
                  </a:cubicBezTo>
                  <a:cubicBezTo>
                    <a:pt x="20813" y="82938"/>
                    <a:pt x="21080" y="82485"/>
                    <a:pt x="21239" y="82032"/>
                  </a:cubicBezTo>
                  <a:cubicBezTo>
                    <a:pt x="24123" y="72370"/>
                    <a:pt x="26338" y="62523"/>
                    <a:pt x="27869" y="52557"/>
                  </a:cubicBezTo>
                  <a:cubicBezTo>
                    <a:pt x="29483" y="42287"/>
                    <a:pt x="30276" y="31906"/>
                    <a:pt x="30239" y="21511"/>
                  </a:cubicBezTo>
                  <a:lnTo>
                    <a:pt x="30239" y="21511"/>
                  </a:lnTo>
                  <a:close/>
                </a:path>
              </a:pathLst>
            </a:custGeom>
            <a:solidFill>
              <a:srgbClr val="8FD942"/>
            </a:solidFill>
            <a:ln w="2661" cap="flat">
              <a:noFill/>
              <a:prstDash val="solid"/>
              <a:miter/>
            </a:ln>
          </p:spPr>
          <p:txBody>
            <a:bodyPr rtlCol="0" anchor="ctr"/>
            <a:lstStyle/>
            <a:p>
              <a:endParaRPr lang="pl-PL"/>
            </a:p>
          </p:txBody>
        </p:sp>
        <p:sp>
          <p:nvSpPr>
            <p:cNvPr id="128" name="Freeform: Shape 127">
              <a:extLst>
                <a:ext uri="{FF2B5EF4-FFF2-40B4-BE49-F238E27FC236}">
                  <a16:creationId xmlns:a16="http://schemas.microsoft.com/office/drawing/2014/main" id="{20BA8526-8D70-4072-963D-2C6C0ABCCE03}"/>
                </a:ext>
              </a:extLst>
            </p:cNvPr>
            <p:cNvSpPr/>
            <p:nvPr/>
          </p:nvSpPr>
          <p:spPr>
            <a:xfrm>
              <a:off x="11646242" y="6644465"/>
              <a:ext cx="64654" cy="65032"/>
            </a:xfrm>
            <a:custGeom>
              <a:avLst/>
              <a:gdLst>
                <a:gd name="connsiteX0" fmla="*/ 989 w 114568"/>
                <a:gd name="connsiteY0" fmla="*/ 56475 h 115237"/>
                <a:gd name="connsiteX1" fmla="*/ 60738 w 114568"/>
                <a:gd name="connsiteY1" fmla="*/ 114892 h 115237"/>
                <a:gd name="connsiteX2" fmla="*/ 112233 w 114568"/>
                <a:gd name="connsiteY2" fmla="*/ 83340 h 115237"/>
                <a:gd name="connsiteX3" fmla="*/ 105550 w 114568"/>
                <a:gd name="connsiteY3" fmla="*/ 75219 h 115237"/>
                <a:gd name="connsiteX4" fmla="*/ 87870 w 114568"/>
                <a:gd name="connsiteY4" fmla="*/ 75219 h 115237"/>
                <a:gd name="connsiteX5" fmla="*/ 79057 w 114568"/>
                <a:gd name="connsiteY5" fmla="*/ 80545 h 115237"/>
                <a:gd name="connsiteX6" fmla="*/ 59833 w 114568"/>
                <a:gd name="connsiteY6" fmla="*/ 87361 h 115237"/>
                <a:gd name="connsiteX7" fmla="*/ 37440 w 114568"/>
                <a:gd name="connsiteY7" fmla="*/ 72850 h 115237"/>
                <a:gd name="connsiteX8" fmla="*/ 35523 w 114568"/>
                <a:gd name="connsiteY8" fmla="*/ 66646 h 115237"/>
                <a:gd name="connsiteX9" fmla="*/ 109011 w 114568"/>
                <a:gd name="connsiteY9" fmla="*/ 66646 h 115237"/>
                <a:gd name="connsiteX10" fmla="*/ 115447 w 114568"/>
                <a:gd name="connsiteY10" fmla="*/ 61488 h 115237"/>
                <a:gd name="connsiteX11" fmla="*/ 115481 w 114568"/>
                <a:gd name="connsiteY11" fmla="*/ 60895 h 115237"/>
                <a:gd name="connsiteX12" fmla="*/ 60685 w 114568"/>
                <a:gd name="connsiteY12" fmla="*/ -346 h 115237"/>
                <a:gd name="connsiteX13" fmla="*/ 989 w 114568"/>
                <a:gd name="connsiteY13" fmla="*/ 56368 h 115237"/>
                <a:gd name="connsiteX14" fmla="*/ 59380 w 114568"/>
                <a:gd name="connsiteY14" fmla="*/ 26946 h 115237"/>
                <a:gd name="connsiteX15" fmla="*/ 81533 w 114568"/>
                <a:gd name="connsiteY15" fmla="*/ 46303 h 115237"/>
                <a:gd name="connsiteX16" fmla="*/ 42605 w 114568"/>
                <a:gd name="connsiteY16" fmla="*/ 46303 h 115237"/>
                <a:gd name="connsiteX17" fmla="*/ 35683 w 114568"/>
                <a:gd name="connsiteY17" fmla="*/ 46303 h 115237"/>
                <a:gd name="connsiteX18" fmla="*/ 59380 w 114568"/>
                <a:gd name="connsiteY18" fmla="*/ 26973 h 11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4568" h="115237">
                  <a:moveTo>
                    <a:pt x="989" y="56475"/>
                  </a:moveTo>
                  <a:cubicBezTo>
                    <a:pt x="989" y="91089"/>
                    <a:pt x="27322" y="114892"/>
                    <a:pt x="60738" y="114892"/>
                  </a:cubicBezTo>
                  <a:cubicBezTo>
                    <a:pt x="87364" y="114892"/>
                    <a:pt x="105789" y="101446"/>
                    <a:pt x="112233" y="83340"/>
                  </a:cubicBezTo>
                  <a:cubicBezTo>
                    <a:pt x="113963" y="78415"/>
                    <a:pt x="110742" y="75219"/>
                    <a:pt x="105550" y="75219"/>
                  </a:cubicBezTo>
                  <a:lnTo>
                    <a:pt x="87870" y="75219"/>
                  </a:lnTo>
                  <a:cubicBezTo>
                    <a:pt x="83796" y="75219"/>
                    <a:pt x="81639" y="77350"/>
                    <a:pt x="79057" y="80545"/>
                  </a:cubicBezTo>
                  <a:cubicBezTo>
                    <a:pt x="75808" y="84379"/>
                    <a:pt x="69098" y="87361"/>
                    <a:pt x="59833" y="87361"/>
                  </a:cubicBezTo>
                  <a:cubicBezTo>
                    <a:pt x="50034" y="87806"/>
                    <a:pt x="41037" y="81975"/>
                    <a:pt x="37440" y="72850"/>
                  </a:cubicBezTo>
                  <a:cubicBezTo>
                    <a:pt x="36641" y="70834"/>
                    <a:pt x="35999" y="68760"/>
                    <a:pt x="35523" y="66646"/>
                  </a:cubicBezTo>
                  <a:lnTo>
                    <a:pt x="109011" y="66646"/>
                  </a:lnTo>
                  <a:cubicBezTo>
                    <a:pt x="112212" y="67000"/>
                    <a:pt x="115092" y="64689"/>
                    <a:pt x="115447" y="61488"/>
                  </a:cubicBezTo>
                  <a:cubicBezTo>
                    <a:pt x="115468" y="61291"/>
                    <a:pt x="115479" y="61094"/>
                    <a:pt x="115481" y="60895"/>
                  </a:cubicBezTo>
                  <a:cubicBezTo>
                    <a:pt x="117185" y="22926"/>
                    <a:pt x="89787" y="-346"/>
                    <a:pt x="60685" y="-346"/>
                  </a:cubicBezTo>
                  <a:cubicBezTo>
                    <a:pt x="26070" y="-346"/>
                    <a:pt x="989" y="22233"/>
                    <a:pt x="989" y="56368"/>
                  </a:cubicBezTo>
                  <a:moveTo>
                    <a:pt x="59380" y="26946"/>
                  </a:moveTo>
                  <a:cubicBezTo>
                    <a:pt x="79616" y="26946"/>
                    <a:pt x="81533" y="46303"/>
                    <a:pt x="81533" y="46303"/>
                  </a:cubicBezTo>
                  <a:lnTo>
                    <a:pt x="42605" y="46303"/>
                  </a:lnTo>
                  <a:lnTo>
                    <a:pt x="35683" y="46303"/>
                  </a:lnTo>
                  <a:cubicBezTo>
                    <a:pt x="35683" y="46303"/>
                    <a:pt x="39171" y="26973"/>
                    <a:pt x="59380" y="26973"/>
                  </a:cubicBezTo>
                </a:path>
              </a:pathLst>
            </a:custGeom>
            <a:solidFill>
              <a:srgbClr val="FFFFFF"/>
            </a:solidFill>
            <a:ln w="2661" cap="flat">
              <a:noFill/>
              <a:prstDash val="solid"/>
              <a:miter/>
            </a:ln>
          </p:spPr>
          <p:txBody>
            <a:bodyPr rtlCol="0" anchor="ctr"/>
            <a:lstStyle/>
            <a:p>
              <a:endParaRPr lang="pl-PL"/>
            </a:p>
          </p:txBody>
        </p:sp>
        <p:sp>
          <p:nvSpPr>
            <p:cNvPr id="129" name="Freeform: Shape 128">
              <a:extLst>
                <a:ext uri="{FF2B5EF4-FFF2-40B4-BE49-F238E27FC236}">
                  <a16:creationId xmlns:a16="http://schemas.microsoft.com/office/drawing/2014/main" id="{8AB01BDB-F0C5-4669-8A0A-3563B85439DD}"/>
                </a:ext>
              </a:extLst>
            </p:cNvPr>
            <p:cNvSpPr/>
            <p:nvPr/>
          </p:nvSpPr>
          <p:spPr>
            <a:xfrm>
              <a:off x="11719462" y="6644495"/>
              <a:ext cx="64897" cy="89810"/>
            </a:xfrm>
            <a:custGeom>
              <a:avLst/>
              <a:gdLst>
                <a:gd name="connsiteX0" fmla="*/ 115987 w 114998"/>
                <a:gd name="connsiteY0" fmla="*/ 57140 h 159144"/>
                <a:gd name="connsiteX1" fmla="*/ 58501 w 114998"/>
                <a:gd name="connsiteY1" fmla="*/ -346 h 159144"/>
                <a:gd name="connsiteX2" fmla="*/ 58475 w 114998"/>
                <a:gd name="connsiteY2" fmla="*/ -346 h 159144"/>
                <a:gd name="connsiteX3" fmla="*/ 29958 w 114998"/>
                <a:gd name="connsiteY3" fmla="*/ 7269 h 159144"/>
                <a:gd name="connsiteX4" fmla="*/ 23142 w 114998"/>
                <a:gd name="connsiteY4" fmla="*/ 1784 h 159144"/>
                <a:gd name="connsiteX5" fmla="*/ 8178 w 114998"/>
                <a:gd name="connsiteY5" fmla="*/ 1784 h 159144"/>
                <a:gd name="connsiteX6" fmla="*/ 989 w 114998"/>
                <a:gd name="connsiteY6" fmla="*/ 8947 h 159144"/>
                <a:gd name="connsiteX7" fmla="*/ 989 w 114998"/>
                <a:gd name="connsiteY7" fmla="*/ 57114 h 159144"/>
                <a:gd name="connsiteX8" fmla="*/ 989 w 114998"/>
                <a:gd name="connsiteY8" fmla="*/ 57114 h 159144"/>
                <a:gd name="connsiteX9" fmla="*/ 989 w 114998"/>
                <a:gd name="connsiteY9" fmla="*/ 151610 h 159144"/>
                <a:gd name="connsiteX10" fmla="*/ 8178 w 114998"/>
                <a:gd name="connsiteY10" fmla="*/ 158799 h 159144"/>
                <a:gd name="connsiteX11" fmla="*/ 23142 w 114998"/>
                <a:gd name="connsiteY11" fmla="*/ 158799 h 159144"/>
                <a:gd name="connsiteX12" fmla="*/ 30304 w 114998"/>
                <a:gd name="connsiteY12" fmla="*/ 151610 h 159144"/>
                <a:gd name="connsiteX13" fmla="*/ 30304 w 114998"/>
                <a:gd name="connsiteY13" fmla="*/ 107197 h 159144"/>
                <a:gd name="connsiteX14" fmla="*/ 58475 w 114998"/>
                <a:gd name="connsiteY14" fmla="*/ 114599 h 159144"/>
                <a:gd name="connsiteX15" fmla="*/ 115934 w 114998"/>
                <a:gd name="connsiteY15" fmla="*/ 57140 h 159144"/>
                <a:gd name="connsiteX16" fmla="*/ 86432 w 114998"/>
                <a:gd name="connsiteY16" fmla="*/ 57140 h 159144"/>
                <a:gd name="connsiteX17" fmla="*/ 58475 w 114998"/>
                <a:gd name="connsiteY17" fmla="*/ 85098 h 159144"/>
                <a:gd name="connsiteX18" fmla="*/ 30491 w 114998"/>
                <a:gd name="connsiteY18" fmla="*/ 57140 h 159144"/>
                <a:gd name="connsiteX19" fmla="*/ 58475 w 114998"/>
                <a:gd name="connsiteY19" fmla="*/ 29156 h 159144"/>
                <a:gd name="connsiteX20" fmla="*/ 86432 w 114998"/>
                <a:gd name="connsiteY20" fmla="*/ 57140 h 159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998" h="159144">
                  <a:moveTo>
                    <a:pt x="115987" y="57140"/>
                  </a:moveTo>
                  <a:cubicBezTo>
                    <a:pt x="115987" y="25391"/>
                    <a:pt x="90250" y="-346"/>
                    <a:pt x="58501" y="-346"/>
                  </a:cubicBezTo>
                  <a:cubicBezTo>
                    <a:pt x="58493" y="-346"/>
                    <a:pt x="58483" y="-346"/>
                    <a:pt x="58475" y="-346"/>
                  </a:cubicBezTo>
                  <a:cubicBezTo>
                    <a:pt x="48466" y="-346"/>
                    <a:pt x="38633" y="2280"/>
                    <a:pt x="29958" y="7269"/>
                  </a:cubicBezTo>
                  <a:cubicBezTo>
                    <a:pt x="29220" y="4088"/>
                    <a:pt x="26406" y="1824"/>
                    <a:pt x="23142" y="1784"/>
                  </a:cubicBezTo>
                  <a:lnTo>
                    <a:pt x="8178" y="1784"/>
                  </a:lnTo>
                  <a:cubicBezTo>
                    <a:pt x="4224" y="1798"/>
                    <a:pt x="1018" y="4993"/>
                    <a:pt x="989" y="8947"/>
                  </a:cubicBezTo>
                  <a:lnTo>
                    <a:pt x="989" y="57114"/>
                  </a:lnTo>
                  <a:lnTo>
                    <a:pt x="989" y="57114"/>
                  </a:lnTo>
                  <a:lnTo>
                    <a:pt x="989" y="151610"/>
                  </a:lnTo>
                  <a:cubicBezTo>
                    <a:pt x="1002" y="155574"/>
                    <a:pt x="4213" y="158786"/>
                    <a:pt x="8178" y="158799"/>
                  </a:cubicBezTo>
                  <a:lnTo>
                    <a:pt x="23142" y="158799"/>
                  </a:lnTo>
                  <a:cubicBezTo>
                    <a:pt x="27096" y="158770"/>
                    <a:pt x="30291" y="155564"/>
                    <a:pt x="30304" y="151610"/>
                  </a:cubicBezTo>
                  <a:lnTo>
                    <a:pt x="30304" y="107197"/>
                  </a:lnTo>
                  <a:cubicBezTo>
                    <a:pt x="38899" y="112051"/>
                    <a:pt x="48604" y="114602"/>
                    <a:pt x="58475" y="114599"/>
                  </a:cubicBezTo>
                  <a:cubicBezTo>
                    <a:pt x="90208" y="114599"/>
                    <a:pt x="115934" y="88873"/>
                    <a:pt x="115934" y="57140"/>
                  </a:cubicBezTo>
                  <a:moveTo>
                    <a:pt x="86432" y="57140"/>
                  </a:moveTo>
                  <a:cubicBezTo>
                    <a:pt x="86432" y="72581"/>
                    <a:pt x="73915" y="85098"/>
                    <a:pt x="58475" y="85098"/>
                  </a:cubicBezTo>
                  <a:cubicBezTo>
                    <a:pt x="43029" y="85098"/>
                    <a:pt x="30506" y="72586"/>
                    <a:pt x="30491" y="57140"/>
                  </a:cubicBezTo>
                  <a:cubicBezTo>
                    <a:pt x="30504" y="41692"/>
                    <a:pt x="43026" y="29172"/>
                    <a:pt x="58475" y="29156"/>
                  </a:cubicBezTo>
                  <a:cubicBezTo>
                    <a:pt x="73921" y="29172"/>
                    <a:pt x="86432" y="41694"/>
                    <a:pt x="86432" y="57140"/>
                  </a:cubicBezTo>
                </a:path>
              </a:pathLst>
            </a:custGeom>
            <a:solidFill>
              <a:srgbClr val="FFFFFF"/>
            </a:solidFill>
            <a:ln w="2661" cap="flat">
              <a:noFill/>
              <a:prstDash val="solid"/>
              <a:miter/>
            </a:ln>
          </p:spPr>
          <p:txBody>
            <a:bodyPr rtlCol="0" anchor="ctr"/>
            <a:lstStyle/>
            <a:p>
              <a:endParaRPr lang="pl-PL"/>
            </a:p>
          </p:txBody>
        </p:sp>
        <p:sp>
          <p:nvSpPr>
            <p:cNvPr id="130" name="Freeform: Shape 129">
              <a:extLst>
                <a:ext uri="{FF2B5EF4-FFF2-40B4-BE49-F238E27FC236}">
                  <a16:creationId xmlns:a16="http://schemas.microsoft.com/office/drawing/2014/main" id="{AA3D0B7D-67B7-47FA-AB88-9086AE674CA0}"/>
                </a:ext>
              </a:extLst>
            </p:cNvPr>
            <p:cNvSpPr/>
            <p:nvPr/>
          </p:nvSpPr>
          <p:spPr>
            <a:xfrm>
              <a:off x="11792669" y="6644495"/>
              <a:ext cx="64867" cy="64867"/>
            </a:xfrm>
            <a:custGeom>
              <a:avLst/>
              <a:gdLst>
                <a:gd name="connsiteX0" fmla="*/ 115934 w 114945"/>
                <a:gd name="connsiteY0" fmla="*/ 64596 h 114945"/>
                <a:gd name="connsiteX1" fmla="*/ 115934 w 114945"/>
                <a:gd name="connsiteY1" fmla="*/ 49632 h 114945"/>
                <a:gd name="connsiteX2" fmla="*/ 108745 w 114945"/>
                <a:gd name="connsiteY2" fmla="*/ 42443 h 114945"/>
                <a:gd name="connsiteX3" fmla="*/ 73119 w 114945"/>
                <a:gd name="connsiteY3" fmla="*/ 42443 h 114945"/>
                <a:gd name="connsiteX4" fmla="*/ 73119 w 114945"/>
                <a:gd name="connsiteY4" fmla="*/ 6843 h 114945"/>
                <a:gd name="connsiteX5" fmla="*/ 65930 w 114945"/>
                <a:gd name="connsiteY5" fmla="*/ -346 h 114945"/>
                <a:gd name="connsiteX6" fmla="*/ 50993 w 114945"/>
                <a:gd name="connsiteY6" fmla="*/ -346 h 114945"/>
                <a:gd name="connsiteX7" fmla="*/ 43804 w 114945"/>
                <a:gd name="connsiteY7" fmla="*/ 6843 h 114945"/>
                <a:gd name="connsiteX8" fmla="*/ 43804 w 114945"/>
                <a:gd name="connsiteY8" fmla="*/ 42469 h 114945"/>
                <a:gd name="connsiteX9" fmla="*/ 8178 w 114945"/>
                <a:gd name="connsiteY9" fmla="*/ 42469 h 114945"/>
                <a:gd name="connsiteX10" fmla="*/ 989 w 114945"/>
                <a:gd name="connsiteY10" fmla="*/ 49658 h 114945"/>
                <a:gd name="connsiteX11" fmla="*/ 989 w 114945"/>
                <a:gd name="connsiteY11" fmla="*/ 64596 h 114945"/>
                <a:gd name="connsiteX12" fmla="*/ 8178 w 114945"/>
                <a:gd name="connsiteY12" fmla="*/ 71785 h 114945"/>
                <a:gd name="connsiteX13" fmla="*/ 43804 w 114945"/>
                <a:gd name="connsiteY13" fmla="*/ 71785 h 114945"/>
                <a:gd name="connsiteX14" fmla="*/ 43804 w 114945"/>
                <a:gd name="connsiteY14" fmla="*/ 107410 h 114945"/>
                <a:gd name="connsiteX15" fmla="*/ 50993 w 114945"/>
                <a:gd name="connsiteY15" fmla="*/ 114599 h 114945"/>
                <a:gd name="connsiteX16" fmla="*/ 65930 w 114945"/>
                <a:gd name="connsiteY16" fmla="*/ 114599 h 114945"/>
                <a:gd name="connsiteX17" fmla="*/ 73119 w 114945"/>
                <a:gd name="connsiteY17" fmla="*/ 107410 h 114945"/>
                <a:gd name="connsiteX18" fmla="*/ 73119 w 114945"/>
                <a:gd name="connsiteY18" fmla="*/ 71785 h 114945"/>
                <a:gd name="connsiteX19" fmla="*/ 108745 w 114945"/>
                <a:gd name="connsiteY19" fmla="*/ 71785 h 114945"/>
                <a:gd name="connsiteX20" fmla="*/ 115934 w 114945"/>
                <a:gd name="connsiteY20" fmla="*/ 64596 h 114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945" h="114945">
                  <a:moveTo>
                    <a:pt x="115934" y="64596"/>
                  </a:moveTo>
                  <a:lnTo>
                    <a:pt x="115934" y="49632"/>
                  </a:lnTo>
                  <a:cubicBezTo>
                    <a:pt x="115918" y="45667"/>
                    <a:pt x="112709" y="42456"/>
                    <a:pt x="108745" y="42443"/>
                  </a:cubicBezTo>
                  <a:lnTo>
                    <a:pt x="73119" y="42443"/>
                  </a:lnTo>
                  <a:lnTo>
                    <a:pt x="73119" y="6843"/>
                  </a:lnTo>
                  <a:cubicBezTo>
                    <a:pt x="73103" y="2879"/>
                    <a:pt x="69894" y="-332"/>
                    <a:pt x="65930" y="-346"/>
                  </a:cubicBezTo>
                  <a:lnTo>
                    <a:pt x="50993" y="-346"/>
                  </a:lnTo>
                  <a:cubicBezTo>
                    <a:pt x="47028" y="-330"/>
                    <a:pt x="43817" y="2879"/>
                    <a:pt x="43804" y="6843"/>
                  </a:cubicBezTo>
                  <a:lnTo>
                    <a:pt x="43804" y="42469"/>
                  </a:lnTo>
                  <a:lnTo>
                    <a:pt x="8178" y="42469"/>
                  </a:lnTo>
                  <a:cubicBezTo>
                    <a:pt x="4213" y="42483"/>
                    <a:pt x="1002" y="45694"/>
                    <a:pt x="989" y="49658"/>
                  </a:cubicBezTo>
                  <a:lnTo>
                    <a:pt x="989" y="64596"/>
                  </a:lnTo>
                  <a:cubicBezTo>
                    <a:pt x="1002" y="68560"/>
                    <a:pt x="4213" y="71771"/>
                    <a:pt x="8178" y="71785"/>
                  </a:cubicBezTo>
                  <a:lnTo>
                    <a:pt x="43804" y="71785"/>
                  </a:lnTo>
                  <a:lnTo>
                    <a:pt x="43804" y="107410"/>
                  </a:lnTo>
                  <a:cubicBezTo>
                    <a:pt x="43820" y="111375"/>
                    <a:pt x="47028" y="114586"/>
                    <a:pt x="50993" y="114599"/>
                  </a:cubicBezTo>
                  <a:lnTo>
                    <a:pt x="65930" y="114599"/>
                  </a:lnTo>
                  <a:cubicBezTo>
                    <a:pt x="69900" y="114599"/>
                    <a:pt x="73119" y="111380"/>
                    <a:pt x="73119" y="107410"/>
                  </a:cubicBezTo>
                  <a:lnTo>
                    <a:pt x="73119" y="71785"/>
                  </a:lnTo>
                  <a:lnTo>
                    <a:pt x="108745" y="71785"/>
                  </a:lnTo>
                  <a:cubicBezTo>
                    <a:pt x="112709" y="71771"/>
                    <a:pt x="115918" y="68560"/>
                    <a:pt x="115934" y="64596"/>
                  </a:cubicBezTo>
                </a:path>
              </a:pathLst>
            </a:custGeom>
            <a:solidFill>
              <a:srgbClr val="8FDB42"/>
            </a:solidFill>
            <a:ln w="2661" cap="flat">
              <a:noFill/>
              <a:prstDash val="solid"/>
              <a:miter/>
            </a:ln>
          </p:spPr>
          <p:txBody>
            <a:bodyPr rtlCol="0" anchor="ctr"/>
            <a:lstStyle/>
            <a:p>
              <a:endParaRPr lang="pl-PL"/>
            </a:p>
          </p:txBody>
        </p:sp>
        <p:sp>
          <p:nvSpPr>
            <p:cNvPr id="131" name="Freeform: Shape 130">
              <a:extLst>
                <a:ext uri="{FF2B5EF4-FFF2-40B4-BE49-F238E27FC236}">
                  <a16:creationId xmlns:a16="http://schemas.microsoft.com/office/drawing/2014/main" id="{BA56B90C-DF55-42AD-B3A6-CCFD903D4B2F}"/>
                </a:ext>
              </a:extLst>
            </p:cNvPr>
            <p:cNvSpPr/>
            <p:nvPr/>
          </p:nvSpPr>
          <p:spPr>
            <a:xfrm>
              <a:off x="11574954" y="6644781"/>
              <a:ext cx="64867" cy="89524"/>
            </a:xfrm>
            <a:custGeom>
              <a:avLst/>
              <a:gdLst>
                <a:gd name="connsiteX0" fmla="*/ 115934 w 114945"/>
                <a:gd name="connsiteY0" fmla="*/ 57114 h 158638"/>
                <a:gd name="connsiteX1" fmla="*/ 58475 w 114945"/>
                <a:gd name="connsiteY1" fmla="*/ -346 h 158638"/>
                <a:gd name="connsiteX2" fmla="*/ 29905 w 114945"/>
                <a:gd name="connsiteY2" fmla="*/ 7296 h 158638"/>
                <a:gd name="connsiteX3" fmla="*/ 23115 w 114945"/>
                <a:gd name="connsiteY3" fmla="*/ 2131 h 158638"/>
                <a:gd name="connsiteX4" fmla="*/ 8178 w 114945"/>
                <a:gd name="connsiteY4" fmla="*/ 2131 h 158638"/>
                <a:gd name="connsiteX5" fmla="*/ 989 w 114945"/>
                <a:gd name="connsiteY5" fmla="*/ 9320 h 158638"/>
                <a:gd name="connsiteX6" fmla="*/ 989 w 114945"/>
                <a:gd name="connsiteY6" fmla="*/ 57114 h 158638"/>
                <a:gd name="connsiteX7" fmla="*/ 989 w 114945"/>
                <a:gd name="connsiteY7" fmla="*/ 57114 h 158638"/>
                <a:gd name="connsiteX8" fmla="*/ 989 w 114945"/>
                <a:gd name="connsiteY8" fmla="*/ 151104 h 158638"/>
                <a:gd name="connsiteX9" fmla="*/ 8178 w 114945"/>
                <a:gd name="connsiteY9" fmla="*/ 158293 h 158638"/>
                <a:gd name="connsiteX10" fmla="*/ 23115 w 114945"/>
                <a:gd name="connsiteY10" fmla="*/ 158293 h 158638"/>
                <a:gd name="connsiteX11" fmla="*/ 30304 w 114945"/>
                <a:gd name="connsiteY11" fmla="*/ 151104 h 158638"/>
                <a:gd name="connsiteX12" fmla="*/ 30304 w 114945"/>
                <a:gd name="connsiteY12" fmla="*/ 107171 h 158638"/>
                <a:gd name="connsiteX13" fmla="*/ 58475 w 114945"/>
                <a:gd name="connsiteY13" fmla="*/ 114573 h 158638"/>
                <a:gd name="connsiteX14" fmla="*/ 115934 w 114945"/>
                <a:gd name="connsiteY14" fmla="*/ 57114 h 158638"/>
                <a:gd name="connsiteX15" fmla="*/ 86432 w 114945"/>
                <a:gd name="connsiteY15" fmla="*/ 57114 h 158638"/>
                <a:gd name="connsiteX16" fmla="*/ 58475 w 114945"/>
                <a:gd name="connsiteY16" fmla="*/ 85098 h 158638"/>
                <a:gd name="connsiteX17" fmla="*/ 30491 w 114945"/>
                <a:gd name="connsiteY17" fmla="*/ 57114 h 158638"/>
                <a:gd name="connsiteX18" fmla="*/ 58475 w 114945"/>
                <a:gd name="connsiteY18" fmla="*/ 29156 h 158638"/>
                <a:gd name="connsiteX19" fmla="*/ 86432 w 114945"/>
                <a:gd name="connsiteY19" fmla="*/ 57114 h 158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4945" h="158638">
                  <a:moveTo>
                    <a:pt x="115934" y="57114"/>
                  </a:moveTo>
                  <a:cubicBezTo>
                    <a:pt x="115934" y="25381"/>
                    <a:pt x="90208" y="-346"/>
                    <a:pt x="58475" y="-346"/>
                  </a:cubicBezTo>
                  <a:cubicBezTo>
                    <a:pt x="48447" y="-340"/>
                    <a:pt x="38596" y="2293"/>
                    <a:pt x="29905" y="7296"/>
                  </a:cubicBezTo>
                  <a:cubicBezTo>
                    <a:pt x="29034" y="4261"/>
                    <a:pt x="26273" y="2160"/>
                    <a:pt x="23115" y="2131"/>
                  </a:cubicBezTo>
                  <a:lnTo>
                    <a:pt x="8178" y="2131"/>
                  </a:lnTo>
                  <a:cubicBezTo>
                    <a:pt x="4213" y="2144"/>
                    <a:pt x="1002" y="5355"/>
                    <a:pt x="989" y="9320"/>
                  </a:cubicBezTo>
                  <a:lnTo>
                    <a:pt x="989" y="57114"/>
                  </a:lnTo>
                  <a:lnTo>
                    <a:pt x="989" y="57114"/>
                  </a:lnTo>
                  <a:lnTo>
                    <a:pt x="989" y="151104"/>
                  </a:lnTo>
                  <a:cubicBezTo>
                    <a:pt x="1002" y="155069"/>
                    <a:pt x="4213" y="158280"/>
                    <a:pt x="8178" y="158293"/>
                  </a:cubicBezTo>
                  <a:lnTo>
                    <a:pt x="23115" y="158293"/>
                  </a:lnTo>
                  <a:cubicBezTo>
                    <a:pt x="27080" y="158280"/>
                    <a:pt x="30291" y="155069"/>
                    <a:pt x="30304" y="151104"/>
                  </a:cubicBezTo>
                  <a:lnTo>
                    <a:pt x="30304" y="107171"/>
                  </a:lnTo>
                  <a:cubicBezTo>
                    <a:pt x="38899" y="112025"/>
                    <a:pt x="48604" y="114575"/>
                    <a:pt x="58475" y="114573"/>
                  </a:cubicBezTo>
                  <a:cubicBezTo>
                    <a:pt x="90202" y="114557"/>
                    <a:pt x="115918" y="88841"/>
                    <a:pt x="115934" y="57114"/>
                  </a:cubicBezTo>
                  <a:moveTo>
                    <a:pt x="86432" y="57114"/>
                  </a:moveTo>
                  <a:cubicBezTo>
                    <a:pt x="86432" y="72559"/>
                    <a:pt x="73920" y="85082"/>
                    <a:pt x="58475" y="85098"/>
                  </a:cubicBezTo>
                  <a:cubicBezTo>
                    <a:pt x="43026" y="85082"/>
                    <a:pt x="30506" y="72562"/>
                    <a:pt x="30491" y="57114"/>
                  </a:cubicBezTo>
                  <a:cubicBezTo>
                    <a:pt x="30506" y="41668"/>
                    <a:pt x="43029" y="29156"/>
                    <a:pt x="58475" y="29156"/>
                  </a:cubicBezTo>
                  <a:cubicBezTo>
                    <a:pt x="73915" y="29156"/>
                    <a:pt x="86432" y="41673"/>
                    <a:pt x="86432" y="57114"/>
                  </a:cubicBezTo>
                </a:path>
              </a:pathLst>
            </a:custGeom>
            <a:solidFill>
              <a:srgbClr val="FFFFFF"/>
            </a:solidFill>
            <a:ln w="2661" cap="flat">
              <a:noFill/>
              <a:prstDash val="solid"/>
              <a:miter/>
            </a:ln>
          </p:spPr>
          <p:txBody>
            <a:bodyPr rtlCol="0" anchor="ctr"/>
            <a:lstStyle/>
            <a:p>
              <a:endParaRPr lang="pl-PL"/>
            </a:p>
          </p:txBody>
        </p:sp>
        <p:sp>
          <p:nvSpPr>
            <p:cNvPr id="132" name="Freeform: Shape 131">
              <a:extLst>
                <a:ext uri="{FF2B5EF4-FFF2-40B4-BE49-F238E27FC236}">
                  <a16:creationId xmlns:a16="http://schemas.microsoft.com/office/drawing/2014/main" id="{10124E26-2B9D-4E3C-9BED-41600964B203}"/>
                </a:ext>
              </a:extLst>
            </p:cNvPr>
            <p:cNvSpPr/>
            <p:nvPr/>
          </p:nvSpPr>
          <p:spPr>
            <a:xfrm>
              <a:off x="11574969" y="6750860"/>
              <a:ext cx="19691" cy="26558"/>
            </a:xfrm>
            <a:custGeom>
              <a:avLst/>
              <a:gdLst>
                <a:gd name="connsiteX0" fmla="*/ 1103 w 34893"/>
                <a:gd name="connsiteY0" fmla="*/ 44632 h 47062"/>
                <a:gd name="connsiteX1" fmla="*/ 1103 w 34893"/>
                <a:gd name="connsiteY1" fmla="*/ 2270 h 47062"/>
                <a:gd name="connsiteX2" fmla="*/ 2765 w 34893"/>
                <a:gd name="connsiteY2" fmla="*/ 273 h 47062"/>
                <a:gd name="connsiteX3" fmla="*/ 3100 w 34893"/>
                <a:gd name="connsiteY3" fmla="*/ 273 h 47062"/>
                <a:gd name="connsiteX4" fmla="*/ 5124 w 34893"/>
                <a:gd name="connsiteY4" fmla="*/ 273 h 47062"/>
                <a:gd name="connsiteX5" fmla="*/ 7387 w 34893"/>
                <a:gd name="connsiteY5" fmla="*/ 1897 h 47062"/>
                <a:gd name="connsiteX6" fmla="*/ 9704 w 34893"/>
                <a:gd name="connsiteY6" fmla="*/ 2589 h 47062"/>
                <a:gd name="connsiteX7" fmla="*/ 19316 w 34893"/>
                <a:gd name="connsiteY7" fmla="*/ -339 h 47062"/>
                <a:gd name="connsiteX8" fmla="*/ 35880 w 34893"/>
                <a:gd name="connsiteY8" fmla="*/ 16060 h 47062"/>
                <a:gd name="connsiteX9" fmla="*/ 35877 w 34893"/>
                <a:gd name="connsiteY9" fmla="*/ 16462 h 47062"/>
                <a:gd name="connsiteX10" fmla="*/ 19667 w 34893"/>
                <a:gd name="connsiteY10" fmla="*/ 33524 h 47062"/>
                <a:gd name="connsiteX11" fmla="*/ 19182 w 34893"/>
                <a:gd name="connsiteY11" fmla="*/ 33529 h 47062"/>
                <a:gd name="connsiteX12" fmla="*/ 11195 w 34893"/>
                <a:gd name="connsiteY12" fmla="*/ 31585 h 47062"/>
                <a:gd name="connsiteX13" fmla="*/ 9118 w 34893"/>
                <a:gd name="connsiteY13" fmla="*/ 32597 h 47062"/>
                <a:gd name="connsiteX14" fmla="*/ 9118 w 34893"/>
                <a:gd name="connsiteY14" fmla="*/ 44712 h 47062"/>
                <a:gd name="connsiteX15" fmla="*/ 7456 w 34893"/>
                <a:gd name="connsiteY15" fmla="*/ 46709 h 47062"/>
                <a:gd name="connsiteX16" fmla="*/ 7121 w 34893"/>
                <a:gd name="connsiteY16" fmla="*/ 46709 h 47062"/>
                <a:gd name="connsiteX17" fmla="*/ 2994 w 34893"/>
                <a:gd name="connsiteY17" fmla="*/ 46709 h 47062"/>
                <a:gd name="connsiteX18" fmla="*/ 997 w 34893"/>
                <a:gd name="connsiteY18" fmla="*/ 45048 h 47062"/>
                <a:gd name="connsiteX19" fmla="*/ 997 w 34893"/>
                <a:gd name="connsiteY19" fmla="*/ 44712 h 47062"/>
                <a:gd name="connsiteX20" fmla="*/ 10236 w 34893"/>
                <a:gd name="connsiteY20" fmla="*/ 22106 h 47062"/>
                <a:gd name="connsiteX21" fmla="*/ 18224 w 34893"/>
                <a:gd name="connsiteY21" fmla="*/ 26127 h 47062"/>
                <a:gd name="connsiteX22" fmla="*/ 26968 w 34893"/>
                <a:gd name="connsiteY22" fmla="*/ 16571 h 47062"/>
                <a:gd name="connsiteX23" fmla="*/ 26957 w 34893"/>
                <a:gd name="connsiteY23" fmla="*/ 16382 h 47062"/>
                <a:gd name="connsiteX24" fmla="*/ 18250 w 34893"/>
                <a:gd name="connsiteY24" fmla="*/ 6983 h 47062"/>
                <a:gd name="connsiteX25" fmla="*/ 10263 w 34893"/>
                <a:gd name="connsiteY25" fmla="*/ 10977 h 47062"/>
                <a:gd name="connsiteX26" fmla="*/ 9677 w 34893"/>
                <a:gd name="connsiteY26" fmla="*/ 13133 h 47062"/>
                <a:gd name="connsiteX27" fmla="*/ 9677 w 34893"/>
                <a:gd name="connsiteY27" fmla="*/ 19896 h 47062"/>
                <a:gd name="connsiteX28" fmla="*/ 10263 w 34893"/>
                <a:gd name="connsiteY28" fmla="*/ 22027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893" h="47062">
                  <a:moveTo>
                    <a:pt x="1103" y="44632"/>
                  </a:moveTo>
                  <a:lnTo>
                    <a:pt x="1103" y="2270"/>
                  </a:lnTo>
                  <a:cubicBezTo>
                    <a:pt x="1010" y="1261"/>
                    <a:pt x="1756" y="366"/>
                    <a:pt x="2765" y="273"/>
                  </a:cubicBezTo>
                  <a:cubicBezTo>
                    <a:pt x="2877" y="262"/>
                    <a:pt x="2988" y="262"/>
                    <a:pt x="3100" y="273"/>
                  </a:cubicBezTo>
                  <a:lnTo>
                    <a:pt x="5124" y="273"/>
                  </a:lnTo>
                  <a:cubicBezTo>
                    <a:pt x="6170" y="201"/>
                    <a:pt x="7121" y="883"/>
                    <a:pt x="7387" y="1897"/>
                  </a:cubicBezTo>
                  <a:cubicBezTo>
                    <a:pt x="7707" y="3228"/>
                    <a:pt x="8638" y="3415"/>
                    <a:pt x="9704" y="2589"/>
                  </a:cubicBezTo>
                  <a:cubicBezTo>
                    <a:pt x="12502" y="592"/>
                    <a:pt x="15878" y="-435"/>
                    <a:pt x="19316" y="-339"/>
                  </a:cubicBezTo>
                  <a:cubicBezTo>
                    <a:pt x="28419" y="-385"/>
                    <a:pt x="35834" y="6956"/>
                    <a:pt x="35880" y="16060"/>
                  </a:cubicBezTo>
                  <a:cubicBezTo>
                    <a:pt x="35880" y="16193"/>
                    <a:pt x="35880" y="16329"/>
                    <a:pt x="35877" y="16462"/>
                  </a:cubicBezTo>
                  <a:cubicBezTo>
                    <a:pt x="36111" y="25650"/>
                    <a:pt x="28856" y="33289"/>
                    <a:pt x="19667" y="33524"/>
                  </a:cubicBezTo>
                  <a:cubicBezTo>
                    <a:pt x="19505" y="33529"/>
                    <a:pt x="19345" y="33529"/>
                    <a:pt x="19182" y="33529"/>
                  </a:cubicBezTo>
                  <a:cubicBezTo>
                    <a:pt x="16397" y="33582"/>
                    <a:pt x="13644" y="32914"/>
                    <a:pt x="11195" y="31585"/>
                  </a:cubicBezTo>
                  <a:cubicBezTo>
                    <a:pt x="9943" y="30840"/>
                    <a:pt x="9118" y="31213"/>
                    <a:pt x="9118" y="32597"/>
                  </a:cubicBezTo>
                  <a:lnTo>
                    <a:pt x="9118" y="44712"/>
                  </a:lnTo>
                  <a:cubicBezTo>
                    <a:pt x="9211" y="45721"/>
                    <a:pt x="8465" y="46616"/>
                    <a:pt x="7456" y="46709"/>
                  </a:cubicBezTo>
                  <a:cubicBezTo>
                    <a:pt x="7344" y="46720"/>
                    <a:pt x="7233" y="46720"/>
                    <a:pt x="7121" y="46709"/>
                  </a:cubicBezTo>
                  <a:lnTo>
                    <a:pt x="2994" y="46709"/>
                  </a:lnTo>
                  <a:cubicBezTo>
                    <a:pt x="1982" y="46802"/>
                    <a:pt x="1090" y="46057"/>
                    <a:pt x="997" y="45048"/>
                  </a:cubicBezTo>
                  <a:cubicBezTo>
                    <a:pt x="986" y="44936"/>
                    <a:pt x="986" y="44824"/>
                    <a:pt x="997" y="44712"/>
                  </a:cubicBezTo>
                  <a:moveTo>
                    <a:pt x="10236" y="22106"/>
                  </a:moveTo>
                  <a:cubicBezTo>
                    <a:pt x="12039" y="24721"/>
                    <a:pt x="15050" y="26236"/>
                    <a:pt x="18224" y="26127"/>
                  </a:cubicBezTo>
                  <a:cubicBezTo>
                    <a:pt x="23277" y="25903"/>
                    <a:pt x="27192" y="21625"/>
                    <a:pt x="26968" y="16571"/>
                  </a:cubicBezTo>
                  <a:cubicBezTo>
                    <a:pt x="26965" y="16507"/>
                    <a:pt x="26963" y="16446"/>
                    <a:pt x="26957" y="16382"/>
                  </a:cubicBezTo>
                  <a:cubicBezTo>
                    <a:pt x="27122" y="11392"/>
                    <a:pt x="23238" y="7198"/>
                    <a:pt x="18250" y="6983"/>
                  </a:cubicBezTo>
                  <a:cubicBezTo>
                    <a:pt x="15085" y="6884"/>
                    <a:pt x="12081" y="8386"/>
                    <a:pt x="10263" y="10977"/>
                  </a:cubicBezTo>
                  <a:cubicBezTo>
                    <a:pt x="9837" y="11613"/>
                    <a:pt x="9632" y="12369"/>
                    <a:pt x="9677" y="13133"/>
                  </a:cubicBezTo>
                  <a:lnTo>
                    <a:pt x="9677" y="19896"/>
                  </a:lnTo>
                  <a:cubicBezTo>
                    <a:pt x="9650" y="20650"/>
                    <a:pt x="9855" y="21393"/>
                    <a:pt x="10263" y="22027"/>
                  </a:cubicBezTo>
                </a:path>
              </a:pathLst>
            </a:custGeom>
            <a:solidFill>
              <a:srgbClr val="FFFFFF"/>
            </a:solidFill>
            <a:ln w="2661" cap="flat">
              <a:noFill/>
              <a:prstDash val="solid"/>
              <a:miter/>
            </a:ln>
          </p:spPr>
          <p:txBody>
            <a:bodyPr rtlCol="0" anchor="ctr"/>
            <a:lstStyle/>
            <a:p>
              <a:endParaRPr lang="pl-PL"/>
            </a:p>
          </p:txBody>
        </p:sp>
        <p:sp>
          <p:nvSpPr>
            <p:cNvPr id="133" name="Freeform: Shape 132">
              <a:extLst>
                <a:ext uri="{FF2B5EF4-FFF2-40B4-BE49-F238E27FC236}">
                  <a16:creationId xmlns:a16="http://schemas.microsoft.com/office/drawing/2014/main" id="{5D5754C4-4EE5-4523-8301-735E65DB1D42}"/>
                </a:ext>
              </a:extLst>
            </p:cNvPr>
            <p:cNvSpPr/>
            <p:nvPr/>
          </p:nvSpPr>
          <p:spPr>
            <a:xfrm>
              <a:off x="11597252" y="6750822"/>
              <a:ext cx="18514" cy="19157"/>
            </a:xfrm>
            <a:custGeom>
              <a:avLst/>
              <a:gdLst>
                <a:gd name="connsiteX0" fmla="*/ 18038 w 32808"/>
                <a:gd name="connsiteY0" fmla="*/ -324 h 33946"/>
                <a:gd name="connsiteX1" fmla="*/ 33795 w 32808"/>
                <a:gd name="connsiteY1" fmla="*/ 15867 h 33946"/>
                <a:gd name="connsiteX2" fmla="*/ 33721 w 32808"/>
                <a:gd name="connsiteY2" fmla="*/ 17196 h 33946"/>
                <a:gd name="connsiteX3" fmla="*/ 31915 w 32808"/>
                <a:gd name="connsiteY3" fmla="*/ 19012 h 33946"/>
                <a:gd name="connsiteX4" fmla="*/ 31777 w 32808"/>
                <a:gd name="connsiteY4" fmla="*/ 19006 h 33946"/>
                <a:gd name="connsiteX5" fmla="*/ 11568 w 32808"/>
                <a:gd name="connsiteY5" fmla="*/ 19006 h 33946"/>
                <a:gd name="connsiteX6" fmla="*/ 10130 w 32808"/>
                <a:gd name="connsiteY6" fmla="*/ 20950 h 33946"/>
                <a:gd name="connsiteX7" fmla="*/ 18118 w 32808"/>
                <a:gd name="connsiteY7" fmla="*/ 26488 h 33946"/>
                <a:gd name="connsiteX8" fmla="*/ 24455 w 32808"/>
                <a:gd name="connsiteY8" fmla="*/ 23613 h 33946"/>
                <a:gd name="connsiteX9" fmla="*/ 26771 w 32808"/>
                <a:gd name="connsiteY9" fmla="*/ 22148 h 33946"/>
                <a:gd name="connsiteX10" fmla="*/ 31058 w 32808"/>
                <a:gd name="connsiteY10" fmla="*/ 22148 h 33946"/>
                <a:gd name="connsiteX11" fmla="*/ 32815 w 32808"/>
                <a:gd name="connsiteY11" fmla="*/ 24358 h 33946"/>
                <a:gd name="connsiteX12" fmla="*/ 18118 w 32808"/>
                <a:gd name="connsiteY12" fmla="*/ 33571 h 33946"/>
                <a:gd name="connsiteX13" fmla="*/ 994 w 32808"/>
                <a:gd name="connsiteY13" fmla="*/ 17371 h 33946"/>
                <a:gd name="connsiteX14" fmla="*/ 997 w 32808"/>
                <a:gd name="connsiteY14" fmla="*/ 16370 h 33946"/>
                <a:gd name="connsiteX15" fmla="*/ 16866 w 32808"/>
                <a:gd name="connsiteY15" fmla="*/ -340 h 33946"/>
                <a:gd name="connsiteX16" fmla="*/ 18118 w 32808"/>
                <a:gd name="connsiteY16" fmla="*/ -324 h 33946"/>
                <a:gd name="connsiteX17" fmla="*/ 12020 w 32808"/>
                <a:gd name="connsiteY17" fmla="*/ 13362 h 33946"/>
                <a:gd name="connsiteX18" fmla="*/ 23257 w 32808"/>
                <a:gd name="connsiteY18" fmla="*/ 13362 h 33946"/>
                <a:gd name="connsiteX19" fmla="*/ 24774 w 32808"/>
                <a:gd name="connsiteY19" fmla="*/ 11365 h 33946"/>
                <a:gd name="connsiteX20" fmla="*/ 17985 w 32808"/>
                <a:gd name="connsiteY20" fmla="*/ 6705 h 33946"/>
                <a:gd name="connsiteX21" fmla="*/ 10582 w 32808"/>
                <a:gd name="connsiteY21" fmla="*/ 11285 h 33946"/>
                <a:gd name="connsiteX22" fmla="*/ 12020 w 32808"/>
                <a:gd name="connsiteY22" fmla="*/ 13362 h 3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808" h="33946">
                  <a:moveTo>
                    <a:pt x="18038" y="-324"/>
                  </a:moveTo>
                  <a:cubicBezTo>
                    <a:pt x="26859" y="-204"/>
                    <a:pt x="33915" y="7046"/>
                    <a:pt x="33795" y="15867"/>
                  </a:cubicBezTo>
                  <a:cubicBezTo>
                    <a:pt x="33787" y="16312"/>
                    <a:pt x="33763" y="16754"/>
                    <a:pt x="33721" y="17196"/>
                  </a:cubicBezTo>
                  <a:cubicBezTo>
                    <a:pt x="33723" y="18197"/>
                    <a:pt x="32914" y="19009"/>
                    <a:pt x="31915" y="19012"/>
                  </a:cubicBezTo>
                  <a:cubicBezTo>
                    <a:pt x="31870" y="19012"/>
                    <a:pt x="31822" y="19009"/>
                    <a:pt x="31777" y="19006"/>
                  </a:cubicBezTo>
                  <a:lnTo>
                    <a:pt x="11568" y="19006"/>
                  </a:lnTo>
                  <a:cubicBezTo>
                    <a:pt x="10396" y="19006"/>
                    <a:pt x="9624" y="19778"/>
                    <a:pt x="10130" y="20950"/>
                  </a:cubicBezTo>
                  <a:cubicBezTo>
                    <a:pt x="11272" y="24361"/>
                    <a:pt x="14523" y="26616"/>
                    <a:pt x="18118" y="26488"/>
                  </a:cubicBezTo>
                  <a:cubicBezTo>
                    <a:pt x="20589" y="26709"/>
                    <a:pt x="22996" y="25618"/>
                    <a:pt x="24455" y="23613"/>
                  </a:cubicBezTo>
                  <a:cubicBezTo>
                    <a:pt x="24897" y="22734"/>
                    <a:pt x="25789" y="22172"/>
                    <a:pt x="26771" y="22148"/>
                  </a:cubicBezTo>
                  <a:lnTo>
                    <a:pt x="31058" y="22148"/>
                  </a:lnTo>
                  <a:cubicBezTo>
                    <a:pt x="32443" y="22148"/>
                    <a:pt x="33295" y="23027"/>
                    <a:pt x="32815" y="24358"/>
                  </a:cubicBezTo>
                  <a:cubicBezTo>
                    <a:pt x="30403" y="30267"/>
                    <a:pt x="24487" y="33975"/>
                    <a:pt x="18118" y="33571"/>
                  </a:cubicBezTo>
                  <a:cubicBezTo>
                    <a:pt x="8916" y="33826"/>
                    <a:pt x="1250" y="26573"/>
                    <a:pt x="994" y="17371"/>
                  </a:cubicBezTo>
                  <a:cubicBezTo>
                    <a:pt x="986" y="17036"/>
                    <a:pt x="986" y="16703"/>
                    <a:pt x="997" y="16370"/>
                  </a:cubicBezTo>
                  <a:cubicBezTo>
                    <a:pt x="765" y="7373"/>
                    <a:pt x="7869" y="-109"/>
                    <a:pt x="16866" y="-340"/>
                  </a:cubicBezTo>
                  <a:cubicBezTo>
                    <a:pt x="17284" y="-351"/>
                    <a:pt x="17702" y="-346"/>
                    <a:pt x="18118" y="-324"/>
                  </a:cubicBezTo>
                  <a:moveTo>
                    <a:pt x="12020" y="13362"/>
                  </a:moveTo>
                  <a:lnTo>
                    <a:pt x="23257" y="13362"/>
                  </a:lnTo>
                  <a:cubicBezTo>
                    <a:pt x="24508" y="13362"/>
                    <a:pt x="25280" y="12616"/>
                    <a:pt x="24774" y="11365"/>
                  </a:cubicBezTo>
                  <a:cubicBezTo>
                    <a:pt x="23707" y="8545"/>
                    <a:pt x="20999" y="6686"/>
                    <a:pt x="17985" y="6705"/>
                  </a:cubicBezTo>
                  <a:cubicBezTo>
                    <a:pt x="14859" y="6737"/>
                    <a:pt x="12007" y="8502"/>
                    <a:pt x="10582" y="11285"/>
                  </a:cubicBezTo>
                  <a:cubicBezTo>
                    <a:pt x="10023" y="12483"/>
                    <a:pt x="10716" y="13362"/>
                    <a:pt x="12020" y="13362"/>
                  </a:cubicBezTo>
                </a:path>
              </a:pathLst>
            </a:custGeom>
            <a:solidFill>
              <a:srgbClr val="FFFFFF"/>
            </a:solidFill>
            <a:ln w="2661" cap="flat">
              <a:noFill/>
              <a:prstDash val="solid"/>
              <a:miter/>
            </a:ln>
          </p:spPr>
          <p:txBody>
            <a:bodyPr rtlCol="0" anchor="ctr"/>
            <a:lstStyle/>
            <a:p>
              <a:endParaRPr lang="pl-PL"/>
            </a:p>
          </p:txBody>
        </p:sp>
        <p:sp>
          <p:nvSpPr>
            <p:cNvPr id="134" name="Freeform: Shape 133">
              <a:extLst>
                <a:ext uri="{FF2B5EF4-FFF2-40B4-BE49-F238E27FC236}">
                  <a16:creationId xmlns:a16="http://schemas.microsoft.com/office/drawing/2014/main" id="{89F2F546-1727-490A-9C7A-7AC16FB5B620}"/>
                </a:ext>
              </a:extLst>
            </p:cNvPr>
            <p:cNvSpPr/>
            <p:nvPr/>
          </p:nvSpPr>
          <p:spPr>
            <a:xfrm>
              <a:off x="11619475" y="6750860"/>
              <a:ext cx="19631" cy="26558"/>
            </a:xfrm>
            <a:custGeom>
              <a:avLst/>
              <a:gdLst>
                <a:gd name="connsiteX0" fmla="*/ 997 w 34787"/>
                <a:gd name="connsiteY0" fmla="*/ 44632 h 47062"/>
                <a:gd name="connsiteX1" fmla="*/ 997 w 34787"/>
                <a:gd name="connsiteY1" fmla="*/ 2270 h 47062"/>
                <a:gd name="connsiteX2" fmla="*/ 2658 w 34787"/>
                <a:gd name="connsiteY2" fmla="*/ 273 h 47062"/>
                <a:gd name="connsiteX3" fmla="*/ 2994 w 34787"/>
                <a:gd name="connsiteY3" fmla="*/ 273 h 47062"/>
                <a:gd name="connsiteX4" fmla="*/ 5017 w 34787"/>
                <a:gd name="connsiteY4" fmla="*/ 273 h 47062"/>
                <a:gd name="connsiteX5" fmla="*/ 7280 w 34787"/>
                <a:gd name="connsiteY5" fmla="*/ 1897 h 47062"/>
                <a:gd name="connsiteX6" fmla="*/ 9597 w 34787"/>
                <a:gd name="connsiteY6" fmla="*/ 2589 h 47062"/>
                <a:gd name="connsiteX7" fmla="*/ 19209 w 34787"/>
                <a:gd name="connsiteY7" fmla="*/ -339 h 47062"/>
                <a:gd name="connsiteX8" fmla="*/ 35773 w 34787"/>
                <a:gd name="connsiteY8" fmla="*/ 16060 h 47062"/>
                <a:gd name="connsiteX9" fmla="*/ 35770 w 34787"/>
                <a:gd name="connsiteY9" fmla="*/ 16462 h 47062"/>
                <a:gd name="connsiteX10" fmla="*/ 19560 w 34787"/>
                <a:gd name="connsiteY10" fmla="*/ 33524 h 47062"/>
                <a:gd name="connsiteX11" fmla="*/ 19076 w 34787"/>
                <a:gd name="connsiteY11" fmla="*/ 33529 h 47062"/>
                <a:gd name="connsiteX12" fmla="*/ 11088 w 34787"/>
                <a:gd name="connsiteY12" fmla="*/ 31585 h 47062"/>
                <a:gd name="connsiteX13" fmla="*/ 9011 w 34787"/>
                <a:gd name="connsiteY13" fmla="*/ 32597 h 47062"/>
                <a:gd name="connsiteX14" fmla="*/ 9011 w 34787"/>
                <a:gd name="connsiteY14" fmla="*/ 44712 h 47062"/>
                <a:gd name="connsiteX15" fmla="*/ 7350 w 34787"/>
                <a:gd name="connsiteY15" fmla="*/ 46709 h 47062"/>
                <a:gd name="connsiteX16" fmla="*/ 7014 w 34787"/>
                <a:gd name="connsiteY16" fmla="*/ 46709 h 47062"/>
                <a:gd name="connsiteX17" fmla="*/ 3100 w 34787"/>
                <a:gd name="connsiteY17" fmla="*/ 46709 h 47062"/>
                <a:gd name="connsiteX18" fmla="*/ 1103 w 34787"/>
                <a:gd name="connsiteY18" fmla="*/ 45048 h 47062"/>
                <a:gd name="connsiteX19" fmla="*/ 1103 w 34787"/>
                <a:gd name="connsiteY19" fmla="*/ 44712 h 47062"/>
                <a:gd name="connsiteX20" fmla="*/ 10342 w 34787"/>
                <a:gd name="connsiteY20" fmla="*/ 22106 h 47062"/>
                <a:gd name="connsiteX21" fmla="*/ 18330 w 34787"/>
                <a:gd name="connsiteY21" fmla="*/ 26127 h 47062"/>
                <a:gd name="connsiteX22" fmla="*/ 27042 w 34787"/>
                <a:gd name="connsiteY22" fmla="*/ 16539 h 47062"/>
                <a:gd name="connsiteX23" fmla="*/ 27037 w 34787"/>
                <a:gd name="connsiteY23" fmla="*/ 16462 h 47062"/>
                <a:gd name="connsiteX24" fmla="*/ 18330 w 34787"/>
                <a:gd name="connsiteY24" fmla="*/ 7063 h 47062"/>
                <a:gd name="connsiteX25" fmla="*/ 10342 w 34787"/>
                <a:gd name="connsiteY25" fmla="*/ 11057 h 47062"/>
                <a:gd name="connsiteX26" fmla="*/ 9757 w 34787"/>
                <a:gd name="connsiteY26" fmla="*/ 13213 h 47062"/>
                <a:gd name="connsiteX27" fmla="*/ 9757 w 34787"/>
                <a:gd name="connsiteY27" fmla="*/ 19976 h 47062"/>
                <a:gd name="connsiteX28" fmla="*/ 10342 w 34787"/>
                <a:gd name="connsiteY28" fmla="*/ 22106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787" h="47062">
                  <a:moveTo>
                    <a:pt x="997" y="44632"/>
                  </a:moveTo>
                  <a:lnTo>
                    <a:pt x="997" y="2270"/>
                  </a:lnTo>
                  <a:cubicBezTo>
                    <a:pt x="903" y="1261"/>
                    <a:pt x="1649" y="366"/>
                    <a:pt x="2658" y="273"/>
                  </a:cubicBezTo>
                  <a:cubicBezTo>
                    <a:pt x="2770" y="262"/>
                    <a:pt x="2882" y="262"/>
                    <a:pt x="2994" y="273"/>
                  </a:cubicBezTo>
                  <a:lnTo>
                    <a:pt x="5017" y="273"/>
                  </a:lnTo>
                  <a:cubicBezTo>
                    <a:pt x="6064" y="201"/>
                    <a:pt x="7014" y="883"/>
                    <a:pt x="7280" y="1897"/>
                  </a:cubicBezTo>
                  <a:cubicBezTo>
                    <a:pt x="7600" y="3228"/>
                    <a:pt x="8532" y="3415"/>
                    <a:pt x="9597" y="2589"/>
                  </a:cubicBezTo>
                  <a:cubicBezTo>
                    <a:pt x="12395" y="592"/>
                    <a:pt x="15771" y="-435"/>
                    <a:pt x="19209" y="-339"/>
                  </a:cubicBezTo>
                  <a:cubicBezTo>
                    <a:pt x="28312" y="-385"/>
                    <a:pt x="35728" y="6956"/>
                    <a:pt x="35773" y="16060"/>
                  </a:cubicBezTo>
                  <a:cubicBezTo>
                    <a:pt x="35773" y="16193"/>
                    <a:pt x="35773" y="16329"/>
                    <a:pt x="35770" y="16462"/>
                  </a:cubicBezTo>
                  <a:cubicBezTo>
                    <a:pt x="36005" y="25650"/>
                    <a:pt x="28749" y="33289"/>
                    <a:pt x="19560" y="33524"/>
                  </a:cubicBezTo>
                  <a:cubicBezTo>
                    <a:pt x="19398" y="33529"/>
                    <a:pt x="19238" y="33529"/>
                    <a:pt x="19076" y="33529"/>
                  </a:cubicBezTo>
                  <a:cubicBezTo>
                    <a:pt x="16291" y="33582"/>
                    <a:pt x="13538" y="32914"/>
                    <a:pt x="11088" y="31585"/>
                  </a:cubicBezTo>
                  <a:cubicBezTo>
                    <a:pt x="9836" y="30840"/>
                    <a:pt x="9011" y="31213"/>
                    <a:pt x="9011" y="32597"/>
                  </a:cubicBezTo>
                  <a:lnTo>
                    <a:pt x="9011" y="44712"/>
                  </a:lnTo>
                  <a:cubicBezTo>
                    <a:pt x="9104" y="45721"/>
                    <a:pt x="8359" y="46616"/>
                    <a:pt x="7350" y="46709"/>
                  </a:cubicBezTo>
                  <a:cubicBezTo>
                    <a:pt x="7238" y="46720"/>
                    <a:pt x="7126" y="46720"/>
                    <a:pt x="7014" y="46709"/>
                  </a:cubicBezTo>
                  <a:lnTo>
                    <a:pt x="3100" y="46709"/>
                  </a:lnTo>
                  <a:cubicBezTo>
                    <a:pt x="2088" y="46802"/>
                    <a:pt x="1196" y="46057"/>
                    <a:pt x="1103" y="45048"/>
                  </a:cubicBezTo>
                  <a:cubicBezTo>
                    <a:pt x="1092" y="44936"/>
                    <a:pt x="1092" y="44824"/>
                    <a:pt x="1103" y="44712"/>
                  </a:cubicBezTo>
                  <a:moveTo>
                    <a:pt x="10342" y="22106"/>
                  </a:moveTo>
                  <a:cubicBezTo>
                    <a:pt x="12145" y="24721"/>
                    <a:pt x="15156" y="26236"/>
                    <a:pt x="18330" y="26127"/>
                  </a:cubicBezTo>
                  <a:cubicBezTo>
                    <a:pt x="23384" y="25885"/>
                    <a:pt x="27282" y="21592"/>
                    <a:pt x="27042" y="16539"/>
                  </a:cubicBezTo>
                  <a:cubicBezTo>
                    <a:pt x="27040" y="16515"/>
                    <a:pt x="27040" y="16488"/>
                    <a:pt x="27037" y="16462"/>
                  </a:cubicBezTo>
                  <a:cubicBezTo>
                    <a:pt x="27202" y="11472"/>
                    <a:pt x="23317" y="7278"/>
                    <a:pt x="18330" y="7063"/>
                  </a:cubicBezTo>
                  <a:cubicBezTo>
                    <a:pt x="15164" y="6964"/>
                    <a:pt x="12161" y="8466"/>
                    <a:pt x="10342" y="11057"/>
                  </a:cubicBezTo>
                  <a:cubicBezTo>
                    <a:pt x="9919" y="11693"/>
                    <a:pt x="9711" y="12449"/>
                    <a:pt x="9757" y="13213"/>
                  </a:cubicBezTo>
                  <a:lnTo>
                    <a:pt x="9757" y="19976"/>
                  </a:lnTo>
                  <a:cubicBezTo>
                    <a:pt x="9730" y="20730"/>
                    <a:pt x="9935" y="21473"/>
                    <a:pt x="10342" y="22106"/>
                  </a:cubicBezTo>
                </a:path>
              </a:pathLst>
            </a:custGeom>
            <a:solidFill>
              <a:srgbClr val="FFFFFF"/>
            </a:solidFill>
            <a:ln w="2661" cap="flat">
              <a:noFill/>
              <a:prstDash val="solid"/>
              <a:miter/>
            </a:ln>
          </p:spPr>
          <p:txBody>
            <a:bodyPr rtlCol="0" anchor="ctr"/>
            <a:lstStyle/>
            <a:p>
              <a:endParaRPr lang="pl-PL"/>
            </a:p>
          </p:txBody>
        </p:sp>
        <p:sp>
          <p:nvSpPr>
            <p:cNvPr id="135" name="Freeform: Shape 134">
              <a:extLst>
                <a:ext uri="{FF2B5EF4-FFF2-40B4-BE49-F238E27FC236}">
                  <a16:creationId xmlns:a16="http://schemas.microsoft.com/office/drawing/2014/main" id="{7A81125D-888C-4A98-AB1E-A2AD8A76875F}"/>
                </a:ext>
              </a:extLst>
            </p:cNvPr>
            <p:cNvSpPr/>
            <p:nvPr/>
          </p:nvSpPr>
          <p:spPr>
            <a:xfrm>
              <a:off x="11641544" y="6750833"/>
              <a:ext cx="16868" cy="19128"/>
            </a:xfrm>
            <a:custGeom>
              <a:avLst/>
              <a:gdLst>
                <a:gd name="connsiteX0" fmla="*/ 16181 w 29890"/>
                <a:gd name="connsiteY0" fmla="*/ -346 h 33895"/>
                <a:gd name="connsiteX1" fmla="*/ 30186 w 29890"/>
                <a:gd name="connsiteY1" fmla="*/ 9400 h 33895"/>
                <a:gd name="connsiteX2" fmla="*/ 28296 w 29890"/>
                <a:gd name="connsiteY2" fmla="*/ 11476 h 33895"/>
                <a:gd name="connsiteX3" fmla="*/ 24275 w 29890"/>
                <a:gd name="connsiteY3" fmla="*/ 11476 h 33895"/>
                <a:gd name="connsiteX4" fmla="*/ 22092 w 29890"/>
                <a:gd name="connsiteY4" fmla="*/ 9719 h 33895"/>
                <a:gd name="connsiteX5" fmla="*/ 16048 w 29890"/>
                <a:gd name="connsiteY5" fmla="*/ 6444 h 33895"/>
                <a:gd name="connsiteX6" fmla="*/ 10723 w 29890"/>
                <a:gd name="connsiteY6" fmla="*/ 9266 h 33895"/>
                <a:gd name="connsiteX7" fmla="*/ 30879 w 29890"/>
                <a:gd name="connsiteY7" fmla="*/ 23591 h 33895"/>
                <a:gd name="connsiteX8" fmla="*/ 16687 w 29890"/>
                <a:gd name="connsiteY8" fmla="*/ 33550 h 33895"/>
                <a:gd name="connsiteX9" fmla="*/ 1057 w 29890"/>
                <a:gd name="connsiteY9" fmla="*/ 23511 h 33895"/>
                <a:gd name="connsiteX10" fmla="*/ 2895 w 29890"/>
                <a:gd name="connsiteY10" fmla="*/ 21381 h 33895"/>
                <a:gd name="connsiteX11" fmla="*/ 7155 w 29890"/>
                <a:gd name="connsiteY11" fmla="*/ 21381 h 33895"/>
                <a:gd name="connsiteX12" fmla="*/ 9338 w 29890"/>
                <a:gd name="connsiteY12" fmla="*/ 23006 h 33895"/>
                <a:gd name="connsiteX13" fmla="*/ 16873 w 29890"/>
                <a:gd name="connsiteY13" fmla="*/ 26786 h 33895"/>
                <a:gd name="connsiteX14" fmla="*/ 22411 w 29890"/>
                <a:gd name="connsiteY14" fmla="*/ 23645 h 33895"/>
                <a:gd name="connsiteX15" fmla="*/ 2256 w 29890"/>
                <a:gd name="connsiteY15" fmla="*/ 9453 h 33895"/>
                <a:gd name="connsiteX16" fmla="*/ 16128 w 29890"/>
                <a:gd name="connsiteY16" fmla="*/ -346 h 3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890" h="33895">
                  <a:moveTo>
                    <a:pt x="16181" y="-346"/>
                  </a:moveTo>
                  <a:cubicBezTo>
                    <a:pt x="24169" y="-346"/>
                    <a:pt x="28855" y="3622"/>
                    <a:pt x="30186" y="9400"/>
                  </a:cubicBezTo>
                  <a:cubicBezTo>
                    <a:pt x="30479" y="10704"/>
                    <a:pt x="29681" y="11476"/>
                    <a:pt x="28296" y="11476"/>
                  </a:cubicBezTo>
                  <a:lnTo>
                    <a:pt x="24275" y="11476"/>
                  </a:lnTo>
                  <a:cubicBezTo>
                    <a:pt x="23077" y="11476"/>
                    <a:pt x="22518" y="10837"/>
                    <a:pt x="22092" y="9719"/>
                  </a:cubicBezTo>
                  <a:cubicBezTo>
                    <a:pt x="21320" y="7642"/>
                    <a:pt x="19429" y="6444"/>
                    <a:pt x="16048" y="6444"/>
                  </a:cubicBezTo>
                  <a:cubicBezTo>
                    <a:pt x="12666" y="6444"/>
                    <a:pt x="10723" y="7562"/>
                    <a:pt x="10723" y="9266"/>
                  </a:cubicBezTo>
                  <a:cubicBezTo>
                    <a:pt x="10723" y="15364"/>
                    <a:pt x="30879" y="10971"/>
                    <a:pt x="30879" y="23591"/>
                  </a:cubicBezTo>
                  <a:cubicBezTo>
                    <a:pt x="30879" y="29982"/>
                    <a:pt x="25048" y="33550"/>
                    <a:pt x="16687" y="33550"/>
                  </a:cubicBezTo>
                  <a:cubicBezTo>
                    <a:pt x="8326" y="33550"/>
                    <a:pt x="2389" y="29928"/>
                    <a:pt x="1057" y="23511"/>
                  </a:cubicBezTo>
                  <a:cubicBezTo>
                    <a:pt x="738" y="22127"/>
                    <a:pt x="1563" y="21381"/>
                    <a:pt x="2895" y="21381"/>
                  </a:cubicBezTo>
                  <a:lnTo>
                    <a:pt x="7155" y="21381"/>
                  </a:lnTo>
                  <a:cubicBezTo>
                    <a:pt x="8172" y="21347"/>
                    <a:pt x="9077" y="22020"/>
                    <a:pt x="9338" y="23006"/>
                  </a:cubicBezTo>
                  <a:cubicBezTo>
                    <a:pt x="10858" y="25668"/>
                    <a:pt x="13830" y="27159"/>
                    <a:pt x="16873" y="26786"/>
                  </a:cubicBezTo>
                  <a:cubicBezTo>
                    <a:pt x="20281" y="26786"/>
                    <a:pt x="22411" y="25721"/>
                    <a:pt x="22411" y="23645"/>
                  </a:cubicBezTo>
                  <a:cubicBezTo>
                    <a:pt x="22411" y="17494"/>
                    <a:pt x="2256" y="22127"/>
                    <a:pt x="2256" y="9453"/>
                  </a:cubicBezTo>
                  <a:cubicBezTo>
                    <a:pt x="2256" y="3808"/>
                    <a:pt x="7101" y="-346"/>
                    <a:pt x="16128" y="-346"/>
                  </a:cubicBezTo>
                </a:path>
              </a:pathLst>
            </a:custGeom>
            <a:solidFill>
              <a:srgbClr val="FFFFFF"/>
            </a:solidFill>
            <a:ln w="2661" cap="flat">
              <a:noFill/>
              <a:prstDash val="solid"/>
              <a:miter/>
            </a:ln>
          </p:spPr>
          <p:txBody>
            <a:bodyPr rtlCol="0" anchor="ctr"/>
            <a:lstStyle/>
            <a:p>
              <a:endParaRPr lang="pl-PL"/>
            </a:p>
          </p:txBody>
        </p:sp>
        <p:sp>
          <p:nvSpPr>
            <p:cNvPr id="136" name="Freeform: Shape 135">
              <a:extLst>
                <a:ext uri="{FF2B5EF4-FFF2-40B4-BE49-F238E27FC236}">
                  <a16:creationId xmlns:a16="http://schemas.microsoft.com/office/drawing/2014/main" id="{A248CE41-5B7A-458F-B901-ED0A0AED3BB0}"/>
                </a:ext>
              </a:extLst>
            </p:cNvPr>
            <p:cNvSpPr/>
            <p:nvPr/>
          </p:nvSpPr>
          <p:spPr>
            <a:xfrm>
              <a:off x="11661657" y="6742209"/>
              <a:ext cx="6551" cy="27381"/>
            </a:xfrm>
            <a:custGeom>
              <a:avLst/>
              <a:gdLst>
                <a:gd name="connsiteX0" fmla="*/ 989 w 11609"/>
                <a:gd name="connsiteY0" fmla="*/ 5352 h 48520"/>
                <a:gd name="connsiteX1" fmla="*/ 6687 w 11609"/>
                <a:gd name="connsiteY1" fmla="*/ -346 h 48520"/>
                <a:gd name="connsiteX2" fmla="*/ 6767 w 11609"/>
                <a:gd name="connsiteY2" fmla="*/ -346 h 48520"/>
                <a:gd name="connsiteX3" fmla="*/ 12598 w 11609"/>
                <a:gd name="connsiteY3" fmla="*/ 5352 h 48520"/>
                <a:gd name="connsiteX4" fmla="*/ 6767 w 11609"/>
                <a:gd name="connsiteY4" fmla="*/ 11263 h 48520"/>
                <a:gd name="connsiteX5" fmla="*/ 989 w 11609"/>
                <a:gd name="connsiteY5" fmla="*/ 5432 h 48520"/>
                <a:gd name="connsiteX6" fmla="*/ 989 w 11609"/>
                <a:gd name="connsiteY6" fmla="*/ 5352 h 48520"/>
                <a:gd name="connsiteX7" fmla="*/ 10734 w 11609"/>
                <a:gd name="connsiteY7" fmla="*/ 17521 h 48520"/>
                <a:gd name="connsiteX8" fmla="*/ 10734 w 11609"/>
                <a:gd name="connsiteY8" fmla="*/ 46144 h 48520"/>
                <a:gd name="connsiteX9" fmla="*/ 9046 w 11609"/>
                <a:gd name="connsiteY9" fmla="*/ 48167 h 48520"/>
                <a:gd name="connsiteX10" fmla="*/ 8710 w 11609"/>
                <a:gd name="connsiteY10" fmla="*/ 48167 h 48520"/>
                <a:gd name="connsiteX11" fmla="*/ 3998 w 11609"/>
                <a:gd name="connsiteY11" fmla="*/ 48167 h 48520"/>
                <a:gd name="connsiteX12" fmla="*/ 1998 w 11609"/>
                <a:gd name="connsiteY12" fmla="*/ 46450 h 48520"/>
                <a:gd name="connsiteX13" fmla="*/ 2001 w 11609"/>
                <a:gd name="connsiteY13" fmla="*/ 46144 h 48520"/>
                <a:gd name="connsiteX14" fmla="*/ 2001 w 11609"/>
                <a:gd name="connsiteY14" fmla="*/ 17600 h 48520"/>
                <a:gd name="connsiteX15" fmla="*/ 3662 w 11609"/>
                <a:gd name="connsiteY15" fmla="*/ 15603 h 48520"/>
                <a:gd name="connsiteX16" fmla="*/ 3998 w 11609"/>
                <a:gd name="connsiteY16" fmla="*/ 15603 h 48520"/>
                <a:gd name="connsiteX17" fmla="*/ 8710 w 11609"/>
                <a:gd name="connsiteY17" fmla="*/ 15603 h 48520"/>
                <a:gd name="connsiteX18" fmla="*/ 10731 w 11609"/>
                <a:gd name="connsiteY18" fmla="*/ 17294 h 48520"/>
                <a:gd name="connsiteX19" fmla="*/ 10734 w 11609"/>
                <a:gd name="connsiteY19" fmla="*/ 17600 h 48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09" h="48520">
                  <a:moveTo>
                    <a:pt x="989" y="5352"/>
                  </a:moveTo>
                  <a:cubicBezTo>
                    <a:pt x="989" y="2205"/>
                    <a:pt x="3540" y="-346"/>
                    <a:pt x="6687" y="-346"/>
                  </a:cubicBezTo>
                  <a:cubicBezTo>
                    <a:pt x="6713" y="-346"/>
                    <a:pt x="6740" y="-346"/>
                    <a:pt x="6767" y="-346"/>
                  </a:cubicBezTo>
                  <a:cubicBezTo>
                    <a:pt x="9935" y="-346"/>
                    <a:pt x="12526" y="2184"/>
                    <a:pt x="12598" y="5352"/>
                  </a:cubicBezTo>
                  <a:cubicBezTo>
                    <a:pt x="12598" y="8585"/>
                    <a:pt x="9999" y="11221"/>
                    <a:pt x="6767" y="11263"/>
                  </a:cubicBezTo>
                  <a:cubicBezTo>
                    <a:pt x="3561" y="11250"/>
                    <a:pt x="973" y="8638"/>
                    <a:pt x="989" y="5432"/>
                  </a:cubicBezTo>
                  <a:cubicBezTo>
                    <a:pt x="989" y="5406"/>
                    <a:pt x="989" y="5379"/>
                    <a:pt x="989" y="5352"/>
                  </a:cubicBezTo>
                  <a:moveTo>
                    <a:pt x="10734" y="17521"/>
                  </a:moveTo>
                  <a:lnTo>
                    <a:pt x="10734" y="46144"/>
                  </a:lnTo>
                  <a:cubicBezTo>
                    <a:pt x="10827" y="47169"/>
                    <a:pt x="10071" y="48074"/>
                    <a:pt x="9046" y="48167"/>
                  </a:cubicBezTo>
                  <a:cubicBezTo>
                    <a:pt x="8934" y="48178"/>
                    <a:pt x="8822" y="48178"/>
                    <a:pt x="8710" y="48167"/>
                  </a:cubicBezTo>
                  <a:lnTo>
                    <a:pt x="3998" y="48167"/>
                  </a:lnTo>
                  <a:cubicBezTo>
                    <a:pt x="2972" y="48244"/>
                    <a:pt x="2075" y="47475"/>
                    <a:pt x="1998" y="46450"/>
                  </a:cubicBezTo>
                  <a:cubicBezTo>
                    <a:pt x="1990" y="46349"/>
                    <a:pt x="1993" y="46245"/>
                    <a:pt x="2001" y="46144"/>
                  </a:cubicBezTo>
                  <a:lnTo>
                    <a:pt x="2001" y="17600"/>
                  </a:lnTo>
                  <a:cubicBezTo>
                    <a:pt x="1907" y="16591"/>
                    <a:pt x="2653" y="15697"/>
                    <a:pt x="3662" y="15603"/>
                  </a:cubicBezTo>
                  <a:cubicBezTo>
                    <a:pt x="3774" y="15593"/>
                    <a:pt x="3886" y="15593"/>
                    <a:pt x="3998" y="15603"/>
                  </a:cubicBezTo>
                  <a:lnTo>
                    <a:pt x="8710" y="15603"/>
                  </a:lnTo>
                  <a:cubicBezTo>
                    <a:pt x="9735" y="15513"/>
                    <a:pt x="10641" y="16269"/>
                    <a:pt x="10731" y="17294"/>
                  </a:cubicBezTo>
                  <a:cubicBezTo>
                    <a:pt x="10742" y="17395"/>
                    <a:pt x="10742" y="17499"/>
                    <a:pt x="10734" y="17600"/>
                  </a:cubicBezTo>
                </a:path>
              </a:pathLst>
            </a:custGeom>
            <a:solidFill>
              <a:srgbClr val="FFFFFF"/>
            </a:solidFill>
            <a:ln w="2661" cap="flat">
              <a:noFill/>
              <a:prstDash val="solid"/>
              <a:miter/>
            </a:ln>
          </p:spPr>
          <p:txBody>
            <a:bodyPr rtlCol="0" anchor="ctr"/>
            <a:lstStyle/>
            <a:p>
              <a:endParaRPr lang="pl-PL"/>
            </a:p>
          </p:txBody>
        </p:sp>
        <p:sp>
          <p:nvSpPr>
            <p:cNvPr id="137" name="Freeform: Shape 136">
              <a:extLst>
                <a:ext uri="{FF2B5EF4-FFF2-40B4-BE49-F238E27FC236}">
                  <a16:creationId xmlns:a16="http://schemas.microsoft.com/office/drawing/2014/main" id="{65A3B9B9-C486-4059-A2AE-424C6AA12FD2}"/>
                </a:ext>
              </a:extLst>
            </p:cNvPr>
            <p:cNvSpPr/>
            <p:nvPr/>
          </p:nvSpPr>
          <p:spPr>
            <a:xfrm>
              <a:off x="11670912" y="6750850"/>
              <a:ext cx="18928" cy="19154"/>
            </a:xfrm>
            <a:custGeom>
              <a:avLst/>
              <a:gdLst>
                <a:gd name="connsiteX0" fmla="*/ 25781 w 33540"/>
                <a:gd name="connsiteY0" fmla="*/ 11128 h 33942"/>
                <a:gd name="connsiteX1" fmla="*/ 18672 w 33540"/>
                <a:gd name="connsiteY1" fmla="*/ 7001 h 33942"/>
                <a:gd name="connsiteX2" fmla="*/ 9850 w 33540"/>
                <a:gd name="connsiteY2" fmla="*/ 15699 h 33942"/>
                <a:gd name="connsiteX3" fmla="*/ 9885 w 33540"/>
                <a:gd name="connsiteY3" fmla="*/ 16533 h 33942"/>
                <a:gd name="connsiteX4" fmla="*/ 17838 w 33540"/>
                <a:gd name="connsiteY4" fmla="*/ 26030 h 33942"/>
                <a:gd name="connsiteX5" fmla="*/ 18618 w 33540"/>
                <a:gd name="connsiteY5" fmla="*/ 26065 h 33942"/>
                <a:gd name="connsiteX6" fmla="*/ 25514 w 33540"/>
                <a:gd name="connsiteY6" fmla="*/ 22364 h 33942"/>
                <a:gd name="connsiteX7" fmla="*/ 27778 w 33540"/>
                <a:gd name="connsiteY7" fmla="*/ 20793 h 33942"/>
                <a:gd name="connsiteX8" fmla="*/ 32411 w 33540"/>
                <a:gd name="connsiteY8" fmla="*/ 20793 h 33942"/>
                <a:gd name="connsiteX9" fmla="*/ 34301 w 33540"/>
                <a:gd name="connsiteY9" fmla="*/ 22923 h 33942"/>
                <a:gd name="connsiteX10" fmla="*/ 18805 w 33540"/>
                <a:gd name="connsiteY10" fmla="*/ 33573 h 33942"/>
                <a:gd name="connsiteX11" fmla="*/ 1013 w 33540"/>
                <a:gd name="connsiteY11" fmla="*/ 17545 h 33942"/>
                <a:gd name="connsiteX12" fmla="*/ 992 w 33540"/>
                <a:gd name="connsiteY12" fmla="*/ 16373 h 33942"/>
                <a:gd name="connsiteX13" fmla="*/ 17503 w 33540"/>
                <a:gd name="connsiteY13" fmla="*/ -346 h 33942"/>
                <a:gd name="connsiteX14" fmla="*/ 18485 w 33540"/>
                <a:gd name="connsiteY14" fmla="*/ -322 h 33942"/>
                <a:gd name="connsiteX15" fmla="*/ 34461 w 33540"/>
                <a:gd name="connsiteY15" fmla="*/ 10728 h 33942"/>
                <a:gd name="connsiteX16" fmla="*/ 33324 w 33540"/>
                <a:gd name="connsiteY16" fmla="*/ 12810 h 33942"/>
                <a:gd name="connsiteX17" fmla="*/ 32597 w 33540"/>
                <a:gd name="connsiteY17" fmla="*/ 12858 h 33942"/>
                <a:gd name="connsiteX18" fmla="*/ 28124 w 33540"/>
                <a:gd name="connsiteY18" fmla="*/ 12858 h 33942"/>
                <a:gd name="connsiteX19" fmla="*/ 25887 w 33540"/>
                <a:gd name="connsiteY19" fmla="*/ 11234 h 33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3540" h="33942">
                  <a:moveTo>
                    <a:pt x="25781" y="11128"/>
                  </a:moveTo>
                  <a:cubicBezTo>
                    <a:pt x="24463" y="8441"/>
                    <a:pt x="21656" y="6814"/>
                    <a:pt x="18672" y="7001"/>
                  </a:cubicBezTo>
                  <a:cubicBezTo>
                    <a:pt x="13834" y="6966"/>
                    <a:pt x="9885" y="10861"/>
                    <a:pt x="9850" y="15699"/>
                  </a:cubicBezTo>
                  <a:cubicBezTo>
                    <a:pt x="9850" y="15979"/>
                    <a:pt x="9861" y="16256"/>
                    <a:pt x="9885" y="16533"/>
                  </a:cubicBezTo>
                  <a:cubicBezTo>
                    <a:pt x="9459" y="21352"/>
                    <a:pt x="13019" y="25604"/>
                    <a:pt x="17838" y="26030"/>
                  </a:cubicBezTo>
                  <a:cubicBezTo>
                    <a:pt x="18099" y="26054"/>
                    <a:pt x="18357" y="26065"/>
                    <a:pt x="18618" y="26065"/>
                  </a:cubicBezTo>
                  <a:cubicBezTo>
                    <a:pt x="21441" y="26281"/>
                    <a:pt x="24133" y="24835"/>
                    <a:pt x="25514" y="22364"/>
                  </a:cubicBezTo>
                  <a:cubicBezTo>
                    <a:pt x="25869" y="21421"/>
                    <a:pt x="26771" y="20796"/>
                    <a:pt x="27778" y="20793"/>
                  </a:cubicBezTo>
                  <a:lnTo>
                    <a:pt x="32411" y="20793"/>
                  </a:lnTo>
                  <a:cubicBezTo>
                    <a:pt x="33742" y="20793"/>
                    <a:pt x="34621" y="21618"/>
                    <a:pt x="34301" y="22923"/>
                  </a:cubicBezTo>
                  <a:cubicBezTo>
                    <a:pt x="32810" y="29340"/>
                    <a:pt x="26313" y="33573"/>
                    <a:pt x="18805" y="33573"/>
                  </a:cubicBezTo>
                  <a:cubicBezTo>
                    <a:pt x="9464" y="34061"/>
                    <a:pt x="1498" y="26882"/>
                    <a:pt x="1013" y="17545"/>
                  </a:cubicBezTo>
                  <a:cubicBezTo>
                    <a:pt x="992" y="17153"/>
                    <a:pt x="984" y="16764"/>
                    <a:pt x="992" y="16373"/>
                  </a:cubicBezTo>
                  <a:cubicBezTo>
                    <a:pt x="936" y="7198"/>
                    <a:pt x="8327" y="-287"/>
                    <a:pt x="17503" y="-346"/>
                  </a:cubicBezTo>
                  <a:cubicBezTo>
                    <a:pt x="17830" y="-346"/>
                    <a:pt x="18158" y="-340"/>
                    <a:pt x="18485" y="-322"/>
                  </a:cubicBezTo>
                  <a:cubicBezTo>
                    <a:pt x="27724" y="-322"/>
                    <a:pt x="32996" y="4578"/>
                    <a:pt x="34461" y="10728"/>
                  </a:cubicBezTo>
                  <a:cubicBezTo>
                    <a:pt x="34722" y="11618"/>
                    <a:pt x="34213" y="12549"/>
                    <a:pt x="33324" y="12810"/>
                  </a:cubicBezTo>
                  <a:cubicBezTo>
                    <a:pt x="33087" y="12880"/>
                    <a:pt x="32839" y="12896"/>
                    <a:pt x="32597" y="12858"/>
                  </a:cubicBezTo>
                  <a:lnTo>
                    <a:pt x="28124" y="12858"/>
                  </a:lnTo>
                  <a:cubicBezTo>
                    <a:pt x="27006" y="12858"/>
                    <a:pt x="26446" y="12299"/>
                    <a:pt x="25887" y="11234"/>
                  </a:cubicBezTo>
                </a:path>
              </a:pathLst>
            </a:custGeom>
            <a:solidFill>
              <a:srgbClr val="FFFFFF"/>
            </a:solidFill>
            <a:ln w="2661" cap="flat">
              <a:noFill/>
              <a:prstDash val="solid"/>
              <a:miter/>
            </a:ln>
          </p:spPr>
          <p:txBody>
            <a:bodyPr rtlCol="0" anchor="ctr"/>
            <a:lstStyle/>
            <a:p>
              <a:endParaRPr lang="pl-PL"/>
            </a:p>
          </p:txBody>
        </p:sp>
        <p:sp>
          <p:nvSpPr>
            <p:cNvPr id="138" name="Freeform: Shape 137">
              <a:extLst>
                <a:ext uri="{FF2B5EF4-FFF2-40B4-BE49-F238E27FC236}">
                  <a16:creationId xmlns:a16="http://schemas.microsoft.com/office/drawing/2014/main" id="{8ABB6A96-365A-46E0-958E-BCC7C12B11AF}"/>
                </a:ext>
              </a:extLst>
            </p:cNvPr>
            <p:cNvSpPr/>
            <p:nvPr/>
          </p:nvSpPr>
          <p:spPr>
            <a:xfrm>
              <a:off x="11692340" y="6750833"/>
              <a:ext cx="20150" cy="19139"/>
            </a:xfrm>
            <a:custGeom>
              <a:avLst/>
              <a:gdLst>
                <a:gd name="connsiteX0" fmla="*/ 18856 w 35707"/>
                <a:gd name="connsiteY0" fmla="*/ -346 h 33914"/>
                <a:gd name="connsiteX1" fmla="*/ 36695 w 35707"/>
                <a:gd name="connsiteY1" fmla="*/ 16349 h 33914"/>
                <a:gd name="connsiteX2" fmla="*/ 19833 w 35707"/>
                <a:gd name="connsiteY2" fmla="*/ 33568 h 33914"/>
                <a:gd name="connsiteX3" fmla="*/ 18856 w 35707"/>
                <a:gd name="connsiteY3" fmla="*/ 33550 h 33914"/>
                <a:gd name="connsiteX4" fmla="*/ 1008 w 35707"/>
                <a:gd name="connsiteY4" fmla="*/ 17300 h 33914"/>
                <a:gd name="connsiteX5" fmla="*/ 989 w 35707"/>
                <a:gd name="connsiteY5" fmla="*/ 16349 h 33914"/>
                <a:gd name="connsiteX6" fmla="*/ 18856 w 35707"/>
                <a:gd name="connsiteY6" fmla="*/ -346 h 33914"/>
                <a:gd name="connsiteX7" fmla="*/ 18856 w 35707"/>
                <a:gd name="connsiteY7" fmla="*/ 26147 h 33914"/>
                <a:gd name="connsiteX8" fmla="*/ 28028 w 35707"/>
                <a:gd name="connsiteY8" fmla="*/ 17214 h 33914"/>
                <a:gd name="connsiteX9" fmla="*/ 28015 w 35707"/>
                <a:gd name="connsiteY9" fmla="*/ 16615 h 33914"/>
                <a:gd name="connsiteX10" fmla="*/ 19455 w 35707"/>
                <a:gd name="connsiteY10" fmla="*/ 7096 h 33914"/>
                <a:gd name="connsiteX11" fmla="*/ 18856 w 35707"/>
                <a:gd name="connsiteY11" fmla="*/ 7083 h 33914"/>
                <a:gd name="connsiteX12" fmla="*/ 9683 w 35707"/>
                <a:gd name="connsiteY12" fmla="*/ 15960 h 33914"/>
                <a:gd name="connsiteX13" fmla="*/ 9696 w 35707"/>
                <a:gd name="connsiteY13" fmla="*/ 16615 h 33914"/>
                <a:gd name="connsiteX14" fmla="*/ 18200 w 35707"/>
                <a:gd name="connsiteY14" fmla="*/ 26134 h 33914"/>
                <a:gd name="connsiteX15" fmla="*/ 18856 w 35707"/>
                <a:gd name="connsiteY15" fmla="*/ 26147 h 33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07" h="33914">
                  <a:moveTo>
                    <a:pt x="18856" y="-346"/>
                  </a:moveTo>
                  <a:cubicBezTo>
                    <a:pt x="29346" y="-346"/>
                    <a:pt x="36695" y="7003"/>
                    <a:pt x="36695" y="16349"/>
                  </a:cubicBezTo>
                  <a:cubicBezTo>
                    <a:pt x="36794" y="25759"/>
                    <a:pt x="29245" y="33470"/>
                    <a:pt x="19833" y="33568"/>
                  </a:cubicBezTo>
                  <a:cubicBezTo>
                    <a:pt x="19508" y="33571"/>
                    <a:pt x="19180" y="33565"/>
                    <a:pt x="18856" y="33550"/>
                  </a:cubicBezTo>
                  <a:cubicBezTo>
                    <a:pt x="9440" y="33991"/>
                    <a:pt x="1450" y="26717"/>
                    <a:pt x="1008" y="17300"/>
                  </a:cubicBezTo>
                  <a:cubicBezTo>
                    <a:pt x="992" y="16983"/>
                    <a:pt x="987" y="16666"/>
                    <a:pt x="989" y="16349"/>
                  </a:cubicBezTo>
                  <a:cubicBezTo>
                    <a:pt x="989" y="7003"/>
                    <a:pt x="8391" y="-346"/>
                    <a:pt x="18856" y="-346"/>
                  </a:cubicBezTo>
                  <a:moveTo>
                    <a:pt x="18856" y="26147"/>
                  </a:moveTo>
                  <a:cubicBezTo>
                    <a:pt x="23856" y="26214"/>
                    <a:pt x="27962" y="22215"/>
                    <a:pt x="28028" y="17214"/>
                  </a:cubicBezTo>
                  <a:cubicBezTo>
                    <a:pt x="28031" y="17015"/>
                    <a:pt x="28026" y="16815"/>
                    <a:pt x="28015" y="16615"/>
                  </a:cubicBezTo>
                  <a:cubicBezTo>
                    <a:pt x="28281" y="11623"/>
                    <a:pt x="24447" y="7360"/>
                    <a:pt x="19455" y="7096"/>
                  </a:cubicBezTo>
                  <a:cubicBezTo>
                    <a:pt x="19255" y="7086"/>
                    <a:pt x="19055" y="7080"/>
                    <a:pt x="18856" y="7083"/>
                  </a:cubicBezTo>
                  <a:cubicBezTo>
                    <a:pt x="13871" y="7001"/>
                    <a:pt x="9765" y="10976"/>
                    <a:pt x="9683" y="15960"/>
                  </a:cubicBezTo>
                  <a:cubicBezTo>
                    <a:pt x="9680" y="16179"/>
                    <a:pt x="9683" y="16397"/>
                    <a:pt x="9696" y="16615"/>
                  </a:cubicBezTo>
                  <a:cubicBezTo>
                    <a:pt x="9417" y="21592"/>
                    <a:pt x="13224" y="25855"/>
                    <a:pt x="18200" y="26134"/>
                  </a:cubicBezTo>
                  <a:cubicBezTo>
                    <a:pt x="18419" y="26147"/>
                    <a:pt x="18637" y="26150"/>
                    <a:pt x="18856" y="26147"/>
                  </a:cubicBezTo>
                </a:path>
              </a:pathLst>
            </a:custGeom>
            <a:solidFill>
              <a:srgbClr val="FFFFFF"/>
            </a:solidFill>
            <a:ln w="2661" cap="flat">
              <a:noFill/>
              <a:prstDash val="solid"/>
              <a:miter/>
            </a:ln>
          </p:spPr>
          <p:txBody>
            <a:bodyPr rtlCol="0" anchor="ctr"/>
            <a:lstStyle/>
            <a:p>
              <a:endParaRPr lang="pl-PL"/>
            </a:p>
          </p:txBody>
        </p:sp>
        <p:sp>
          <p:nvSpPr>
            <p:cNvPr id="139" name="Freeform: Shape 138">
              <a:extLst>
                <a:ext uri="{FF2B5EF4-FFF2-40B4-BE49-F238E27FC236}">
                  <a16:creationId xmlns:a16="http://schemas.microsoft.com/office/drawing/2014/main" id="{6D085466-1989-4342-B43D-D9C9E50D26A8}"/>
                </a:ext>
              </a:extLst>
            </p:cNvPr>
            <p:cNvSpPr/>
            <p:nvPr/>
          </p:nvSpPr>
          <p:spPr>
            <a:xfrm>
              <a:off x="11719549" y="6750860"/>
              <a:ext cx="19630" cy="26558"/>
            </a:xfrm>
            <a:custGeom>
              <a:avLst/>
              <a:gdLst>
                <a:gd name="connsiteX0" fmla="*/ 994 w 34784"/>
                <a:gd name="connsiteY0" fmla="*/ 44632 h 47062"/>
                <a:gd name="connsiteX1" fmla="*/ 994 w 34784"/>
                <a:gd name="connsiteY1" fmla="*/ 2270 h 47062"/>
                <a:gd name="connsiteX2" fmla="*/ 2711 w 34784"/>
                <a:gd name="connsiteY2" fmla="*/ 270 h 47062"/>
                <a:gd name="connsiteX3" fmla="*/ 3018 w 34784"/>
                <a:gd name="connsiteY3" fmla="*/ 273 h 47062"/>
                <a:gd name="connsiteX4" fmla="*/ 5015 w 34784"/>
                <a:gd name="connsiteY4" fmla="*/ 273 h 47062"/>
                <a:gd name="connsiteX5" fmla="*/ 7278 w 34784"/>
                <a:gd name="connsiteY5" fmla="*/ 1897 h 47062"/>
                <a:gd name="connsiteX6" fmla="*/ 9594 w 34784"/>
                <a:gd name="connsiteY6" fmla="*/ 2589 h 47062"/>
                <a:gd name="connsiteX7" fmla="*/ 19206 w 34784"/>
                <a:gd name="connsiteY7" fmla="*/ -339 h 47062"/>
                <a:gd name="connsiteX8" fmla="*/ 35771 w 34784"/>
                <a:gd name="connsiteY8" fmla="*/ 16060 h 47062"/>
                <a:gd name="connsiteX9" fmla="*/ 35768 w 34784"/>
                <a:gd name="connsiteY9" fmla="*/ 16462 h 47062"/>
                <a:gd name="connsiteX10" fmla="*/ 19558 w 34784"/>
                <a:gd name="connsiteY10" fmla="*/ 33524 h 47062"/>
                <a:gd name="connsiteX11" fmla="*/ 19073 w 34784"/>
                <a:gd name="connsiteY11" fmla="*/ 33529 h 47062"/>
                <a:gd name="connsiteX12" fmla="*/ 11085 w 34784"/>
                <a:gd name="connsiteY12" fmla="*/ 31585 h 47062"/>
                <a:gd name="connsiteX13" fmla="*/ 9009 w 34784"/>
                <a:gd name="connsiteY13" fmla="*/ 32597 h 47062"/>
                <a:gd name="connsiteX14" fmla="*/ 9009 w 34784"/>
                <a:gd name="connsiteY14" fmla="*/ 44712 h 47062"/>
                <a:gd name="connsiteX15" fmla="*/ 7347 w 34784"/>
                <a:gd name="connsiteY15" fmla="*/ 46709 h 47062"/>
                <a:gd name="connsiteX16" fmla="*/ 7012 w 34784"/>
                <a:gd name="connsiteY16" fmla="*/ 46709 h 47062"/>
                <a:gd name="connsiteX17" fmla="*/ 3124 w 34784"/>
                <a:gd name="connsiteY17" fmla="*/ 46709 h 47062"/>
                <a:gd name="connsiteX18" fmla="*/ 1103 w 34784"/>
                <a:gd name="connsiteY18" fmla="*/ 45018 h 47062"/>
                <a:gd name="connsiteX19" fmla="*/ 1101 w 34784"/>
                <a:gd name="connsiteY19" fmla="*/ 44712 h 47062"/>
                <a:gd name="connsiteX20" fmla="*/ 10340 w 34784"/>
                <a:gd name="connsiteY20" fmla="*/ 22106 h 47062"/>
                <a:gd name="connsiteX21" fmla="*/ 18328 w 34784"/>
                <a:gd name="connsiteY21" fmla="*/ 26127 h 47062"/>
                <a:gd name="connsiteX22" fmla="*/ 27064 w 34784"/>
                <a:gd name="connsiteY22" fmla="*/ 16512 h 47062"/>
                <a:gd name="connsiteX23" fmla="*/ 27061 w 34784"/>
                <a:gd name="connsiteY23" fmla="*/ 16462 h 47062"/>
                <a:gd name="connsiteX24" fmla="*/ 18328 w 34784"/>
                <a:gd name="connsiteY24" fmla="*/ 7063 h 47062"/>
                <a:gd name="connsiteX25" fmla="*/ 10340 w 34784"/>
                <a:gd name="connsiteY25" fmla="*/ 11057 h 47062"/>
                <a:gd name="connsiteX26" fmla="*/ 9781 w 34784"/>
                <a:gd name="connsiteY26" fmla="*/ 13213 h 47062"/>
                <a:gd name="connsiteX27" fmla="*/ 9781 w 34784"/>
                <a:gd name="connsiteY27" fmla="*/ 19976 h 47062"/>
                <a:gd name="connsiteX28" fmla="*/ 10340 w 34784"/>
                <a:gd name="connsiteY28" fmla="*/ 22106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784" h="47062">
                  <a:moveTo>
                    <a:pt x="994" y="44632"/>
                  </a:moveTo>
                  <a:lnTo>
                    <a:pt x="994" y="2270"/>
                  </a:lnTo>
                  <a:cubicBezTo>
                    <a:pt x="917" y="1245"/>
                    <a:pt x="1686" y="348"/>
                    <a:pt x="2711" y="270"/>
                  </a:cubicBezTo>
                  <a:cubicBezTo>
                    <a:pt x="2813" y="262"/>
                    <a:pt x="2917" y="265"/>
                    <a:pt x="3018" y="273"/>
                  </a:cubicBezTo>
                  <a:lnTo>
                    <a:pt x="5015" y="273"/>
                  </a:lnTo>
                  <a:cubicBezTo>
                    <a:pt x="6064" y="190"/>
                    <a:pt x="7022" y="875"/>
                    <a:pt x="7278" y="1897"/>
                  </a:cubicBezTo>
                  <a:cubicBezTo>
                    <a:pt x="7597" y="3228"/>
                    <a:pt x="8529" y="3415"/>
                    <a:pt x="9594" y="2589"/>
                  </a:cubicBezTo>
                  <a:cubicBezTo>
                    <a:pt x="12393" y="592"/>
                    <a:pt x="15769" y="-435"/>
                    <a:pt x="19206" y="-339"/>
                  </a:cubicBezTo>
                  <a:cubicBezTo>
                    <a:pt x="28310" y="-385"/>
                    <a:pt x="35725" y="6956"/>
                    <a:pt x="35771" y="16060"/>
                  </a:cubicBezTo>
                  <a:cubicBezTo>
                    <a:pt x="35771" y="16193"/>
                    <a:pt x="35771" y="16329"/>
                    <a:pt x="35768" y="16462"/>
                  </a:cubicBezTo>
                  <a:cubicBezTo>
                    <a:pt x="36002" y="25650"/>
                    <a:pt x="28747" y="33289"/>
                    <a:pt x="19558" y="33524"/>
                  </a:cubicBezTo>
                  <a:cubicBezTo>
                    <a:pt x="19395" y="33529"/>
                    <a:pt x="19236" y="33529"/>
                    <a:pt x="19073" y="33529"/>
                  </a:cubicBezTo>
                  <a:cubicBezTo>
                    <a:pt x="16288" y="33580"/>
                    <a:pt x="13538" y="32909"/>
                    <a:pt x="11085" y="31585"/>
                  </a:cubicBezTo>
                  <a:cubicBezTo>
                    <a:pt x="9834" y="30840"/>
                    <a:pt x="9009" y="31213"/>
                    <a:pt x="9009" y="32597"/>
                  </a:cubicBezTo>
                  <a:lnTo>
                    <a:pt x="9009" y="44712"/>
                  </a:lnTo>
                  <a:cubicBezTo>
                    <a:pt x="9102" y="45721"/>
                    <a:pt x="8356" y="46616"/>
                    <a:pt x="7347" y="46709"/>
                  </a:cubicBezTo>
                  <a:cubicBezTo>
                    <a:pt x="7235" y="46720"/>
                    <a:pt x="7123" y="46720"/>
                    <a:pt x="7012" y="46709"/>
                  </a:cubicBezTo>
                  <a:lnTo>
                    <a:pt x="3124" y="46709"/>
                  </a:lnTo>
                  <a:cubicBezTo>
                    <a:pt x="2099" y="46799"/>
                    <a:pt x="1194" y="46043"/>
                    <a:pt x="1103" y="45018"/>
                  </a:cubicBezTo>
                  <a:cubicBezTo>
                    <a:pt x="1093" y="44917"/>
                    <a:pt x="1093" y="44813"/>
                    <a:pt x="1101" y="44712"/>
                  </a:cubicBezTo>
                  <a:moveTo>
                    <a:pt x="10340" y="22106"/>
                  </a:moveTo>
                  <a:cubicBezTo>
                    <a:pt x="12148" y="24716"/>
                    <a:pt x="15154" y="26231"/>
                    <a:pt x="18328" y="26127"/>
                  </a:cubicBezTo>
                  <a:cubicBezTo>
                    <a:pt x="23395" y="25885"/>
                    <a:pt x="27306" y="21579"/>
                    <a:pt x="27064" y="16512"/>
                  </a:cubicBezTo>
                  <a:cubicBezTo>
                    <a:pt x="27064" y="16496"/>
                    <a:pt x="27061" y="16478"/>
                    <a:pt x="27061" y="16462"/>
                  </a:cubicBezTo>
                  <a:cubicBezTo>
                    <a:pt x="27210" y="11467"/>
                    <a:pt x="23320" y="7278"/>
                    <a:pt x="18328" y="7063"/>
                  </a:cubicBezTo>
                  <a:cubicBezTo>
                    <a:pt x="15165" y="6972"/>
                    <a:pt x="12166" y="8471"/>
                    <a:pt x="10340" y="11057"/>
                  </a:cubicBezTo>
                  <a:cubicBezTo>
                    <a:pt x="9924" y="11696"/>
                    <a:pt x="9727" y="12452"/>
                    <a:pt x="9781" y="13213"/>
                  </a:cubicBezTo>
                  <a:lnTo>
                    <a:pt x="9781" y="19976"/>
                  </a:lnTo>
                  <a:cubicBezTo>
                    <a:pt x="9746" y="20727"/>
                    <a:pt x="9941" y="21470"/>
                    <a:pt x="10340" y="22106"/>
                  </a:cubicBezTo>
                </a:path>
              </a:pathLst>
            </a:custGeom>
            <a:solidFill>
              <a:srgbClr val="8FDB42"/>
            </a:solidFill>
            <a:ln w="2661" cap="flat">
              <a:noFill/>
              <a:prstDash val="solid"/>
              <a:miter/>
            </a:ln>
          </p:spPr>
          <p:txBody>
            <a:bodyPr rtlCol="0" anchor="ctr"/>
            <a:lstStyle/>
            <a:p>
              <a:endParaRPr lang="pl-PL"/>
            </a:p>
          </p:txBody>
        </p:sp>
        <p:sp>
          <p:nvSpPr>
            <p:cNvPr id="140" name="Freeform: Shape 139">
              <a:extLst>
                <a:ext uri="{FF2B5EF4-FFF2-40B4-BE49-F238E27FC236}">
                  <a16:creationId xmlns:a16="http://schemas.microsoft.com/office/drawing/2014/main" id="{E4B2AF0F-3630-49BF-A8B9-56DEA63E6A73}"/>
                </a:ext>
              </a:extLst>
            </p:cNvPr>
            <p:cNvSpPr/>
            <p:nvPr/>
          </p:nvSpPr>
          <p:spPr>
            <a:xfrm>
              <a:off x="11741806" y="6750833"/>
              <a:ext cx="20150" cy="19139"/>
            </a:xfrm>
            <a:custGeom>
              <a:avLst/>
              <a:gdLst>
                <a:gd name="connsiteX0" fmla="*/ 18882 w 35707"/>
                <a:gd name="connsiteY0" fmla="*/ -346 h 33914"/>
                <a:gd name="connsiteX1" fmla="*/ 36695 w 35707"/>
                <a:gd name="connsiteY1" fmla="*/ 16349 h 33914"/>
                <a:gd name="connsiteX2" fmla="*/ 19833 w 35707"/>
                <a:gd name="connsiteY2" fmla="*/ 33565 h 33914"/>
                <a:gd name="connsiteX3" fmla="*/ 18882 w 35707"/>
                <a:gd name="connsiteY3" fmla="*/ 33550 h 33914"/>
                <a:gd name="connsiteX4" fmla="*/ 1008 w 35707"/>
                <a:gd name="connsiteY4" fmla="*/ 17273 h 33914"/>
                <a:gd name="connsiteX5" fmla="*/ 989 w 35707"/>
                <a:gd name="connsiteY5" fmla="*/ 16349 h 33914"/>
                <a:gd name="connsiteX6" fmla="*/ 18882 w 35707"/>
                <a:gd name="connsiteY6" fmla="*/ -346 h 33914"/>
                <a:gd name="connsiteX7" fmla="*/ 18882 w 35707"/>
                <a:gd name="connsiteY7" fmla="*/ 26147 h 33914"/>
                <a:gd name="connsiteX8" fmla="*/ 28052 w 35707"/>
                <a:gd name="connsiteY8" fmla="*/ 17158 h 33914"/>
                <a:gd name="connsiteX9" fmla="*/ 28041 w 35707"/>
                <a:gd name="connsiteY9" fmla="*/ 16615 h 33914"/>
                <a:gd name="connsiteX10" fmla="*/ 19425 w 35707"/>
                <a:gd name="connsiteY10" fmla="*/ 7094 h 33914"/>
                <a:gd name="connsiteX11" fmla="*/ 18882 w 35707"/>
                <a:gd name="connsiteY11" fmla="*/ 7083 h 33914"/>
                <a:gd name="connsiteX12" fmla="*/ 9709 w 35707"/>
                <a:gd name="connsiteY12" fmla="*/ 15960 h 33914"/>
                <a:gd name="connsiteX13" fmla="*/ 9723 w 35707"/>
                <a:gd name="connsiteY13" fmla="*/ 16615 h 33914"/>
                <a:gd name="connsiteX14" fmla="*/ 18227 w 35707"/>
                <a:gd name="connsiteY14" fmla="*/ 26134 h 33914"/>
                <a:gd name="connsiteX15" fmla="*/ 18882 w 35707"/>
                <a:gd name="connsiteY15" fmla="*/ 26147 h 33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07" h="33914">
                  <a:moveTo>
                    <a:pt x="18882" y="-346"/>
                  </a:moveTo>
                  <a:cubicBezTo>
                    <a:pt x="29346" y="-346"/>
                    <a:pt x="36695" y="7003"/>
                    <a:pt x="36695" y="16349"/>
                  </a:cubicBezTo>
                  <a:cubicBezTo>
                    <a:pt x="36793" y="25759"/>
                    <a:pt x="29242" y="33467"/>
                    <a:pt x="19833" y="33565"/>
                  </a:cubicBezTo>
                  <a:cubicBezTo>
                    <a:pt x="19516" y="33568"/>
                    <a:pt x="19199" y="33563"/>
                    <a:pt x="18882" y="33550"/>
                  </a:cubicBezTo>
                  <a:cubicBezTo>
                    <a:pt x="9451" y="33991"/>
                    <a:pt x="1450" y="26704"/>
                    <a:pt x="1008" y="17273"/>
                  </a:cubicBezTo>
                  <a:cubicBezTo>
                    <a:pt x="992" y="16967"/>
                    <a:pt x="987" y="16658"/>
                    <a:pt x="989" y="16349"/>
                  </a:cubicBezTo>
                  <a:cubicBezTo>
                    <a:pt x="989" y="7003"/>
                    <a:pt x="8391" y="-346"/>
                    <a:pt x="18882" y="-346"/>
                  </a:cubicBezTo>
                  <a:moveTo>
                    <a:pt x="18882" y="26147"/>
                  </a:moveTo>
                  <a:cubicBezTo>
                    <a:pt x="23896" y="26198"/>
                    <a:pt x="28002" y="22175"/>
                    <a:pt x="28052" y="17158"/>
                  </a:cubicBezTo>
                  <a:cubicBezTo>
                    <a:pt x="28055" y="16977"/>
                    <a:pt x="28049" y="16796"/>
                    <a:pt x="28041" y="16615"/>
                  </a:cubicBezTo>
                  <a:cubicBezTo>
                    <a:pt x="28292" y="11607"/>
                    <a:pt x="24434" y="7344"/>
                    <a:pt x="19425" y="7094"/>
                  </a:cubicBezTo>
                  <a:cubicBezTo>
                    <a:pt x="19244" y="7086"/>
                    <a:pt x="19063" y="7080"/>
                    <a:pt x="18882" y="7083"/>
                  </a:cubicBezTo>
                  <a:cubicBezTo>
                    <a:pt x="13898" y="7001"/>
                    <a:pt x="9792" y="10976"/>
                    <a:pt x="9709" y="15960"/>
                  </a:cubicBezTo>
                  <a:cubicBezTo>
                    <a:pt x="9707" y="16179"/>
                    <a:pt x="9709" y="16397"/>
                    <a:pt x="9723" y="16615"/>
                  </a:cubicBezTo>
                  <a:cubicBezTo>
                    <a:pt x="9443" y="21592"/>
                    <a:pt x="13251" y="25855"/>
                    <a:pt x="18227" y="26134"/>
                  </a:cubicBezTo>
                  <a:cubicBezTo>
                    <a:pt x="18445" y="26147"/>
                    <a:pt x="18664" y="26150"/>
                    <a:pt x="18882" y="26147"/>
                  </a:cubicBezTo>
                </a:path>
              </a:pathLst>
            </a:custGeom>
            <a:solidFill>
              <a:srgbClr val="8FDB42"/>
            </a:solidFill>
            <a:ln w="2661" cap="flat">
              <a:noFill/>
              <a:prstDash val="solid"/>
              <a:miter/>
            </a:ln>
          </p:spPr>
          <p:txBody>
            <a:bodyPr rtlCol="0" anchor="ctr"/>
            <a:lstStyle/>
            <a:p>
              <a:endParaRPr lang="pl-PL"/>
            </a:p>
          </p:txBody>
        </p:sp>
        <p:sp>
          <p:nvSpPr>
            <p:cNvPr id="141" name="Freeform: Shape 140">
              <a:extLst>
                <a:ext uri="{FF2B5EF4-FFF2-40B4-BE49-F238E27FC236}">
                  <a16:creationId xmlns:a16="http://schemas.microsoft.com/office/drawing/2014/main" id="{7139E0E1-89DA-45F9-8487-9D9887D2F4CE}"/>
                </a:ext>
              </a:extLst>
            </p:cNvPr>
            <p:cNvSpPr/>
            <p:nvPr/>
          </p:nvSpPr>
          <p:spPr>
            <a:xfrm>
              <a:off x="11764305" y="6750833"/>
              <a:ext cx="16853" cy="19128"/>
            </a:xfrm>
            <a:custGeom>
              <a:avLst/>
              <a:gdLst>
                <a:gd name="connsiteX0" fmla="*/ 16288 w 29863"/>
                <a:gd name="connsiteY0" fmla="*/ -346 h 33895"/>
                <a:gd name="connsiteX1" fmla="*/ 30266 w 29863"/>
                <a:gd name="connsiteY1" fmla="*/ 9400 h 33895"/>
                <a:gd name="connsiteX2" fmla="*/ 28376 w 29863"/>
                <a:gd name="connsiteY2" fmla="*/ 11476 h 33895"/>
                <a:gd name="connsiteX3" fmla="*/ 24275 w 29863"/>
                <a:gd name="connsiteY3" fmla="*/ 11476 h 33895"/>
                <a:gd name="connsiteX4" fmla="*/ 22065 w 29863"/>
                <a:gd name="connsiteY4" fmla="*/ 9719 h 33895"/>
                <a:gd name="connsiteX5" fmla="*/ 16048 w 29863"/>
                <a:gd name="connsiteY5" fmla="*/ 6444 h 33895"/>
                <a:gd name="connsiteX6" fmla="*/ 10723 w 29863"/>
                <a:gd name="connsiteY6" fmla="*/ 9266 h 33895"/>
                <a:gd name="connsiteX7" fmla="*/ 30852 w 29863"/>
                <a:gd name="connsiteY7" fmla="*/ 23591 h 33895"/>
                <a:gd name="connsiteX8" fmla="*/ 16687 w 29863"/>
                <a:gd name="connsiteY8" fmla="*/ 33550 h 33895"/>
                <a:gd name="connsiteX9" fmla="*/ 1058 w 29863"/>
                <a:gd name="connsiteY9" fmla="*/ 23511 h 33895"/>
                <a:gd name="connsiteX10" fmla="*/ 2868 w 29863"/>
                <a:gd name="connsiteY10" fmla="*/ 21381 h 33895"/>
                <a:gd name="connsiteX11" fmla="*/ 7128 w 29863"/>
                <a:gd name="connsiteY11" fmla="*/ 21381 h 33895"/>
                <a:gd name="connsiteX12" fmla="*/ 9338 w 29863"/>
                <a:gd name="connsiteY12" fmla="*/ 23006 h 33895"/>
                <a:gd name="connsiteX13" fmla="*/ 16873 w 29863"/>
                <a:gd name="connsiteY13" fmla="*/ 26786 h 33895"/>
                <a:gd name="connsiteX14" fmla="*/ 22385 w 29863"/>
                <a:gd name="connsiteY14" fmla="*/ 23645 h 33895"/>
                <a:gd name="connsiteX15" fmla="*/ 2256 w 29863"/>
                <a:gd name="connsiteY15" fmla="*/ 9453 h 33895"/>
                <a:gd name="connsiteX16" fmla="*/ 16128 w 29863"/>
                <a:gd name="connsiteY16" fmla="*/ -346 h 3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863" h="33895">
                  <a:moveTo>
                    <a:pt x="16288" y="-346"/>
                  </a:moveTo>
                  <a:cubicBezTo>
                    <a:pt x="24275" y="-346"/>
                    <a:pt x="28962" y="3622"/>
                    <a:pt x="30266" y="9400"/>
                  </a:cubicBezTo>
                  <a:cubicBezTo>
                    <a:pt x="30586" y="10704"/>
                    <a:pt x="29760" y="11476"/>
                    <a:pt x="28376" y="11476"/>
                  </a:cubicBezTo>
                  <a:lnTo>
                    <a:pt x="24275" y="11476"/>
                  </a:lnTo>
                  <a:cubicBezTo>
                    <a:pt x="23077" y="11476"/>
                    <a:pt x="22518" y="10837"/>
                    <a:pt x="22065" y="9719"/>
                  </a:cubicBezTo>
                  <a:cubicBezTo>
                    <a:pt x="21320" y="7642"/>
                    <a:pt x="19403" y="6444"/>
                    <a:pt x="16048" y="6444"/>
                  </a:cubicBezTo>
                  <a:cubicBezTo>
                    <a:pt x="12693" y="6444"/>
                    <a:pt x="10723" y="7562"/>
                    <a:pt x="10723" y="9266"/>
                  </a:cubicBezTo>
                  <a:cubicBezTo>
                    <a:pt x="10723" y="15364"/>
                    <a:pt x="30852" y="10971"/>
                    <a:pt x="30852" y="23591"/>
                  </a:cubicBezTo>
                  <a:cubicBezTo>
                    <a:pt x="30852" y="29982"/>
                    <a:pt x="25021" y="33550"/>
                    <a:pt x="16687" y="33550"/>
                  </a:cubicBezTo>
                  <a:cubicBezTo>
                    <a:pt x="8353" y="33550"/>
                    <a:pt x="2362" y="29928"/>
                    <a:pt x="1058" y="23511"/>
                  </a:cubicBezTo>
                  <a:cubicBezTo>
                    <a:pt x="738" y="22127"/>
                    <a:pt x="1563" y="21381"/>
                    <a:pt x="2868" y="21381"/>
                  </a:cubicBezTo>
                  <a:lnTo>
                    <a:pt x="7128" y="21381"/>
                  </a:lnTo>
                  <a:cubicBezTo>
                    <a:pt x="8153" y="21344"/>
                    <a:pt x="9067" y="22018"/>
                    <a:pt x="9338" y="23006"/>
                  </a:cubicBezTo>
                  <a:cubicBezTo>
                    <a:pt x="10853" y="25673"/>
                    <a:pt x="13827" y="27165"/>
                    <a:pt x="16873" y="26786"/>
                  </a:cubicBezTo>
                  <a:cubicBezTo>
                    <a:pt x="20255" y="26786"/>
                    <a:pt x="22385" y="25721"/>
                    <a:pt x="22385" y="23645"/>
                  </a:cubicBezTo>
                  <a:cubicBezTo>
                    <a:pt x="22385" y="17494"/>
                    <a:pt x="2256" y="22127"/>
                    <a:pt x="2256" y="9453"/>
                  </a:cubicBezTo>
                  <a:cubicBezTo>
                    <a:pt x="2256" y="3808"/>
                    <a:pt x="7075" y="-346"/>
                    <a:pt x="16128" y="-346"/>
                  </a:cubicBezTo>
                </a:path>
              </a:pathLst>
            </a:custGeom>
            <a:solidFill>
              <a:srgbClr val="8FDB42"/>
            </a:solidFill>
            <a:ln w="2661" cap="flat">
              <a:noFill/>
              <a:prstDash val="solid"/>
              <a:miter/>
            </a:ln>
          </p:spPr>
          <p:txBody>
            <a:bodyPr rtlCol="0" anchor="ctr"/>
            <a:lstStyle/>
            <a:p>
              <a:endParaRPr lang="pl-PL"/>
            </a:p>
          </p:txBody>
        </p:sp>
        <p:sp>
          <p:nvSpPr>
            <p:cNvPr id="142" name="Freeform: Shape 141">
              <a:extLst>
                <a:ext uri="{FF2B5EF4-FFF2-40B4-BE49-F238E27FC236}">
                  <a16:creationId xmlns:a16="http://schemas.microsoft.com/office/drawing/2014/main" id="{353FE914-E27A-489A-B747-2FAD39779F55}"/>
                </a:ext>
              </a:extLst>
            </p:cNvPr>
            <p:cNvSpPr/>
            <p:nvPr/>
          </p:nvSpPr>
          <p:spPr>
            <a:xfrm>
              <a:off x="11784416" y="6742209"/>
              <a:ext cx="6552" cy="27380"/>
            </a:xfrm>
            <a:custGeom>
              <a:avLst/>
              <a:gdLst>
                <a:gd name="connsiteX0" fmla="*/ 1098 w 11611"/>
                <a:gd name="connsiteY0" fmla="*/ 5352 h 48518"/>
                <a:gd name="connsiteX1" fmla="*/ 6796 w 11611"/>
                <a:gd name="connsiteY1" fmla="*/ -346 h 48518"/>
                <a:gd name="connsiteX2" fmla="*/ 6876 w 11611"/>
                <a:gd name="connsiteY2" fmla="*/ -346 h 48518"/>
                <a:gd name="connsiteX3" fmla="*/ 12600 w 11611"/>
                <a:gd name="connsiteY3" fmla="*/ 5352 h 48518"/>
                <a:gd name="connsiteX4" fmla="*/ 6769 w 11611"/>
                <a:gd name="connsiteY4" fmla="*/ 11263 h 48518"/>
                <a:gd name="connsiteX5" fmla="*/ 989 w 11611"/>
                <a:gd name="connsiteY5" fmla="*/ 5488 h 48518"/>
                <a:gd name="connsiteX6" fmla="*/ 991 w 11611"/>
                <a:gd name="connsiteY6" fmla="*/ 5352 h 48518"/>
                <a:gd name="connsiteX7" fmla="*/ 10710 w 11611"/>
                <a:gd name="connsiteY7" fmla="*/ 17521 h 48518"/>
                <a:gd name="connsiteX8" fmla="*/ 10710 w 11611"/>
                <a:gd name="connsiteY8" fmla="*/ 46144 h 48518"/>
                <a:gd name="connsiteX9" fmla="*/ 9019 w 11611"/>
                <a:gd name="connsiteY9" fmla="*/ 48165 h 48518"/>
                <a:gd name="connsiteX10" fmla="*/ 8713 w 11611"/>
                <a:gd name="connsiteY10" fmla="*/ 48167 h 48518"/>
                <a:gd name="connsiteX11" fmla="*/ 4000 w 11611"/>
                <a:gd name="connsiteY11" fmla="*/ 48167 h 48518"/>
                <a:gd name="connsiteX12" fmla="*/ 2001 w 11611"/>
                <a:gd name="connsiteY12" fmla="*/ 46450 h 48518"/>
                <a:gd name="connsiteX13" fmla="*/ 2003 w 11611"/>
                <a:gd name="connsiteY13" fmla="*/ 46144 h 48518"/>
                <a:gd name="connsiteX14" fmla="*/ 2003 w 11611"/>
                <a:gd name="connsiteY14" fmla="*/ 17600 h 48518"/>
                <a:gd name="connsiteX15" fmla="*/ 3665 w 11611"/>
                <a:gd name="connsiteY15" fmla="*/ 15603 h 48518"/>
                <a:gd name="connsiteX16" fmla="*/ 4000 w 11611"/>
                <a:gd name="connsiteY16" fmla="*/ 15603 h 48518"/>
                <a:gd name="connsiteX17" fmla="*/ 8713 w 11611"/>
                <a:gd name="connsiteY17" fmla="*/ 15603 h 48518"/>
                <a:gd name="connsiteX18" fmla="*/ 10710 w 11611"/>
                <a:gd name="connsiteY18" fmla="*/ 17265 h 48518"/>
                <a:gd name="connsiteX19" fmla="*/ 10710 w 11611"/>
                <a:gd name="connsiteY19" fmla="*/ 17600 h 48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11" h="48518">
                  <a:moveTo>
                    <a:pt x="1098" y="5352"/>
                  </a:moveTo>
                  <a:cubicBezTo>
                    <a:pt x="1098" y="2205"/>
                    <a:pt x="3649" y="-346"/>
                    <a:pt x="6796" y="-346"/>
                  </a:cubicBezTo>
                  <a:cubicBezTo>
                    <a:pt x="6823" y="-346"/>
                    <a:pt x="6849" y="-346"/>
                    <a:pt x="6876" y="-346"/>
                  </a:cubicBezTo>
                  <a:cubicBezTo>
                    <a:pt x="10004" y="-290"/>
                    <a:pt x="12529" y="2224"/>
                    <a:pt x="12600" y="5352"/>
                  </a:cubicBezTo>
                  <a:cubicBezTo>
                    <a:pt x="12600" y="8585"/>
                    <a:pt x="10002" y="11221"/>
                    <a:pt x="6769" y="11263"/>
                  </a:cubicBezTo>
                  <a:cubicBezTo>
                    <a:pt x="3579" y="11263"/>
                    <a:pt x="991" y="8678"/>
                    <a:pt x="989" y="5488"/>
                  </a:cubicBezTo>
                  <a:cubicBezTo>
                    <a:pt x="989" y="5443"/>
                    <a:pt x="991" y="5398"/>
                    <a:pt x="991" y="5352"/>
                  </a:cubicBezTo>
                  <a:moveTo>
                    <a:pt x="10710" y="17521"/>
                  </a:moveTo>
                  <a:lnTo>
                    <a:pt x="10710" y="46144"/>
                  </a:lnTo>
                  <a:cubicBezTo>
                    <a:pt x="10800" y="47169"/>
                    <a:pt x="10044" y="48074"/>
                    <a:pt x="9019" y="48165"/>
                  </a:cubicBezTo>
                  <a:cubicBezTo>
                    <a:pt x="8918" y="48175"/>
                    <a:pt x="8814" y="48175"/>
                    <a:pt x="8713" y="48167"/>
                  </a:cubicBezTo>
                  <a:lnTo>
                    <a:pt x="4000" y="48167"/>
                  </a:lnTo>
                  <a:cubicBezTo>
                    <a:pt x="2975" y="48244"/>
                    <a:pt x="2078" y="47475"/>
                    <a:pt x="2001" y="46450"/>
                  </a:cubicBezTo>
                  <a:cubicBezTo>
                    <a:pt x="1993" y="46349"/>
                    <a:pt x="1995" y="46245"/>
                    <a:pt x="2003" y="46144"/>
                  </a:cubicBezTo>
                  <a:lnTo>
                    <a:pt x="2003" y="17600"/>
                  </a:lnTo>
                  <a:cubicBezTo>
                    <a:pt x="1910" y="16591"/>
                    <a:pt x="2656" y="15697"/>
                    <a:pt x="3665" y="15603"/>
                  </a:cubicBezTo>
                  <a:cubicBezTo>
                    <a:pt x="3776" y="15593"/>
                    <a:pt x="3888" y="15593"/>
                    <a:pt x="4000" y="15603"/>
                  </a:cubicBezTo>
                  <a:lnTo>
                    <a:pt x="8713" y="15603"/>
                  </a:lnTo>
                  <a:cubicBezTo>
                    <a:pt x="9722" y="15510"/>
                    <a:pt x="10617" y="16256"/>
                    <a:pt x="10710" y="17265"/>
                  </a:cubicBezTo>
                  <a:cubicBezTo>
                    <a:pt x="10721" y="17377"/>
                    <a:pt x="10721" y="17489"/>
                    <a:pt x="10710" y="17600"/>
                  </a:cubicBezTo>
                </a:path>
              </a:pathLst>
            </a:custGeom>
            <a:solidFill>
              <a:srgbClr val="8FDB42"/>
            </a:solidFill>
            <a:ln w="2661" cap="flat">
              <a:noFill/>
              <a:prstDash val="solid"/>
              <a:miter/>
            </a:ln>
          </p:spPr>
          <p:txBody>
            <a:bodyPr rtlCol="0" anchor="ctr"/>
            <a:lstStyle/>
            <a:p>
              <a:endParaRPr lang="pl-PL"/>
            </a:p>
          </p:txBody>
        </p:sp>
        <p:sp>
          <p:nvSpPr>
            <p:cNvPr id="143" name="Freeform: Shape 142">
              <a:extLst>
                <a:ext uri="{FF2B5EF4-FFF2-40B4-BE49-F238E27FC236}">
                  <a16:creationId xmlns:a16="http://schemas.microsoft.com/office/drawing/2014/main" id="{D6362C4E-3555-4C98-BBC6-EC4C2955EB19}"/>
                </a:ext>
              </a:extLst>
            </p:cNvPr>
            <p:cNvSpPr/>
            <p:nvPr/>
          </p:nvSpPr>
          <p:spPr>
            <a:xfrm>
              <a:off x="11793381" y="6746197"/>
              <a:ext cx="13675" cy="23794"/>
            </a:xfrm>
            <a:custGeom>
              <a:avLst/>
              <a:gdLst>
                <a:gd name="connsiteX0" fmla="*/ 1029 w 24233"/>
                <a:gd name="connsiteY0" fmla="*/ 13782 h 42164"/>
                <a:gd name="connsiteX1" fmla="*/ 1029 w 24233"/>
                <a:gd name="connsiteY1" fmla="*/ 10533 h 42164"/>
                <a:gd name="connsiteX2" fmla="*/ 2608 w 24233"/>
                <a:gd name="connsiteY2" fmla="*/ 8518 h 42164"/>
                <a:gd name="connsiteX3" fmla="*/ 2972 w 24233"/>
                <a:gd name="connsiteY3" fmla="*/ 8510 h 42164"/>
                <a:gd name="connsiteX4" fmla="*/ 5049 w 24233"/>
                <a:gd name="connsiteY4" fmla="*/ 8510 h 42164"/>
                <a:gd name="connsiteX5" fmla="*/ 5741 w 24233"/>
                <a:gd name="connsiteY5" fmla="*/ 7817 h 42164"/>
                <a:gd name="connsiteX6" fmla="*/ 5741 w 24233"/>
                <a:gd name="connsiteY6" fmla="*/ 3105 h 42164"/>
                <a:gd name="connsiteX7" fmla="*/ 7419 w 24233"/>
                <a:gd name="connsiteY7" fmla="*/ 921 h 42164"/>
                <a:gd name="connsiteX8" fmla="*/ 11892 w 24233"/>
                <a:gd name="connsiteY8" fmla="*/ -224 h 42164"/>
                <a:gd name="connsiteX9" fmla="*/ 14043 w 24233"/>
                <a:gd name="connsiteY9" fmla="*/ 684 h 42164"/>
                <a:gd name="connsiteX10" fmla="*/ 14155 w 24233"/>
                <a:gd name="connsiteY10" fmla="*/ 1480 h 42164"/>
                <a:gd name="connsiteX11" fmla="*/ 14155 w 24233"/>
                <a:gd name="connsiteY11" fmla="*/ 7871 h 42164"/>
                <a:gd name="connsiteX12" fmla="*/ 14794 w 24233"/>
                <a:gd name="connsiteY12" fmla="*/ 8563 h 42164"/>
                <a:gd name="connsiteX13" fmla="*/ 14848 w 24233"/>
                <a:gd name="connsiteY13" fmla="*/ 8563 h 42164"/>
                <a:gd name="connsiteX14" fmla="*/ 22835 w 24233"/>
                <a:gd name="connsiteY14" fmla="*/ 8563 h 42164"/>
                <a:gd name="connsiteX15" fmla="*/ 24859 w 24233"/>
                <a:gd name="connsiteY15" fmla="*/ 10251 h 42164"/>
                <a:gd name="connsiteX16" fmla="*/ 24859 w 24233"/>
                <a:gd name="connsiteY16" fmla="*/ 10587 h 42164"/>
                <a:gd name="connsiteX17" fmla="*/ 24859 w 24233"/>
                <a:gd name="connsiteY17" fmla="*/ 13888 h 42164"/>
                <a:gd name="connsiteX18" fmla="*/ 23171 w 24233"/>
                <a:gd name="connsiteY18" fmla="*/ 15912 h 42164"/>
                <a:gd name="connsiteX19" fmla="*/ 22835 w 24233"/>
                <a:gd name="connsiteY19" fmla="*/ 15912 h 42164"/>
                <a:gd name="connsiteX20" fmla="*/ 14848 w 24233"/>
                <a:gd name="connsiteY20" fmla="*/ 15912 h 42164"/>
                <a:gd name="connsiteX21" fmla="*/ 14150 w 24233"/>
                <a:gd name="connsiteY21" fmla="*/ 16545 h 42164"/>
                <a:gd name="connsiteX22" fmla="*/ 14155 w 24233"/>
                <a:gd name="connsiteY22" fmla="*/ 16657 h 42164"/>
                <a:gd name="connsiteX23" fmla="*/ 14155 w 24233"/>
                <a:gd name="connsiteY23" fmla="*/ 30157 h 42164"/>
                <a:gd name="connsiteX24" fmla="*/ 17590 w 24233"/>
                <a:gd name="connsiteY24" fmla="*/ 34177 h 42164"/>
                <a:gd name="connsiteX25" fmla="*/ 22436 w 24233"/>
                <a:gd name="connsiteY25" fmla="*/ 33485 h 42164"/>
                <a:gd name="connsiteX26" fmla="*/ 24683 w 24233"/>
                <a:gd name="connsiteY26" fmla="*/ 34454 h 42164"/>
                <a:gd name="connsiteX27" fmla="*/ 24806 w 24233"/>
                <a:gd name="connsiteY27" fmla="*/ 35109 h 42164"/>
                <a:gd name="connsiteX28" fmla="*/ 25178 w 24233"/>
                <a:gd name="connsiteY28" fmla="*/ 38384 h 42164"/>
                <a:gd name="connsiteX29" fmla="*/ 23639 w 24233"/>
                <a:gd name="connsiteY29" fmla="*/ 40754 h 42164"/>
                <a:gd name="connsiteX30" fmla="*/ 23634 w 24233"/>
                <a:gd name="connsiteY30" fmla="*/ 40754 h 42164"/>
                <a:gd name="connsiteX31" fmla="*/ 15966 w 24233"/>
                <a:gd name="connsiteY31" fmla="*/ 41819 h 42164"/>
                <a:gd name="connsiteX32" fmla="*/ 5315 w 24233"/>
                <a:gd name="connsiteY32" fmla="*/ 30343 h 42164"/>
                <a:gd name="connsiteX33" fmla="*/ 5315 w 24233"/>
                <a:gd name="connsiteY33" fmla="*/ 16657 h 42164"/>
                <a:gd name="connsiteX34" fmla="*/ 4703 w 24233"/>
                <a:gd name="connsiteY34" fmla="*/ 15859 h 42164"/>
                <a:gd name="connsiteX35" fmla="*/ 2946 w 24233"/>
                <a:gd name="connsiteY35" fmla="*/ 15859 h 42164"/>
                <a:gd name="connsiteX36" fmla="*/ 994 w 24233"/>
                <a:gd name="connsiteY36" fmla="*/ 14200 h 42164"/>
                <a:gd name="connsiteX37" fmla="*/ 1002 w 24233"/>
                <a:gd name="connsiteY37" fmla="*/ 13835 h 42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233" h="42164">
                  <a:moveTo>
                    <a:pt x="1029" y="13782"/>
                  </a:moveTo>
                  <a:lnTo>
                    <a:pt x="1029" y="10533"/>
                  </a:lnTo>
                  <a:cubicBezTo>
                    <a:pt x="909" y="9540"/>
                    <a:pt x="1614" y="8637"/>
                    <a:pt x="2608" y="8518"/>
                  </a:cubicBezTo>
                  <a:cubicBezTo>
                    <a:pt x="2727" y="8502"/>
                    <a:pt x="2850" y="8499"/>
                    <a:pt x="2972" y="8510"/>
                  </a:cubicBezTo>
                  <a:lnTo>
                    <a:pt x="5049" y="8510"/>
                  </a:lnTo>
                  <a:cubicBezTo>
                    <a:pt x="5432" y="8510"/>
                    <a:pt x="5741" y="8201"/>
                    <a:pt x="5741" y="7817"/>
                  </a:cubicBezTo>
                  <a:lnTo>
                    <a:pt x="5741" y="3105"/>
                  </a:lnTo>
                  <a:cubicBezTo>
                    <a:pt x="5630" y="2045"/>
                    <a:pt x="6367" y="1086"/>
                    <a:pt x="7419" y="921"/>
                  </a:cubicBezTo>
                  <a:lnTo>
                    <a:pt x="11892" y="-224"/>
                  </a:lnTo>
                  <a:cubicBezTo>
                    <a:pt x="12736" y="-567"/>
                    <a:pt x="13700" y="-160"/>
                    <a:pt x="14043" y="684"/>
                  </a:cubicBezTo>
                  <a:cubicBezTo>
                    <a:pt x="14145" y="937"/>
                    <a:pt x="14184" y="1209"/>
                    <a:pt x="14155" y="1480"/>
                  </a:cubicBezTo>
                  <a:lnTo>
                    <a:pt x="14155" y="7871"/>
                  </a:lnTo>
                  <a:cubicBezTo>
                    <a:pt x="14139" y="8238"/>
                    <a:pt x="14427" y="8547"/>
                    <a:pt x="14794" y="8563"/>
                  </a:cubicBezTo>
                  <a:cubicBezTo>
                    <a:pt x="14810" y="8563"/>
                    <a:pt x="14829" y="8563"/>
                    <a:pt x="14848" y="8563"/>
                  </a:cubicBezTo>
                  <a:lnTo>
                    <a:pt x="22835" y="8563"/>
                  </a:lnTo>
                  <a:cubicBezTo>
                    <a:pt x="23861" y="8470"/>
                    <a:pt x="24766" y="9226"/>
                    <a:pt x="24859" y="10251"/>
                  </a:cubicBezTo>
                  <a:cubicBezTo>
                    <a:pt x="24870" y="10363"/>
                    <a:pt x="24870" y="10475"/>
                    <a:pt x="24859" y="10587"/>
                  </a:cubicBezTo>
                  <a:lnTo>
                    <a:pt x="24859" y="13888"/>
                  </a:lnTo>
                  <a:cubicBezTo>
                    <a:pt x="24952" y="14913"/>
                    <a:pt x="24196" y="15819"/>
                    <a:pt x="23171" y="15912"/>
                  </a:cubicBezTo>
                  <a:cubicBezTo>
                    <a:pt x="23059" y="15922"/>
                    <a:pt x="22947" y="15922"/>
                    <a:pt x="22835" y="15912"/>
                  </a:cubicBezTo>
                  <a:lnTo>
                    <a:pt x="14848" y="15912"/>
                  </a:lnTo>
                  <a:cubicBezTo>
                    <a:pt x="14480" y="15893"/>
                    <a:pt x="14169" y="16178"/>
                    <a:pt x="14150" y="16545"/>
                  </a:cubicBezTo>
                  <a:cubicBezTo>
                    <a:pt x="14150" y="16583"/>
                    <a:pt x="14150" y="16620"/>
                    <a:pt x="14155" y="16657"/>
                  </a:cubicBezTo>
                  <a:lnTo>
                    <a:pt x="14155" y="30157"/>
                  </a:lnTo>
                  <a:cubicBezTo>
                    <a:pt x="14155" y="32819"/>
                    <a:pt x="15034" y="34177"/>
                    <a:pt x="17590" y="34177"/>
                  </a:cubicBezTo>
                  <a:cubicBezTo>
                    <a:pt x="19230" y="34175"/>
                    <a:pt x="20860" y="33940"/>
                    <a:pt x="22436" y="33485"/>
                  </a:cubicBezTo>
                  <a:cubicBezTo>
                    <a:pt x="23325" y="33131"/>
                    <a:pt x="24332" y="33565"/>
                    <a:pt x="24683" y="34454"/>
                  </a:cubicBezTo>
                  <a:cubicBezTo>
                    <a:pt x="24766" y="34662"/>
                    <a:pt x="24808" y="34886"/>
                    <a:pt x="24806" y="35109"/>
                  </a:cubicBezTo>
                  <a:lnTo>
                    <a:pt x="25178" y="38384"/>
                  </a:lnTo>
                  <a:cubicBezTo>
                    <a:pt x="25407" y="39463"/>
                    <a:pt x="24718" y="40522"/>
                    <a:pt x="23639" y="40754"/>
                  </a:cubicBezTo>
                  <a:cubicBezTo>
                    <a:pt x="23639" y="40754"/>
                    <a:pt x="23637" y="40754"/>
                    <a:pt x="23634" y="40754"/>
                  </a:cubicBezTo>
                  <a:cubicBezTo>
                    <a:pt x="21139" y="41462"/>
                    <a:pt x="18559" y="41822"/>
                    <a:pt x="15966" y="41819"/>
                  </a:cubicBezTo>
                  <a:cubicBezTo>
                    <a:pt x="10241" y="41819"/>
                    <a:pt x="5315" y="38943"/>
                    <a:pt x="5315" y="30343"/>
                  </a:cubicBezTo>
                  <a:lnTo>
                    <a:pt x="5315" y="16657"/>
                  </a:lnTo>
                  <a:cubicBezTo>
                    <a:pt x="5363" y="16269"/>
                    <a:pt x="5092" y="15914"/>
                    <a:pt x="4703" y="15859"/>
                  </a:cubicBezTo>
                  <a:lnTo>
                    <a:pt x="2946" y="15859"/>
                  </a:lnTo>
                  <a:cubicBezTo>
                    <a:pt x="1950" y="15938"/>
                    <a:pt x="1076" y="15198"/>
                    <a:pt x="994" y="14200"/>
                  </a:cubicBezTo>
                  <a:cubicBezTo>
                    <a:pt x="986" y="14080"/>
                    <a:pt x="986" y="13957"/>
                    <a:pt x="1002" y="13835"/>
                  </a:cubicBezTo>
                </a:path>
              </a:pathLst>
            </a:custGeom>
            <a:solidFill>
              <a:srgbClr val="8FDB42"/>
            </a:solidFill>
            <a:ln w="2661" cap="flat">
              <a:noFill/>
              <a:prstDash val="solid"/>
              <a:miter/>
            </a:ln>
          </p:spPr>
          <p:txBody>
            <a:bodyPr rtlCol="0" anchor="ctr"/>
            <a:lstStyle/>
            <a:p>
              <a:endParaRPr lang="pl-PL"/>
            </a:p>
          </p:txBody>
        </p:sp>
        <p:sp>
          <p:nvSpPr>
            <p:cNvPr id="144" name="Freeform: Shape 143">
              <a:extLst>
                <a:ext uri="{FF2B5EF4-FFF2-40B4-BE49-F238E27FC236}">
                  <a16:creationId xmlns:a16="http://schemas.microsoft.com/office/drawing/2014/main" id="{F7370420-2C8B-4289-A6F9-0B653CB54D2F}"/>
                </a:ext>
              </a:extLst>
            </p:cNvPr>
            <p:cNvSpPr/>
            <p:nvPr/>
          </p:nvSpPr>
          <p:spPr>
            <a:xfrm>
              <a:off x="11809766" y="6742209"/>
              <a:ext cx="6552" cy="27380"/>
            </a:xfrm>
            <a:custGeom>
              <a:avLst/>
              <a:gdLst>
                <a:gd name="connsiteX0" fmla="*/ 991 w 11611"/>
                <a:gd name="connsiteY0" fmla="*/ 5352 h 48518"/>
                <a:gd name="connsiteX1" fmla="*/ 6689 w 11611"/>
                <a:gd name="connsiteY1" fmla="*/ -346 h 48518"/>
                <a:gd name="connsiteX2" fmla="*/ 6769 w 11611"/>
                <a:gd name="connsiteY2" fmla="*/ -346 h 48518"/>
                <a:gd name="connsiteX3" fmla="*/ 12600 w 11611"/>
                <a:gd name="connsiteY3" fmla="*/ 5352 h 48518"/>
                <a:gd name="connsiteX4" fmla="*/ 6769 w 11611"/>
                <a:gd name="connsiteY4" fmla="*/ 11263 h 48518"/>
                <a:gd name="connsiteX5" fmla="*/ 989 w 11611"/>
                <a:gd name="connsiteY5" fmla="*/ 5488 h 48518"/>
                <a:gd name="connsiteX6" fmla="*/ 991 w 11611"/>
                <a:gd name="connsiteY6" fmla="*/ 5352 h 48518"/>
                <a:gd name="connsiteX7" fmla="*/ 10710 w 11611"/>
                <a:gd name="connsiteY7" fmla="*/ 17521 h 48518"/>
                <a:gd name="connsiteX8" fmla="*/ 10710 w 11611"/>
                <a:gd name="connsiteY8" fmla="*/ 46144 h 48518"/>
                <a:gd name="connsiteX9" fmla="*/ 9019 w 11611"/>
                <a:gd name="connsiteY9" fmla="*/ 48165 h 48518"/>
                <a:gd name="connsiteX10" fmla="*/ 8713 w 11611"/>
                <a:gd name="connsiteY10" fmla="*/ 48167 h 48518"/>
                <a:gd name="connsiteX11" fmla="*/ 4000 w 11611"/>
                <a:gd name="connsiteY11" fmla="*/ 48167 h 48518"/>
                <a:gd name="connsiteX12" fmla="*/ 2001 w 11611"/>
                <a:gd name="connsiteY12" fmla="*/ 46450 h 48518"/>
                <a:gd name="connsiteX13" fmla="*/ 2003 w 11611"/>
                <a:gd name="connsiteY13" fmla="*/ 46144 h 48518"/>
                <a:gd name="connsiteX14" fmla="*/ 2003 w 11611"/>
                <a:gd name="connsiteY14" fmla="*/ 17600 h 48518"/>
                <a:gd name="connsiteX15" fmla="*/ 3665 w 11611"/>
                <a:gd name="connsiteY15" fmla="*/ 15603 h 48518"/>
                <a:gd name="connsiteX16" fmla="*/ 4000 w 11611"/>
                <a:gd name="connsiteY16" fmla="*/ 15603 h 48518"/>
                <a:gd name="connsiteX17" fmla="*/ 8713 w 11611"/>
                <a:gd name="connsiteY17" fmla="*/ 15603 h 48518"/>
                <a:gd name="connsiteX18" fmla="*/ 10710 w 11611"/>
                <a:gd name="connsiteY18" fmla="*/ 17265 h 48518"/>
                <a:gd name="connsiteX19" fmla="*/ 10710 w 11611"/>
                <a:gd name="connsiteY19" fmla="*/ 17600 h 48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11" h="48518">
                  <a:moveTo>
                    <a:pt x="991" y="5352"/>
                  </a:moveTo>
                  <a:cubicBezTo>
                    <a:pt x="991" y="2205"/>
                    <a:pt x="3542" y="-346"/>
                    <a:pt x="6689" y="-346"/>
                  </a:cubicBezTo>
                  <a:cubicBezTo>
                    <a:pt x="6716" y="-346"/>
                    <a:pt x="6743" y="-346"/>
                    <a:pt x="6769" y="-346"/>
                  </a:cubicBezTo>
                  <a:cubicBezTo>
                    <a:pt x="9938" y="-346"/>
                    <a:pt x="12529" y="2184"/>
                    <a:pt x="12600" y="5352"/>
                  </a:cubicBezTo>
                  <a:cubicBezTo>
                    <a:pt x="12600" y="8585"/>
                    <a:pt x="10002" y="11221"/>
                    <a:pt x="6769" y="11263"/>
                  </a:cubicBezTo>
                  <a:cubicBezTo>
                    <a:pt x="3579" y="11263"/>
                    <a:pt x="991" y="8678"/>
                    <a:pt x="989" y="5488"/>
                  </a:cubicBezTo>
                  <a:cubicBezTo>
                    <a:pt x="989" y="5443"/>
                    <a:pt x="991" y="5398"/>
                    <a:pt x="991" y="5352"/>
                  </a:cubicBezTo>
                  <a:moveTo>
                    <a:pt x="10710" y="17521"/>
                  </a:moveTo>
                  <a:lnTo>
                    <a:pt x="10710" y="46144"/>
                  </a:lnTo>
                  <a:cubicBezTo>
                    <a:pt x="10800" y="47169"/>
                    <a:pt x="10044" y="48074"/>
                    <a:pt x="9019" y="48165"/>
                  </a:cubicBezTo>
                  <a:cubicBezTo>
                    <a:pt x="8918" y="48175"/>
                    <a:pt x="8814" y="48175"/>
                    <a:pt x="8713" y="48167"/>
                  </a:cubicBezTo>
                  <a:lnTo>
                    <a:pt x="4000" y="48167"/>
                  </a:lnTo>
                  <a:cubicBezTo>
                    <a:pt x="2975" y="48244"/>
                    <a:pt x="2078" y="47475"/>
                    <a:pt x="2001" y="46450"/>
                  </a:cubicBezTo>
                  <a:cubicBezTo>
                    <a:pt x="1993" y="46349"/>
                    <a:pt x="1995" y="46245"/>
                    <a:pt x="2003" y="46144"/>
                  </a:cubicBezTo>
                  <a:lnTo>
                    <a:pt x="2003" y="17600"/>
                  </a:lnTo>
                  <a:cubicBezTo>
                    <a:pt x="1910" y="16591"/>
                    <a:pt x="2656" y="15697"/>
                    <a:pt x="3665" y="15603"/>
                  </a:cubicBezTo>
                  <a:cubicBezTo>
                    <a:pt x="3777" y="15593"/>
                    <a:pt x="3888" y="15593"/>
                    <a:pt x="4000" y="15603"/>
                  </a:cubicBezTo>
                  <a:lnTo>
                    <a:pt x="8713" y="15603"/>
                  </a:lnTo>
                  <a:cubicBezTo>
                    <a:pt x="9722" y="15510"/>
                    <a:pt x="10617" y="16256"/>
                    <a:pt x="10710" y="17265"/>
                  </a:cubicBezTo>
                  <a:cubicBezTo>
                    <a:pt x="10721" y="17377"/>
                    <a:pt x="10721" y="17489"/>
                    <a:pt x="10710" y="17600"/>
                  </a:cubicBezTo>
                </a:path>
              </a:pathLst>
            </a:custGeom>
            <a:solidFill>
              <a:srgbClr val="8FDB42"/>
            </a:solidFill>
            <a:ln w="2661" cap="flat">
              <a:noFill/>
              <a:prstDash val="solid"/>
              <a:miter/>
            </a:ln>
          </p:spPr>
          <p:txBody>
            <a:bodyPr rtlCol="0" anchor="ctr"/>
            <a:lstStyle/>
            <a:p>
              <a:endParaRPr lang="pl-PL"/>
            </a:p>
          </p:txBody>
        </p:sp>
        <p:sp>
          <p:nvSpPr>
            <p:cNvPr id="145" name="Freeform: Shape 144">
              <a:extLst>
                <a:ext uri="{FF2B5EF4-FFF2-40B4-BE49-F238E27FC236}">
                  <a16:creationId xmlns:a16="http://schemas.microsoft.com/office/drawing/2014/main" id="{8DD090B2-8BBB-4B0E-9F5E-8BFC9B0478D2}"/>
                </a:ext>
              </a:extLst>
            </p:cNvPr>
            <p:cNvSpPr/>
            <p:nvPr/>
          </p:nvSpPr>
          <p:spPr>
            <a:xfrm>
              <a:off x="11818135" y="6751161"/>
              <a:ext cx="19391" cy="18427"/>
            </a:xfrm>
            <a:custGeom>
              <a:avLst/>
              <a:gdLst>
                <a:gd name="connsiteX0" fmla="*/ 3041 w 34361"/>
                <a:gd name="connsiteY0" fmla="*/ -340 h 32653"/>
                <a:gd name="connsiteX1" fmla="*/ 8766 w 34361"/>
                <a:gd name="connsiteY1" fmla="*/ -340 h 32653"/>
                <a:gd name="connsiteX2" fmla="*/ 11029 w 34361"/>
                <a:gd name="connsiteY2" fmla="*/ 1364 h 32653"/>
                <a:gd name="connsiteX3" fmla="*/ 17606 w 34361"/>
                <a:gd name="connsiteY3" fmla="*/ 22665 h 32653"/>
                <a:gd name="connsiteX4" fmla="*/ 19257 w 34361"/>
                <a:gd name="connsiteY4" fmla="*/ 22665 h 32653"/>
                <a:gd name="connsiteX5" fmla="*/ 26020 w 34361"/>
                <a:gd name="connsiteY5" fmla="*/ 1364 h 32653"/>
                <a:gd name="connsiteX6" fmla="*/ 28230 w 34361"/>
                <a:gd name="connsiteY6" fmla="*/ -340 h 32653"/>
                <a:gd name="connsiteX7" fmla="*/ 33555 w 34361"/>
                <a:gd name="connsiteY7" fmla="*/ -340 h 32653"/>
                <a:gd name="connsiteX8" fmla="*/ 35179 w 34361"/>
                <a:gd name="connsiteY8" fmla="*/ 1976 h 32653"/>
                <a:gd name="connsiteX9" fmla="*/ 23623 w 34361"/>
                <a:gd name="connsiteY9" fmla="*/ 30546 h 32653"/>
                <a:gd name="connsiteX10" fmla="*/ 20961 w 34361"/>
                <a:gd name="connsiteY10" fmla="*/ 32304 h 32653"/>
                <a:gd name="connsiteX11" fmla="*/ 15130 w 34361"/>
                <a:gd name="connsiteY11" fmla="*/ 32304 h 32653"/>
                <a:gd name="connsiteX12" fmla="*/ 12467 w 34361"/>
                <a:gd name="connsiteY12" fmla="*/ 30546 h 32653"/>
                <a:gd name="connsiteX13" fmla="*/ 1178 w 34361"/>
                <a:gd name="connsiteY13" fmla="*/ 1923 h 32653"/>
                <a:gd name="connsiteX14" fmla="*/ 2748 w 34361"/>
                <a:gd name="connsiteY14" fmla="*/ -340 h 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361" h="32653">
                  <a:moveTo>
                    <a:pt x="3041" y="-340"/>
                  </a:moveTo>
                  <a:lnTo>
                    <a:pt x="8766" y="-340"/>
                  </a:lnTo>
                  <a:cubicBezTo>
                    <a:pt x="9839" y="-417"/>
                    <a:pt x="10806" y="310"/>
                    <a:pt x="11029" y="1364"/>
                  </a:cubicBezTo>
                  <a:lnTo>
                    <a:pt x="17606" y="22665"/>
                  </a:lnTo>
                  <a:cubicBezTo>
                    <a:pt x="18005" y="23757"/>
                    <a:pt x="18884" y="23757"/>
                    <a:pt x="19257" y="22665"/>
                  </a:cubicBezTo>
                  <a:lnTo>
                    <a:pt x="26020" y="1364"/>
                  </a:lnTo>
                  <a:cubicBezTo>
                    <a:pt x="26230" y="326"/>
                    <a:pt x="27173" y="-401"/>
                    <a:pt x="28230" y="-340"/>
                  </a:cubicBezTo>
                  <a:lnTo>
                    <a:pt x="33555" y="-340"/>
                  </a:lnTo>
                  <a:cubicBezTo>
                    <a:pt x="35046" y="-340"/>
                    <a:pt x="35685" y="592"/>
                    <a:pt x="35179" y="1976"/>
                  </a:cubicBezTo>
                  <a:lnTo>
                    <a:pt x="23623" y="30546"/>
                  </a:lnTo>
                  <a:cubicBezTo>
                    <a:pt x="23224" y="31657"/>
                    <a:pt x="22140" y="32373"/>
                    <a:pt x="20961" y="32304"/>
                  </a:cubicBezTo>
                  <a:lnTo>
                    <a:pt x="15130" y="32304"/>
                  </a:lnTo>
                  <a:cubicBezTo>
                    <a:pt x="13950" y="32373"/>
                    <a:pt x="12866" y="31657"/>
                    <a:pt x="12467" y="30546"/>
                  </a:cubicBezTo>
                  <a:lnTo>
                    <a:pt x="1178" y="1923"/>
                  </a:lnTo>
                  <a:cubicBezTo>
                    <a:pt x="672" y="592"/>
                    <a:pt x="1178" y="-340"/>
                    <a:pt x="2748" y="-340"/>
                  </a:cubicBezTo>
                </a:path>
              </a:pathLst>
            </a:custGeom>
            <a:solidFill>
              <a:srgbClr val="8FDB42"/>
            </a:solidFill>
            <a:ln w="2661" cap="flat">
              <a:noFill/>
              <a:prstDash val="solid"/>
              <a:miter/>
            </a:ln>
          </p:spPr>
          <p:txBody>
            <a:bodyPr rtlCol="0" anchor="ctr"/>
            <a:lstStyle/>
            <a:p>
              <a:endParaRPr lang="pl-PL"/>
            </a:p>
          </p:txBody>
        </p:sp>
        <p:sp>
          <p:nvSpPr>
            <p:cNvPr id="146" name="Freeform: Shape 145">
              <a:extLst>
                <a:ext uri="{FF2B5EF4-FFF2-40B4-BE49-F238E27FC236}">
                  <a16:creationId xmlns:a16="http://schemas.microsoft.com/office/drawing/2014/main" id="{BF523F32-CCFA-4106-AB57-01DA0482B24B}"/>
                </a:ext>
              </a:extLst>
            </p:cNvPr>
            <p:cNvSpPr/>
            <p:nvPr/>
          </p:nvSpPr>
          <p:spPr>
            <a:xfrm>
              <a:off x="11839093" y="6750822"/>
              <a:ext cx="18454" cy="19157"/>
            </a:xfrm>
            <a:custGeom>
              <a:avLst/>
              <a:gdLst>
                <a:gd name="connsiteX0" fmla="*/ 17931 w 32701"/>
                <a:gd name="connsiteY0" fmla="*/ -324 h 33946"/>
                <a:gd name="connsiteX1" fmla="*/ 33689 w 32701"/>
                <a:gd name="connsiteY1" fmla="*/ 15867 h 33946"/>
                <a:gd name="connsiteX2" fmla="*/ 33614 w 32701"/>
                <a:gd name="connsiteY2" fmla="*/ 17196 h 33946"/>
                <a:gd name="connsiteX3" fmla="*/ 31809 w 32701"/>
                <a:gd name="connsiteY3" fmla="*/ 19012 h 33946"/>
                <a:gd name="connsiteX4" fmla="*/ 31670 w 32701"/>
                <a:gd name="connsiteY4" fmla="*/ 19006 h 33946"/>
                <a:gd name="connsiteX5" fmla="*/ 11568 w 32701"/>
                <a:gd name="connsiteY5" fmla="*/ 19006 h 33946"/>
                <a:gd name="connsiteX6" fmla="*/ 10130 w 32701"/>
                <a:gd name="connsiteY6" fmla="*/ 20950 h 33946"/>
                <a:gd name="connsiteX7" fmla="*/ 18118 w 32701"/>
                <a:gd name="connsiteY7" fmla="*/ 26488 h 33946"/>
                <a:gd name="connsiteX8" fmla="*/ 24455 w 32701"/>
                <a:gd name="connsiteY8" fmla="*/ 23613 h 33946"/>
                <a:gd name="connsiteX9" fmla="*/ 26771 w 32701"/>
                <a:gd name="connsiteY9" fmla="*/ 22148 h 33946"/>
                <a:gd name="connsiteX10" fmla="*/ 31058 w 32701"/>
                <a:gd name="connsiteY10" fmla="*/ 22148 h 33946"/>
                <a:gd name="connsiteX11" fmla="*/ 32789 w 32701"/>
                <a:gd name="connsiteY11" fmla="*/ 24358 h 33946"/>
                <a:gd name="connsiteX12" fmla="*/ 18118 w 32701"/>
                <a:gd name="connsiteY12" fmla="*/ 33571 h 33946"/>
                <a:gd name="connsiteX13" fmla="*/ 994 w 32701"/>
                <a:gd name="connsiteY13" fmla="*/ 17371 h 33946"/>
                <a:gd name="connsiteX14" fmla="*/ 997 w 32701"/>
                <a:gd name="connsiteY14" fmla="*/ 16370 h 33946"/>
                <a:gd name="connsiteX15" fmla="*/ 16866 w 32701"/>
                <a:gd name="connsiteY15" fmla="*/ -340 h 33946"/>
                <a:gd name="connsiteX16" fmla="*/ 18118 w 32701"/>
                <a:gd name="connsiteY16" fmla="*/ -324 h 33946"/>
                <a:gd name="connsiteX17" fmla="*/ 12020 w 32701"/>
                <a:gd name="connsiteY17" fmla="*/ 13362 h 33946"/>
                <a:gd name="connsiteX18" fmla="*/ 23257 w 32701"/>
                <a:gd name="connsiteY18" fmla="*/ 13362 h 33946"/>
                <a:gd name="connsiteX19" fmla="*/ 24774 w 32701"/>
                <a:gd name="connsiteY19" fmla="*/ 11365 h 33946"/>
                <a:gd name="connsiteX20" fmla="*/ 17984 w 32701"/>
                <a:gd name="connsiteY20" fmla="*/ 6705 h 33946"/>
                <a:gd name="connsiteX21" fmla="*/ 10582 w 32701"/>
                <a:gd name="connsiteY21" fmla="*/ 11285 h 33946"/>
                <a:gd name="connsiteX22" fmla="*/ 12020 w 32701"/>
                <a:gd name="connsiteY22" fmla="*/ 13362 h 3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701" h="33946">
                  <a:moveTo>
                    <a:pt x="17931" y="-324"/>
                  </a:moveTo>
                  <a:cubicBezTo>
                    <a:pt x="26753" y="-204"/>
                    <a:pt x="33809" y="7046"/>
                    <a:pt x="33689" y="15867"/>
                  </a:cubicBezTo>
                  <a:cubicBezTo>
                    <a:pt x="33681" y="16312"/>
                    <a:pt x="33657" y="16754"/>
                    <a:pt x="33614" y="17196"/>
                  </a:cubicBezTo>
                  <a:cubicBezTo>
                    <a:pt x="33617" y="18197"/>
                    <a:pt x="32807" y="19009"/>
                    <a:pt x="31809" y="19012"/>
                  </a:cubicBezTo>
                  <a:cubicBezTo>
                    <a:pt x="31764" y="19012"/>
                    <a:pt x="31716" y="19009"/>
                    <a:pt x="31670" y="19006"/>
                  </a:cubicBezTo>
                  <a:lnTo>
                    <a:pt x="11568" y="19006"/>
                  </a:lnTo>
                  <a:cubicBezTo>
                    <a:pt x="10369" y="19006"/>
                    <a:pt x="9624" y="19778"/>
                    <a:pt x="10130" y="20950"/>
                  </a:cubicBezTo>
                  <a:cubicBezTo>
                    <a:pt x="11272" y="24361"/>
                    <a:pt x="14523" y="26616"/>
                    <a:pt x="18118" y="26488"/>
                  </a:cubicBezTo>
                  <a:cubicBezTo>
                    <a:pt x="20589" y="26709"/>
                    <a:pt x="22996" y="25618"/>
                    <a:pt x="24455" y="23613"/>
                  </a:cubicBezTo>
                  <a:cubicBezTo>
                    <a:pt x="24897" y="22734"/>
                    <a:pt x="25789" y="22172"/>
                    <a:pt x="26771" y="22148"/>
                  </a:cubicBezTo>
                  <a:lnTo>
                    <a:pt x="31058" y="22148"/>
                  </a:lnTo>
                  <a:cubicBezTo>
                    <a:pt x="32416" y="22148"/>
                    <a:pt x="33295" y="23027"/>
                    <a:pt x="32789" y="24358"/>
                  </a:cubicBezTo>
                  <a:cubicBezTo>
                    <a:pt x="30387" y="30264"/>
                    <a:pt x="24479" y="33973"/>
                    <a:pt x="18118" y="33571"/>
                  </a:cubicBezTo>
                  <a:cubicBezTo>
                    <a:pt x="8916" y="33826"/>
                    <a:pt x="1250" y="26573"/>
                    <a:pt x="994" y="17371"/>
                  </a:cubicBezTo>
                  <a:cubicBezTo>
                    <a:pt x="986" y="17036"/>
                    <a:pt x="986" y="16703"/>
                    <a:pt x="997" y="16370"/>
                  </a:cubicBezTo>
                  <a:cubicBezTo>
                    <a:pt x="765" y="7373"/>
                    <a:pt x="7869" y="-109"/>
                    <a:pt x="16866" y="-340"/>
                  </a:cubicBezTo>
                  <a:cubicBezTo>
                    <a:pt x="17284" y="-351"/>
                    <a:pt x="17700" y="-346"/>
                    <a:pt x="18118" y="-324"/>
                  </a:cubicBezTo>
                  <a:moveTo>
                    <a:pt x="12020" y="13362"/>
                  </a:moveTo>
                  <a:lnTo>
                    <a:pt x="23257" y="13362"/>
                  </a:lnTo>
                  <a:cubicBezTo>
                    <a:pt x="24508" y="13362"/>
                    <a:pt x="25280" y="12616"/>
                    <a:pt x="24774" y="11365"/>
                  </a:cubicBezTo>
                  <a:cubicBezTo>
                    <a:pt x="23707" y="8545"/>
                    <a:pt x="20999" y="6686"/>
                    <a:pt x="17984" y="6705"/>
                  </a:cubicBezTo>
                  <a:cubicBezTo>
                    <a:pt x="14859" y="6737"/>
                    <a:pt x="12007" y="8502"/>
                    <a:pt x="10582" y="11285"/>
                  </a:cubicBezTo>
                  <a:cubicBezTo>
                    <a:pt x="10023" y="12483"/>
                    <a:pt x="10716" y="13362"/>
                    <a:pt x="12020" y="13362"/>
                  </a:cubicBezTo>
                </a:path>
              </a:pathLst>
            </a:custGeom>
            <a:solidFill>
              <a:srgbClr val="8FDB42"/>
            </a:solidFill>
            <a:ln w="2661" cap="flat">
              <a:noFill/>
              <a:prstDash val="solid"/>
              <a:miter/>
            </a:ln>
          </p:spPr>
          <p:txBody>
            <a:bodyPr rtlCol="0" anchor="ctr"/>
            <a:lstStyle/>
            <a:p>
              <a:endParaRPr lang="pl-PL"/>
            </a:p>
          </p:txBody>
        </p:sp>
        <p:sp>
          <p:nvSpPr>
            <p:cNvPr id="147" name="Freeform: Shape 146">
              <a:extLst>
                <a:ext uri="{FF2B5EF4-FFF2-40B4-BE49-F238E27FC236}">
                  <a16:creationId xmlns:a16="http://schemas.microsoft.com/office/drawing/2014/main" id="{1FC7168F-14E7-4366-B0D2-719CF6CBDB37}"/>
                </a:ext>
              </a:extLst>
            </p:cNvPr>
            <p:cNvSpPr/>
            <p:nvPr/>
          </p:nvSpPr>
          <p:spPr>
            <a:xfrm>
              <a:off x="11575064" y="6784526"/>
              <a:ext cx="208318" cy="27505"/>
            </a:xfrm>
            <a:custGeom>
              <a:avLst/>
              <a:gdLst>
                <a:gd name="connsiteX0" fmla="*/ 2220 w 369143"/>
                <a:gd name="connsiteY0" fmla="*/ 48333 h 48740"/>
                <a:gd name="connsiteX1" fmla="*/ 4004 w 369143"/>
                <a:gd name="connsiteY1" fmla="*/ 48333 h 48740"/>
                <a:gd name="connsiteX2" fmla="*/ 5226 w 369143"/>
                <a:gd name="connsiteY2" fmla="*/ 47390 h 48740"/>
                <a:gd name="connsiteX3" fmla="*/ 5229 w 369143"/>
                <a:gd name="connsiteY3" fmla="*/ 47135 h 48740"/>
                <a:gd name="connsiteX4" fmla="*/ 5229 w 369143"/>
                <a:gd name="connsiteY4" fmla="*/ 37043 h 48740"/>
                <a:gd name="connsiteX5" fmla="*/ 7172 w 369143"/>
                <a:gd name="connsiteY5" fmla="*/ 36165 h 48740"/>
                <a:gd name="connsiteX6" fmla="*/ 14202 w 369143"/>
                <a:gd name="connsiteY6" fmla="*/ 38109 h 48740"/>
                <a:gd name="connsiteX7" fmla="*/ 26961 w 369143"/>
                <a:gd name="connsiteY7" fmla="*/ 25096 h 48740"/>
                <a:gd name="connsiteX8" fmla="*/ 26955 w 369143"/>
                <a:gd name="connsiteY8" fmla="*/ 24795 h 48740"/>
                <a:gd name="connsiteX9" fmla="*/ 14444 w 369143"/>
                <a:gd name="connsiteY9" fmla="*/ 11751 h 48740"/>
                <a:gd name="connsiteX10" fmla="*/ 14281 w 369143"/>
                <a:gd name="connsiteY10" fmla="*/ 11749 h 48740"/>
                <a:gd name="connsiteX11" fmla="*/ 6533 w 369143"/>
                <a:gd name="connsiteY11" fmla="*/ 14198 h 48740"/>
                <a:gd name="connsiteX12" fmla="*/ 4403 w 369143"/>
                <a:gd name="connsiteY12" fmla="*/ 13453 h 48740"/>
                <a:gd name="connsiteX13" fmla="*/ 4403 w 369143"/>
                <a:gd name="connsiteY13" fmla="*/ 13453 h 48740"/>
                <a:gd name="connsiteX14" fmla="*/ 3098 w 369143"/>
                <a:gd name="connsiteY14" fmla="*/ 12334 h 48740"/>
                <a:gd name="connsiteX15" fmla="*/ 2220 w 369143"/>
                <a:gd name="connsiteY15" fmla="*/ 12334 h 48740"/>
                <a:gd name="connsiteX16" fmla="*/ 998 w 369143"/>
                <a:gd name="connsiteY16" fmla="*/ 13277 h 48740"/>
                <a:gd name="connsiteX17" fmla="*/ 995 w 369143"/>
                <a:gd name="connsiteY17" fmla="*/ 13533 h 48740"/>
                <a:gd name="connsiteX18" fmla="*/ 995 w 369143"/>
                <a:gd name="connsiteY18" fmla="*/ 47135 h 48740"/>
                <a:gd name="connsiteX19" fmla="*/ 1964 w 369143"/>
                <a:gd name="connsiteY19" fmla="*/ 48336 h 48740"/>
                <a:gd name="connsiteX20" fmla="*/ 2220 w 369143"/>
                <a:gd name="connsiteY20" fmla="*/ 48333 h 48740"/>
                <a:gd name="connsiteX21" fmla="*/ 5575 w 369143"/>
                <a:gd name="connsiteY21" fmla="*/ 27991 h 48740"/>
                <a:gd name="connsiteX22" fmla="*/ 5575 w 369143"/>
                <a:gd name="connsiteY22" fmla="*/ 21920 h 48740"/>
                <a:gd name="connsiteX23" fmla="*/ 6107 w 369143"/>
                <a:gd name="connsiteY23" fmla="*/ 19816 h 48740"/>
                <a:gd name="connsiteX24" fmla="*/ 13749 w 369143"/>
                <a:gd name="connsiteY24" fmla="*/ 15769 h 48740"/>
                <a:gd name="connsiteX25" fmla="*/ 22269 w 369143"/>
                <a:gd name="connsiteY25" fmla="*/ 24875 h 48740"/>
                <a:gd name="connsiteX26" fmla="*/ 13749 w 369143"/>
                <a:gd name="connsiteY26" fmla="*/ 34195 h 48740"/>
                <a:gd name="connsiteX27" fmla="*/ 6107 w 369143"/>
                <a:gd name="connsiteY27" fmla="*/ 30094 h 48740"/>
                <a:gd name="connsiteX28" fmla="*/ 5575 w 369143"/>
                <a:gd name="connsiteY28" fmla="*/ 27991 h 48740"/>
                <a:gd name="connsiteX29" fmla="*/ 36967 w 369143"/>
                <a:gd name="connsiteY29" fmla="*/ -340 h 48740"/>
                <a:gd name="connsiteX30" fmla="*/ 34837 w 369143"/>
                <a:gd name="connsiteY30" fmla="*/ -340 h 48740"/>
                <a:gd name="connsiteX31" fmla="*/ 33612 w 369143"/>
                <a:gd name="connsiteY31" fmla="*/ 662 h 48740"/>
                <a:gd name="connsiteX32" fmla="*/ 33612 w 369143"/>
                <a:gd name="connsiteY32" fmla="*/ 885 h 48740"/>
                <a:gd name="connsiteX33" fmla="*/ 33612 w 369143"/>
                <a:gd name="connsiteY33" fmla="*/ 36431 h 48740"/>
                <a:gd name="connsiteX34" fmla="*/ 34581 w 369143"/>
                <a:gd name="connsiteY34" fmla="*/ 37632 h 48740"/>
                <a:gd name="connsiteX35" fmla="*/ 34837 w 369143"/>
                <a:gd name="connsiteY35" fmla="*/ 37629 h 48740"/>
                <a:gd name="connsiteX36" fmla="*/ 36967 w 369143"/>
                <a:gd name="connsiteY36" fmla="*/ 37629 h 48740"/>
                <a:gd name="connsiteX37" fmla="*/ 38189 w 369143"/>
                <a:gd name="connsiteY37" fmla="*/ 36687 h 48740"/>
                <a:gd name="connsiteX38" fmla="*/ 38192 w 369143"/>
                <a:gd name="connsiteY38" fmla="*/ 36431 h 48740"/>
                <a:gd name="connsiteX39" fmla="*/ 38192 w 369143"/>
                <a:gd name="connsiteY39" fmla="*/ 885 h 48740"/>
                <a:gd name="connsiteX40" fmla="*/ 37191 w 369143"/>
                <a:gd name="connsiteY40" fmla="*/ -340 h 48740"/>
                <a:gd name="connsiteX41" fmla="*/ 36967 w 369143"/>
                <a:gd name="connsiteY41" fmla="*/ -340 h 48740"/>
                <a:gd name="connsiteX42" fmla="*/ 44768 w 369143"/>
                <a:gd name="connsiteY42" fmla="*/ 30680 h 48740"/>
                <a:gd name="connsiteX43" fmla="*/ 52485 w 369143"/>
                <a:gd name="connsiteY43" fmla="*/ 38141 h 48740"/>
                <a:gd name="connsiteX44" fmla="*/ 53049 w 369143"/>
                <a:gd name="connsiteY44" fmla="*/ 38109 h 48740"/>
                <a:gd name="connsiteX45" fmla="*/ 61756 w 369143"/>
                <a:gd name="connsiteY45" fmla="*/ 35446 h 48740"/>
                <a:gd name="connsiteX46" fmla="*/ 63992 w 369143"/>
                <a:gd name="connsiteY46" fmla="*/ 36218 h 48740"/>
                <a:gd name="connsiteX47" fmla="*/ 64152 w 369143"/>
                <a:gd name="connsiteY47" fmla="*/ 36724 h 48740"/>
                <a:gd name="connsiteX48" fmla="*/ 65510 w 369143"/>
                <a:gd name="connsiteY48" fmla="*/ 37736 h 48740"/>
                <a:gd name="connsiteX49" fmla="*/ 66096 w 369143"/>
                <a:gd name="connsiteY49" fmla="*/ 37736 h 48740"/>
                <a:gd name="connsiteX50" fmla="*/ 67294 w 369143"/>
                <a:gd name="connsiteY50" fmla="*/ 36761 h 48740"/>
                <a:gd name="connsiteX51" fmla="*/ 67294 w 369143"/>
                <a:gd name="connsiteY51" fmla="*/ 36538 h 48740"/>
                <a:gd name="connsiteX52" fmla="*/ 67294 w 369143"/>
                <a:gd name="connsiteY52" fmla="*/ 22905 h 48740"/>
                <a:gd name="connsiteX53" fmla="*/ 56644 w 369143"/>
                <a:gd name="connsiteY53" fmla="*/ 11935 h 48740"/>
                <a:gd name="connsiteX54" fmla="*/ 45993 w 369143"/>
                <a:gd name="connsiteY54" fmla="*/ 19497 h 48740"/>
                <a:gd name="connsiteX55" fmla="*/ 46712 w 369143"/>
                <a:gd name="connsiteY55" fmla="*/ 20778 h 48740"/>
                <a:gd name="connsiteX56" fmla="*/ 47165 w 369143"/>
                <a:gd name="connsiteY56" fmla="*/ 20802 h 48740"/>
                <a:gd name="connsiteX57" fmla="*/ 49055 w 369143"/>
                <a:gd name="connsiteY57" fmla="*/ 20802 h 48740"/>
                <a:gd name="connsiteX58" fmla="*/ 50386 w 369143"/>
                <a:gd name="connsiteY58" fmla="*/ 19736 h 48740"/>
                <a:gd name="connsiteX59" fmla="*/ 56510 w 369143"/>
                <a:gd name="connsiteY59" fmla="*/ 15929 h 48740"/>
                <a:gd name="connsiteX60" fmla="*/ 62938 w 369143"/>
                <a:gd name="connsiteY60" fmla="*/ 20791 h 48740"/>
                <a:gd name="connsiteX61" fmla="*/ 62981 w 369143"/>
                <a:gd name="connsiteY61" fmla="*/ 21920 h 48740"/>
                <a:gd name="connsiteX62" fmla="*/ 61277 w 369143"/>
                <a:gd name="connsiteY62" fmla="*/ 23491 h 48740"/>
                <a:gd name="connsiteX63" fmla="*/ 55632 w 369143"/>
                <a:gd name="connsiteY63" fmla="*/ 23491 h 48740"/>
                <a:gd name="connsiteX64" fmla="*/ 44981 w 369143"/>
                <a:gd name="connsiteY64" fmla="*/ 30840 h 48740"/>
                <a:gd name="connsiteX65" fmla="*/ 49561 w 369143"/>
                <a:gd name="connsiteY65" fmla="*/ 30840 h 48740"/>
                <a:gd name="connsiteX66" fmla="*/ 55792 w 369143"/>
                <a:gd name="connsiteY66" fmla="*/ 27325 h 48740"/>
                <a:gd name="connsiteX67" fmla="*/ 61330 w 369143"/>
                <a:gd name="connsiteY67" fmla="*/ 27325 h 48740"/>
                <a:gd name="connsiteX68" fmla="*/ 63034 w 369143"/>
                <a:gd name="connsiteY68" fmla="*/ 28691 h 48740"/>
                <a:gd name="connsiteX69" fmla="*/ 63034 w 369143"/>
                <a:gd name="connsiteY69" fmla="*/ 29029 h 48740"/>
                <a:gd name="connsiteX70" fmla="*/ 63034 w 369143"/>
                <a:gd name="connsiteY70" fmla="*/ 29535 h 48740"/>
                <a:gd name="connsiteX71" fmla="*/ 62022 w 369143"/>
                <a:gd name="connsiteY71" fmla="*/ 31585 h 48740"/>
                <a:gd name="connsiteX72" fmla="*/ 54274 w 369143"/>
                <a:gd name="connsiteY72" fmla="*/ 34248 h 48740"/>
                <a:gd name="connsiteX73" fmla="*/ 49561 w 369143"/>
                <a:gd name="connsiteY73" fmla="*/ 30733 h 48740"/>
                <a:gd name="connsiteX74" fmla="*/ 76826 w 369143"/>
                <a:gd name="connsiteY74" fmla="*/ 37789 h 48740"/>
                <a:gd name="connsiteX75" fmla="*/ 78956 w 369143"/>
                <a:gd name="connsiteY75" fmla="*/ 37789 h 48740"/>
                <a:gd name="connsiteX76" fmla="*/ 80179 w 369143"/>
                <a:gd name="connsiteY76" fmla="*/ 36846 h 48740"/>
                <a:gd name="connsiteX77" fmla="*/ 80181 w 369143"/>
                <a:gd name="connsiteY77" fmla="*/ 36591 h 48740"/>
                <a:gd name="connsiteX78" fmla="*/ 80181 w 369143"/>
                <a:gd name="connsiteY78" fmla="*/ 20988 h 48740"/>
                <a:gd name="connsiteX79" fmla="*/ 81299 w 369143"/>
                <a:gd name="connsiteY79" fmla="*/ 18964 h 48740"/>
                <a:gd name="connsiteX80" fmla="*/ 89580 w 369143"/>
                <a:gd name="connsiteY80" fmla="*/ 16035 h 48740"/>
                <a:gd name="connsiteX81" fmla="*/ 95140 w 369143"/>
                <a:gd name="connsiteY81" fmla="*/ 20658 h 48740"/>
                <a:gd name="connsiteX82" fmla="*/ 95118 w 369143"/>
                <a:gd name="connsiteY82" fmla="*/ 21787 h 48740"/>
                <a:gd name="connsiteX83" fmla="*/ 95118 w 369143"/>
                <a:gd name="connsiteY83" fmla="*/ 36591 h 48740"/>
                <a:gd name="connsiteX84" fmla="*/ 96088 w 369143"/>
                <a:gd name="connsiteY84" fmla="*/ 37792 h 48740"/>
                <a:gd name="connsiteX85" fmla="*/ 96343 w 369143"/>
                <a:gd name="connsiteY85" fmla="*/ 37789 h 48740"/>
                <a:gd name="connsiteX86" fmla="*/ 98473 w 369143"/>
                <a:gd name="connsiteY86" fmla="*/ 37789 h 48740"/>
                <a:gd name="connsiteX87" fmla="*/ 99696 w 369143"/>
                <a:gd name="connsiteY87" fmla="*/ 36846 h 48740"/>
                <a:gd name="connsiteX88" fmla="*/ 99698 w 369143"/>
                <a:gd name="connsiteY88" fmla="*/ 36591 h 48740"/>
                <a:gd name="connsiteX89" fmla="*/ 99698 w 369143"/>
                <a:gd name="connsiteY89" fmla="*/ 21574 h 48740"/>
                <a:gd name="connsiteX90" fmla="*/ 90885 w 369143"/>
                <a:gd name="connsiteY90" fmla="*/ 11988 h 48740"/>
                <a:gd name="connsiteX91" fmla="*/ 81326 w 369143"/>
                <a:gd name="connsiteY91" fmla="*/ 14811 h 48740"/>
                <a:gd name="connsiteX92" fmla="*/ 79143 w 369143"/>
                <a:gd name="connsiteY92" fmla="*/ 13932 h 48740"/>
                <a:gd name="connsiteX93" fmla="*/ 79143 w 369143"/>
                <a:gd name="connsiteY93" fmla="*/ 13559 h 48740"/>
                <a:gd name="connsiteX94" fmla="*/ 77758 w 369143"/>
                <a:gd name="connsiteY94" fmla="*/ 12494 h 48740"/>
                <a:gd name="connsiteX95" fmla="*/ 76906 w 369143"/>
                <a:gd name="connsiteY95" fmla="*/ 12494 h 48740"/>
                <a:gd name="connsiteX96" fmla="*/ 75684 w 369143"/>
                <a:gd name="connsiteY96" fmla="*/ 13437 h 48740"/>
                <a:gd name="connsiteX97" fmla="*/ 75681 w 369143"/>
                <a:gd name="connsiteY97" fmla="*/ 13692 h 48740"/>
                <a:gd name="connsiteX98" fmla="*/ 75681 w 369143"/>
                <a:gd name="connsiteY98" fmla="*/ 36591 h 48740"/>
                <a:gd name="connsiteX99" fmla="*/ 76651 w 369143"/>
                <a:gd name="connsiteY99" fmla="*/ 37792 h 48740"/>
                <a:gd name="connsiteX100" fmla="*/ 76906 w 369143"/>
                <a:gd name="connsiteY100" fmla="*/ 37789 h 48740"/>
                <a:gd name="connsiteX101" fmla="*/ 106195 w 369143"/>
                <a:gd name="connsiteY101" fmla="*/ 24982 h 48740"/>
                <a:gd name="connsiteX102" fmla="*/ 118323 w 369143"/>
                <a:gd name="connsiteY102" fmla="*/ 38282 h 48740"/>
                <a:gd name="connsiteX103" fmla="*/ 119055 w 369143"/>
                <a:gd name="connsiteY103" fmla="*/ 38295 h 48740"/>
                <a:gd name="connsiteX104" fmla="*/ 129945 w 369143"/>
                <a:gd name="connsiteY104" fmla="*/ 31212 h 48740"/>
                <a:gd name="connsiteX105" fmla="*/ 128880 w 369143"/>
                <a:gd name="connsiteY105" fmla="*/ 29828 h 48740"/>
                <a:gd name="connsiteX106" fmla="*/ 127043 w 369143"/>
                <a:gd name="connsiteY106" fmla="*/ 29828 h 48740"/>
                <a:gd name="connsiteX107" fmla="*/ 125632 w 369143"/>
                <a:gd name="connsiteY107" fmla="*/ 30813 h 48740"/>
                <a:gd name="connsiteX108" fmla="*/ 119055 w 369143"/>
                <a:gd name="connsiteY108" fmla="*/ 34381 h 48740"/>
                <a:gd name="connsiteX109" fmla="*/ 111068 w 369143"/>
                <a:gd name="connsiteY109" fmla="*/ 28177 h 48740"/>
                <a:gd name="connsiteX110" fmla="*/ 112638 w 369143"/>
                <a:gd name="connsiteY110" fmla="*/ 26340 h 48740"/>
                <a:gd name="connsiteX111" fmla="*/ 129173 w 369143"/>
                <a:gd name="connsiteY111" fmla="*/ 26340 h 48740"/>
                <a:gd name="connsiteX112" fmla="*/ 130821 w 369143"/>
                <a:gd name="connsiteY112" fmla="*/ 24905 h 48740"/>
                <a:gd name="connsiteX113" fmla="*/ 130824 w 369143"/>
                <a:gd name="connsiteY113" fmla="*/ 24769 h 48740"/>
                <a:gd name="connsiteX114" fmla="*/ 119372 w 369143"/>
                <a:gd name="connsiteY114" fmla="*/ 11975 h 48740"/>
                <a:gd name="connsiteX115" fmla="*/ 119055 w 369143"/>
                <a:gd name="connsiteY115" fmla="*/ 11962 h 48740"/>
                <a:gd name="connsiteX116" fmla="*/ 106245 w 369143"/>
                <a:gd name="connsiteY116" fmla="*/ 24444 h 48740"/>
                <a:gd name="connsiteX117" fmla="*/ 106248 w 369143"/>
                <a:gd name="connsiteY117" fmla="*/ 24955 h 48740"/>
                <a:gd name="connsiteX118" fmla="*/ 111707 w 369143"/>
                <a:gd name="connsiteY118" fmla="*/ 20535 h 48740"/>
                <a:gd name="connsiteX119" fmla="*/ 119002 w 369143"/>
                <a:gd name="connsiteY119" fmla="*/ 15849 h 48740"/>
                <a:gd name="connsiteX120" fmla="*/ 125792 w 369143"/>
                <a:gd name="connsiteY120" fmla="*/ 20589 h 48740"/>
                <a:gd name="connsiteX121" fmla="*/ 124327 w 369143"/>
                <a:gd name="connsiteY121" fmla="*/ 22532 h 48740"/>
                <a:gd name="connsiteX122" fmla="*/ 113065 w 369143"/>
                <a:gd name="connsiteY122" fmla="*/ 22532 h 48740"/>
                <a:gd name="connsiteX123" fmla="*/ 111707 w 369143"/>
                <a:gd name="connsiteY123" fmla="*/ 20589 h 48740"/>
                <a:gd name="connsiteX124" fmla="*/ 135670 w 369143"/>
                <a:gd name="connsiteY124" fmla="*/ 16408 h 48740"/>
                <a:gd name="connsiteX125" fmla="*/ 137720 w 369143"/>
                <a:gd name="connsiteY125" fmla="*/ 16408 h 48740"/>
                <a:gd name="connsiteX126" fmla="*/ 138200 w 369143"/>
                <a:gd name="connsiteY126" fmla="*/ 16832 h 48740"/>
                <a:gd name="connsiteX127" fmla="*/ 138200 w 369143"/>
                <a:gd name="connsiteY127" fmla="*/ 16888 h 48740"/>
                <a:gd name="connsiteX128" fmla="*/ 138200 w 369143"/>
                <a:gd name="connsiteY128" fmla="*/ 30414 h 48740"/>
                <a:gd name="connsiteX129" fmla="*/ 145495 w 369143"/>
                <a:gd name="connsiteY129" fmla="*/ 38401 h 48740"/>
                <a:gd name="connsiteX130" fmla="*/ 151592 w 369143"/>
                <a:gd name="connsiteY130" fmla="*/ 37443 h 48740"/>
                <a:gd name="connsiteX131" fmla="*/ 151939 w 369143"/>
                <a:gd name="connsiteY131" fmla="*/ 35819 h 48740"/>
                <a:gd name="connsiteX132" fmla="*/ 151779 w 369143"/>
                <a:gd name="connsiteY132" fmla="*/ 34354 h 48740"/>
                <a:gd name="connsiteX133" fmla="*/ 150314 w 369143"/>
                <a:gd name="connsiteY133" fmla="*/ 33476 h 48740"/>
                <a:gd name="connsiteX134" fmla="*/ 145735 w 369143"/>
                <a:gd name="connsiteY134" fmla="*/ 34221 h 48740"/>
                <a:gd name="connsiteX135" fmla="*/ 142247 w 369143"/>
                <a:gd name="connsiteY135" fmla="*/ 30281 h 48740"/>
                <a:gd name="connsiteX136" fmla="*/ 142247 w 369143"/>
                <a:gd name="connsiteY136" fmla="*/ 16834 h 48740"/>
                <a:gd name="connsiteX137" fmla="*/ 142670 w 369143"/>
                <a:gd name="connsiteY137" fmla="*/ 16355 h 48740"/>
                <a:gd name="connsiteX138" fmla="*/ 142726 w 369143"/>
                <a:gd name="connsiteY138" fmla="*/ 16355 h 48740"/>
                <a:gd name="connsiteX139" fmla="*/ 150714 w 369143"/>
                <a:gd name="connsiteY139" fmla="*/ 16355 h 48740"/>
                <a:gd name="connsiteX140" fmla="*/ 151939 w 369143"/>
                <a:gd name="connsiteY140" fmla="*/ 15354 h 48740"/>
                <a:gd name="connsiteX141" fmla="*/ 151939 w 369143"/>
                <a:gd name="connsiteY141" fmla="*/ 15130 h 48740"/>
                <a:gd name="connsiteX142" fmla="*/ 151939 w 369143"/>
                <a:gd name="connsiteY142" fmla="*/ 13666 h 48740"/>
                <a:gd name="connsiteX143" fmla="*/ 150969 w 369143"/>
                <a:gd name="connsiteY143" fmla="*/ 12465 h 48740"/>
                <a:gd name="connsiteX144" fmla="*/ 150714 w 369143"/>
                <a:gd name="connsiteY144" fmla="*/ 12468 h 48740"/>
                <a:gd name="connsiteX145" fmla="*/ 142726 w 369143"/>
                <a:gd name="connsiteY145" fmla="*/ 12468 h 48740"/>
                <a:gd name="connsiteX146" fmla="*/ 142247 w 369143"/>
                <a:gd name="connsiteY146" fmla="*/ 11988 h 48740"/>
                <a:gd name="connsiteX147" fmla="*/ 142247 w 369143"/>
                <a:gd name="connsiteY147" fmla="*/ 11962 h 48740"/>
                <a:gd name="connsiteX148" fmla="*/ 142247 w 369143"/>
                <a:gd name="connsiteY148" fmla="*/ 6636 h 48740"/>
                <a:gd name="connsiteX149" fmla="*/ 140889 w 369143"/>
                <a:gd name="connsiteY149" fmla="*/ 5571 h 48740"/>
                <a:gd name="connsiteX150" fmla="*/ 138839 w 369143"/>
                <a:gd name="connsiteY150" fmla="*/ 6104 h 48740"/>
                <a:gd name="connsiteX151" fmla="*/ 137827 w 369143"/>
                <a:gd name="connsiteY151" fmla="*/ 7462 h 48740"/>
                <a:gd name="connsiteX152" fmla="*/ 137827 w 369143"/>
                <a:gd name="connsiteY152" fmla="*/ 11855 h 48740"/>
                <a:gd name="connsiteX153" fmla="*/ 137377 w 369143"/>
                <a:gd name="connsiteY153" fmla="*/ 12361 h 48740"/>
                <a:gd name="connsiteX154" fmla="*/ 137321 w 369143"/>
                <a:gd name="connsiteY154" fmla="*/ 12361 h 48740"/>
                <a:gd name="connsiteX155" fmla="*/ 135138 w 369143"/>
                <a:gd name="connsiteY155" fmla="*/ 12361 h 48740"/>
                <a:gd name="connsiteX156" fmla="*/ 133915 w 369143"/>
                <a:gd name="connsiteY156" fmla="*/ 13304 h 48740"/>
                <a:gd name="connsiteX157" fmla="*/ 133913 w 369143"/>
                <a:gd name="connsiteY157" fmla="*/ 13559 h 48740"/>
                <a:gd name="connsiteX158" fmla="*/ 133913 w 369143"/>
                <a:gd name="connsiteY158" fmla="*/ 15024 h 48740"/>
                <a:gd name="connsiteX159" fmla="*/ 134914 w 369143"/>
                <a:gd name="connsiteY159" fmla="*/ 16248 h 48740"/>
                <a:gd name="connsiteX160" fmla="*/ 135138 w 369143"/>
                <a:gd name="connsiteY160" fmla="*/ 16248 h 48740"/>
                <a:gd name="connsiteX161" fmla="*/ 168820 w 369143"/>
                <a:gd name="connsiteY161" fmla="*/ 24023 h 48740"/>
                <a:gd name="connsiteX162" fmla="*/ 169821 w 369143"/>
                <a:gd name="connsiteY162" fmla="*/ 25248 h 48740"/>
                <a:gd name="connsiteX163" fmla="*/ 170044 w 369143"/>
                <a:gd name="connsiteY163" fmla="*/ 25248 h 48740"/>
                <a:gd name="connsiteX164" fmla="*/ 175609 w 369143"/>
                <a:gd name="connsiteY164" fmla="*/ 25248 h 48740"/>
                <a:gd name="connsiteX165" fmla="*/ 176674 w 369143"/>
                <a:gd name="connsiteY165" fmla="*/ 26087 h 48740"/>
                <a:gd name="connsiteX166" fmla="*/ 176674 w 369143"/>
                <a:gd name="connsiteY166" fmla="*/ 26313 h 48740"/>
                <a:gd name="connsiteX167" fmla="*/ 176674 w 369143"/>
                <a:gd name="connsiteY167" fmla="*/ 31772 h 48740"/>
                <a:gd name="connsiteX168" fmla="*/ 177556 w 369143"/>
                <a:gd name="connsiteY168" fmla="*/ 32994 h 48740"/>
                <a:gd name="connsiteX169" fmla="*/ 177872 w 369143"/>
                <a:gd name="connsiteY169" fmla="*/ 32996 h 48740"/>
                <a:gd name="connsiteX170" fmla="*/ 179230 w 369143"/>
                <a:gd name="connsiteY170" fmla="*/ 32996 h 48740"/>
                <a:gd name="connsiteX171" fmla="*/ 180455 w 369143"/>
                <a:gd name="connsiteY171" fmla="*/ 31995 h 48740"/>
                <a:gd name="connsiteX172" fmla="*/ 180455 w 369143"/>
                <a:gd name="connsiteY172" fmla="*/ 31772 h 48740"/>
                <a:gd name="connsiteX173" fmla="*/ 180455 w 369143"/>
                <a:gd name="connsiteY173" fmla="*/ 26313 h 48740"/>
                <a:gd name="connsiteX174" fmla="*/ 181353 w 369143"/>
                <a:gd name="connsiteY174" fmla="*/ 25248 h 48740"/>
                <a:gd name="connsiteX175" fmla="*/ 181520 w 369143"/>
                <a:gd name="connsiteY175" fmla="*/ 25248 h 48740"/>
                <a:gd name="connsiteX176" fmla="*/ 186979 w 369143"/>
                <a:gd name="connsiteY176" fmla="*/ 25248 h 48740"/>
                <a:gd name="connsiteX177" fmla="*/ 188203 w 369143"/>
                <a:gd name="connsiteY177" fmla="*/ 24247 h 48740"/>
                <a:gd name="connsiteX178" fmla="*/ 188203 w 369143"/>
                <a:gd name="connsiteY178" fmla="*/ 24023 h 48740"/>
                <a:gd name="connsiteX179" fmla="*/ 188203 w 369143"/>
                <a:gd name="connsiteY179" fmla="*/ 22665 h 48740"/>
                <a:gd name="connsiteX180" fmla="*/ 187234 w 369143"/>
                <a:gd name="connsiteY180" fmla="*/ 21465 h 48740"/>
                <a:gd name="connsiteX181" fmla="*/ 186979 w 369143"/>
                <a:gd name="connsiteY181" fmla="*/ 21467 h 48740"/>
                <a:gd name="connsiteX182" fmla="*/ 181520 w 369143"/>
                <a:gd name="connsiteY182" fmla="*/ 21467 h 48740"/>
                <a:gd name="connsiteX183" fmla="*/ 180453 w 369143"/>
                <a:gd name="connsiteY183" fmla="*/ 20573 h 48740"/>
                <a:gd name="connsiteX184" fmla="*/ 180455 w 369143"/>
                <a:gd name="connsiteY184" fmla="*/ 20376 h 48740"/>
                <a:gd name="connsiteX185" fmla="*/ 180455 w 369143"/>
                <a:gd name="connsiteY185" fmla="*/ 15050 h 48740"/>
                <a:gd name="connsiteX186" fmla="*/ 179515 w 369143"/>
                <a:gd name="connsiteY186" fmla="*/ 13825 h 48740"/>
                <a:gd name="connsiteX187" fmla="*/ 179230 w 369143"/>
                <a:gd name="connsiteY187" fmla="*/ 13825 h 48740"/>
                <a:gd name="connsiteX188" fmla="*/ 177846 w 369143"/>
                <a:gd name="connsiteY188" fmla="*/ 13825 h 48740"/>
                <a:gd name="connsiteX189" fmla="*/ 176621 w 369143"/>
                <a:gd name="connsiteY189" fmla="*/ 14702 h 48740"/>
                <a:gd name="connsiteX190" fmla="*/ 176621 w 369143"/>
                <a:gd name="connsiteY190" fmla="*/ 15050 h 48740"/>
                <a:gd name="connsiteX191" fmla="*/ 176621 w 369143"/>
                <a:gd name="connsiteY191" fmla="*/ 20376 h 48740"/>
                <a:gd name="connsiteX192" fmla="*/ 175814 w 369143"/>
                <a:gd name="connsiteY192" fmla="*/ 21465 h 48740"/>
                <a:gd name="connsiteX193" fmla="*/ 175556 w 369143"/>
                <a:gd name="connsiteY193" fmla="*/ 21467 h 48740"/>
                <a:gd name="connsiteX194" fmla="*/ 170044 w 369143"/>
                <a:gd name="connsiteY194" fmla="*/ 21467 h 48740"/>
                <a:gd name="connsiteX195" fmla="*/ 168822 w 369143"/>
                <a:gd name="connsiteY195" fmla="*/ 22410 h 48740"/>
                <a:gd name="connsiteX196" fmla="*/ 168820 w 369143"/>
                <a:gd name="connsiteY196" fmla="*/ 22665 h 48740"/>
                <a:gd name="connsiteX197" fmla="*/ 209185 w 369143"/>
                <a:gd name="connsiteY197" fmla="*/ 48360 h 48740"/>
                <a:gd name="connsiteX198" fmla="*/ 210995 w 369143"/>
                <a:gd name="connsiteY198" fmla="*/ 48360 h 48740"/>
                <a:gd name="connsiteX199" fmla="*/ 212194 w 369143"/>
                <a:gd name="connsiteY199" fmla="*/ 47385 h 48740"/>
                <a:gd name="connsiteX200" fmla="*/ 212194 w 369143"/>
                <a:gd name="connsiteY200" fmla="*/ 47161 h 48740"/>
                <a:gd name="connsiteX201" fmla="*/ 212194 w 369143"/>
                <a:gd name="connsiteY201" fmla="*/ 37070 h 48740"/>
                <a:gd name="connsiteX202" fmla="*/ 214137 w 369143"/>
                <a:gd name="connsiteY202" fmla="*/ 36192 h 48740"/>
                <a:gd name="connsiteX203" fmla="*/ 221167 w 369143"/>
                <a:gd name="connsiteY203" fmla="*/ 38135 h 48740"/>
                <a:gd name="connsiteX204" fmla="*/ 233926 w 369143"/>
                <a:gd name="connsiteY204" fmla="*/ 25123 h 48740"/>
                <a:gd name="connsiteX205" fmla="*/ 233921 w 369143"/>
                <a:gd name="connsiteY205" fmla="*/ 24822 h 48740"/>
                <a:gd name="connsiteX206" fmla="*/ 221409 w 369143"/>
                <a:gd name="connsiteY206" fmla="*/ 11778 h 48740"/>
                <a:gd name="connsiteX207" fmla="*/ 221247 w 369143"/>
                <a:gd name="connsiteY207" fmla="*/ 11775 h 48740"/>
                <a:gd name="connsiteX208" fmla="*/ 213525 w 369143"/>
                <a:gd name="connsiteY208" fmla="*/ 14225 h 48740"/>
                <a:gd name="connsiteX209" fmla="*/ 211368 w 369143"/>
                <a:gd name="connsiteY209" fmla="*/ 13479 h 48740"/>
                <a:gd name="connsiteX210" fmla="*/ 211368 w 369143"/>
                <a:gd name="connsiteY210" fmla="*/ 13479 h 48740"/>
                <a:gd name="connsiteX211" fmla="*/ 210064 w 369143"/>
                <a:gd name="connsiteY211" fmla="*/ 12361 h 48740"/>
                <a:gd name="connsiteX212" fmla="*/ 209185 w 369143"/>
                <a:gd name="connsiteY212" fmla="*/ 12361 h 48740"/>
                <a:gd name="connsiteX213" fmla="*/ 207963 w 369143"/>
                <a:gd name="connsiteY213" fmla="*/ 13304 h 48740"/>
                <a:gd name="connsiteX214" fmla="*/ 207960 w 369143"/>
                <a:gd name="connsiteY214" fmla="*/ 13559 h 48740"/>
                <a:gd name="connsiteX215" fmla="*/ 207960 w 369143"/>
                <a:gd name="connsiteY215" fmla="*/ 47161 h 48740"/>
                <a:gd name="connsiteX216" fmla="*/ 208929 w 369143"/>
                <a:gd name="connsiteY216" fmla="*/ 48362 h 48740"/>
                <a:gd name="connsiteX217" fmla="*/ 209185 w 369143"/>
                <a:gd name="connsiteY217" fmla="*/ 48360 h 48740"/>
                <a:gd name="connsiteX218" fmla="*/ 212540 w 369143"/>
                <a:gd name="connsiteY218" fmla="*/ 28017 h 48740"/>
                <a:gd name="connsiteX219" fmla="*/ 212540 w 369143"/>
                <a:gd name="connsiteY219" fmla="*/ 21947 h 48740"/>
                <a:gd name="connsiteX220" fmla="*/ 213072 w 369143"/>
                <a:gd name="connsiteY220" fmla="*/ 19843 h 48740"/>
                <a:gd name="connsiteX221" fmla="*/ 220714 w 369143"/>
                <a:gd name="connsiteY221" fmla="*/ 15796 h 48740"/>
                <a:gd name="connsiteX222" fmla="*/ 229234 w 369143"/>
                <a:gd name="connsiteY222" fmla="*/ 24902 h 48740"/>
                <a:gd name="connsiteX223" fmla="*/ 220714 w 369143"/>
                <a:gd name="connsiteY223" fmla="*/ 34221 h 48740"/>
                <a:gd name="connsiteX224" fmla="*/ 213072 w 369143"/>
                <a:gd name="connsiteY224" fmla="*/ 30121 h 48740"/>
                <a:gd name="connsiteX225" fmla="*/ 212540 w 369143"/>
                <a:gd name="connsiteY225" fmla="*/ 28017 h 48740"/>
                <a:gd name="connsiteX226" fmla="*/ 238740 w 369143"/>
                <a:gd name="connsiteY226" fmla="*/ 24849 h 48740"/>
                <a:gd name="connsiteX227" fmla="*/ 250868 w 369143"/>
                <a:gd name="connsiteY227" fmla="*/ 38148 h 48740"/>
                <a:gd name="connsiteX228" fmla="*/ 251600 w 369143"/>
                <a:gd name="connsiteY228" fmla="*/ 38162 h 48740"/>
                <a:gd name="connsiteX229" fmla="*/ 262491 w 369143"/>
                <a:gd name="connsiteY229" fmla="*/ 31079 h 48740"/>
                <a:gd name="connsiteX230" fmla="*/ 261425 w 369143"/>
                <a:gd name="connsiteY230" fmla="*/ 29695 h 48740"/>
                <a:gd name="connsiteX231" fmla="*/ 259588 w 369143"/>
                <a:gd name="connsiteY231" fmla="*/ 29695 h 48740"/>
                <a:gd name="connsiteX232" fmla="*/ 258177 w 369143"/>
                <a:gd name="connsiteY232" fmla="*/ 30680 h 48740"/>
                <a:gd name="connsiteX233" fmla="*/ 251600 w 369143"/>
                <a:gd name="connsiteY233" fmla="*/ 34248 h 48740"/>
                <a:gd name="connsiteX234" fmla="*/ 243612 w 369143"/>
                <a:gd name="connsiteY234" fmla="*/ 28044 h 48740"/>
                <a:gd name="connsiteX235" fmla="*/ 245184 w 369143"/>
                <a:gd name="connsiteY235" fmla="*/ 26207 h 48740"/>
                <a:gd name="connsiteX236" fmla="*/ 261718 w 369143"/>
                <a:gd name="connsiteY236" fmla="*/ 26207 h 48740"/>
                <a:gd name="connsiteX237" fmla="*/ 263366 w 369143"/>
                <a:gd name="connsiteY237" fmla="*/ 24774 h 48740"/>
                <a:gd name="connsiteX238" fmla="*/ 263369 w 369143"/>
                <a:gd name="connsiteY238" fmla="*/ 24636 h 48740"/>
                <a:gd name="connsiteX239" fmla="*/ 251917 w 369143"/>
                <a:gd name="connsiteY239" fmla="*/ 11842 h 48740"/>
                <a:gd name="connsiteX240" fmla="*/ 251600 w 369143"/>
                <a:gd name="connsiteY240" fmla="*/ 11829 h 48740"/>
                <a:gd name="connsiteX241" fmla="*/ 238791 w 369143"/>
                <a:gd name="connsiteY241" fmla="*/ 24311 h 48740"/>
                <a:gd name="connsiteX242" fmla="*/ 238793 w 369143"/>
                <a:gd name="connsiteY242" fmla="*/ 24822 h 48740"/>
                <a:gd name="connsiteX243" fmla="*/ 244118 w 369143"/>
                <a:gd name="connsiteY243" fmla="*/ 20402 h 48740"/>
                <a:gd name="connsiteX244" fmla="*/ 251414 w 369143"/>
                <a:gd name="connsiteY244" fmla="*/ 15716 h 48740"/>
                <a:gd name="connsiteX245" fmla="*/ 258204 w 369143"/>
                <a:gd name="connsiteY245" fmla="*/ 20455 h 48740"/>
                <a:gd name="connsiteX246" fmla="*/ 256739 w 369143"/>
                <a:gd name="connsiteY246" fmla="*/ 22399 h 48740"/>
                <a:gd name="connsiteX247" fmla="*/ 245476 w 369143"/>
                <a:gd name="connsiteY247" fmla="*/ 22399 h 48740"/>
                <a:gd name="connsiteX248" fmla="*/ 244118 w 369143"/>
                <a:gd name="connsiteY248" fmla="*/ 20455 h 48740"/>
                <a:gd name="connsiteX249" fmla="*/ 268082 w 369143"/>
                <a:gd name="connsiteY249" fmla="*/ 24875 h 48740"/>
                <a:gd name="connsiteX250" fmla="*/ 280801 w 369143"/>
                <a:gd name="connsiteY250" fmla="*/ 38188 h 48740"/>
                <a:gd name="connsiteX251" fmla="*/ 281395 w 369143"/>
                <a:gd name="connsiteY251" fmla="*/ 38188 h 48740"/>
                <a:gd name="connsiteX252" fmla="*/ 294708 w 369143"/>
                <a:gd name="connsiteY252" fmla="*/ 25469 h 48740"/>
                <a:gd name="connsiteX253" fmla="*/ 294708 w 369143"/>
                <a:gd name="connsiteY253" fmla="*/ 24875 h 48740"/>
                <a:gd name="connsiteX254" fmla="*/ 281989 w 369143"/>
                <a:gd name="connsiteY254" fmla="*/ 11874 h 48740"/>
                <a:gd name="connsiteX255" fmla="*/ 281395 w 369143"/>
                <a:gd name="connsiteY255" fmla="*/ 11882 h 48740"/>
                <a:gd name="connsiteX256" fmla="*/ 268087 w 369143"/>
                <a:gd name="connsiteY256" fmla="*/ 24335 h 48740"/>
                <a:gd name="connsiteX257" fmla="*/ 268082 w 369143"/>
                <a:gd name="connsiteY257" fmla="*/ 24875 h 48740"/>
                <a:gd name="connsiteX258" fmla="*/ 272662 w 369143"/>
                <a:gd name="connsiteY258" fmla="*/ 25035 h 48740"/>
                <a:gd name="connsiteX259" fmla="*/ 281012 w 369143"/>
                <a:gd name="connsiteY259" fmla="*/ 15833 h 48740"/>
                <a:gd name="connsiteX260" fmla="*/ 281528 w 369143"/>
                <a:gd name="connsiteY260" fmla="*/ 15822 h 48740"/>
                <a:gd name="connsiteX261" fmla="*/ 290349 w 369143"/>
                <a:gd name="connsiteY261" fmla="*/ 24628 h 48740"/>
                <a:gd name="connsiteX262" fmla="*/ 290341 w 369143"/>
                <a:gd name="connsiteY262" fmla="*/ 25035 h 48740"/>
                <a:gd name="connsiteX263" fmla="*/ 281882 w 369143"/>
                <a:gd name="connsiteY263" fmla="*/ 34240 h 48740"/>
                <a:gd name="connsiteX264" fmla="*/ 281528 w 369143"/>
                <a:gd name="connsiteY264" fmla="*/ 34248 h 48740"/>
                <a:gd name="connsiteX265" fmla="*/ 272654 w 369143"/>
                <a:gd name="connsiteY265" fmla="*/ 25442 h 48740"/>
                <a:gd name="connsiteX266" fmla="*/ 272662 w 369143"/>
                <a:gd name="connsiteY266" fmla="*/ 25035 h 48740"/>
                <a:gd name="connsiteX267" fmla="*/ 302749 w 369143"/>
                <a:gd name="connsiteY267" fmla="*/ 48386 h 48740"/>
                <a:gd name="connsiteX268" fmla="*/ 304533 w 369143"/>
                <a:gd name="connsiteY268" fmla="*/ 48386 h 48740"/>
                <a:gd name="connsiteX269" fmla="*/ 305755 w 369143"/>
                <a:gd name="connsiteY269" fmla="*/ 47444 h 48740"/>
                <a:gd name="connsiteX270" fmla="*/ 305758 w 369143"/>
                <a:gd name="connsiteY270" fmla="*/ 47188 h 48740"/>
                <a:gd name="connsiteX271" fmla="*/ 305758 w 369143"/>
                <a:gd name="connsiteY271" fmla="*/ 37097 h 48740"/>
                <a:gd name="connsiteX272" fmla="*/ 307702 w 369143"/>
                <a:gd name="connsiteY272" fmla="*/ 36218 h 48740"/>
                <a:gd name="connsiteX273" fmla="*/ 314731 w 369143"/>
                <a:gd name="connsiteY273" fmla="*/ 38162 h 48740"/>
                <a:gd name="connsiteX274" fmla="*/ 327490 w 369143"/>
                <a:gd name="connsiteY274" fmla="*/ 25096 h 48740"/>
                <a:gd name="connsiteX275" fmla="*/ 327485 w 369143"/>
                <a:gd name="connsiteY275" fmla="*/ 24849 h 48740"/>
                <a:gd name="connsiteX276" fmla="*/ 314973 w 369143"/>
                <a:gd name="connsiteY276" fmla="*/ 11805 h 48740"/>
                <a:gd name="connsiteX277" fmla="*/ 314811 w 369143"/>
                <a:gd name="connsiteY277" fmla="*/ 11802 h 48740"/>
                <a:gd name="connsiteX278" fmla="*/ 307063 w 369143"/>
                <a:gd name="connsiteY278" fmla="*/ 14252 h 48740"/>
                <a:gd name="connsiteX279" fmla="*/ 304933 w 369143"/>
                <a:gd name="connsiteY279" fmla="*/ 13506 h 48740"/>
                <a:gd name="connsiteX280" fmla="*/ 304933 w 369143"/>
                <a:gd name="connsiteY280" fmla="*/ 13506 h 48740"/>
                <a:gd name="connsiteX281" fmla="*/ 303628 w 369143"/>
                <a:gd name="connsiteY281" fmla="*/ 12388 h 48740"/>
                <a:gd name="connsiteX282" fmla="*/ 302749 w 369143"/>
                <a:gd name="connsiteY282" fmla="*/ 12388 h 48740"/>
                <a:gd name="connsiteX283" fmla="*/ 301527 w 369143"/>
                <a:gd name="connsiteY283" fmla="*/ 13330 h 48740"/>
                <a:gd name="connsiteX284" fmla="*/ 301524 w 369143"/>
                <a:gd name="connsiteY284" fmla="*/ 13586 h 48740"/>
                <a:gd name="connsiteX285" fmla="*/ 301524 w 369143"/>
                <a:gd name="connsiteY285" fmla="*/ 47188 h 48740"/>
                <a:gd name="connsiteX286" fmla="*/ 302494 w 369143"/>
                <a:gd name="connsiteY286" fmla="*/ 48389 h 48740"/>
                <a:gd name="connsiteX287" fmla="*/ 302749 w 369143"/>
                <a:gd name="connsiteY287" fmla="*/ 48386 h 48740"/>
                <a:gd name="connsiteX288" fmla="*/ 306104 w 369143"/>
                <a:gd name="connsiteY288" fmla="*/ 28044 h 48740"/>
                <a:gd name="connsiteX289" fmla="*/ 306104 w 369143"/>
                <a:gd name="connsiteY289" fmla="*/ 21973 h 48740"/>
                <a:gd name="connsiteX290" fmla="*/ 306637 w 369143"/>
                <a:gd name="connsiteY290" fmla="*/ 19870 h 48740"/>
                <a:gd name="connsiteX291" fmla="*/ 314278 w 369143"/>
                <a:gd name="connsiteY291" fmla="*/ 15822 h 48740"/>
                <a:gd name="connsiteX292" fmla="*/ 322799 w 369143"/>
                <a:gd name="connsiteY292" fmla="*/ 24929 h 48740"/>
                <a:gd name="connsiteX293" fmla="*/ 314278 w 369143"/>
                <a:gd name="connsiteY293" fmla="*/ 34248 h 48740"/>
                <a:gd name="connsiteX294" fmla="*/ 306637 w 369143"/>
                <a:gd name="connsiteY294" fmla="*/ 30147 h 48740"/>
                <a:gd name="connsiteX295" fmla="*/ 306104 w 369143"/>
                <a:gd name="connsiteY295" fmla="*/ 28044 h 48740"/>
                <a:gd name="connsiteX296" fmla="*/ 337496 w 369143"/>
                <a:gd name="connsiteY296" fmla="*/ -286 h 48740"/>
                <a:gd name="connsiteX297" fmla="*/ 335366 w 369143"/>
                <a:gd name="connsiteY297" fmla="*/ -286 h 48740"/>
                <a:gd name="connsiteX298" fmla="*/ 334141 w 369143"/>
                <a:gd name="connsiteY298" fmla="*/ 715 h 48740"/>
                <a:gd name="connsiteX299" fmla="*/ 334141 w 369143"/>
                <a:gd name="connsiteY299" fmla="*/ 938 h 48740"/>
                <a:gd name="connsiteX300" fmla="*/ 334141 w 369143"/>
                <a:gd name="connsiteY300" fmla="*/ 36484 h 48740"/>
                <a:gd name="connsiteX301" fmla="*/ 335111 w 369143"/>
                <a:gd name="connsiteY301" fmla="*/ 37685 h 48740"/>
                <a:gd name="connsiteX302" fmla="*/ 335366 w 369143"/>
                <a:gd name="connsiteY302" fmla="*/ 37683 h 48740"/>
                <a:gd name="connsiteX303" fmla="*/ 337496 w 369143"/>
                <a:gd name="connsiteY303" fmla="*/ 37683 h 48740"/>
                <a:gd name="connsiteX304" fmla="*/ 338718 w 369143"/>
                <a:gd name="connsiteY304" fmla="*/ 36740 h 48740"/>
                <a:gd name="connsiteX305" fmla="*/ 338721 w 369143"/>
                <a:gd name="connsiteY305" fmla="*/ 36484 h 48740"/>
                <a:gd name="connsiteX306" fmla="*/ 338721 w 369143"/>
                <a:gd name="connsiteY306" fmla="*/ 885 h 48740"/>
                <a:gd name="connsiteX307" fmla="*/ 337720 w 369143"/>
                <a:gd name="connsiteY307" fmla="*/ -340 h 48740"/>
                <a:gd name="connsiteX308" fmla="*/ 337496 w 369143"/>
                <a:gd name="connsiteY308" fmla="*/ -340 h 48740"/>
                <a:gd name="connsiteX309" fmla="*/ 345484 w 369143"/>
                <a:gd name="connsiteY309" fmla="*/ 24822 h 48740"/>
                <a:gd name="connsiteX310" fmla="*/ 357612 w 369143"/>
                <a:gd name="connsiteY310" fmla="*/ 38122 h 48740"/>
                <a:gd name="connsiteX311" fmla="*/ 358345 w 369143"/>
                <a:gd name="connsiteY311" fmla="*/ 38135 h 48740"/>
                <a:gd name="connsiteX312" fmla="*/ 369235 w 369143"/>
                <a:gd name="connsiteY312" fmla="*/ 31053 h 48740"/>
                <a:gd name="connsiteX313" fmla="*/ 368170 w 369143"/>
                <a:gd name="connsiteY313" fmla="*/ 29668 h 48740"/>
                <a:gd name="connsiteX314" fmla="*/ 366333 w 369143"/>
                <a:gd name="connsiteY314" fmla="*/ 29668 h 48740"/>
                <a:gd name="connsiteX315" fmla="*/ 364921 w 369143"/>
                <a:gd name="connsiteY315" fmla="*/ 30653 h 48740"/>
                <a:gd name="connsiteX316" fmla="*/ 358345 w 369143"/>
                <a:gd name="connsiteY316" fmla="*/ 34221 h 48740"/>
                <a:gd name="connsiteX317" fmla="*/ 350357 w 369143"/>
                <a:gd name="connsiteY317" fmla="*/ 28017 h 48740"/>
                <a:gd name="connsiteX318" fmla="*/ 351928 w 369143"/>
                <a:gd name="connsiteY318" fmla="*/ 26180 h 48740"/>
                <a:gd name="connsiteX319" fmla="*/ 368463 w 369143"/>
                <a:gd name="connsiteY319" fmla="*/ 26180 h 48740"/>
                <a:gd name="connsiteX320" fmla="*/ 370111 w 369143"/>
                <a:gd name="connsiteY320" fmla="*/ 24745 h 48740"/>
                <a:gd name="connsiteX321" fmla="*/ 370113 w 369143"/>
                <a:gd name="connsiteY321" fmla="*/ 24609 h 48740"/>
                <a:gd name="connsiteX322" fmla="*/ 358661 w 369143"/>
                <a:gd name="connsiteY322" fmla="*/ 11815 h 48740"/>
                <a:gd name="connsiteX323" fmla="*/ 358371 w 369143"/>
                <a:gd name="connsiteY323" fmla="*/ 11802 h 48740"/>
                <a:gd name="connsiteX324" fmla="*/ 345535 w 369143"/>
                <a:gd name="connsiteY324" fmla="*/ 24311 h 48740"/>
                <a:gd name="connsiteX325" fmla="*/ 345538 w 369143"/>
                <a:gd name="connsiteY325" fmla="*/ 24795 h 48740"/>
                <a:gd name="connsiteX326" fmla="*/ 350863 w 369143"/>
                <a:gd name="connsiteY326" fmla="*/ 20376 h 48740"/>
                <a:gd name="connsiteX327" fmla="*/ 358185 w 369143"/>
                <a:gd name="connsiteY327" fmla="*/ 15689 h 48740"/>
                <a:gd name="connsiteX328" fmla="*/ 364948 w 369143"/>
                <a:gd name="connsiteY328" fmla="*/ 20429 h 48740"/>
                <a:gd name="connsiteX329" fmla="*/ 363484 w 369143"/>
                <a:gd name="connsiteY329" fmla="*/ 22373 h 48740"/>
                <a:gd name="connsiteX330" fmla="*/ 352221 w 369143"/>
                <a:gd name="connsiteY330" fmla="*/ 22373 h 48740"/>
                <a:gd name="connsiteX331" fmla="*/ 350863 w 369143"/>
                <a:gd name="connsiteY331" fmla="*/ 20429 h 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Lst>
              <a:rect l="l" t="t" r="r" b="b"/>
              <a:pathLst>
                <a:path w="369143" h="48740">
                  <a:moveTo>
                    <a:pt x="2220" y="48333"/>
                  </a:moveTo>
                  <a:lnTo>
                    <a:pt x="4004" y="48333"/>
                  </a:lnTo>
                  <a:cubicBezTo>
                    <a:pt x="4603" y="48410"/>
                    <a:pt x="5149" y="47987"/>
                    <a:pt x="5226" y="47390"/>
                  </a:cubicBezTo>
                  <a:cubicBezTo>
                    <a:pt x="5237" y="47305"/>
                    <a:pt x="5237" y="47220"/>
                    <a:pt x="5229" y="47135"/>
                  </a:cubicBezTo>
                  <a:lnTo>
                    <a:pt x="5229" y="37043"/>
                  </a:lnTo>
                  <a:cubicBezTo>
                    <a:pt x="5229" y="35632"/>
                    <a:pt x="6001" y="35339"/>
                    <a:pt x="7172" y="36165"/>
                  </a:cubicBezTo>
                  <a:cubicBezTo>
                    <a:pt x="9265" y="37507"/>
                    <a:pt x="11717" y="38183"/>
                    <a:pt x="14202" y="38109"/>
                  </a:cubicBezTo>
                  <a:cubicBezTo>
                    <a:pt x="21319" y="38039"/>
                    <a:pt x="27033" y="32214"/>
                    <a:pt x="26961" y="25096"/>
                  </a:cubicBezTo>
                  <a:cubicBezTo>
                    <a:pt x="26961" y="24995"/>
                    <a:pt x="26958" y="24897"/>
                    <a:pt x="26955" y="24795"/>
                  </a:cubicBezTo>
                  <a:cubicBezTo>
                    <a:pt x="27102" y="17740"/>
                    <a:pt x="21502" y="11898"/>
                    <a:pt x="14444" y="11751"/>
                  </a:cubicBezTo>
                  <a:cubicBezTo>
                    <a:pt x="14391" y="11749"/>
                    <a:pt x="14335" y="11749"/>
                    <a:pt x="14281" y="11749"/>
                  </a:cubicBezTo>
                  <a:cubicBezTo>
                    <a:pt x="11496" y="11671"/>
                    <a:pt x="8767" y="12534"/>
                    <a:pt x="6533" y="14198"/>
                  </a:cubicBezTo>
                  <a:cubicBezTo>
                    <a:pt x="5468" y="15024"/>
                    <a:pt x="4643" y="14837"/>
                    <a:pt x="4403" y="13453"/>
                  </a:cubicBezTo>
                  <a:lnTo>
                    <a:pt x="4403" y="13453"/>
                  </a:lnTo>
                  <a:cubicBezTo>
                    <a:pt x="4347" y="12787"/>
                    <a:pt x="3767" y="12289"/>
                    <a:pt x="3098" y="12334"/>
                  </a:cubicBezTo>
                  <a:lnTo>
                    <a:pt x="2220" y="12334"/>
                  </a:lnTo>
                  <a:cubicBezTo>
                    <a:pt x="1621" y="12257"/>
                    <a:pt x="1075" y="12681"/>
                    <a:pt x="998" y="13277"/>
                  </a:cubicBezTo>
                  <a:cubicBezTo>
                    <a:pt x="987" y="13362"/>
                    <a:pt x="987" y="13447"/>
                    <a:pt x="995" y="13533"/>
                  </a:cubicBezTo>
                  <a:lnTo>
                    <a:pt x="995" y="47135"/>
                  </a:lnTo>
                  <a:cubicBezTo>
                    <a:pt x="931" y="47734"/>
                    <a:pt x="1365" y="48272"/>
                    <a:pt x="1964" y="48336"/>
                  </a:cubicBezTo>
                  <a:cubicBezTo>
                    <a:pt x="2049" y="48344"/>
                    <a:pt x="2134" y="48344"/>
                    <a:pt x="2220" y="48333"/>
                  </a:cubicBezTo>
                  <a:moveTo>
                    <a:pt x="5575" y="27991"/>
                  </a:moveTo>
                  <a:lnTo>
                    <a:pt x="5575" y="21920"/>
                  </a:lnTo>
                  <a:cubicBezTo>
                    <a:pt x="5535" y="21180"/>
                    <a:pt x="5721" y="20447"/>
                    <a:pt x="6107" y="19816"/>
                  </a:cubicBezTo>
                  <a:cubicBezTo>
                    <a:pt x="7777" y="17228"/>
                    <a:pt x="10671" y="15695"/>
                    <a:pt x="13749" y="15769"/>
                  </a:cubicBezTo>
                  <a:cubicBezTo>
                    <a:pt x="18606" y="15958"/>
                    <a:pt x="22405" y="20019"/>
                    <a:pt x="22269" y="24875"/>
                  </a:cubicBezTo>
                  <a:cubicBezTo>
                    <a:pt x="22480" y="29799"/>
                    <a:pt x="18672" y="33965"/>
                    <a:pt x="13749" y="34195"/>
                  </a:cubicBezTo>
                  <a:cubicBezTo>
                    <a:pt x="10655" y="34285"/>
                    <a:pt x="7745" y="32722"/>
                    <a:pt x="6107" y="30094"/>
                  </a:cubicBezTo>
                  <a:cubicBezTo>
                    <a:pt x="5721" y="29463"/>
                    <a:pt x="5535" y="28731"/>
                    <a:pt x="5575" y="27991"/>
                  </a:cubicBezTo>
                  <a:moveTo>
                    <a:pt x="36967" y="-340"/>
                  </a:moveTo>
                  <a:lnTo>
                    <a:pt x="34837" y="-340"/>
                  </a:lnTo>
                  <a:cubicBezTo>
                    <a:pt x="34222" y="-401"/>
                    <a:pt x="33673" y="46"/>
                    <a:pt x="33612" y="662"/>
                  </a:cubicBezTo>
                  <a:cubicBezTo>
                    <a:pt x="33604" y="736"/>
                    <a:pt x="33604" y="811"/>
                    <a:pt x="33612" y="885"/>
                  </a:cubicBezTo>
                  <a:lnTo>
                    <a:pt x="33612" y="36431"/>
                  </a:lnTo>
                  <a:cubicBezTo>
                    <a:pt x="33548" y="37030"/>
                    <a:pt x="33982" y="37568"/>
                    <a:pt x="34581" y="37632"/>
                  </a:cubicBezTo>
                  <a:cubicBezTo>
                    <a:pt x="34666" y="37640"/>
                    <a:pt x="34752" y="37640"/>
                    <a:pt x="34837" y="37629"/>
                  </a:cubicBezTo>
                  <a:lnTo>
                    <a:pt x="36967" y="37629"/>
                  </a:lnTo>
                  <a:cubicBezTo>
                    <a:pt x="37566" y="37707"/>
                    <a:pt x="38112" y="37283"/>
                    <a:pt x="38189" y="36687"/>
                  </a:cubicBezTo>
                  <a:cubicBezTo>
                    <a:pt x="38200" y="36602"/>
                    <a:pt x="38200" y="36516"/>
                    <a:pt x="38192" y="36431"/>
                  </a:cubicBezTo>
                  <a:lnTo>
                    <a:pt x="38192" y="885"/>
                  </a:lnTo>
                  <a:cubicBezTo>
                    <a:pt x="38253" y="270"/>
                    <a:pt x="37806" y="-278"/>
                    <a:pt x="37191" y="-340"/>
                  </a:cubicBezTo>
                  <a:cubicBezTo>
                    <a:pt x="37116" y="-348"/>
                    <a:pt x="37041" y="-348"/>
                    <a:pt x="36967" y="-340"/>
                  </a:cubicBezTo>
                  <a:moveTo>
                    <a:pt x="44768" y="30680"/>
                  </a:moveTo>
                  <a:cubicBezTo>
                    <a:pt x="44840" y="34871"/>
                    <a:pt x="48294" y="38210"/>
                    <a:pt x="52485" y="38141"/>
                  </a:cubicBezTo>
                  <a:cubicBezTo>
                    <a:pt x="52674" y="38135"/>
                    <a:pt x="52860" y="38125"/>
                    <a:pt x="53049" y="38109"/>
                  </a:cubicBezTo>
                  <a:cubicBezTo>
                    <a:pt x="56154" y="38127"/>
                    <a:pt x="59192" y="37198"/>
                    <a:pt x="61756" y="35446"/>
                  </a:cubicBezTo>
                  <a:cubicBezTo>
                    <a:pt x="62821" y="34780"/>
                    <a:pt x="63646" y="35020"/>
                    <a:pt x="63992" y="36218"/>
                  </a:cubicBezTo>
                  <a:lnTo>
                    <a:pt x="64152" y="36724"/>
                  </a:lnTo>
                  <a:cubicBezTo>
                    <a:pt x="64275" y="37363"/>
                    <a:pt x="64863" y="37802"/>
                    <a:pt x="65510" y="37736"/>
                  </a:cubicBezTo>
                  <a:lnTo>
                    <a:pt x="66096" y="37736"/>
                  </a:lnTo>
                  <a:cubicBezTo>
                    <a:pt x="66695" y="37797"/>
                    <a:pt x="67233" y="37363"/>
                    <a:pt x="67294" y="36761"/>
                  </a:cubicBezTo>
                  <a:cubicBezTo>
                    <a:pt x="67302" y="36687"/>
                    <a:pt x="67302" y="36612"/>
                    <a:pt x="67294" y="36538"/>
                  </a:cubicBezTo>
                  <a:lnTo>
                    <a:pt x="67294" y="22905"/>
                  </a:lnTo>
                  <a:cubicBezTo>
                    <a:pt x="67294" y="15982"/>
                    <a:pt x="63353" y="11935"/>
                    <a:pt x="56644" y="11935"/>
                  </a:cubicBezTo>
                  <a:cubicBezTo>
                    <a:pt x="50892" y="11935"/>
                    <a:pt x="46872" y="14864"/>
                    <a:pt x="45993" y="19497"/>
                  </a:cubicBezTo>
                  <a:cubicBezTo>
                    <a:pt x="45839" y="20048"/>
                    <a:pt x="46161" y="20623"/>
                    <a:pt x="46712" y="20778"/>
                  </a:cubicBezTo>
                  <a:cubicBezTo>
                    <a:pt x="46858" y="20818"/>
                    <a:pt x="47013" y="20825"/>
                    <a:pt x="47165" y="20802"/>
                  </a:cubicBezTo>
                  <a:lnTo>
                    <a:pt x="49055" y="20802"/>
                  </a:lnTo>
                  <a:cubicBezTo>
                    <a:pt x="49702" y="20825"/>
                    <a:pt x="50269" y="20373"/>
                    <a:pt x="50386" y="19736"/>
                  </a:cubicBezTo>
                  <a:cubicBezTo>
                    <a:pt x="51305" y="17207"/>
                    <a:pt x="53835" y="15633"/>
                    <a:pt x="56510" y="15929"/>
                  </a:cubicBezTo>
                  <a:cubicBezTo>
                    <a:pt x="59628" y="15498"/>
                    <a:pt x="62504" y="17673"/>
                    <a:pt x="62938" y="20791"/>
                  </a:cubicBezTo>
                  <a:cubicBezTo>
                    <a:pt x="62989" y="21164"/>
                    <a:pt x="63005" y="21542"/>
                    <a:pt x="62981" y="21920"/>
                  </a:cubicBezTo>
                  <a:cubicBezTo>
                    <a:pt x="62981" y="22958"/>
                    <a:pt x="62368" y="23491"/>
                    <a:pt x="61277" y="23491"/>
                  </a:cubicBezTo>
                  <a:lnTo>
                    <a:pt x="55632" y="23491"/>
                  </a:lnTo>
                  <a:cubicBezTo>
                    <a:pt x="48975" y="23491"/>
                    <a:pt x="44981" y="26606"/>
                    <a:pt x="44981" y="30840"/>
                  </a:cubicBezTo>
                  <a:moveTo>
                    <a:pt x="49561" y="30840"/>
                  </a:moveTo>
                  <a:cubicBezTo>
                    <a:pt x="49561" y="28417"/>
                    <a:pt x="51638" y="27325"/>
                    <a:pt x="55792" y="27325"/>
                  </a:cubicBezTo>
                  <a:lnTo>
                    <a:pt x="61330" y="27325"/>
                  </a:lnTo>
                  <a:cubicBezTo>
                    <a:pt x="62177" y="27232"/>
                    <a:pt x="62941" y="27844"/>
                    <a:pt x="63034" y="28691"/>
                  </a:cubicBezTo>
                  <a:cubicBezTo>
                    <a:pt x="63047" y="28803"/>
                    <a:pt x="63047" y="28917"/>
                    <a:pt x="63034" y="29029"/>
                  </a:cubicBezTo>
                  <a:lnTo>
                    <a:pt x="63034" y="29535"/>
                  </a:lnTo>
                  <a:cubicBezTo>
                    <a:pt x="63071" y="30347"/>
                    <a:pt x="62688" y="31119"/>
                    <a:pt x="62022" y="31585"/>
                  </a:cubicBezTo>
                  <a:cubicBezTo>
                    <a:pt x="59767" y="33233"/>
                    <a:pt x="57067" y="34160"/>
                    <a:pt x="54274" y="34248"/>
                  </a:cubicBezTo>
                  <a:cubicBezTo>
                    <a:pt x="51611" y="34248"/>
                    <a:pt x="49561" y="33129"/>
                    <a:pt x="49561" y="30733"/>
                  </a:cubicBezTo>
                  <a:moveTo>
                    <a:pt x="76826" y="37789"/>
                  </a:moveTo>
                  <a:lnTo>
                    <a:pt x="78956" y="37789"/>
                  </a:lnTo>
                  <a:cubicBezTo>
                    <a:pt x="79555" y="37866"/>
                    <a:pt x="80101" y="37443"/>
                    <a:pt x="80179" y="36846"/>
                  </a:cubicBezTo>
                  <a:cubicBezTo>
                    <a:pt x="80189" y="36761"/>
                    <a:pt x="80189" y="36676"/>
                    <a:pt x="80181" y="36591"/>
                  </a:cubicBezTo>
                  <a:lnTo>
                    <a:pt x="80181" y="20988"/>
                  </a:lnTo>
                  <a:cubicBezTo>
                    <a:pt x="80123" y="20152"/>
                    <a:pt x="80562" y="19361"/>
                    <a:pt x="81299" y="18964"/>
                  </a:cubicBezTo>
                  <a:cubicBezTo>
                    <a:pt x="83752" y="17274"/>
                    <a:pt x="86609" y="16264"/>
                    <a:pt x="89580" y="16035"/>
                  </a:cubicBezTo>
                  <a:cubicBezTo>
                    <a:pt x="92392" y="15777"/>
                    <a:pt x="94881" y="17846"/>
                    <a:pt x="95140" y="20658"/>
                  </a:cubicBezTo>
                  <a:cubicBezTo>
                    <a:pt x="95174" y="21033"/>
                    <a:pt x="95166" y="21411"/>
                    <a:pt x="95118" y="21787"/>
                  </a:cubicBezTo>
                  <a:lnTo>
                    <a:pt x="95118" y="36591"/>
                  </a:lnTo>
                  <a:cubicBezTo>
                    <a:pt x="95054" y="37190"/>
                    <a:pt x="95489" y="37728"/>
                    <a:pt x="96088" y="37792"/>
                  </a:cubicBezTo>
                  <a:cubicBezTo>
                    <a:pt x="96173" y="37800"/>
                    <a:pt x="96258" y="37800"/>
                    <a:pt x="96343" y="37789"/>
                  </a:cubicBezTo>
                  <a:lnTo>
                    <a:pt x="98473" y="37789"/>
                  </a:lnTo>
                  <a:cubicBezTo>
                    <a:pt x="99072" y="37866"/>
                    <a:pt x="99618" y="37443"/>
                    <a:pt x="99696" y="36846"/>
                  </a:cubicBezTo>
                  <a:cubicBezTo>
                    <a:pt x="99706" y="36761"/>
                    <a:pt x="99706" y="36676"/>
                    <a:pt x="99698" y="36591"/>
                  </a:cubicBezTo>
                  <a:lnTo>
                    <a:pt x="99698" y="21574"/>
                  </a:lnTo>
                  <a:cubicBezTo>
                    <a:pt x="99698" y="15343"/>
                    <a:pt x="96397" y="11988"/>
                    <a:pt x="90885" y="11988"/>
                  </a:cubicBezTo>
                  <a:cubicBezTo>
                    <a:pt x="87495" y="11996"/>
                    <a:pt x="84178" y="12976"/>
                    <a:pt x="81326" y="14811"/>
                  </a:cubicBezTo>
                  <a:cubicBezTo>
                    <a:pt x="80261" y="15503"/>
                    <a:pt x="79436" y="15210"/>
                    <a:pt x="79143" y="13932"/>
                  </a:cubicBezTo>
                  <a:lnTo>
                    <a:pt x="79143" y="13559"/>
                  </a:lnTo>
                  <a:cubicBezTo>
                    <a:pt x="79023" y="12902"/>
                    <a:pt x="78424" y="12444"/>
                    <a:pt x="77758" y="12494"/>
                  </a:cubicBezTo>
                  <a:lnTo>
                    <a:pt x="76906" y="12494"/>
                  </a:lnTo>
                  <a:cubicBezTo>
                    <a:pt x="76307" y="12417"/>
                    <a:pt x="75761" y="12840"/>
                    <a:pt x="75684" y="13437"/>
                  </a:cubicBezTo>
                  <a:cubicBezTo>
                    <a:pt x="75673" y="13522"/>
                    <a:pt x="75673" y="13607"/>
                    <a:pt x="75681" y="13692"/>
                  </a:cubicBezTo>
                  <a:lnTo>
                    <a:pt x="75681" y="36591"/>
                  </a:lnTo>
                  <a:cubicBezTo>
                    <a:pt x="75617" y="37190"/>
                    <a:pt x="76051" y="37728"/>
                    <a:pt x="76651" y="37792"/>
                  </a:cubicBezTo>
                  <a:cubicBezTo>
                    <a:pt x="76736" y="37800"/>
                    <a:pt x="76821" y="37800"/>
                    <a:pt x="76906" y="37789"/>
                  </a:cubicBezTo>
                  <a:moveTo>
                    <a:pt x="106195" y="24982"/>
                  </a:moveTo>
                  <a:cubicBezTo>
                    <a:pt x="105870" y="32003"/>
                    <a:pt x="111299" y="37959"/>
                    <a:pt x="118323" y="38282"/>
                  </a:cubicBezTo>
                  <a:cubicBezTo>
                    <a:pt x="118565" y="38292"/>
                    <a:pt x="118810" y="38298"/>
                    <a:pt x="119055" y="38295"/>
                  </a:cubicBezTo>
                  <a:cubicBezTo>
                    <a:pt x="123824" y="38492"/>
                    <a:pt x="128193" y="35651"/>
                    <a:pt x="129945" y="31212"/>
                  </a:cubicBezTo>
                  <a:cubicBezTo>
                    <a:pt x="130238" y="30387"/>
                    <a:pt x="129706" y="29828"/>
                    <a:pt x="128880" y="29828"/>
                  </a:cubicBezTo>
                  <a:lnTo>
                    <a:pt x="127043" y="29828"/>
                  </a:lnTo>
                  <a:cubicBezTo>
                    <a:pt x="126409" y="29817"/>
                    <a:pt x="125840" y="30214"/>
                    <a:pt x="125632" y="30813"/>
                  </a:cubicBezTo>
                  <a:cubicBezTo>
                    <a:pt x="124357" y="33217"/>
                    <a:pt x="121766" y="34623"/>
                    <a:pt x="119055" y="34381"/>
                  </a:cubicBezTo>
                  <a:cubicBezTo>
                    <a:pt x="115256" y="34477"/>
                    <a:pt x="111914" y="31881"/>
                    <a:pt x="111068" y="28177"/>
                  </a:cubicBezTo>
                  <a:cubicBezTo>
                    <a:pt x="110775" y="27059"/>
                    <a:pt x="111467" y="26340"/>
                    <a:pt x="112638" y="26340"/>
                  </a:cubicBezTo>
                  <a:lnTo>
                    <a:pt x="129173" y="26340"/>
                  </a:lnTo>
                  <a:cubicBezTo>
                    <a:pt x="130025" y="26398"/>
                    <a:pt x="130763" y="25757"/>
                    <a:pt x="130821" y="24905"/>
                  </a:cubicBezTo>
                  <a:cubicBezTo>
                    <a:pt x="130824" y="24859"/>
                    <a:pt x="130824" y="24814"/>
                    <a:pt x="130824" y="24769"/>
                  </a:cubicBezTo>
                  <a:cubicBezTo>
                    <a:pt x="131194" y="18072"/>
                    <a:pt x="126069" y="12345"/>
                    <a:pt x="119372" y="11975"/>
                  </a:cubicBezTo>
                  <a:cubicBezTo>
                    <a:pt x="119266" y="11970"/>
                    <a:pt x="119162" y="11964"/>
                    <a:pt x="119055" y="11962"/>
                  </a:cubicBezTo>
                  <a:cubicBezTo>
                    <a:pt x="112071" y="11871"/>
                    <a:pt x="106336" y="17460"/>
                    <a:pt x="106245" y="24444"/>
                  </a:cubicBezTo>
                  <a:cubicBezTo>
                    <a:pt x="106243" y="24614"/>
                    <a:pt x="106243" y="24785"/>
                    <a:pt x="106248" y="24955"/>
                  </a:cubicBezTo>
                  <a:moveTo>
                    <a:pt x="111707" y="20535"/>
                  </a:moveTo>
                  <a:cubicBezTo>
                    <a:pt x="113006" y="17676"/>
                    <a:pt x="115860" y="15841"/>
                    <a:pt x="119002" y="15849"/>
                  </a:cubicBezTo>
                  <a:cubicBezTo>
                    <a:pt x="122038" y="15844"/>
                    <a:pt x="124751" y="17737"/>
                    <a:pt x="125792" y="20589"/>
                  </a:cubicBezTo>
                  <a:cubicBezTo>
                    <a:pt x="126218" y="21760"/>
                    <a:pt x="125526" y="22532"/>
                    <a:pt x="124327" y="22532"/>
                  </a:cubicBezTo>
                  <a:lnTo>
                    <a:pt x="113065" y="22532"/>
                  </a:lnTo>
                  <a:cubicBezTo>
                    <a:pt x="111786" y="22532"/>
                    <a:pt x="111121" y="21707"/>
                    <a:pt x="111707" y="20589"/>
                  </a:cubicBezTo>
                  <a:moveTo>
                    <a:pt x="135670" y="16408"/>
                  </a:moveTo>
                  <a:lnTo>
                    <a:pt x="137720" y="16408"/>
                  </a:lnTo>
                  <a:cubicBezTo>
                    <a:pt x="137971" y="16392"/>
                    <a:pt x="138184" y="16584"/>
                    <a:pt x="138200" y="16832"/>
                  </a:cubicBezTo>
                  <a:cubicBezTo>
                    <a:pt x="138200" y="16850"/>
                    <a:pt x="138200" y="16869"/>
                    <a:pt x="138200" y="16888"/>
                  </a:cubicBezTo>
                  <a:lnTo>
                    <a:pt x="138200" y="30414"/>
                  </a:lnTo>
                  <a:cubicBezTo>
                    <a:pt x="138200" y="36218"/>
                    <a:pt x="141475" y="38401"/>
                    <a:pt x="145495" y="38401"/>
                  </a:cubicBezTo>
                  <a:cubicBezTo>
                    <a:pt x="147564" y="38404"/>
                    <a:pt x="149622" y="38079"/>
                    <a:pt x="151592" y="37443"/>
                  </a:cubicBezTo>
                  <a:cubicBezTo>
                    <a:pt x="152090" y="37059"/>
                    <a:pt x="152239" y="36373"/>
                    <a:pt x="151939" y="35819"/>
                  </a:cubicBezTo>
                  <a:lnTo>
                    <a:pt x="151779" y="34354"/>
                  </a:lnTo>
                  <a:cubicBezTo>
                    <a:pt x="151779" y="33529"/>
                    <a:pt x="151140" y="33183"/>
                    <a:pt x="150314" y="33476"/>
                  </a:cubicBezTo>
                  <a:cubicBezTo>
                    <a:pt x="148837" y="33963"/>
                    <a:pt x="147292" y="34216"/>
                    <a:pt x="145735" y="34221"/>
                  </a:cubicBezTo>
                  <a:cubicBezTo>
                    <a:pt x="143472" y="34221"/>
                    <a:pt x="142247" y="32996"/>
                    <a:pt x="142247" y="30281"/>
                  </a:cubicBezTo>
                  <a:lnTo>
                    <a:pt x="142247" y="16834"/>
                  </a:lnTo>
                  <a:cubicBezTo>
                    <a:pt x="142231" y="16584"/>
                    <a:pt x="142423" y="16371"/>
                    <a:pt x="142670" y="16355"/>
                  </a:cubicBezTo>
                  <a:cubicBezTo>
                    <a:pt x="142689" y="16355"/>
                    <a:pt x="142707" y="16355"/>
                    <a:pt x="142726" y="16355"/>
                  </a:cubicBezTo>
                  <a:lnTo>
                    <a:pt x="150714" y="16355"/>
                  </a:lnTo>
                  <a:cubicBezTo>
                    <a:pt x="151329" y="16416"/>
                    <a:pt x="151877" y="15969"/>
                    <a:pt x="151939" y="15354"/>
                  </a:cubicBezTo>
                  <a:cubicBezTo>
                    <a:pt x="151947" y="15279"/>
                    <a:pt x="151947" y="15205"/>
                    <a:pt x="151939" y="15130"/>
                  </a:cubicBezTo>
                  <a:lnTo>
                    <a:pt x="151939" y="13666"/>
                  </a:lnTo>
                  <a:cubicBezTo>
                    <a:pt x="152003" y="13067"/>
                    <a:pt x="151569" y="12529"/>
                    <a:pt x="150969" y="12465"/>
                  </a:cubicBezTo>
                  <a:cubicBezTo>
                    <a:pt x="150884" y="12457"/>
                    <a:pt x="150799" y="12457"/>
                    <a:pt x="150714" y="12468"/>
                  </a:cubicBezTo>
                  <a:lnTo>
                    <a:pt x="142726" y="12468"/>
                  </a:lnTo>
                  <a:cubicBezTo>
                    <a:pt x="142462" y="12468"/>
                    <a:pt x="142247" y="12255"/>
                    <a:pt x="142247" y="11988"/>
                  </a:cubicBezTo>
                  <a:cubicBezTo>
                    <a:pt x="142247" y="11980"/>
                    <a:pt x="142247" y="11970"/>
                    <a:pt x="142247" y="11962"/>
                  </a:cubicBezTo>
                  <a:lnTo>
                    <a:pt x="142247" y="6636"/>
                  </a:lnTo>
                  <a:cubicBezTo>
                    <a:pt x="142247" y="5811"/>
                    <a:pt x="141767" y="5332"/>
                    <a:pt x="140889" y="5571"/>
                  </a:cubicBezTo>
                  <a:lnTo>
                    <a:pt x="138839" y="6104"/>
                  </a:lnTo>
                  <a:cubicBezTo>
                    <a:pt x="138200" y="6224"/>
                    <a:pt x="137760" y="6815"/>
                    <a:pt x="137827" y="7462"/>
                  </a:cubicBezTo>
                  <a:lnTo>
                    <a:pt x="137827" y="11855"/>
                  </a:lnTo>
                  <a:cubicBezTo>
                    <a:pt x="137843" y="12119"/>
                    <a:pt x="137640" y="12345"/>
                    <a:pt x="137377" y="12361"/>
                  </a:cubicBezTo>
                  <a:cubicBezTo>
                    <a:pt x="137358" y="12361"/>
                    <a:pt x="137340" y="12361"/>
                    <a:pt x="137321" y="12361"/>
                  </a:cubicBezTo>
                  <a:lnTo>
                    <a:pt x="135138" y="12361"/>
                  </a:lnTo>
                  <a:cubicBezTo>
                    <a:pt x="134539" y="12284"/>
                    <a:pt x="133993" y="12707"/>
                    <a:pt x="133915" y="13304"/>
                  </a:cubicBezTo>
                  <a:cubicBezTo>
                    <a:pt x="133905" y="13389"/>
                    <a:pt x="133905" y="13474"/>
                    <a:pt x="133913" y="13559"/>
                  </a:cubicBezTo>
                  <a:lnTo>
                    <a:pt x="133913" y="15024"/>
                  </a:lnTo>
                  <a:cubicBezTo>
                    <a:pt x="133851" y="15639"/>
                    <a:pt x="134299" y="16187"/>
                    <a:pt x="134914" y="16248"/>
                  </a:cubicBezTo>
                  <a:cubicBezTo>
                    <a:pt x="134988" y="16257"/>
                    <a:pt x="135063" y="16257"/>
                    <a:pt x="135138" y="16248"/>
                  </a:cubicBezTo>
                  <a:moveTo>
                    <a:pt x="168820" y="24023"/>
                  </a:moveTo>
                  <a:cubicBezTo>
                    <a:pt x="168758" y="24638"/>
                    <a:pt x="169206" y="25187"/>
                    <a:pt x="169821" y="25248"/>
                  </a:cubicBezTo>
                  <a:cubicBezTo>
                    <a:pt x="169895" y="25256"/>
                    <a:pt x="169970" y="25256"/>
                    <a:pt x="170044" y="25248"/>
                  </a:cubicBezTo>
                  <a:lnTo>
                    <a:pt x="175609" y="25248"/>
                  </a:lnTo>
                  <a:cubicBezTo>
                    <a:pt x="176134" y="25187"/>
                    <a:pt x="176613" y="25562"/>
                    <a:pt x="176674" y="26087"/>
                  </a:cubicBezTo>
                  <a:cubicBezTo>
                    <a:pt x="176682" y="26161"/>
                    <a:pt x="176682" y="26239"/>
                    <a:pt x="176674" y="26313"/>
                  </a:cubicBezTo>
                  <a:lnTo>
                    <a:pt x="176674" y="31772"/>
                  </a:lnTo>
                  <a:cubicBezTo>
                    <a:pt x="176581" y="32352"/>
                    <a:pt x="176975" y="32898"/>
                    <a:pt x="177556" y="32994"/>
                  </a:cubicBezTo>
                  <a:cubicBezTo>
                    <a:pt x="177659" y="33010"/>
                    <a:pt x="177769" y="33010"/>
                    <a:pt x="177872" y="32996"/>
                  </a:cubicBezTo>
                  <a:lnTo>
                    <a:pt x="179230" y="32996"/>
                  </a:lnTo>
                  <a:cubicBezTo>
                    <a:pt x="179846" y="33058"/>
                    <a:pt x="180394" y="32610"/>
                    <a:pt x="180455" y="31995"/>
                  </a:cubicBezTo>
                  <a:cubicBezTo>
                    <a:pt x="180463" y="31921"/>
                    <a:pt x="180463" y="31846"/>
                    <a:pt x="180455" y="31772"/>
                  </a:cubicBezTo>
                  <a:lnTo>
                    <a:pt x="180455" y="26313"/>
                  </a:lnTo>
                  <a:cubicBezTo>
                    <a:pt x="180410" y="25770"/>
                    <a:pt x="180812" y="25293"/>
                    <a:pt x="181353" y="25248"/>
                  </a:cubicBezTo>
                  <a:cubicBezTo>
                    <a:pt x="181408" y="25243"/>
                    <a:pt x="181464" y="25243"/>
                    <a:pt x="181520" y="25248"/>
                  </a:cubicBezTo>
                  <a:lnTo>
                    <a:pt x="186979" y="25248"/>
                  </a:lnTo>
                  <a:cubicBezTo>
                    <a:pt x="187594" y="25309"/>
                    <a:pt x="188142" y="24862"/>
                    <a:pt x="188203" y="24247"/>
                  </a:cubicBezTo>
                  <a:cubicBezTo>
                    <a:pt x="188211" y="24172"/>
                    <a:pt x="188211" y="24098"/>
                    <a:pt x="188203" y="24023"/>
                  </a:cubicBezTo>
                  <a:lnTo>
                    <a:pt x="188203" y="22665"/>
                  </a:lnTo>
                  <a:cubicBezTo>
                    <a:pt x="188267" y="22066"/>
                    <a:pt x="187833" y="21528"/>
                    <a:pt x="187234" y="21465"/>
                  </a:cubicBezTo>
                  <a:cubicBezTo>
                    <a:pt x="187149" y="21457"/>
                    <a:pt x="187064" y="21457"/>
                    <a:pt x="186979" y="21467"/>
                  </a:cubicBezTo>
                  <a:lnTo>
                    <a:pt x="181520" y="21467"/>
                  </a:lnTo>
                  <a:cubicBezTo>
                    <a:pt x="180977" y="21515"/>
                    <a:pt x="180500" y="21113"/>
                    <a:pt x="180453" y="20573"/>
                  </a:cubicBezTo>
                  <a:cubicBezTo>
                    <a:pt x="180447" y="20506"/>
                    <a:pt x="180447" y="20439"/>
                    <a:pt x="180455" y="20376"/>
                  </a:cubicBezTo>
                  <a:lnTo>
                    <a:pt x="180455" y="15050"/>
                  </a:lnTo>
                  <a:cubicBezTo>
                    <a:pt x="180535" y="14454"/>
                    <a:pt x="180114" y="13905"/>
                    <a:pt x="179515" y="13825"/>
                  </a:cubicBezTo>
                  <a:cubicBezTo>
                    <a:pt x="179422" y="13812"/>
                    <a:pt x="179326" y="13812"/>
                    <a:pt x="179230" y="13825"/>
                  </a:cubicBezTo>
                  <a:lnTo>
                    <a:pt x="177846" y="13825"/>
                  </a:lnTo>
                  <a:cubicBezTo>
                    <a:pt x="177266" y="13730"/>
                    <a:pt x="176717" y="14121"/>
                    <a:pt x="176621" y="14702"/>
                  </a:cubicBezTo>
                  <a:cubicBezTo>
                    <a:pt x="176602" y="14819"/>
                    <a:pt x="176602" y="14936"/>
                    <a:pt x="176621" y="15050"/>
                  </a:cubicBezTo>
                  <a:lnTo>
                    <a:pt x="176621" y="20376"/>
                  </a:lnTo>
                  <a:cubicBezTo>
                    <a:pt x="176698" y="20900"/>
                    <a:pt x="176336" y="21387"/>
                    <a:pt x="175814" y="21465"/>
                  </a:cubicBezTo>
                  <a:cubicBezTo>
                    <a:pt x="175729" y="21478"/>
                    <a:pt x="175641" y="21478"/>
                    <a:pt x="175556" y="21467"/>
                  </a:cubicBezTo>
                  <a:lnTo>
                    <a:pt x="170044" y="21467"/>
                  </a:lnTo>
                  <a:cubicBezTo>
                    <a:pt x="169445" y="21390"/>
                    <a:pt x="168899" y="21813"/>
                    <a:pt x="168822" y="22410"/>
                  </a:cubicBezTo>
                  <a:cubicBezTo>
                    <a:pt x="168812" y="22495"/>
                    <a:pt x="168812" y="22580"/>
                    <a:pt x="168820" y="22665"/>
                  </a:cubicBezTo>
                  <a:close/>
                  <a:moveTo>
                    <a:pt x="209185" y="48360"/>
                  </a:moveTo>
                  <a:lnTo>
                    <a:pt x="210995" y="48360"/>
                  </a:lnTo>
                  <a:cubicBezTo>
                    <a:pt x="211595" y="48421"/>
                    <a:pt x="212132" y="47987"/>
                    <a:pt x="212194" y="47385"/>
                  </a:cubicBezTo>
                  <a:cubicBezTo>
                    <a:pt x="212202" y="47311"/>
                    <a:pt x="212202" y="47236"/>
                    <a:pt x="212194" y="47161"/>
                  </a:cubicBezTo>
                  <a:lnTo>
                    <a:pt x="212194" y="37070"/>
                  </a:lnTo>
                  <a:cubicBezTo>
                    <a:pt x="212194" y="35659"/>
                    <a:pt x="212966" y="35366"/>
                    <a:pt x="214137" y="36192"/>
                  </a:cubicBezTo>
                  <a:cubicBezTo>
                    <a:pt x="216233" y="37528"/>
                    <a:pt x="218682" y="38207"/>
                    <a:pt x="221167" y="38135"/>
                  </a:cubicBezTo>
                  <a:cubicBezTo>
                    <a:pt x="228284" y="38066"/>
                    <a:pt x="233998" y="32240"/>
                    <a:pt x="233926" y="25123"/>
                  </a:cubicBezTo>
                  <a:cubicBezTo>
                    <a:pt x="233926" y="25022"/>
                    <a:pt x="233923" y="24923"/>
                    <a:pt x="233921" y="24822"/>
                  </a:cubicBezTo>
                  <a:cubicBezTo>
                    <a:pt x="234067" y="17766"/>
                    <a:pt x="228468" y="11924"/>
                    <a:pt x="221409" y="11778"/>
                  </a:cubicBezTo>
                  <a:cubicBezTo>
                    <a:pt x="221356" y="11775"/>
                    <a:pt x="221300" y="11775"/>
                    <a:pt x="221247" y="11775"/>
                  </a:cubicBezTo>
                  <a:cubicBezTo>
                    <a:pt x="218469" y="11695"/>
                    <a:pt x="215748" y="12558"/>
                    <a:pt x="213525" y="14225"/>
                  </a:cubicBezTo>
                  <a:cubicBezTo>
                    <a:pt x="212433" y="15050"/>
                    <a:pt x="211608" y="14864"/>
                    <a:pt x="211368" y="13479"/>
                  </a:cubicBezTo>
                  <a:lnTo>
                    <a:pt x="211368" y="13479"/>
                  </a:lnTo>
                  <a:cubicBezTo>
                    <a:pt x="211312" y="12814"/>
                    <a:pt x="210732" y="12316"/>
                    <a:pt x="210064" y="12361"/>
                  </a:cubicBezTo>
                  <a:lnTo>
                    <a:pt x="209185" y="12361"/>
                  </a:lnTo>
                  <a:cubicBezTo>
                    <a:pt x="208586" y="12284"/>
                    <a:pt x="208040" y="12707"/>
                    <a:pt x="207963" y="13304"/>
                  </a:cubicBezTo>
                  <a:cubicBezTo>
                    <a:pt x="207952" y="13389"/>
                    <a:pt x="207952" y="13474"/>
                    <a:pt x="207960" y="13559"/>
                  </a:cubicBezTo>
                  <a:lnTo>
                    <a:pt x="207960" y="47161"/>
                  </a:lnTo>
                  <a:cubicBezTo>
                    <a:pt x="207896" y="47760"/>
                    <a:pt x="208330" y="48298"/>
                    <a:pt x="208929" y="48362"/>
                  </a:cubicBezTo>
                  <a:cubicBezTo>
                    <a:pt x="209014" y="48370"/>
                    <a:pt x="209100" y="48370"/>
                    <a:pt x="209185" y="48360"/>
                  </a:cubicBezTo>
                  <a:moveTo>
                    <a:pt x="212540" y="28017"/>
                  </a:moveTo>
                  <a:lnTo>
                    <a:pt x="212540" y="21947"/>
                  </a:lnTo>
                  <a:cubicBezTo>
                    <a:pt x="212500" y="21206"/>
                    <a:pt x="212686" y="20474"/>
                    <a:pt x="213072" y="19843"/>
                  </a:cubicBezTo>
                  <a:cubicBezTo>
                    <a:pt x="214744" y="17260"/>
                    <a:pt x="217636" y="15727"/>
                    <a:pt x="220714" y="15796"/>
                  </a:cubicBezTo>
                  <a:cubicBezTo>
                    <a:pt x="225571" y="15985"/>
                    <a:pt x="229370" y="20045"/>
                    <a:pt x="229234" y="24902"/>
                  </a:cubicBezTo>
                  <a:cubicBezTo>
                    <a:pt x="229445" y="29825"/>
                    <a:pt x="225637" y="33992"/>
                    <a:pt x="220714" y="34221"/>
                  </a:cubicBezTo>
                  <a:cubicBezTo>
                    <a:pt x="217620" y="34304"/>
                    <a:pt x="214712" y="32746"/>
                    <a:pt x="213072" y="30121"/>
                  </a:cubicBezTo>
                  <a:cubicBezTo>
                    <a:pt x="212686" y="29490"/>
                    <a:pt x="212500" y="28757"/>
                    <a:pt x="212540" y="28017"/>
                  </a:cubicBezTo>
                  <a:moveTo>
                    <a:pt x="238740" y="24849"/>
                  </a:moveTo>
                  <a:cubicBezTo>
                    <a:pt x="238415" y="31870"/>
                    <a:pt x="243844" y="37826"/>
                    <a:pt x="250868" y="38148"/>
                  </a:cubicBezTo>
                  <a:cubicBezTo>
                    <a:pt x="251110" y="38159"/>
                    <a:pt x="251355" y="38165"/>
                    <a:pt x="251600" y="38162"/>
                  </a:cubicBezTo>
                  <a:cubicBezTo>
                    <a:pt x="256369" y="38359"/>
                    <a:pt x="260738" y="35518"/>
                    <a:pt x="262491" y="31079"/>
                  </a:cubicBezTo>
                  <a:cubicBezTo>
                    <a:pt x="262783" y="30254"/>
                    <a:pt x="262251" y="29695"/>
                    <a:pt x="261425" y="29695"/>
                  </a:cubicBezTo>
                  <a:lnTo>
                    <a:pt x="259588" y="29695"/>
                  </a:lnTo>
                  <a:cubicBezTo>
                    <a:pt x="258955" y="29684"/>
                    <a:pt x="258385" y="30081"/>
                    <a:pt x="258177" y="30680"/>
                  </a:cubicBezTo>
                  <a:cubicBezTo>
                    <a:pt x="256907" y="33090"/>
                    <a:pt x="254311" y="34498"/>
                    <a:pt x="251600" y="34248"/>
                  </a:cubicBezTo>
                  <a:cubicBezTo>
                    <a:pt x="247801" y="34344"/>
                    <a:pt x="244459" y="31748"/>
                    <a:pt x="243612" y="28044"/>
                  </a:cubicBezTo>
                  <a:cubicBezTo>
                    <a:pt x="243320" y="26926"/>
                    <a:pt x="244012" y="26207"/>
                    <a:pt x="245184" y="26207"/>
                  </a:cubicBezTo>
                  <a:lnTo>
                    <a:pt x="261718" y="26207"/>
                  </a:lnTo>
                  <a:cubicBezTo>
                    <a:pt x="262570" y="26265"/>
                    <a:pt x="263308" y="25624"/>
                    <a:pt x="263366" y="24774"/>
                  </a:cubicBezTo>
                  <a:cubicBezTo>
                    <a:pt x="263369" y="24726"/>
                    <a:pt x="263369" y="24681"/>
                    <a:pt x="263369" y="24636"/>
                  </a:cubicBezTo>
                  <a:cubicBezTo>
                    <a:pt x="263739" y="17939"/>
                    <a:pt x="258611" y="12212"/>
                    <a:pt x="251917" y="11842"/>
                  </a:cubicBezTo>
                  <a:cubicBezTo>
                    <a:pt x="251811" y="11837"/>
                    <a:pt x="251707" y="11831"/>
                    <a:pt x="251600" y="11829"/>
                  </a:cubicBezTo>
                  <a:cubicBezTo>
                    <a:pt x="244616" y="11738"/>
                    <a:pt x="238881" y="17327"/>
                    <a:pt x="238791" y="24311"/>
                  </a:cubicBezTo>
                  <a:cubicBezTo>
                    <a:pt x="238788" y="24481"/>
                    <a:pt x="238788" y="24652"/>
                    <a:pt x="238793" y="24822"/>
                  </a:cubicBezTo>
                  <a:moveTo>
                    <a:pt x="244118" y="20402"/>
                  </a:moveTo>
                  <a:cubicBezTo>
                    <a:pt x="245418" y="17542"/>
                    <a:pt x="248272" y="15708"/>
                    <a:pt x="251414" y="15716"/>
                  </a:cubicBezTo>
                  <a:cubicBezTo>
                    <a:pt x="254449" y="15711"/>
                    <a:pt x="257163" y="17604"/>
                    <a:pt x="258204" y="20455"/>
                  </a:cubicBezTo>
                  <a:cubicBezTo>
                    <a:pt x="258630" y="21627"/>
                    <a:pt x="257964" y="22399"/>
                    <a:pt x="256739" y="22399"/>
                  </a:cubicBezTo>
                  <a:lnTo>
                    <a:pt x="245476" y="22399"/>
                  </a:lnTo>
                  <a:cubicBezTo>
                    <a:pt x="244225" y="22399"/>
                    <a:pt x="243533" y="21574"/>
                    <a:pt x="244118" y="20455"/>
                  </a:cubicBezTo>
                  <a:moveTo>
                    <a:pt x="268082" y="24875"/>
                  </a:moveTo>
                  <a:cubicBezTo>
                    <a:pt x="267920" y="32064"/>
                    <a:pt x="273615" y="38026"/>
                    <a:pt x="280801" y="38188"/>
                  </a:cubicBezTo>
                  <a:cubicBezTo>
                    <a:pt x="281001" y="38194"/>
                    <a:pt x="281198" y="38194"/>
                    <a:pt x="281395" y="38188"/>
                  </a:cubicBezTo>
                  <a:cubicBezTo>
                    <a:pt x="288584" y="38351"/>
                    <a:pt x="294546" y="32658"/>
                    <a:pt x="294708" y="25469"/>
                  </a:cubicBezTo>
                  <a:cubicBezTo>
                    <a:pt x="294713" y="25269"/>
                    <a:pt x="294713" y="25072"/>
                    <a:pt x="294708" y="24875"/>
                  </a:cubicBezTo>
                  <a:cubicBezTo>
                    <a:pt x="294785" y="17774"/>
                    <a:pt x="289093" y="11954"/>
                    <a:pt x="281989" y="11874"/>
                  </a:cubicBezTo>
                  <a:cubicBezTo>
                    <a:pt x="281792" y="11871"/>
                    <a:pt x="281592" y="11874"/>
                    <a:pt x="281395" y="11882"/>
                  </a:cubicBezTo>
                  <a:cubicBezTo>
                    <a:pt x="274281" y="11647"/>
                    <a:pt x="268324" y="17223"/>
                    <a:pt x="268087" y="24335"/>
                  </a:cubicBezTo>
                  <a:cubicBezTo>
                    <a:pt x="268082" y="24516"/>
                    <a:pt x="268079" y="24694"/>
                    <a:pt x="268082" y="24875"/>
                  </a:cubicBezTo>
                  <a:moveTo>
                    <a:pt x="272662" y="25035"/>
                  </a:moveTo>
                  <a:cubicBezTo>
                    <a:pt x="272427" y="20189"/>
                    <a:pt x="276166" y="16067"/>
                    <a:pt x="281012" y="15833"/>
                  </a:cubicBezTo>
                  <a:cubicBezTo>
                    <a:pt x="281185" y="15825"/>
                    <a:pt x="281355" y="15820"/>
                    <a:pt x="281528" y="15822"/>
                  </a:cubicBezTo>
                  <a:cubicBezTo>
                    <a:pt x="286395" y="15817"/>
                    <a:pt x="290347" y="19760"/>
                    <a:pt x="290349" y="24628"/>
                  </a:cubicBezTo>
                  <a:cubicBezTo>
                    <a:pt x="290352" y="24764"/>
                    <a:pt x="290347" y="24899"/>
                    <a:pt x="290341" y="25035"/>
                  </a:cubicBezTo>
                  <a:cubicBezTo>
                    <a:pt x="290546" y="29913"/>
                    <a:pt x="286760" y="34035"/>
                    <a:pt x="281882" y="34240"/>
                  </a:cubicBezTo>
                  <a:cubicBezTo>
                    <a:pt x="281765" y="34245"/>
                    <a:pt x="281645" y="34248"/>
                    <a:pt x="281528" y="34248"/>
                  </a:cubicBezTo>
                  <a:cubicBezTo>
                    <a:pt x="276645" y="34266"/>
                    <a:pt x="272672" y="30326"/>
                    <a:pt x="272654" y="25442"/>
                  </a:cubicBezTo>
                  <a:cubicBezTo>
                    <a:pt x="272654" y="25307"/>
                    <a:pt x="272656" y="25171"/>
                    <a:pt x="272662" y="25035"/>
                  </a:cubicBezTo>
                  <a:moveTo>
                    <a:pt x="302749" y="48386"/>
                  </a:moveTo>
                  <a:lnTo>
                    <a:pt x="304533" y="48386"/>
                  </a:lnTo>
                  <a:cubicBezTo>
                    <a:pt x="305132" y="48463"/>
                    <a:pt x="305678" y="48040"/>
                    <a:pt x="305755" y="47444"/>
                  </a:cubicBezTo>
                  <a:cubicBezTo>
                    <a:pt x="305766" y="47359"/>
                    <a:pt x="305766" y="47273"/>
                    <a:pt x="305758" y="47188"/>
                  </a:cubicBezTo>
                  <a:lnTo>
                    <a:pt x="305758" y="37097"/>
                  </a:lnTo>
                  <a:cubicBezTo>
                    <a:pt x="305758" y="35686"/>
                    <a:pt x="306530" y="35393"/>
                    <a:pt x="307702" y="36218"/>
                  </a:cubicBezTo>
                  <a:cubicBezTo>
                    <a:pt x="309795" y="37560"/>
                    <a:pt x="312247" y="38236"/>
                    <a:pt x="314731" y="38162"/>
                  </a:cubicBezTo>
                  <a:cubicBezTo>
                    <a:pt x="321861" y="38077"/>
                    <a:pt x="327575" y="32227"/>
                    <a:pt x="327490" y="25096"/>
                  </a:cubicBezTo>
                  <a:cubicBezTo>
                    <a:pt x="327490" y="25014"/>
                    <a:pt x="327488" y="24931"/>
                    <a:pt x="327485" y="24849"/>
                  </a:cubicBezTo>
                  <a:cubicBezTo>
                    <a:pt x="327631" y="17793"/>
                    <a:pt x="322032" y="11951"/>
                    <a:pt x="314973" y="11805"/>
                  </a:cubicBezTo>
                  <a:cubicBezTo>
                    <a:pt x="314920" y="11802"/>
                    <a:pt x="314864" y="11802"/>
                    <a:pt x="314811" y="11802"/>
                  </a:cubicBezTo>
                  <a:cubicBezTo>
                    <a:pt x="312026" y="11725"/>
                    <a:pt x="309297" y="12587"/>
                    <a:pt x="307063" y="14252"/>
                  </a:cubicBezTo>
                  <a:cubicBezTo>
                    <a:pt x="305998" y="15077"/>
                    <a:pt x="305172" y="14891"/>
                    <a:pt x="304933" y="13506"/>
                  </a:cubicBezTo>
                  <a:lnTo>
                    <a:pt x="304933" y="13506"/>
                  </a:lnTo>
                  <a:cubicBezTo>
                    <a:pt x="304877" y="12840"/>
                    <a:pt x="304296" y="12342"/>
                    <a:pt x="303628" y="12388"/>
                  </a:cubicBezTo>
                  <a:lnTo>
                    <a:pt x="302749" y="12388"/>
                  </a:lnTo>
                  <a:cubicBezTo>
                    <a:pt x="302150" y="12310"/>
                    <a:pt x="301604" y="12734"/>
                    <a:pt x="301527" y="13330"/>
                  </a:cubicBezTo>
                  <a:cubicBezTo>
                    <a:pt x="301516" y="13415"/>
                    <a:pt x="301516" y="13501"/>
                    <a:pt x="301524" y="13586"/>
                  </a:cubicBezTo>
                  <a:lnTo>
                    <a:pt x="301524" y="47188"/>
                  </a:lnTo>
                  <a:cubicBezTo>
                    <a:pt x="301461" y="47787"/>
                    <a:pt x="301894" y="48325"/>
                    <a:pt x="302494" y="48389"/>
                  </a:cubicBezTo>
                  <a:cubicBezTo>
                    <a:pt x="302579" y="48397"/>
                    <a:pt x="302664" y="48397"/>
                    <a:pt x="302749" y="48386"/>
                  </a:cubicBezTo>
                  <a:moveTo>
                    <a:pt x="306104" y="28044"/>
                  </a:moveTo>
                  <a:lnTo>
                    <a:pt x="306104" y="21973"/>
                  </a:lnTo>
                  <a:cubicBezTo>
                    <a:pt x="306051" y="21233"/>
                    <a:pt x="306237" y="20495"/>
                    <a:pt x="306637" y="19870"/>
                  </a:cubicBezTo>
                  <a:cubicBezTo>
                    <a:pt x="308306" y="17282"/>
                    <a:pt x="311200" y="15748"/>
                    <a:pt x="314278" y="15822"/>
                  </a:cubicBezTo>
                  <a:cubicBezTo>
                    <a:pt x="319135" y="16012"/>
                    <a:pt x="322935" y="20072"/>
                    <a:pt x="322799" y="24929"/>
                  </a:cubicBezTo>
                  <a:cubicBezTo>
                    <a:pt x="323009" y="29852"/>
                    <a:pt x="319201" y="34019"/>
                    <a:pt x="314278" y="34248"/>
                  </a:cubicBezTo>
                  <a:cubicBezTo>
                    <a:pt x="311184" y="34338"/>
                    <a:pt x="308274" y="32775"/>
                    <a:pt x="306637" y="30147"/>
                  </a:cubicBezTo>
                  <a:cubicBezTo>
                    <a:pt x="306237" y="29522"/>
                    <a:pt x="306051" y="28784"/>
                    <a:pt x="306104" y="28044"/>
                  </a:cubicBezTo>
                  <a:moveTo>
                    <a:pt x="337496" y="-286"/>
                  </a:moveTo>
                  <a:lnTo>
                    <a:pt x="335366" y="-286"/>
                  </a:lnTo>
                  <a:cubicBezTo>
                    <a:pt x="334751" y="-348"/>
                    <a:pt x="334203" y="100"/>
                    <a:pt x="334141" y="715"/>
                  </a:cubicBezTo>
                  <a:cubicBezTo>
                    <a:pt x="334133" y="789"/>
                    <a:pt x="334133" y="864"/>
                    <a:pt x="334141" y="938"/>
                  </a:cubicBezTo>
                  <a:lnTo>
                    <a:pt x="334141" y="36484"/>
                  </a:lnTo>
                  <a:cubicBezTo>
                    <a:pt x="334078" y="37083"/>
                    <a:pt x="334511" y="37621"/>
                    <a:pt x="335111" y="37685"/>
                  </a:cubicBezTo>
                  <a:cubicBezTo>
                    <a:pt x="335196" y="37693"/>
                    <a:pt x="335281" y="37693"/>
                    <a:pt x="335366" y="37683"/>
                  </a:cubicBezTo>
                  <a:lnTo>
                    <a:pt x="337496" y="37683"/>
                  </a:lnTo>
                  <a:cubicBezTo>
                    <a:pt x="338095" y="37760"/>
                    <a:pt x="338641" y="37336"/>
                    <a:pt x="338718" y="36740"/>
                  </a:cubicBezTo>
                  <a:cubicBezTo>
                    <a:pt x="338729" y="36655"/>
                    <a:pt x="338729" y="36570"/>
                    <a:pt x="338721" y="36484"/>
                  </a:cubicBezTo>
                  <a:lnTo>
                    <a:pt x="338721" y="885"/>
                  </a:lnTo>
                  <a:cubicBezTo>
                    <a:pt x="338782" y="270"/>
                    <a:pt x="338335" y="-278"/>
                    <a:pt x="337720" y="-340"/>
                  </a:cubicBezTo>
                  <a:cubicBezTo>
                    <a:pt x="337645" y="-348"/>
                    <a:pt x="337571" y="-348"/>
                    <a:pt x="337496" y="-340"/>
                  </a:cubicBezTo>
                  <a:moveTo>
                    <a:pt x="345484" y="24822"/>
                  </a:moveTo>
                  <a:cubicBezTo>
                    <a:pt x="345159" y="31843"/>
                    <a:pt x="350588" y="37800"/>
                    <a:pt x="357612" y="38122"/>
                  </a:cubicBezTo>
                  <a:cubicBezTo>
                    <a:pt x="357855" y="38132"/>
                    <a:pt x="358100" y="38138"/>
                    <a:pt x="358345" y="38135"/>
                  </a:cubicBezTo>
                  <a:cubicBezTo>
                    <a:pt x="363113" y="38332"/>
                    <a:pt x="367483" y="35491"/>
                    <a:pt x="369235" y="31053"/>
                  </a:cubicBezTo>
                  <a:cubicBezTo>
                    <a:pt x="369528" y="30227"/>
                    <a:pt x="368995" y="29668"/>
                    <a:pt x="368170" y="29668"/>
                  </a:cubicBezTo>
                  <a:lnTo>
                    <a:pt x="366333" y="29668"/>
                  </a:lnTo>
                  <a:cubicBezTo>
                    <a:pt x="365699" y="29657"/>
                    <a:pt x="365129" y="30054"/>
                    <a:pt x="364921" y="30653"/>
                  </a:cubicBezTo>
                  <a:cubicBezTo>
                    <a:pt x="363651" y="33063"/>
                    <a:pt x="361058" y="34471"/>
                    <a:pt x="358345" y="34221"/>
                  </a:cubicBezTo>
                  <a:cubicBezTo>
                    <a:pt x="354561" y="34266"/>
                    <a:pt x="351249" y="31694"/>
                    <a:pt x="350357" y="28017"/>
                  </a:cubicBezTo>
                  <a:cubicBezTo>
                    <a:pt x="350064" y="26899"/>
                    <a:pt x="350756" y="26180"/>
                    <a:pt x="351928" y="26180"/>
                  </a:cubicBezTo>
                  <a:lnTo>
                    <a:pt x="368463" y="26180"/>
                  </a:lnTo>
                  <a:cubicBezTo>
                    <a:pt x="369315" y="26239"/>
                    <a:pt x="370052" y="25597"/>
                    <a:pt x="370111" y="24745"/>
                  </a:cubicBezTo>
                  <a:cubicBezTo>
                    <a:pt x="370113" y="24700"/>
                    <a:pt x="370113" y="24654"/>
                    <a:pt x="370113" y="24609"/>
                  </a:cubicBezTo>
                  <a:cubicBezTo>
                    <a:pt x="370483" y="17913"/>
                    <a:pt x="365358" y="12185"/>
                    <a:pt x="358661" y="11815"/>
                  </a:cubicBezTo>
                  <a:cubicBezTo>
                    <a:pt x="358566" y="11810"/>
                    <a:pt x="358467" y="11805"/>
                    <a:pt x="358371" y="11802"/>
                  </a:cubicBezTo>
                  <a:cubicBezTo>
                    <a:pt x="351371" y="11711"/>
                    <a:pt x="345625" y="17311"/>
                    <a:pt x="345535" y="24311"/>
                  </a:cubicBezTo>
                  <a:cubicBezTo>
                    <a:pt x="345532" y="24473"/>
                    <a:pt x="345532" y="24633"/>
                    <a:pt x="345538" y="24795"/>
                  </a:cubicBezTo>
                  <a:moveTo>
                    <a:pt x="350863" y="20376"/>
                  </a:moveTo>
                  <a:cubicBezTo>
                    <a:pt x="352165" y="17505"/>
                    <a:pt x="355032" y="15671"/>
                    <a:pt x="358185" y="15689"/>
                  </a:cubicBezTo>
                  <a:cubicBezTo>
                    <a:pt x="361215" y="15679"/>
                    <a:pt x="363923" y="17577"/>
                    <a:pt x="364948" y="20429"/>
                  </a:cubicBezTo>
                  <a:cubicBezTo>
                    <a:pt x="365401" y="21600"/>
                    <a:pt x="364708" y="22373"/>
                    <a:pt x="363484" y="22373"/>
                  </a:cubicBezTo>
                  <a:lnTo>
                    <a:pt x="352221" y="22373"/>
                  </a:lnTo>
                  <a:cubicBezTo>
                    <a:pt x="350969" y="22373"/>
                    <a:pt x="350277" y="21547"/>
                    <a:pt x="350863" y="20429"/>
                  </a:cubicBezTo>
                </a:path>
              </a:pathLst>
            </a:custGeom>
            <a:solidFill>
              <a:srgbClr val="FFFFFF"/>
            </a:solidFill>
            <a:ln w="2661" cap="flat">
              <a:noFill/>
              <a:prstDash val="solid"/>
              <a:miter/>
            </a:ln>
          </p:spPr>
          <p:txBody>
            <a:bodyPr rtlCol="0" anchor="ctr"/>
            <a:lstStyle/>
            <a:p>
              <a:endParaRPr lang="pl-PL"/>
            </a:p>
          </p:txBody>
        </p:sp>
        <p:sp>
          <p:nvSpPr>
            <p:cNvPr id="148" name="Freeform: Shape 147">
              <a:extLst>
                <a:ext uri="{FF2B5EF4-FFF2-40B4-BE49-F238E27FC236}">
                  <a16:creationId xmlns:a16="http://schemas.microsoft.com/office/drawing/2014/main" id="{6070B8DD-68FA-44C3-8A1B-3A4E36125925}"/>
                </a:ext>
              </a:extLst>
            </p:cNvPr>
            <p:cNvSpPr/>
            <p:nvPr/>
          </p:nvSpPr>
          <p:spPr>
            <a:xfrm>
              <a:off x="11848503" y="6635533"/>
              <a:ext cx="6855" cy="8973"/>
            </a:xfrm>
            <a:custGeom>
              <a:avLst/>
              <a:gdLst>
                <a:gd name="connsiteX0" fmla="*/ 992 w 12147"/>
                <a:gd name="connsiteY0" fmla="*/ 1467 h 15900"/>
                <a:gd name="connsiteX1" fmla="*/ 992 w 12147"/>
                <a:gd name="connsiteY1" fmla="*/ 295 h 15900"/>
                <a:gd name="connsiteX2" fmla="*/ 1519 w 12147"/>
                <a:gd name="connsiteY2" fmla="*/ -344 h 15900"/>
                <a:gd name="connsiteX3" fmla="*/ 1631 w 12147"/>
                <a:gd name="connsiteY3" fmla="*/ -344 h 15900"/>
                <a:gd name="connsiteX4" fmla="*/ 12521 w 12147"/>
                <a:gd name="connsiteY4" fmla="*/ -344 h 15900"/>
                <a:gd name="connsiteX5" fmla="*/ 13136 w 12147"/>
                <a:gd name="connsiteY5" fmla="*/ 213 h 15900"/>
                <a:gd name="connsiteX6" fmla="*/ 13133 w 12147"/>
                <a:gd name="connsiteY6" fmla="*/ 295 h 15900"/>
                <a:gd name="connsiteX7" fmla="*/ 13133 w 12147"/>
                <a:gd name="connsiteY7" fmla="*/ 1467 h 15900"/>
                <a:gd name="connsiteX8" fmla="*/ 12603 w 12147"/>
                <a:gd name="connsiteY8" fmla="*/ 2103 h 15900"/>
                <a:gd name="connsiteX9" fmla="*/ 12521 w 12147"/>
                <a:gd name="connsiteY9" fmla="*/ 2106 h 15900"/>
                <a:gd name="connsiteX10" fmla="*/ 8926 w 12147"/>
                <a:gd name="connsiteY10" fmla="*/ 2106 h 15900"/>
                <a:gd name="connsiteX11" fmla="*/ 8447 w 12147"/>
                <a:gd name="connsiteY11" fmla="*/ 2471 h 15900"/>
                <a:gd name="connsiteX12" fmla="*/ 8447 w 12147"/>
                <a:gd name="connsiteY12" fmla="*/ 2585 h 15900"/>
                <a:gd name="connsiteX13" fmla="*/ 8447 w 12147"/>
                <a:gd name="connsiteY13" fmla="*/ 14940 h 15900"/>
                <a:gd name="connsiteX14" fmla="*/ 7890 w 12147"/>
                <a:gd name="connsiteY14" fmla="*/ 15555 h 15900"/>
                <a:gd name="connsiteX15" fmla="*/ 7808 w 12147"/>
                <a:gd name="connsiteY15" fmla="*/ 15552 h 15900"/>
                <a:gd name="connsiteX16" fmla="*/ 6184 w 12147"/>
                <a:gd name="connsiteY16" fmla="*/ 15552 h 15900"/>
                <a:gd name="connsiteX17" fmla="*/ 5547 w 12147"/>
                <a:gd name="connsiteY17" fmla="*/ 15022 h 15900"/>
                <a:gd name="connsiteX18" fmla="*/ 5545 w 12147"/>
                <a:gd name="connsiteY18" fmla="*/ 14940 h 15900"/>
                <a:gd name="connsiteX19" fmla="*/ 5545 w 12147"/>
                <a:gd name="connsiteY19" fmla="*/ 2585 h 15900"/>
                <a:gd name="connsiteX20" fmla="*/ 5180 w 12147"/>
                <a:gd name="connsiteY20" fmla="*/ 2106 h 15900"/>
                <a:gd name="connsiteX21" fmla="*/ 5065 w 12147"/>
                <a:gd name="connsiteY21" fmla="*/ 2106 h 15900"/>
                <a:gd name="connsiteX22" fmla="*/ 1631 w 12147"/>
                <a:gd name="connsiteY22" fmla="*/ 2106 h 15900"/>
                <a:gd name="connsiteX23" fmla="*/ 992 w 12147"/>
                <a:gd name="connsiteY23" fmla="*/ 1579 h 15900"/>
                <a:gd name="connsiteX24" fmla="*/ 992 w 12147"/>
                <a:gd name="connsiteY24" fmla="*/ 1467 h 1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147" h="15900">
                  <a:moveTo>
                    <a:pt x="992" y="1467"/>
                  </a:moveTo>
                  <a:lnTo>
                    <a:pt x="992" y="295"/>
                  </a:lnTo>
                  <a:cubicBezTo>
                    <a:pt x="960" y="-27"/>
                    <a:pt x="1197" y="-312"/>
                    <a:pt x="1519" y="-344"/>
                  </a:cubicBezTo>
                  <a:cubicBezTo>
                    <a:pt x="1556" y="-346"/>
                    <a:pt x="1593" y="-346"/>
                    <a:pt x="1631" y="-344"/>
                  </a:cubicBezTo>
                  <a:lnTo>
                    <a:pt x="12521" y="-344"/>
                  </a:lnTo>
                  <a:cubicBezTo>
                    <a:pt x="12843" y="-360"/>
                    <a:pt x="13120" y="-112"/>
                    <a:pt x="13136" y="213"/>
                  </a:cubicBezTo>
                  <a:cubicBezTo>
                    <a:pt x="13136" y="240"/>
                    <a:pt x="13136" y="269"/>
                    <a:pt x="13133" y="295"/>
                  </a:cubicBezTo>
                  <a:lnTo>
                    <a:pt x="13133" y="1467"/>
                  </a:lnTo>
                  <a:cubicBezTo>
                    <a:pt x="13163" y="1789"/>
                    <a:pt x="12925" y="2074"/>
                    <a:pt x="12603" y="2103"/>
                  </a:cubicBezTo>
                  <a:cubicBezTo>
                    <a:pt x="12577" y="2106"/>
                    <a:pt x="12547" y="2109"/>
                    <a:pt x="12521" y="2106"/>
                  </a:cubicBezTo>
                  <a:lnTo>
                    <a:pt x="8926" y="2106"/>
                  </a:lnTo>
                  <a:cubicBezTo>
                    <a:pt x="8692" y="2074"/>
                    <a:pt x="8479" y="2239"/>
                    <a:pt x="8447" y="2471"/>
                  </a:cubicBezTo>
                  <a:cubicBezTo>
                    <a:pt x="8442" y="2508"/>
                    <a:pt x="8442" y="2548"/>
                    <a:pt x="8447" y="2585"/>
                  </a:cubicBezTo>
                  <a:lnTo>
                    <a:pt x="8447" y="14940"/>
                  </a:lnTo>
                  <a:cubicBezTo>
                    <a:pt x="8463" y="15262"/>
                    <a:pt x="8215" y="15539"/>
                    <a:pt x="7890" y="15555"/>
                  </a:cubicBezTo>
                  <a:cubicBezTo>
                    <a:pt x="7864" y="15555"/>
                    <a:pt x="7835" y="15555"/>
                    <a:pt x="7808" y="15552"/>
                  </a:cubicBezTo>
                  <a:lnTo>
                    <a:pt x="6184" y="15552"/>
                  </a:lnTo>
                  <a:cubicBezTo>
                    <a:pt x="5862" y="15581"/>
                    <a:pt x="5577" y="15345"/>
                    <a:pt x="5547" y="15022"/>
                  </a:cubicBezTo>
                  <a:cubicBezTo>
                    <a:pt x="5545" y="14996"/>
                    <a:pt x="5545" y="14966"/>
                    <a:pt x="5545" y="14940"/>
                  </a:cubicBezTo>
                  <a:lnTo>
                    <a:pt x="5545" y="2585"/>
                  </a:lnTo>
                  <a:cubicBezTo>
                    <a:pt x="5577" y="2351"/>
                    <a:pt x="5412" y="2138"/>
                    <a:pt x="5180" y="2106"/>
                  </a:cubicBezTo>
                  <a:cubicBezTo>
                    <a:pt x="5143" y="2101"/>
                    <a:pt x="5103" y="2101"/>
                    <a:pt x="5065" y="2106"/>
                  </a:cubicBezTo>
                  <a:lnTo>
                    <a:pt x="1631" y="2106"/>
                  </a:lnTo>
                  <a:cubicBezTo>
                    <a:pt x="1308" y="2138"/>
                    <a:pt x="1024" y="1901"/>
                    <a:pt x="992" y="1579"/>
                  </a:cubicBezTo>
                  <a:cubicBezTo>
                    <a:pt x="989" y="1542"/>
                    <a:pt x="989" y="1504"/>
                    <a:pt x="992" y="1467"/>
                  </a:cubicBezTo>
                </a:path>
              </a:pathLst>
            </a:custGeom>
            <a:solidFill>
              <a:srgbClr val="FFFFFF"/>
            </a:solidFill>
            <a:ln w="2661" cap="flat">
              <a:noFill/>
              <a:prstDash val="solid"/>
              <a:miter/>
            </a:ln>
          </p:spPr>
          <p:txBody>
            <a:bodyPr rtlCol="0" anchor="ctr"/>
            <a:lstStyle/>
            <a:p>
              <a:endParaRPr lang="pl-PL"/>
            </a:p>
          </p:txBody>
        </p:sp>
        <p:sp>
          <p:nvSpPr>
            <p:cNvPr id="149" name="Freeform: Shape 148">
              <a:extLst>
                <a:ext uri="{FF2B5EF4-FFF2-40B4-BE49-F238E27FC236}">
                  <a16:creationId xmlns:a16="http://schemas.microsoft.com/office/drawing/2014/main" id="{E66CA735-946D-4E22-ABD5-9CAF34243B36}"/>
                </a:ext>
              </a:extLst>
            </p:cNvPr>
            <p:cNvSpPr/>
            <p:nvPr/>
          </p:nvSpPr>
          <p:spPr>
            <a:xfrm>
              <a:off x="11857776" y="6635662"/>
              <a:ext cx="8810" cy="8977"/>
            </a:xfrm>
            <a:custGeom>
              <a:avLst/>
              <a:gdLst>
                <a:gd name="connsiteX0" fmla="*/ 991 w 15611"/>
                <a:gd name="connsiteY0" fmla="*/ 14943 h 15907"/>
                <a:gd name="connsiteX1" fmla="*/ 991 w 15611"/>
                <a:gd name="connsiteY1" fmla="*/ 458 h 15907"/>
                <a:gd name="connsiteX2" fmla="*/ 1675 w 15611"/>
                <a:gd name="connsiteY2" fmla="*/ -343 h 15907"/>
                <a:gd name="connsiteX3" fmla="*/ 1816 w 15611"/>
                <a:gd name="connsiteY3" fmla="*/ -340 h 15907"/>
                <a:gd name="connsiteX4" fmla="*/ 2668 w 15611"/>
                <a:gd name="connsiteY4" fmla="*/ -340 h 15907"/>
                <a:gd name="connsiteX5" fmla="*/ 3627 w 15611"/>
                <a:gd name="connsiteY5" fmla="*/ 192 h 15907"/>
                <a:gd name="connsiteX6" fmla="*/ 8526 w 15611"/>
                <a:gd name="connsiteY6" fmla="*/ 7381 h 15907"/>
                <a:gd name="connsiteX7" fmla="*/ 8915 w 15611"/>
                <a:gd name="connsiteY7" fmla="*/ 7525 h 15907"/>
                <a:gd name="connsiteX8" fmla="*/ 9059 w 15611"/>
                <a:gd name="connsiteY8" fmla="*/ 7381 h 15907"/>
                <a:gd name="connsiteX9" fmla="*/ 14064 w 15611"/>
                <a:gd name="connsiteY9" fmla="*/ 166 h 15907"/>
                <a:gd name="connsiteX10" fmla="*/ 15050 w 15611"/>
                <a:gd name="connsiteY10" fmla="*/ -340 h 15907"/>
                <a:gd name="connsiteX11" fmla="*/ 15795 w 15611"/>
                <a:gd name="connsiteY11" fmla="*/ -340 h 15907"/>
                <a:gd name="connsiteX12" fmla="*/ 16594 w 15611"/>
                <a:gd name="connsiteY12" fmla="*/ 288 h 15907"/>
                <a:gd name="connsiteX13" fmla="*/ 16594 w 15611"/>
                <a:gd name="connsiteY13" fmla="*/ 458 h 15907"/>
                <a:gd name="connsiteX14" fmla="*/ 16594 w 15611"/>
                <a:gd name="connsiteY14" fmla="*/ 14943 h 15907"/>
                <a:gd name="connsiteX15" fmla="*/ 16035 w 15611"/>
                <a:gd name="connsiteY15" fmla="*/ 15556 h 15907"/>
                <a:gd name="connsiteX16" fmla="*/ 15982 w 15611"/>
                <a:gd name="connsiteY16" fmla="*/ 15556 h 15907"/>
                <a:gd name="connsiteX17" fmla="*/ 14677 w 15611"/>
                <a:gd name="connsiteY17" fmla="*/ 15556 h 15907"/>
                <a:gd name="connsiteX18" fmla="*/ 14064 w 15611"/>
                <a:gd name="connsiteY18" fmla="*/ 15055 h 15907"/>
                <a:gd name="connsiteX19" fmla="*/ 14064 w 15611"/>
                <a:gd name="connsiteY19" fmla="*/ 14943 h 15907"/>
                <a:gd name="connsiteX20" fmla="*/ 14064 w 15611"/>
                <a:gd name="connsiteY20" fmla="*/ 4878 h 15907"/>
                <a:gd name="connsiteX21" fmla="*/ 13585 w 15611"/>
                <a:gd name="connsiteY21" fmla="*/ 4745 h 15907"/>
                <a:gd name="connsiteX22" fmla="*/ 9804 w 15611"/>
                <a:gd name="connsiteY22" fmla="*/ 10284 h 15907"/>
                <a:gd name="connsiteX23" fmla="*/ 8846 w 15611"/>
                <a:gd name="connsiteY23" fmla="*/ 10789 h 15907"/>
                <a:gd name="connsiteX24" fmla="*/ 8846 w 15611"/>
                <a:gd name="connsiteY24" fmla="*/ 10789 h 15907"/>
                <a:gd name="connsiteX25" fmla="*/ 7914 w 15611"/>
                <a:gd name="connsiteY25" fmla="*/ 10284 h 15907"/>
                <a:gd name="connsiteX26" fmla="*/ 4133 w 15611"/>
                <a:gd name="connsiteY26" fmla="*/ 4745 h 15907"/>
                <a:gd name="connsiteX27" fmla="*/ 3654 w 15611"/>
                <a:gd name="connsiteY27" fmla="*/ 4905 h 15907"/>
                <a:gd name="connsiteX28" fmla="*/ 3654 w 15611"/>
                <a:gd name="connsiteY28" fmla="*/ 14943 h 15907"/>
                <a:gd name="connsiteX29" fmla="*/ 3097 w 15611"/>
                <a:gd name="connsiteY29" fmla="*/ 15558 h 15907"/>
                <a:gd name="connsiteX30" fmla="*/ 3015 w 15611"/>
                <a:gd name="connsiteY30" fmla="*/ 15556 h 15907"/>
                <a:gd name="connsiteX31" fmla="*/ 1736 w 15611"/>
                <a:gd name="connsiteY31" fmla="*/ 15556 h 15907"/>
                <a:gd name="connsiteX32" fmla="*/ 1100 w 15611"/>
                <a:gd name="connsiteY32" fmla="*/ 15087 h 15907"/>
                <a:gd name="connsiteX33" fmla="*/ 1097 w 15611"/>
                <a:gd name="connsiteY33" fmla="*/ 14943 h 15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611" h="15907">
                  <a:moveTo>
                    <a:pt x="991" y="14943"/>
                  </a:moveTo>
                  <a:lnTo>
                    <a:pt x="991" y="458"/>
                  </a:lnTo>
                  <a:cubicBezTo>
                    <a:pt x="959" y="48"/>
                    <a:pt x="1265" y="-311"/>
                    <a:pt x="1675" y="-343"/>
                  </a:cubicBezTo>
                  <a:cubicBezTo>
                    <a:pt x="1723" y="-346"/>
                    <a:pt x="1771" y="-346"/>
                    <a:pt x="1816" y="-340"/>
                  </a:cubicBezTo>
                  <a:lnTo>
                    <a:pt x="2668" y="-340"/>
                  </a:lnTo>
                  <a:cubicBezTo>
                    <a:pt x="3062" y="-359"/>
                    <a:pt x="3435" y="-154"/>
                    <a:pt x="3627" y="192"/>
                  </a:cubicBezTo>
                  <a:lnTo>
                    <a:pt x="8526" y="7381"/>
                  </a:lnTo>
                  <a:cubicBezTo>
                    <a:pt x="8593" y="7528"/>
                    <a:pt x="8768" y="7592"/>
                    <a:pt x="8915" y="7525"/>
                  </a:cubicBezTo>
                  <a:cubicBezTo>
                    <a:pt x="8979" y="7496"/>
                    <a:pt x="9029" y="7445"/>
                    <a:pt x="9059" y="7381"/>
                  </a:cubicBezTo>
                  <a:lnTo>
                    <a:pt x="14064" y="166"/>
                  </a:lnTo>
                  <a:cubicBezTo>
                    <a:pt x="14280" y="-165"/>
                    <a:pt x="14655" y="-356"/>
                    <a:pt x="15050" y="-340"/>
                  </a:cubicBezTo>
                  <a:lnTo>
                    <a:pt x="15795" y="-340"/>
                  </a:lnTo>
                  <a:cubicBezTo>
                    <a:pt x="16189" y="-388"/>
                    <a:pt x="16546" y="-106"/>
                    <a:pt x="16594" y="288"/>
                  </a:cubicBezTo>
                  <a:cubicBezTo>
                    <a:pt x="16602" y="344"/>
                    <a:pt x="16602" y="403"/>
                    <a:pt x="16594" y="458"/>
                  </a:cubicBezTo>
                  <a:lnTo>
                    <a:pt x="16594" y="14943"/>
                  </a:lnTo>
                  <a:cubicBezTo>
                    <a:pt x="16610" y="15265"/>
                    <a:pt x="16360" y="15540"/>
                    <a:pt x="16035" y="15556"/>
                  </a:cubicBezTo>
                  <a:cubicBezTo>
                    <a:pt x="16019" y="15556"/>
                    <a:pt x="16000" y="15556"/>
                    <a:pt x="15982" y="15556"/>
                  </a:cubicBezTo>
                  <a:lnTo>
                    <a:pt x="14677" y="15556"/>
                  </a:lnTo>
                  <a:cubicBezTo>
                    <a:pt x="14371" y="15587"/>
                    <a:pt x="14096" y="15364"/>
                    <a:pt x="14064" y="15055"/>
                  </a:cubicBezTo>
                  <a:cubicBezTo>
                    <a:pt x="14062" y="15018"/>
                    <a:pt x="14062" y="14980"/>
                    <a:pt x="14064" y="14943"/>
                  </a:cubicBezTo>
                  <a:lnTo>
                    <a:pt x="14064" y="4878"/>
                  </a:lnTo>
                  <a:cubicBezTo>
                    <a:pt x="14064" y="4506"/>
                    <a:pt x="13798" y="4399"/>
                    <a:pt x="13585" y="4745"/>
                  </a:cubicBezTo>
                  <a:lnTo>
                    <a:pt x="9804" y="10284"/>
                  </a:lnTo>
                  <a:cubicBezTo>
                    <a:pt x="9602" y="10614"/>
                    <a:pt x="9234" y="10808"/>
                    <a:pt x="8846" y="10789"/>
                  </a:cubicBezTo>
                  <a:lnTo>
                    <a:pt x="8846" y="10789"/>
                  </a:lnTo>
                  <a:cubicBezTo>
                    <a:pt x="8465" y="10803"/>
                    <a:pt x="8108" y="10611"/>
                    <a:pt x="7914" y="10284"/>
                  </a:cubicBezTo>
                  <a:lnTo>
                    <a:pt x="4133" y="4745"/>
                  </a:lnTo>
                  <a:cubicBezTo>
                    <a:pt x="3920" y="4452"/>
                    <a:pt x="3654" y="4532"/>
                    <a:pt x="3654" y="4905"/>
                  </a:cubicBezTo>
                  <a:lnTo>
                    <a:pt x="3654" y="14943"/>
                  </a:lnTo>
                  <a:cubicBezTo>
                    <a:pt x="3670" y="15265"/>
                    <a:pt x="3422" y="15542"/>
                    <a:pt x="3097" y="15558"/>
                  </a:cubicBezTo>
                  <a:cubicBezTo>
                    <a:pt x="3071" y="15558"/>
                    <a:pt x="3041" y="15558"/>
                    <a:pt x="3015" y="15556"/>
                  </a:cubicBezTo>
                  <a:lnTo>
                    <a:pt x="1736" y="15556"/>
                  </a:lnTo>
                  <a:cubicBezTo>
                    <a:pt x="1430" y="15601"/>
                    <a:pt x="1145" y="15390"/>
                    <a:pt x="1100" y="15087"/>
                  </a:cubicBezTo>
                  <a:cubicBezTo>
                    <a:pt x="1092" y="15039"/>
                    <a:pt x="1092" y="14991"/>
                    <a:pt x="1097" y="14943"/>
                  </a:cubicBezTo>
                </a:path>
              </a:pathLst>
            </a:custGeom>
            <a:solidFill>
              <a:srgbClr val="FFFFFF"/>
            </a:solidFill>
            <a:ln w="2661" cap="flat">
              <a:noFill/>
              <a:prstDash val="solid"/>
              <a:miter/>
            </a:ln>
          </p:spPr>
          <p:txBody>
            <a:bodyPr rtlCol="0" anchor="ctr"/>
            <a:lstStyle/>
            <a:p>
              <a:endParaRPr lang="pl-PL"/>
            </a:p>
          </p:txBody>
        </p:sp>
      </p:grpSp>
      <p:grpSp>
        <p:nvGrpSpPr>
          <p:cNvPr id="150" name="Group 149">
            <a:extLst>
              <a:ext uri="{FF2B5EF4-FFF2-40B4-BE49-F238E27FC236}">
                <a16:creationId xmlns:a16="http://schemas.microsoft.com/office/drawing/2014/main" id="{A2F4A769-2C2C-4D9F-8CBC-1A9A3EDB2FD6}"/>
              </a:ext>
            </a:extLst>
          </p:cNvPr>
          <p:cNvGrpSpPr/>
          <p:nvPr userDrawn="1"/>
        </p:nvGrpSpPr>
        <p:grpSpPr>
          <a:xfrm>
            <a:off x="10855488" y="6628477"/>
            <a:ext cx="218951" cy="162658"/>
            <a:chOff x="10506075" y="6628477"/>
            <a:chExt cx="218951" cy="162658"/>
          </a:xfrm>
        </p:grpSpPr>
        <p:sp>
          <p:nvSpPr>
            <p:cNvPr id="151" name="Rectangle: Rounded Corners 150">
              <a:hlinkClick r:id="" action="ppaction://noaction"/>
              <a:extLst>
                <a:ext uri="{FF2B5EF4-FFF2-40B4-BE49-F238E27FC236}">
                  <a16:creationId xmlns:a16="http://schemas.microsoft.com/office/drawing/2014/main" id="{51085169-9344-4DDB-B985-9E7F6E1F73C8}"/>
                </a:ext>
              </a:extLst>
            </p:cNvPr>
            <p:cNvSpPr/>
            <p:nvPr userDrawn="1"/>
          </p:nvSpPr>
          <p:spPr>
            <a:xfrm>
              <a:off x="10506075" y="6628477"/>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52" name="Rectangle: Rounded Corners 151">
              <a:hlinkClick r:id="" action="ppaction://noaction"/>
              <a:extLst>
                <a:ext uri="{FF2B5EF4-FFF2-40B4-BE49-F238E27FC236}">
                  <a16:creationId xmlns:a16="http://schemas.microsoft.com/office/drawing/2014/main" id="{886FD8AC-EF51-44D1-80D6-D8B28AF79579}"/>
                </a:ext>
              </a:extLst>
            </p:cNvPr>
            <p:cNvSpPr/>
            <p:nvPr userDrawn="1"/>
          </p:nvSpPr>
          <p:spPr>
            <a:xfrm>
              <a:off x="10506075" y="6691806"/>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53" name="Rectangle: Rounded Corners 152">
              <a:hlinkClick r:id="" action="ppaction://noaction"/>
              <a:extLst>
                <a:ext uri="{FF2B5EF4-FFF2-40B4-BE49-F238E27FC236}">
                  <a16:creationId xmlns:a16="http://schemas.microsoft.com/office/drawing/2014/main" id="{72289DEE-2D93-420C-97EF-E971B7988259}"/>
                </a:ext>
              </a:extLst>
            </p:cNvPr>
            <p:cNvSpPr/>
            <p:nvPr userDrawn="1"/>
          </p:nvSpPr>
          <p:spPr>
            <a:xfrm>
              <a:off x="10506075" y="6755135"/>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grpSp>
      <p:sp>
        <p:nvSpPr>
          <p:cNvPr id="154" name="Rectangle 153">
            <a:hlinkClick r:id="" action="ppaction://noaction"/>
            <a:extLst>
              <a:ext uri="{FF2B5EF4-FFF2-40B4-BE49-F238E27FC236}">
                <a16:creationId xmlns:a16="http://schemas.microsoft.com/office/drawing/2014/main" id="{BE8B6BBE-B955-4AF6-B973-96DBB5AE661E}"/>
              </a:ext>
            </a:extLst>
          </p:cNvPr>
          <p:cNvSpPr/>
          <p:nvPr userDrawn="1"/>
        </p:nvSpPr>
        <p:spPr>
          <a:xfrm>
            <a:off x="10760869" y="6579908"/>
            <a:ext cx="406177" cy="273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cxnSp>
        <p:nvCxnSpPr>
          <p:cNvPr id="155" name="Straight Connector 154">
            <a:extLst>
              <a:ext uri="{FF2B5EF4-FFF2-40B4-BE49-F238E27FC236}">
                <a16:creationId xmlns:a16="http://schemas.microsoft.com/office/drawing/2014/main" id="{E6480CA9-6DB3-4F38-AE64-97970AD25B17}"/>
              </a:ext>
            </a:extLst>
          </p:cNvPr>
          <p:cNvCxnSpPr/>
          <p:nvPr userDrawn="1"/>
        </p:nvCxnSpPr>
        <p:spPr>
          <a:xfrm>
            <a:off x="521472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56" name="Rectangle 155">
            <a:hlinkClick r:id="" action="ppaction://noaction"/>
            <a:hlinkHover r:id="" action="ppaction://noaction" highlightClick="1"/>
            <a:extLst>
              <a:ext uri="{FF2B5EF4-FFF2-40B4-BE49-F238E27FC236}">
                <a16:creationId xmlns:a16="http://schemas.microsoft.com/office/drawing/2014/main" id="{14CEB3B7-F1C2-4A70-A117-93F8760EC651}"/>
              </a:ext>
            </a:extLst>
          </p:cNvPr>
          <p:cNvSpPr/>
          <p:nvPr userDrawn="1"/>
        </p:nvSpPr>
        <p:spPr>
          <a:xfrm>
            <a:off x="9539162" y="6570000"/>
            <a:ext cx="1200924"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GB" sz="800" b="0" noProof="0">
                <a:solidFill>
                  <a:schemeClr val="bg1">
                    <a:alpha val="50000"/>
                  </a:schemeClr>
                </a:solidFill>
                <a:latin typeface="Leelawadee" panose="020B0502040204020203" pitchFamily="34" charset="-34"/>
                <a:cs typeface="Leelawadee" panose="020B0502040204020203" pitchFamily="34" charset="-34"/>
              </a:rPr>
              <a:t>Additional </a:t>
            </a:r>
            <a:br>
              <a:rPr lang="en-GB" sz="800" b="0" noProof="0">
                <a:solidFill>
                  <a:schemeClr val="bg1">
                    <a:alpha val="50000"/>
                  </a:schemeClr>
                </a:solidFill>
                <a:latin typeface="Leelawadee" panose="020B0502040204020203" pitchFamily="34" charset="-34"/>
                <a:cs typeface="Leelawadee" panose="020B0502040204020203" pitchFamily="34" charset="-34"/>
              </a:rPr>
            </a:br>
            <a:r>
              <a:rPr lang="en-GB" sz="800" b="0" noProof="0">
                <a:solidFill>
                  <a:schemeClr val="bg1">
                    <a:alpha val="50000"/>
                  </a:schemeClr>
                </a:solidFill>
                <a:latin typeface="Leelawadee" panose="020B0502040204020203" pitchFamily="34" charset="-34"/>
                <a:cs typeface="Leelawadee" panose="020B0502040204020203" pitchFamily="34" charset="-34"/>
              </a:rPr>
              <a:t>Supporting content</a:t>
            </a:r>
          </a:p>
        </p:txBody>
      </p:sp>
      <p:cxnSp>
        <p:nvCxnSpPr>
          <p:cNvPr id="157" name="Straight Connector 156">
            <a:extLst>
              <a:ext uri="{FF2B5EF4-FFF2-40B4-BE49-F238E27FC236}">
                <a16:creationId xmlns:a16="http://schemas.microsoft.com/office/drawing/2014/main" id="{9351241E-2546-4FBD-909B-2AB2E3532937}"/>
              </a:ext>
            </a:extLst>
          </p:cNvPr>
          <p:cNvCxnSpPr/>
          <p:nvPr userDrawn="1"/>
        </p:nvCxnSpPr>
        <p:spPr>
          <a:xfrm>
            <a:off x="10737865"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58" name="TextBox 157">
            <a:extLst>
              <a:ext uri="{FF2B5EF4-FFF2-40B4-BE49-F238E27FC236}">
                <a16:creationId xmlns:a16="http://schemas.microsoft.com/office/drawing/2014/main" id="{9F29C9BC-8342-45C6-8BBE-7F6A7C94D4B6}"/>
              </a:ext>
            </a:extLst>
          </p:cNvPr>
          <p:cNvSpPr txBox="1"/>
          <p:nvPr userDrawn="1"/>
        </p:nvSpPr>
        <p:spPr>
          <a:xfrm>
            <a:off x="208348" y="6587078"/>
            <a:ext cx="428589" cy="261610"/>
          </a:xfrm>
          <a:prstGeom prst="rect">
            <a:avLst/>
          </a:prstGeom>
          <a:noFill/>
        </p:spPr>
        <p:txBody>
          <a:bodyPr wrap="square" rtlCol="0">
            <a:spAutoFit/>
          </a:bodyPr>
          <a:lstStyle/>
          <a:p>
            <a:fld id="{2AD15D81-AC1A-4BFA-95F9-38C1BF89B685}" type="slidenum">
              <a:rPr lang="pl-PL" sz="1050" smtClean="0">
                <a:solidFill>
                  <a:schemeClr val="bg1"/>
                </a:solidFill>
                <a:latin typeface="Leelawadee" panose="020B0502040204020203" pitchFamily="34" charset="-34"/>
                <a:cs typeface="Leelawadee" panose="020B0502040204020203" pitchFamily="34" charset="-34"/>
              </a:rPr>
              <a:t>‹#›</a:t>
            </a:fld>
            <a:endParaRPr lang="pl-PL" sz="1200">
              <a:solidFill>
                <a:schemeClr val="bg1"/>
              </a:solidFill>
              <a:latin typeface="Leelawadee" panose="020B0502040204020203" pitchFamily="34" charset="-34"/>
              <a:cs typeface="Leelawadee" panose="020B0502040204020203" pitchFamily="34" charset="-34"/>
            </a:endParaRPr>
          </a:p>
        </p:txBody>
      </p:sp>
    </p:spTree>
    <p:extLst>
      <p:ext uri="{BB962C8B-B14F-4D97-AF65-F5344CB8AC3E}">
        <p14:creationId xmlns:p14="http://schemas.microsoft.com/office/powerpoint/2010/main" val="2929353815"/>
      </p:ext>
    </p:extLst>
  </p:cSld>
  <p:clrMapOvr>
    <a:masterClrMapping/>
  </p:clrMapOvr>
  <p:extLst>
    <p:ext uri="{DCECCB84-F9BA-43D5-87BE-67443E8EF086}">
      <p15:sldGuideLst xmlns:p15="http://schemas.microsoft.com/office/powerpoint/2012/main">
        <p15:guide id="1" orient="horz" pos="187">
          <p15:clr>
            <a:srgbClr val="FBAE40"/>
          </p15:clr>
        </p15:guide>
        <p15:guide id="2" pos="189">
          <p15:clr>
            <a:srgbClr val="FBAE40"/>
          </p15:clr>
        </p15:guide>
        <p15:guide id="3" pos="7491">
          <p15:clr>
            <a:srgbClr val="FBAE40"/>
          </p15:clr>
        </p15:guide>
        <p15:guide id="4" orient="horz" pos="3816">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2_Pattern with Content 01">
    <p:bg>
      <p:bgPr>
        <a:solidFill>
          <a:srgbClr val="0065E5"/>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4" name="Text Placeholder 3">
            <a:extLst>
              <a:ext uri="{FF2B5EF4-FFF2-40B4-BE49-F238E27FC236}">
                <a16:creationId xmlns:a16="http://schemas.microsoft.com/office/drawing/2014/main" id="{1B749566-D047-2B49-8DE5-DE967A0DAFB9}"/>
              </a:ext>
            </a:extLst>
          </p:cNvPr>
          <p:cNvSpPr>
            <a:spLocks noGrp="1"/>
          </p:cNvSpPr>
          <p:nvPr>
            <p:ph type="body" sz="quarter" idx="10" hasCustomPrompt="1"/>
          </p:nvPr>
        </p:nvSpPr>
        <p:spPr>
          <a:xfrm>
            <a:off x="747674" y="703110"/>
            <a:ext cx="7699014" cy="5307398"/>
          </a:xfrm>
        </p:spPr>
        <p:txBody>
          <a:bodyPr anchor="ctr">
            <a:noAutofit/>
          </a:bodyPr>
          <a:lstStyle>
            <a:lvl1pPr marL="0" indent="0">
              <a:spcBef>
                <a:spcPts val="0"/>
              </a:spcBef>
              <a:buFontTx/>
              <a:buNone/>
              <a:tabLst/>
              <a:defRPr sz="4000" b="1" i="0">
                <a:solidFill>
                  <a:schemeClr val="bg1"/>
                </a:solidFill>
                <a:latin typeface="Segoe UI" panose="020B0502040204020203" pitchFamily="34" charset="0"/>
                <a:cs typeface="Segoe UI" panose="020B0502040204020203" pitchFamily="34" charset="0"/>
              </a:defRPr>
            </a:lvl1pPr>
            <a:lvl2pPr>
              <a:defRPr b="1" i="0">
                <a:solidFill>
                  <a:schemeClr val="bg1"/>
                </a:solidFill>
                <a:latin typeface="Calibri" panose="020F0502020204030204" pitchFamily="34" charset="0"/>
                <a:cs typeface="Calibri" panose="020F0502020204030204" pitchFamily="34" charset="0"/>
              </a:defRPr>
            </a:lvl2pPr>
            <a:lvl3pPr>
              <a:defRPr b="1" i="0">
                <a:solidFill>
                  <a:schemeClr val="bg1"/>
                </a:solidFill>
                <a:latin typeface="Calibri" panose="020F0502020204030204" pitchFamily="34" charset="0"/>
                <a:cs typeface="Calibri" panose="020F0502020204030204" pitchFamily="34" charset="0"/>
              </a:defRPr>
            </a:lvl3pPr>
            <a:lvl4pPr>
              <a:defRPr b="1" i="0">
                <a:solidFill>
                  <a:schemeClr val="bg1"/>
                </a:solidFill>
                <a:latin typeface="Calibri" panose="020F0502020204030204" pitchFamily="34" charset="0"/>
                <a:cs typeface="Calibri" panose="020F0502020204030204" pitchFamily="34" charset="0"/>
              </a:defRPr>
            </a:lvl4pPr>
            <a:lvl5pPr>
              <a:defRPr b="1" i="0">
                <a:solidFill>
                  <a:schemeClr val="bg1"/>
                </a:solidFill>
                <a:latin typeface="Calibri" panose="020F0502020204030204" pitchFamily="34" charset="0"/>
                <a:cs typeface="Calibri" panose="020F0502020204030204" pitchFamily="34" charset="0"/>
              </a:defRPr>
            </a:lvl5pPr>
          </a:lstStyle>
          <a:p>
            <a:pPr lvl="0"/>
            <a:r>
              <a:rPr lang="en-US"/>
              <a:t>Click here to edit your text.</a:t>
            </a:r>
          </a:p>
        </p:txBody>
      </p:sp>
      <p:sp>
        <p:nvSpPr>
          <p:cNvPr id="74" name="Rectangle 73">
            <a:extLst>
              <a:ext uri="{FF2B5EF4-FFF2-40B4-BE49-F238E27FC236}">
                <a16:creationId xmlns:a16="http://schemas.microsoft.com/office/drawing/2014/main" id="{AA35B3EF-6E95-4979-A79E-D19669B18191}"/>
              </a:ext>
            </a:extLst>
          </p:cNvPr>
          <p:cNvSpPr/>
          <p:nvPr userDrawn="1"/>
        </p:nvSpPr>
        <p:spPr>
          <a:xfrm>
            <a:off x="0" y="6570000"/>
            <a:ext cx="12192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100" noProof="0"/>
          </a:p>
        </p:txBody>
      </p:sp>
      <p:cxnSp>
        <p:nvCxnSpPr>
          <p:cNvPr id="75" name="Straight Connector 74">
            <a:extLst>
              <a:ext uri="{FF2B5EF4-FFF2-40B4-BE49-F238E27FC236}">
                <a16:creationId xmlns:a16="http://schemas.microsoft.com/office/drawing/2014/main" id="{B54BFC13-D151-48CE-A204-41D14B529BF0}"/>
              </a:ext>
            </a:extLst>
          </p:cNvPr>
          <p:cNvCxnSpPr/>
          <p:nvPr userDrawn="1"/>
        </p:nvCxnSpPr>
        <p:spPr>
          <a:xfrm>
            <a:off x="634587" y="6570000"/>
            <a:ext cx="0" cy="288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985B2221-9486-42C3-A5B4-2FF9713E12FA}"/>
              </a:ext>
            </a:extLst>
          </p:cNvPr>
          <p:cNvSpPr txBox="1"/>
          <p:nvPr userDrawn="1"/>
        </p:nvSpPr>
        <p:spPr>
          <a:xfrm>
            <a:off x="806034" y="6650942"/>
            <a:ext cx="3896596" cy="123111"/>
          </a:xfrm>
          <a:prstGeom prst="rect">
            <a:avLst/>
          </a:prstGeom>
          <a:noFill/>
        </p:spPr>
        <p:txBody>
          <a:bodyPr wrap="square" lIns="0" tIns="0" rIns="0" bIns="0" rtlCol="0">
            <a:spAutoFit/>
          </a:bodyPr>
          <a:lstStyle/>
          <a:p>
            <a:pPr rtl="0"/>
            <a:r>
              <a:rPr lang="en-US" sz="800" spc="300" baseline="0" noProof="0">
                <a:solidFill>
                  <a:schemeClr val="bg1"/>
                </a:solidFill>
                <a:latin typeface="Leelawadee" panose="020B0502040204020203" pitchFamily="34" charset="-34"/>
                <a:cs typeface="Leelawadee" panose="020B0502040204020203" pitchFamily="34" charset="-34"/>
              </a:rPr>
              <a:t>CONFIDENTIAL &amp; PROPRIETARY</a:t>
            </a:r>
          </a:p>
        </p:txBody>
      </p:sp>
      <p:sp>
        <p:nvSpPr>
          <p:cNvPr id="77" name="Rectangle 76">
            <a:hlinkClick r:id="" action="ppaction://noaction"/>
            <a:extLst>
              <a:ext uri="{FF2B5EF4-FFF2-40B4-BE49-F238E27FC236}">
                <a16:creationId xmlns:a16="http://schemas.microsoft.com/office/drawing/2014/main" id="{87546FE3-0D4D-4474-B752-3342EB5A256B}"/>
              </a:ext>
            </a:extLst>
          </p:cNvPr>
          <p:cNvSpPr/>
          <p:nvPr userDrawn="1"/>
        </p:nvSpPr>
        <p:spPr>
          <a:xfrm>
            <a:off x="5214721" y="6579908"/>
            <a:ext cx="1147937"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lnSpc>
                <a:spcPct val="90000"/>
              </a:lnSpc>
            </a:pPr>
            <a:r>
              <a:rPr lang="en-GB" sz="800" b="0">
                <a:solidFill>
                  <a:schemeClr val="bg1">
                    <a:alpha val="50000"/>
                  </a:schemeClr>
                </a:solidFill>
                <a:latin typeface="Leelawadee" panose="020B0502040204020203" pitchFamily="34" charset="-34"/>
                <a:cs typeface="Leelawadee" panose="020B0502040204020203" pitchFamily="34" charset="-34"/>
              </a:rPr>
              <a:t>Intro &amp; objectives</a:t>
            </a:r>
          </a:p>
        </p:txBody>
      </p:sp>
      <p:sp>
        <p:nvSpPr>
          <p:cNvPr id="78" name="Rectangle 77">
            <a:hlinkClick r:id="rId2" action="ppaction://hlinksldjump"/>
            <a:extLst>
              <a:ext uri="{FF2B5EF4-FFF2-40B4-BE49-F238E27FC236}">
                <a16:creationId xmlns:a16="http://schemas.microsoft.com/office/drawing/2014/main" id="{F4E4C4C3-9ADC-4FE1-9098-91D9D2D63075}"/>
              </a:ext>
            </a:extLst>
          </p:cNvPr>
          <p:cNvSpPr/>
          <p:nvPr userDrawn="1"/>
        </p:nvSpPr>
        <p:spPr>
          <a:xfrm>
            <a:off x="6367021" y="6579908"/>
            <a:ext cx="1126055"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US" sz="800" b="0" noProof="0">
                <a:solidFill>
                  <a:schemeClr val="bg1">
                    <a:alpha val="50000"/>
                  </a:schemeClr>
                </a:solidFill>
                <a:latin typeface="Leelawadee" panose="020B0502040204020203" pitchFamily="34" charset="-34"/>
                <a:cs typeface="Leelawadee" panose="020B0502040204020203" pitchFamily="34" charset="-34"/>
              </a:rPr>
              <a:t>Introducing pep+ </a:t>
            </a:r>
            <a:br>
              <a:rPr lang="en-US" sz="800" b="0" noProof="0">
                <a:solidFill>
                  <a:schemeClr val="bg1">
                    <a:alpha val="50000"/>
                  </a:schemeClr>
                </a:solidFill>
                <a:latin typeface="Leelawadee" panose="020B0502040204020203" pitchFamily="34" charset="-34"/>
                <a:cs typeface="Leelawadee" panose="020B0502040204020203" pitchFamily="34" charset="-34"/>
              </a:rPr>
            </a:br>
            <a:r>
              <a:rPr lang="en-US" sz="800" b="0" noProof="0">
                <a:solidFill>
                  <a:schemeClr val="bg1">
                    <a:alpha val="50000"/>
                  </a:schemeClr>
                </a:solidFill>
                <a:latin typeface="Leelawadee" panose="020B0502040204020203" pitchFamily="34" charset="-34"/>
                <a:cs typeface="Leelawadee" panose="020B0502040204020203" pitchFamily="34" charset="-34"/>
              </a:rPr>
              <a:t>to Customers</a:t>
            </a:r>
          </a:p>
        </p:txBody>
      </p:sp>
      <p:sp>
        <p:nvSpPr>
          <p:cNvPr id="79" name="Rectangle 78">
            <a:hlinkClick r:id="" action="ppaction://noaction"/>
            <a:extLst>
              <a:ext uri="{FF2B5EF4-FFF2-40B4-BE49-F238E27FC236}">
                <a16:creationId xmlns:a16="http://schemas.microsoft.com/office/drawing/2014/main" id="{F4001615-C0CF-497F-90DD-E4067CEB38C3}"/>
              </a:ext>
            </a:extLst>
          </p:cNvPr>
          <p:cNvSpPr/>
          <p:nvPr userDrawn="1"/>
        </p:nvSpPr>
        <p:spPr>
          <a:xfrm>
            <a:off x="7510981" y="6579908"/>
            <a:ext cx="967705"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US" sz="800" b="0" noProof="0">
                <a:solidFill>
                  <a:schemeClr val="bg1">
                    <a:alpha val="50000"/>
                  </a:schemeClr>
                </a:solidFill>
                <a:latin typeface="Leelawadee" panose="020B0502040204020203" pitchFamily="34" charset="-34"/>
                <a:cs typeface="Leelawadee" panose="020B0502040204020203" pitchFamily="34" charset="-34"/>
              </a:rPr>
              <a:t>Exploring </a:t>
            </a:r>
            <a:br>
              <a:rPr lang="en-US" sz="800" b="0" noProof="0">
                <a:solidFill>
                  <a:schemeClr val="bg1">
                    <a:alpha val="50000"/>
                  </a:schemeClr>
                </a:solidFill>
                <a:latin typeface="Leelawadee" panose="020B0502040204020203" pitchFamily="34" charset="-34"/>
                <a:cs typeface="Leelawadee" panose="020B0502040204020203" pitchFamily="34" charset="-34"/>
              </a:rPr>
            </a:br>
            <a:r>
              <a:rPr lang="en-US" sz="800" b="0" noProof="0">
                <a:solidFill>
                  <a:schemeClr val="bg1">
                    <a:alpha val="50000"/>
                  </a:schemeClr>
                </a:solidFill>
                <a:latin typeface="Leelawadee" panose="020B0502040204020203" pitchFamily="34" charset="-34"/>
                <a:cs typeface="Leelawadee" panose="020B0502040204020203" pitchFamily="34" charset="-34"/>
              </a:rPr>
              <a:t>pep+ areas</a:t>
            </a:r>
          </a:p>
        </p:txBody>
      </p:sp>
      <p:sp>
        <p:nvSpPr>
          <p:cNvPr id="80" name="Rectangle 79">
            <a:hlinkClick r:id="" action="ppaction://noaction"/>
            <a:hlinkHover r:id="" action="ppaction://noaction" highlightClick="1"/>
            <a:extLst>
              <a:ext uri="{FF2B5EF4-FFF2-40B4-BE49-F238E27FC236}">
                <a16:creationId xmlns:a16="http://schemas.microsoft.com/office/drawing/2014/main" id="{F50795E1-E097-471C-B01E-A2F5A623B25D}"/>
              </a:ext>
            </a:extLst>
          </p:cNvPr>
          <p:cNvSpPr/>
          <p:nvPr userDrawn="1"/>
        </p:nvSpPr>
        <p:spPr>
          <a:xfrm>
            <a:off x="8544692" y="6579908"/>
            <a:ext cx="994577"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GB" sz="800" b="0" noProof="0">
                <a:solidFill>
                  <a:schemeClr val="bg1">
                    <a:alpha val="50000"/>
                  </a:schemeClr>
                </a:solidFill>
                <a:latin typeface="Leelawadee" panose="020B0502040204020203" pitchFamily="34" charset="-34"/>
                <a:cs typeface="Leelawadee" panose="020B0502040204020203" pitchFamily="34" charset="-34"/>
              </a:rPr>
              <a:t>pep+ Customer Engagement</a:t>
            </a:r>
          </a:p>
        </p:txBody>
      </p:sp>
      <p:cxnSp>
        <p:nvCxnSpPr>
          <p:cNvPr id="81" name="Straight Connector 80">
            <a:extLst>
              <a:ext uri="{FF2B5EF4-FFF2-40B4-BE49-F238E27FC236}">
                <a16:creationId xmlns:a16="http://schemas.microsoft.com/office/drawing/2014/main" id="{80E2A1B1-6757-4D6C-B03C-B5E08269E3DC}"/>
              </a:ext>
            </a:extLst>
          </p:cNvPr>
          <p:cNvCxnSpPr/>
          <p:nvPr userDrawn="1"/>
        </p:nvCxnSpPr>
        <p:spPr>
          <a:xfrm>
            <a:off x="9539270"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8EF01055-71C3-4AAB-9A1C-F830A47FC8BE}"/>
              </a:ext>
            </a:extLst>
          </p:cNvPr>
          <p:cNvCxnSpPr/>
          <p:nvPr userDrawn="1"/>
        </p:nvCxnSpPr>
        <p:spPr>
          <a:xfrm>
            <a:off x="848143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A2384A5A-3696-43A7-891A-C124C4895CC6}"/>
              </a:ext>
            </a:extLst>
          </p:cNvPr>
          <p:cNvCxnSpPr/>
          <p:nvPr userDrawn="1"/>
        </p:nvCxnSpPr>
        <p:spPr>
          <a:xfrm>
            <a:off x="7493596"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CA0AB99A-86D9-4CD0-9024-8F3EC2833AFE}"/>
              </a:ext>
            </a:extLst>
          </p:cNvPr>
          <p:cNvCxnSpPr/>
          <p:nvPr userDrawn="1"/>
        </p:nvCxnSpPr>
        <p:spPr>
          <a:xfrm>
            <a:off x="636702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5D9E2F43-0051-4508-96DA-B8F07C431629}"/>
              </a:ext>
            </a:extLst>
          </p:cNvPr>
          <p:cNvCxnSpPr/>
          <p:nvPr userDrawn="1"/>
        </p:nvCxnSpPr>
        <p:spPr>
          <a:xfrm>
            <a:off x="11186336"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nvGrpSpPr>
          <p:cNvPr id="86" name="Group 85">
            <a:extLst>
              <a:ext uri="{FF2B5EF4-FFF2-40B4-BE49-F238E27FC236}">
                <a16:creationId xmlns:a16="http://schemas.microsoft.com/office/drawing/2014/main" id="{9FF2799C-55B7-4DC4-A75F-DB29CF63B5CD}"/>
              </a:ext>
            </a:extLst>
          </p:cNvPr>
          <p:cNvGrpSpPr/>
          <p:nvPr userDrawn="1"/>
        </p:nvGrpSpPr>
        <p:grpSpPr>
          <a:xfrm>
            <a:off x="11393217" y="6628477"/>
            <a:ext cx="473369" cy="183554"/>
            <a:chOff x="11393217" y="6628477"/>
            <a:chExt cx="473369" cy="183554"/>
          </a:xfrm>
        </p:grpSpPr>
        <p:sp>
          <p:nvSpPr>
            <p:cNvPr id="87" name="Freeform: Shape 86">
              <a:extLst>
                <a:ext uri="{FF2B5EF4-FFF2-40B4-BE49-F238E27FC236}">
                  <a16:creationId xmlns:a16="http://schemas.microsoft.com/office/drawing/2014/main" id="{3E809BB5-5540-43B0-A5B0-4A5D0ECBAFE0}"/>
                </a:ext>
              </a:extLst>
            </p:cNvPr>
            <p:cNvSpPr/>
            <p:nvPr/>
          </p:nvSpPr>
          <p:spPr>
            <a:xfrm>
              <a:off x="11432435" y="6628477"/>
              <a:ext cx="90651" cy="18332"/>
            </a:xfrm>
            <a:custGeom>
              <a:avLst/>
              <a:gdLst>
                <a:gd name="connsiteX0" fmla="*/ 11746 w 160635"/>
                <a:gd name="connsiteY0" fmla="*/ 19438 h 32484"/>
                <a:gd name="connsiteX1" fmla="*/ 53842 w 160635"/>
                <a:gd name="connsiteY1" fmla="*/ 32138 h 32484"/>
                <a:gd name="connsiteX2" fmla="*/ 96443 w 160635"/>
                <a:gd name="connsiteY2" fmla="*/ 19438 h 32484"/>
                <a:gd name="connsiteX3" fmla="*/ 138646 w 160635"/>
                <a:gd name="connsiteY3" fmla="*/ 32138 h 32484"/>
                <a:gd name="connsiteX4" fmla="*/ 161624 w 160635"/>
                <a:gd name="connsiteY4" fmla="*/ 25721 h 32484"/>
                <a:gd name="connsiteX5" fmla="*/ 78205 w 160635"/>
                <a:gd name="connsiteY5" fmla="*/ -345 h 32484"/>
                <a:gd name="connsiteX6" fmla="*/ 989 w 160635"/>
                <a:gd name="connsiteY6" fmla="*/ 21648 h 32484"/>
                <a:gd name="connsiteX7" fmla="*/ 11879 w 160635"/>
                <a:gd name="connsiteY7" fmla="*/ 19438 h 3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635" h="32484">
                  <a:moveTo>
                    <a:pt x="11746" y="19438"/>
                  </a:moveTo>
                  <a:cubicBezTo>
                    <a:pt x="29798" y="19438"/>
                    <a:pt x="34671" y="32138"/>
                    <a:pt x="53842" y="32138"/>
                  </a:cubicBezTo>
                  <a:cubicBezTo>
                    <a:pt x="73012" y="32138"/>
                    <a:pt x="77645" y="19438"/>
                    <a:pt x="96443" y="19438"/>
                  </a:cubicBezTo>
                  <a:cubicBezTo>
                    <a:pt x="113644" y="19438"/>
                    <a:pt x="120700" y="32138"/>
                    <a:pt x="138646" y="32138"/>
                  </a:cubicBezTo>
                  <a:cubicBezTo>
                    <a:pt x="146732" y="32029"/>
                    <a:pt x="154651" y="29819"/>
                    <a:pt x="161624" y="25721"/>
                  </a:cubicBezTo>
                  <a:cubicBezTo>
                    <a:pt x="137136" y="8707"/>
                    <a:pt x="108023" y="-388"/>
                    <a:pt x="78205" y="-345"/>
                  </a:cubicBezTo>
                  <a:cubicBezTo>
                    <a:pt x="50915" y="-377"/>
                    <a:pt x="24164" y="7240"/>
                    <a:pt x="989" y="21648"/>
                  </a:cubicBezTo>
                  <a:cubicBezTo>
                    <a:pt x="4440" y="20210"/>
                    <a:pt x="8140" y="19459"/>
                    <a:pt x="11879" y="19438"/>
                  </a:cubicBezTo>
                </a:path>
              </a:pathLst>
            </a:custGeom>
            <a:solidFill>
              <a:srgbClr val="4FE3F2"/>
            </a:solidFill>
            <a:ln w="2661" cap="flat">
              <a:noFill/>
              <a:prstDash val="solid"/>
              <a:miter/>
            </a:ln>
          </p:spPr>
          <p:txBody>
            <a:bodyPr rtlCol="0" anchor="ctr"/>
            <a:lstStyle/>
            <a:p>
              <a:endParaRPr lang="pl-PL"/>
            </a:p>
          </p:txBody>
        </p:sp>
        <p:sp>
          <p:nvSpPr>
            <p:cNvPr id="88" name="Freeform: Shape 87">
              <a:extLst>
                <a:ext uri="{FF2B5EF4-FFF2-40B4-BE49-F238E27FC236}">
                  <a16:creationId xmlns:a16="http://schemas.microsoft.com/office/drawing/2014/main" id="{762C4EA0-F327-4E78-86DB-71D3A3B326C3}"/>
                </a:ext>
              </a:extLst>
            </p:cNvPr>
            <p:cNvSpPr/>
            <p:nvPr/>
          </p:nvSpPr>
          <p:spPr>
            <a:xfrm>
              <a:off x="11432374" y="6628522"/>
              <a:ext cx="90726" cy="18332"/>
            </a:xfrm>
            <a:custGeom>
              <a:avLst/>
              <a:gdLst>
                <a:gd name="connsiteX0" fmla="*/ 78205 w 160768"/>
                <a:gd name="connsiteY0" fmla="*/ -345 h 32484"/>
                <a:gd name="connsiteX1" fmla="*/ 989 w 160768"/>
                <a:gd name="connsiteY1" fmla="*/ 21648 h 32484"/>
                <a:gd name="connsiteX2" fmla="*/ 11879 w 160768"/>
                <a:gd name="connsiteY2" fmla="*/ 19438 h 32484"/>
                <a:gd name="connsiteX3" fmla="*/ 53975 w 160768"/>
                <a:gd name="connsiteY3" fmla="*/ 32138 h 32484"/>
                <a:gd name="connsiteX4" fmla="*/ 96577 w 160768"/>
                <a:gd name="connsiteY4" fmla="*/ 19438 h 32484"/>
                <a:gd name="connsiteX5" fmla="*/ 138806 w 160768"/>
                <a:gd name="connsiteY5" fmla="*/ 32138 h 32484"/>
                <a:gd name="connsiteX6" fmla="*/ 161757 w 160768"/>
                <a:gd name="connsiteY6" fmla="*/ 25722 h 32484"/>
                <a:gd name="connsiteX7" fmla="*/ 78338 w 160768"/>
                <a:gd name="connsiteY7" fmla="*/ -345 h 3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8" h="32484">
                  <a:moveTo>
                    <a:pt x="78205" y="-345"/>
                  </a:moveTo>
                  <a:cubicBezTo>
                    <a:pt x="50915" y="-377"/>
                    <a:pt x="24164" y="7240"/>
                    <a:pt x="989" y="21648"/>
                  </a:cubicBezTo>
                  <a:cubicBezTo>
                    <a:pt x="4439" y="20210"/>
                    <a:pt x="8140" y="19459"/>
                    <a:pt x="11879" y="19438"/>
                  </a:cubicBezTo>
                  <a:cubicBezTo>
                    <a:pt x="29931" y="19438"/>
                    <a:pt x="34804" y="32138"/>
                    <a:pt x="53975" y="32138"/>
                  </a:cubicBezTo>
                  <a:cubicBezTo>
                    <a:pt x="73146" y="32138"/>
                    <a:pt x="77778" y="19438"/>
                    <a:pt x="96577" y="19438"/>
                  </a:cubicBezTo>
                  <a:cubicBezTo>
                    <a:pt x="113777" y="19438"/>
                    <a:pt x="120833" y="32138"/>
                    <a:pt x="138806" y="32138"/>
                  </a:cubicBezTo>
                  <a:cubicBezTo>
                    <a:pt x="146884" y="32027"/>
                    <a:pt x="154792" y="29814"/>
                    <a:pt x="161757" y="25722"/>
                  </a:cubicBezTo>
                  <a:cubicBezTo>
                    <a:pt x="137269" y="8707"/>
                    <a:pt x="108156" y="-388"/>
                    <a:pt x="78338" y="-345"/>
                  </a:cubicBezTo>
                </a:path>
              </a:pathLst>
            </a:custGeom>
            <a:solidFill>
              <a:srgbClr val="BAF2FA"/>
            </a:solidFill>
            <a:ln w="2661" cap="flat">
              <a:noFill/>
              <a:prstDash val="solid"/>
              <a:miter/>
            </a:ln>
          </p:spPr>
          <p:txBody>
            <a:bodyPr rtlCol="0" anchor="ctr"/>
            <a:lstStyle/>
            <a:p>
              <a:endParaRPr lang="pl-PL"/>
            </a:p>
          </p:txBody>
        </p:sp>
        <p:sp>
          <p:nvSpPr>
            <p:cNvPr id="89" name="Freeform: Shape 88">
              <a:extLst>
                <a:ext uri="{FF2B5EF4-FFF2-40B4-BE49-F238E27FC236}">
                  <a16:creationId xmlns:a16="http://schemas.microsoft.com/office/drawing/2014/main" id="{87EE7CFE-4556-472F-9C88-7719A6418AD3}"/>
                </a:ext>
              </a:extLst>
            </p:cNvPr>
            <p:cNvSpPr/>
            <p:nvPr/>
          </p:nvSpPr>
          <p:spPr>
            <a:xfrm>
              <a:off x="11427415" y="6639597"/>
              <a:ext cx="108562" cy="21802"/>
            </a:xfrm>
            <a:custGeom>
              <a:avLst/>
              <a:gdLst>
                <a:gd name="connsiteX0" fmla="*/ 105230 w 192373"/>
                <a:gd name="connsiteY0" fmla="*/ -266 h 38634"/>
                <a:gd name="connsiteX1" fmla="*/ 62628 w 192373"/>
                <a:gd name="connsiteY1" fmla="*/ 12435 h 38634"/>
                <a:gd name="connsiteX2" fmla="*/ 20532 w 192373"/>
                <a:gd name="connsiteY2" fmla="*/ -266 h 38634"/>
                <a:gd name="connsiteX3" fmla="*/ 9642 w 192373"/>
                <a:gd name="connsiteY3" fmla="*/ 1944 h 38634"/>
                <a:gd name="connsiteX4" fmla="*/ 989 w 192373"/>
                <a:gd name="connsiteY4" fmla="*/ 7775 h 38634"/>
                <a:gd name="connsiteX5" fmla="*/ 21171 w 192373"/>
                <a:gd name="connsiteY5" fmla="*/ 25615 h 38634"/>
                <a:gd name="connsiteX6" fmla="*/ 62628 w 192373"/>
                <a:gd name="connsiteY6" fmla="*/ 38289 h 38634"/>
                <a:gd name="connsiteX7" fmla="*/ 105230 w 192373"/>
                <a:gd name="connsiteY7" fmla="*/ 25588 h 38634"/>
                <a:gd name="connsiteX8" fmla="*/ 147459 w 192373"/>
                <a:gd name="connsiteY8" fmla="*/ 38289 h 38634"/>
                <a:gd name="connsiteX9" fmla="*/ 190700 w 192373"/>
                <a:gd name="connsiteY9" fmla="*/ 25588 h 38634"/>
                <a:gd name="connsiteX10" fmla="*/ 193363 w 192373"/>
                <a:gd name="connsiteY10" fmla="*/ 25588 h 38634"/>
                <a:gd name="connsiteX11" fmla="*/ 170438 w 192373"/>
                <a:gd name="connsiteY11" fmla="*/ 5938 h 38634"/>
                <a:gd name="connsiteX12" fmla="*/ 147486 w 192373"/>
                <a:gd name="connsiteY12" fmla="*/ 12355 h 38634"/>
                <a:gd name="connsiteX13" fmla="*/ 105257 w 192373"/>
                <a:gd name="connsiteY13" fmla="*/ -346 h 38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2373" h="38634">
                  <a:moveTo>
                    <a:pt x="105230" y="-266"/>
                  </a:moveTo>
                  <a:cubicBezTo>
                    <a:pt x="86592" y="-266"/>
                    <a:pt x="81799" y="12435"/>
                    <a:pt x="62628" y="12435"/>
                  </a:cubicBezTo>
                  <a:cubicBezTo>
                    <a:pt x="43457" y="12435"/>
                    <a:pt x="38665" y="-266"/>
                    <a:pt x="20532" y="-266"/>
                  </a:cubicBezTo>
                  <a:cubicBezTo>
                    <a:pt x="16794" y="-244"/>
                    <a:pt x="13093" y="506"/>
                    <a:pt x="9642" y="1944"/>
                  </a:cubicBezTo>
                  <a:cubicBezTo>
                    <a:pt x="6687" y="3781"/>
                    <a:pt x="3785" y="5725"/>
                    <a:pt x="989" y="7775"/>
                  </a:cubicBezTo>
                  <a:cubicBezTo>
                    <a:pt x="8031" y="13356"/>
                    <a:pt x="14768" y="19312"/>
                    <a:pt x="21171" y="25615"/>
                  </a:cubicBezTo>
                  <a:cubicBezTo>
                    <a:pt x="38691" y="25908"/>
                    <a:pt x="43697" y="38289"/>
                    <a:pt x="62628" y="38289"/>
                  </a:cubicBezTo>
                  <a:cubicBezTo>
                    <a:pt x="81559" y="38289"/>
                    <a:pt x="86432" y="25588"/>
                    <a:pt x="105230" y="25588"/>
                  </a:cubicBezTo>
                  <a:cubicBezTo>
                    <a:pt x="122431" y="25588"/>
                    <a:pt x="129487" y="38289"/>
                    <a:pt x="147459" y="38289"/>
                  </a:cubicBezTo>
                  <a:cubicBezTo>
                    <a:pt x="167456" y="38289"/>
                    <a:pt x="173872" y="25588"/>
                    <a:pt x="190700" y="25588"/>
                  </a:cubicBezTo>
                  <a:cubicBezTo>
                    <a:pt x="191632" y="25588"/>
                    <a:pt x="192484" y="25588"/>
                    <a:pt x="193363" y="25588"/>
                  </a:cubicBezTo>
                  <a:cubicBezTo>
                    <a:pt x="186416" y="18269"/>
                    <a:pt x="178734" y="11684"/>
                    <a:pt x="170438" y="5938"/>
                  </a:cubicBezTo>
                  <a:cubicBezTo>
                    <a:pt x="163472" y="10031"/>
                    <a:pt x="155564" y="12243"/>
                    <a:pt x="147486" y="12355"/>
                  </a:cubicBezTo>
                  <a:cubicBezTo>
                    <a:pt x="129513" y="12355"/>
                    <a:pt x="122457" y="-346"/>
                    <a:pt x="105257" y="-346"/>
                  </a:cubicBezTo>
                </a:path>
              </a:pathLst>
            </a:custGeom>
            <a:solidFill>
              <a:srgbClr val="4FE3F2"/>
            </a:solidFill>
            <a:ln w="2661" cap="flat">
              <a:noFill/>
              <a:prstDash val="solid"/>
              <a:miter/>
            </a:ln>
          </p:spPr>
          <p:txBody>
            <a:bodyPr rtlCol="0" anchor="ctr"/>
            <a:lstStyle/>
            <a:p>
              <a:endParaRPr lang="pl-PL"/>
            </a:p>
          </p:txBody>
        </p:sp>
        <p:sp>
          <p:nvSpPr>
            <p:cNvPr id="90" name="Freeform: Shape 89">
              <a:extLst>
                <a:ext uri="{FF2B5EF4-FFF2-40B4-BE49-F238E27FC236}">
                  <a16:creationId xmlns:a16="http://schemas.microsoft.com/office/drawing/2014/main" id="{3E3E94E1-7595-4439-9BF8-CCF8D4000CE4}"/>
                </a:ext>
              </a:extLst>
            </p:cNvPr>
            <p:cNvSpPr/>
            <p:nvPr/>
          </p:nvSpPr>
          <p:spPr>
            <a:xfrm>
              <a:off x="11438745" y="6654277"/>
              <a:ext cx="111537" cy="22389"/>
            </a:xfrm>
            <a:custGeom>
              <a:avLst/>
              <a:gdLst>
                <a:gd name="connsiteX0" fmla="*/ 127250 w 197645"/>
                <a:gd name="connsiteY0" fmla="*/ 12355 h 39673"/>
                <a:gd name="connsiteX1" fmla="*/ 85048 w 197645"/>
                <a:gd name="connsiteY1" fmla="*/ -346 h 39673"/>
                <a:gd name="connsiteX2" fmla="*/ 42446 w 197645"/>
                <a:gd name="connsiteY2" fmla="*/ 12355 h 39673"/>
                <a:gd name="connsiteX3" fmla="*/ 989 w 197645"/>
                <a:gd name="connsiteY3" fmla="*/ -319 h 39673"/>
                <a:gd name="connsiteX4" fmla="*/ 24233 w 197645"/>
                <a:gd name="connsiteY4" fmla="*/ 25881 h 39673"/>
                <a:gd name="connsiteX5" fmla="*/ 33100 w 197645"/>
                <a:gd name="connsiteY5" fmla="*/ 38209 h 39673"/>
                <a:gd name="connsiteX6" fmla="*/ 42446 w 197645"/>
                <a:gd name="connsiteY6" fmla="*/ 39327 h 39673"/>
                <a:gd name="connsiteX7" fmla="*/ 85048 w 197645"/>
                <a:gd name="connsiteY7" fmla="*/ 26627 h 39673"/>
                <a:gd name="connsiteX8" fmla="*/ 127250 w 197645"/>
                <a:gd name="connsiteY8" fmla="*/ 39327 h 39673"/>
                <a:gd name="connsiteX9" fmla="*/ 170517 w 197645"/>
                <a:gd name="connsiteY9" fmla="*/ 26627 h 39673"/>
                <a:gd name="connsiteX10" fmla="*/ 198635 w 197645"/>
                <a:gd name="connsiteY10" fmla="*/ 36478 h 39673"/>
                <a:gd name="connsiteX11" fmla="*/ 173153 w 197645"/>
                <a:gd name="connsiteY11" fmla="*/ -266 h 39673"/>
                <a:gd name="connsiteX12" fmla="*/ 170491 w 197645"/>
                <a:gd name="connsiteY12" fmla="*/ -266 h 39673"/>
                <a:gd name="connsiteX13" fmla="*/ 127223 w 197645"/>
                <a:gd name="connsiteY13" fmla="*/ 12435 h 39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7645" h="39673">
                  <a:moveTo>
                    <a:pt x="127250" y="12355"/>
                  </a:moveTo>
                  <a:cubicBezTo>
                    <a:pt x="109304" y="12355"/>
                    <a:pt x="102248" y="-346"/>
                    <a:pt x="85048" y="-346"/>
                  </a:cubicBezTo>
                  <a:cubicBezTo>
                    <a:pt x="66409" y="-346"/>
                    <a:pt x="61616" y="12355"/>
                    <a:pt x="42446" y="12355"/>
                  </a:cubicBezTo>
                  <a:cubicBezTo>
                    <a:pt x="23275" y="12355"/>
                    <a:pt x="18482" y="-26"/>
                    <a:pt x="989" y="-319"/>
                  </a:cubicBezTo>
                  <a:cubicBezTo>
                    <a:pt x="9333" y="7866"/>
                    <a:pt x="17100" y="16621"/>
                    <a:pt x="24233" y="25881"/>
                  </a:cubicBezTo>
                  <a:cubicBezTo>
                    <a:pt x="27295" y="29902"/>
                    <a:pt x="30277" y="34002"/>
                    <a:pt x="33100" y="38209"/>
                  </a:cubicBezTo>
                  <a:cubicBezTo>
                    <a:pt x="36157" y="38971"/>
                    <a:pt x="39296" y="39346"/>
                    <a:pt x="42446" y="39327"/>
                  </a:cubicBezTo>
                  <a:cubicBezTo>
                    <a:pt x="61510" y="39327"/>
                    <a:pt x="66249" y="26627"/>
                    <a:pt x="85048" y="26627"/>
                  </a:cubicBezTo>
                  <a:cubicBezTo>
                    <a:pt x="102248" y="26627"/>
                    <a:pt x="109304" y="39327"/>
                    <a:pt x="127250" y="39327"/>
                  </a:cubicBezTo>
                  <a:cubicBezTo>
                    <a:pt x="147273" y="39327"/>
                    <a:pt x="153690" y="26627"/>
                    <a:pt x="170517" y="26627"/>
                  </a:cubicBezTo>
                  <a:cubicBezTo>
                    <a:pt x="184283" y="26627"/>
                    <a:pt x="189635" y="32245"/>
                    <a:pt x="198635" y="36478"/>
                  </a:cubicBezTo>
                  <a:cubicBezTo>
                    <a:pt x="192063" y="23003"/>
                    <a:pt x="183471" y="10611"/>
                    <a:pt x="173153" y="-266"/>
                  </a:cubicBezTo>
                  <a:cubicBezTo>
                    <a:pt x="172301" y="-266"/>
                    <a:pt x="171449" y="-266"/>
                    <a:pt x="170491" y="-266"/>
                  </a:cubicBezTo>
                  <a:cubicBezTo>
                    <a:pt x="153663" y="-266"/>
                    <a:pt x="147246" y="12435"/>
                    <a:pt x="127223" y="12435"/>
                  </a:cubicBezTo>
                </a:path>
              </a:pathLst>
            </a:custGeom>
            <a:solidFill>
              <a:srgbClr val="0066E5"/>
            </a:solidFill>
            <a:ln w="2661" cap="flat">
              <a:noFill/>
              <a:prstDash val="solid"/>
              <a:miter/>
            </a:ln>
          </p:spPr>
          <p:txBody>
            <a:bodyPr rtlCol="0" anchor="ctr"/>
            <a:lstStyle/>
            <a:p>
              <a:endParaRPr lang="pl-PL"/>
            </a:p>
          </p:txBody>
        </p:sp>
        <p:sp>
          <p:nvSpPr>
            <p:cNvPr id="91" name="Freeform: Shape 90">
              <a:extLst>
                <a:ext uri="{FF2B5EF4-FFF2-40B4-BE49-F238E27FC236}">
                  <a16:creationId xmlns:a16="http://schemas.microsoft.com/office/drawing/2014/main" id="{AFA213AB-A72E-4B2B-AA93-1FEA47895330}"/>
                </a:ext>
              </a:extLst>
            </p:cNvPr>
            <p:cNvSpPr/>
            <p:nvPr/>
          </p:nvSpPr>
          <p:spPr>
            <a:xfrm>
              <a:off x="11456867" y="6669498"/>
              <a:ext cx="99186" cy="29390"/>
            </a:xfrm>
            <a:custGeom>
              <a:avLst/>
              <a:gdLst>
                <a:gd name="connsiteX0" fmla="*/ 95139 w 175759"/>
                <a:gd name="connsiteY0" fmla="*/ 12355 h 52080"/>
                <a:gd name="connsiteX1" fmla="*/ 52936 w 175759"/>
                <a:gd name="connsiteY1" fmla="*/ -346 h 52080"/>
                <a:gd name="connsiteX2" fmla="*/ 10335 w 175759"/>
                <a:gd name="connsiteY2" fmla="*/ 12355 h 52080"/>
                <a:gd name="connsiteX3" fmla="*/ 989 w 175759"/>
                <a:gd name="connsiteY3" fmla="*/ 11210 h 52080"/>
                <a:gd name="connsiteX4" fmla="*/ 23248 w 175759"/>
                <a:gd name="connsiteY4" fmla="*/ 51735 h 52080"/>
                <a:gd name="connsiteX5" fmla="*/ 22929 w 175759"/>
                <a:gd name="connsiteY5" fmla="*/ 50963 h 52080"/>
                <a:gd name="connsiteX6" fmla="*/ 110183 w 175759"/>
                <a:gd name="connsiteY6" fmla="*/ 22633 h 52080"/>
                <a:gd name="connsiteX7" fmla="*/ 176748 w 175759"/>
                <a:gd name="connsiteY7" fmla="*/ 38262 h 52080"/>
                <a:gd name="connsiteX8" fmla="*/ 166310 w 175759"/>
                <a:gd name="connsiteY8" fmla="*/ 9506 h 52080"/>
                <a:gd name="connsiteX9" fmla="*/ 138193 w 175759"/>
                <a:gd name="connsiteY9" fmla="*/ -346 h 52080"/>
                <a:gd name="connsiteX10" fmla="*/ 94926 w 175759"/>
                <a:gd name="connsiteY10" fmla="*/ 12355 h 52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5759" h="52080">
                  <a:moveTo>
                    <a:pt x="95139" y="12355"/>
                  </a:moveTo>
                  <a:cubicBezTo>
                    <a:pt x="77193" y="12355"/>
                    <a:pt x="70137" y="-346"/>
                    <a:pt x="52936" y="-346"/>
                  </a:cubicBezTo>
                  <a:cubicBezTo>
                    <a:pt x="34298" y="-346"/>
                    <a:pt x="29505" y="12355"/>
                    <a:pt x="10335" y="12355"/>
                  </a:cubicBezTo>
                  <a:cubicBezTo>
                    <a:pt x="7182" y="12379"/>
                    <a:pt x="4043" y="11993"/>
                    <a:pt x="989" y="11210"/>
                  </a:cubicBezTo>
                  <a:cubicBezTo>
                    <a:pt x="9634" y="24007"/>
                    <a:pt x="17087" y="37573"/>
                    <a:pt x="23248" y="51735"/>
                  </a:cubicBezTo>
                  <a:lnTo>
                    <a:pt x="22929" y="50963"/>
                  </a:lnTo>
                  <a:cubicBezTo>
                    <a:pt x="48205" y="32375"/>
                    <a:pt x="78806" y="22438"/>
                    <a:pt x="110183" y="22633"/>
                  </a:cubicBezTo>
                  <a:cubicBezTo>
                    <a:pt x="133286" y="22574"/>
                    <a:pt x="156083" y="27926"/>
                    <a:pt x="176748" y="38262"/>
                  </a:cubicBezTo>
                  <a:cubicBezTo>
                    <a:pt x="174298" y="28333"/>
                    <a:pt x="170800" y="18695"/>
                    <a:pt x="166310" y="9506"/>
                  </a:cubicBezTo>
                  <a:cubicBezTo>
                    <a:pt x="157311" y="5273"/>
                    <a:pt x="151959" y="-346"/>
                    <a:pt x="138193" y="-346"/>
                  </a:cubicBezTo>
                  <a:cubicBezTo>
                    <a:pt x="121365" y="-346"/>
                    <a:pt x="114949" y="12355"/>
                    <a:pt x="94926" y="12355"/>
                  </a:cubicBezTo>
                </a:path>
              </a:pathLst>
            </a:custGeom>
            <a:solidFill>
              <a:srgbClr val="143DCF"/>
            </a:solidFill>
            <a:ln w="2661" cap="flat">
              <a:noFill/>
              <a:prstDash val="solid"/>
              <a:miter/>
            </a:ln>
          </p:spPr>
          <p:txBody>
            <a:bodyPr rtlCol="0" anchor="ctr"/>
            <a:lstStyle/>
            <a:p>
              <a:endParaRPr lang="pl-PL"/>
            </a:p>
          </p:txBody>
        </p:sp>
        <p:sp>
          <p:nvSpPr>
            <p:cNvPr id="92" name="Freeform: Shape 91">
              <a:extLst>
                <a:ext uri="{FF2B5EF4-FFF2-40B4-BE49-F238E27FC236}">
                  <a16:creationId xmlns:a16="http://schemas.microsoft.com/office/drawing/2014/main" id="{83D602B8-D84D-40D1-806D-63BC24F61727}"/>
                </a:ext>
              </a:extLst>
            </p:cNvPr>
            <p:cNvSpPr/>
            <p:nvPr/>
          </p:nvSpPr>
          <p:spPr>
            <a:xfrm>
              <a:off x="11469428" y="6682464"/>
              <a:ext cx="88352" cy="28821"/>
            </a:xfrm>
            <a:custGeom>
              <a:avLst/>
              <a:gdLst>
                <a:gd name="connsiteX0" fmla="*/ 154808 w 156561"/>
                <a:gd name="connsiteY0" fmla="*/ 15287 h 51071"/>
                <a:gd name="connsiteX1" fmla="*/ 88243 w 156561"/>
                <a:gd name="connsiteY1" fmla="*/ -343 h 51071"/>
                <a:gd name="connsiteX2" fmla="*/ 989 w 156561"/>
                <a:gd name="connsiteY2" fmla="*/ 27987 h 51071"/>
                <a:gd name="connsiteX3" fmla="*/ 1308 w 156561"/>
                <a:gd name="connsiteY3" fmla="*/ 28760 h 51071"/>
                <a:gd name="connsiteX4" fmla="*/ 2533 w 156561"/>
                <a:gd name="connsiteY4" fmla="*/ 31635 h 51071"/>
                <a:gd name="connsiteX5" fmla="*/ 3172 w 156561"/>
                <a:gd name="connsiteY5" fmla="*/ 33153 h 51071"/>
                <a:gd name="connsiteX6" fmla="*/ 5568 w 156561"/>
                <a:gd name="connsiteY6" fmla="*/ 39170 h 51071"/>
                <a:gd name="connsiteX7" fmla="*/ 5888 w 156561"/>
                <a:gd name="connsiteY7" fmla="*/ 40049 h 51071"/>
                <a:gd name="connsiteX8" fmla="*/ 6740 w 156561"/>
                <a:gd name="connsiteY8" fmla="*/ 42339 h 51071"/>
                <a:gd name="connsiteX9" fmla="*/ 7619 w 156561"/>
                <a:gd name="connsiteY9" fmla="*/ 44709 h 51071"/>
                <a:gd name="connsiteX10" fmla="*/ 8364 w 156561"/>
                <a:gd name="connsiteY10" fmla="*/ 46892 h 51071"/>
                <a:gd name="connsiteX11" fmla="*/ 9269 w 156561"/>
                <a:gd name="connsiteY11" fmla="*/ 49555 h 51071"/>
                <a:gd name="connsiteX12" fmla="*/ 9669 w 156561"/>
                <a:gd name="connsiteY12" fmla="*/ 50726 h 51071"/>
                <a:gd name="connsiteX13" fmla="*/ 88243 w 156561"/>
                <a:gd name="connsiteY13" fmla="*/ 28360 h 51071"/>
                <a:gd name="connsiteX14" fmla="*/ 109544 w 156561"/>
                <a:gd name="connsiteY14" fmla="*/ 29825 h 51071"/>
                <a:gd name="connsiteX15" fmla="*/ 112606 w 156561"/>
                <a:gd name="connsiteY15" fmla="*/ 30038 h 51071"/>
                <a:gd name="connsiteX16" fmla="*/ 112925 w 156561"/>
                <a:gd name="connsiteY16" fmla="*/ 30038 h 51071"/>
                <a:gd name="connsiteX17" fmla="*/ 113378 w 156561"/>
                <a:gd name="connsiteY17" fmla="*/ 30038 h 51071"/>
                <a:gd name="connsiteX18" fmla="*/ 116040 w 156561"/>
                <a:gd name="connsiteY18" fmla="*/ 30677 h 51071"/>
                <a:gd name="connsiteX19" fmla="*/ 116040 w 156561"/>
                <a:gd name="connsiteY19" fmla="*/ 30677 h 51071"/>
                <a:gd name="connsiteX20" fmla="*/ 123256 w 156561"/>
                <a:gd name="connsiteY20" fmla="*/ 18722 h 51071"/>
                <a:gd name="connsiteX21" fmla="*/ 139232 w 156561"/>
                <a:gd name="connsiteY21" fmla="*/ 15873 h 51071"/>
                <a:gd name="connsiteX22" fmla="*/ 139232 w 156561"/>
                <a:gd name="connsiteY22" fmla="*/ 15873 h 51071"/>
                <a:gd name="connsiteX23" fmla="*/ 140536 w 156561"/>
                <a:gd name="connsiteY23" fmla="*/ 37520 h 51071"/>
                <a:gd name="connsiteX24" fmla="*/ 150015 w 156561"/>
                <a:gd name="connsiteY24" fmla="*/ 29691 h 51071"/>
                <a:gd name="connsiteX25" fmla="*/ 157550 w 156561"/>
                <a:gd name="connsiteY25" fmla="*/ 29212 h 51071"/>
                <a:gd name="connsiteX26" fmla="*/ 154888 w 156561"/>
                <a:gd name="connsiteY26" fmla="*/ 15180 h 5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6561" h="51071">
                  <a:moveTo>
                    <a:pt x="154808" y="15287"/>
                  </a:moveTo>
                  <a:cubicBezTo>
                    <a:pt x="134143" y="4950"/>
                    <a:pt x="111346" y="-401"/>
                    <a:pt x="88243" y="-343"/>
                  </a:cubicBezTo>
                  <a:cubicBezTo>
                    <a:pt x="56866" y="-537"/>
                    <a:pt x="26265" y="9400"/>
                    <a:pt x="989" y="27987"/>
                  </a:cubicBezTo>
                  <a:lnTo>
                    <a:pt x="1308" y="28760"/>
                  </a:lnTo>
                  <a:cubicBezTo>
                    <a:pt x="1734" y="29718"/>
                    <a:pt x="2134" y="30677"/>
                    <a:pt x="2533" y="31635"/>
                  </a:cubicBezTo>
                  <a:lnTo>
                    <a:pt x="3172" y="33153"/>
                  </a:lnTo>
                  <a:cubicBezTo>
                    <a:pt x="3997" y="35150"/>
                    <a:pt x="4796" y="37147"/>
                    <a:pt x="5568" y="39170"/>
                  </a:cubicBezTo>
                  <a:lnTo>
                    <a:pt x="5888" y="40049"/>
                  </a:lnTo>
                  <a:cubicBezTo>
                    <a:pt x="6181" y="40821"/>
                    <a:pt x="6474" y="41593"/>
                    <a:pt x="6740" y="42339"/>
                  </a:cubicBezTo>
                  <a:lnTo>
                    <a:pt x="7619" y="44709"/>
                  </a:lnTo>
                  <a:cubicBezTo>
                    <a:pt x="7858" y="45454"/>
                    <a:pt x="8124" y="46173"/>
                    <a:pt x="8364" y="46892"/>
                  </a:cubicBezTo>
                  <a:cubicBezTo>
                    <a:pt x="8604" y="47611"/>
                    <a:pt x="8977" y="48649"/>
                    <a:pt x="9269" y="49555"/>
                  </a:cubicBezTo>
                  <a:lnTo>
                    <a:pt x="9669" y="50726"/>
                  </a:lnTo>
                  <a:cubicBezTo>
                    <a:pt x="33212" y="35978"/>
                    <a:pt x="60461" y="28222"/>
                    <a:pt x="88243" y="28360"/>
                  </a:cubicBezTo>
                  <a:cubicBezTo>
                    <a:pt x="95368" y="28358"/>
                    <a:pt x="102485" y="28847"/>
                    <a:pt x="109544" y="29825"/>
                  </a:cubicBezTo>
                  <a:cubicBezTo>
                    <a:pt x="110569" y="29835"/>
                    <a:pt x="111591" y="29907"/>
                    <a:pt x="112606" y="30038"/>
                  </a:cubicBezTo>
                  <a:lnTo>
                    <a:pt x="112925" y="30038"/>
                  </a:lnTo>
                  <a:lnTo>
                    <a:pt x="113378" y="30038"/>
                  </a:lnTo>
                  <a:cubicBezTo>
                    <a:pt x="114278" y="30189"/>
                    <a:pt x="115170" y="30402"/>
                    <a:pt x="116040" y="30677"/>
                  </a:cubicBezTo>
                  <a:lnTo>
                    <a:pt x="116040" y="30677"/>
                  </a:lnTo>
                  <a:cubicBezTo>
                    <a:pt x="116123" y="25684"/>
                    <a:pt x="118879" y="21121"/>
                    <a:pt x="123256" y="18722"/>
                  </a:cubicBezTo>
                  <a:cubicBezTo>
                    <a:pt x="129460" y="14994"/>
                    <a:pt x="139232" y="15873"/>
                    <a:pt x="139232" y="15873"/>
                  </a:cubicBezTo>
                  <a:lnTo>
                    <a:pt x="139232" y="15873"/>
                  </a:lnTo>
                  <a:cubicBezTo>
                    <a:pt x="140068" y="23059"/>
                    <a:pt x="140504" y="30285"/>
                    <a:pt x="140536" y="37520"/>
                  </a:cubicBezTo>
                  <a:cubicBezTo>
                    <a:pt x="142291" y="33566"/>
                    <a:pt x="145800" y="30666"/>
                    <a:pt x="150015" y="29691"/>
                  </a:cubicBezTo>
                  <a:cubicBezTo>
                    <a:pt x="152483" y="29124"/>
                    <a:pt x="155029" y="28962"/>
                    <a:pt x="157550" y="29212"/>
                  </a:cubicBezTo>
                  <a:cubicBezTo>
                    <a:pt x="156858" y="24446"/>
                    <a:pt x="155953" y="19787"/>
                    <a:pt x="154888" y="15180"/>
                  </a:cubicBezTo>
                </a:path>
              </a:pathLst>
            </a:custGeom>
            <a:solidFill>
              <a:srgbClr val="00A652"/>
            </a:solidFill>
            <a:ln w="2661" cap="flat">
              <a:noFill/>
              <a:prstDash val="solid"/>
              <a:miter/>
            </a:ln>
          </p:spPr>
          <p:txBody>
            <a:bodyPr rtlCol="0" anchor="ctr"/>
            <a:lstStyle/>
            <a:p>
              <a:endParaRPr lang="pl-PL"/>
            </a:p>
          </p:txBody>
        </p:sp>
        <p:sp>
          <p:nvSpPr>
            <p:cNvPr id="93" name="Freeform: Shape 92">
              <a:extLst>
                <a:ext uri="{FF2B5EF4-FFF2-40B4-BE49-F238E27FC236}">
                  <a16:creationId xmlns:a16="http://schemas.microsoft.com/office/drawing/2014/main" id="{D63E77DF-379B-4102-BF90-0A19F6829272}"/>
                </a:ext>
              </a:extLst>
            </p:cNvPr>
            <p:cNvSpPr/>
            <p:nvPr/>
          </p:nvSpPr>
          <p:spPr>
            <a:xfrm>
              <a:off x="11474267" y="6698648"/>
              <a:ext cx="56271" cy="28174"/>
            </a:xfrm>
            <a:custGeom>
              <a:avLst/>
              <a:gdLst>
                <a:gd name="connsiteX0" fmla="*/ 79563 w 99714"/>
                <a:gd name="connsiteY0" fmla="*/ -344 h 49925"/>
                <a:gd name="connsiteX1" fmla="*/ 989 w 99714"/>
                <a:gd name="connsiteY1" fmla="*/ 22022 h 49925"/>
                <a:gd name="connsiteX2" fmla="*/ 1228 w 99714"/>
                <a:gd name="connsiteY2" fmla="*/ 22821 h 49925"/>
                <a:gd name="connsiteX3" fmla="*/ 2373 w 99714"/>
                <a:gd name="connsiteY3" fmla="*/ 26442 h 49925"/>
                <a:gd name="connsiteX4" fmla="*/ 2773 w 99714"/>
                <a:gd name="connsiteY4" fmla="*/ 27694 h 49925"/>
                <a:gd name="connsiteX5" fmla="*/ 4184 w 99714"/>
                <a:gd name="connsiteY5" fmla="*/ 32540 h 49925"/>
                <a:gd name="connsiteX6" fmla="*/ 4610 w 99714"/>
                <a:gd name="connsiteY6" fmla="*/ 34137 h 49925"/>
                <a:gd name="connsiteX7" fmla="*/ 5515 w 99714"/>
                <a:gd name="connsiteY7" fmla="*/ 37545 h 49925"/>
                <a:gd name="connsiteX8" fmla="*/ 6021 w 99714"/>
                <a:gd name="connsiteY8" fmla="*/ 39542 h 49925"/>
                <a:gd name="connsiteX9" fmla="*/ 6767 w 99714"/>
                <a:gd name="connsiteY9" fmla="*/ 42658 h 49925"/>
                <a:gd name="connsiteX10" fmla="*/ 7246 w 99714"/>
                <a:gd name="connsiteY10" fmla="*/ 44708 h 49925"/>
                <a:gd name="connsiteX11" fmla="*/ 8231 w 99714"/>
                <a:gd name="connsiteY11" fmla="*/ 49128 h 49925"/>
                <a:gd name="connsiteX12" fmla="*/ 8231 w 99714"/>
                <a:gd name="connsiteY12" fmla="*/ 49580 h 49925"/>
                <a:gd name="connsiteX13" fmla="*/ 61936 w 99714"/>
                <a:gd name="connsiteY13" fmla="*/ 32566 h 49925"/>
                <a:gd name="connsiteX14" fmla="*/ 65877 w 99714"/>
                <a:gd name="connsiteY14" fmla="*/ 29904 h 49925"/>
                <a:gd name="connsiteX15" fmla="*/ 78125 w 99714"/>
                <a:gd name="connsiteY15" fmla="*/ 28732 h 49925"/>
                <a:gd name="connsiteX16" fmla="*/ 81373 w 99714"/>
                <a:gd name="connsiteY16" fmla="*/ 29478 h 49925"/>
                <a:gd name="connsiteX17" fmla="*/ 82278 w 99714"/>
                <a:gd name="connsiteY17" fmla="*/ 24339 h 49925"/>
                <a:gd name="connsiteX18" fmla="*/ 88509 w 99714"/>
                <a:gd name="connsiteY18" fmla="*/ 6579 h 49925"/>
                <a:gd name="connsiteX19" fmla="*/ 100704 w 99714"/>
                <a:gd name="connsiteY19" fmla="*/ 1254 h 49925"/>
                <a:gd name="connsiteX20" fmla="*/ 79403 w 99714"/>
                <a:gd name="connsiteY20" fmla="*/ -211 h 49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9714" h="49925">
                  <a:moveTo>
                    <a:pt x="79563" y="-344"/>
                  </a:moveTo>
                  <a:cubicBezTo>
                    <a:pt x="51781" y="-482"/>
                    <a:pt x="24532" y="7274"/>
                    <a:pt x="989" y="22022"/>
                  </a:cubicBezTo>
                  <a:lnTo>
                    <a:pt x="1228" y="22821"/>
                  </a:lnTo>
                  <a:cubicBezTo>
                    <a:pt x="1628" y="24019"/>
                    <a:pt x="2001" y="25244"/>
                    <a:pt x="2373" y="26442"/>
                  </a:cubicBezTo>
                  <a:lnTo>
                    <a:pt x="2773" y="27694"/>
                  </a:lnTo>
                  <a:cubicBezTo>
                    <a:pt x="3252" y="29318"/>
                    <a:pt x="3731" y="30915"/>
                    <a:pt x="4184" y="32540"/>
                  </a:cubicBezTo>
                  <a:cubicBezTo>
                    <a:pt x="4317" y="33072"/>
                    <a:pt x="4450" y="33605"/>
                    <a:pt x="4610" y="34137"/>
                  </a:cubicBezTo>
                  <a:cubicBezTo>
                    <a:pt x="4903" y="35282"/>
                    <a:pt x="5222" y="36400"/>
                    <a:pt x="5515" y="37545"/>
                  </a:cubicBezTo>
                  <a:cubicBezTo>
                    <a:pt x="5675" y="38211"/>
                    <a:pt x="5861" y="38877"/>
                    <a:pt x="6021" y="39542"/>
                  </a:cubicBezTo>
                  <a:cubicBezTo>
                    <a:pt x="6181" y="40208"/>
                    <a:pt x="6527" y="41619"/>
                    <a:pt x="6767" y="42658"/>
                  </a:cubicBezTo>
                  <a:lnTo>
                    <a:pt x="7246" y="44708"/>
                  </a:lnTo>
                  <a:cubicBezTo>
                    <a:pt x="7592" y="46172"/>
                    <a:pt x="7912" y="47663"/>
                    <a:pt x="8231" y="49128"/>
                  </a:cubicBezTo>
                  <a:lnTo>
                    <a:pt x="8231" y="49580"/>
                  </a:lnTo>
                  <a:cubicBezTo>
                    <a:pt x="24862" y="40482"/>
                    <a:pt x="43101" y="34704"/>
                    <a:pt x="61936" y="32566"/>
                  </a:cubicBezTo>
                  <a:cubicBezTo>
                    <a:pt x="63078" y="31451"/>
                    <a:pt x="64415" y="30548"/>
                    <a:pt x="65877" y="29904"/>
                  </a:cubicBezTo>
                  <a:cubicBezTo>
                    <a:pt x="69748" y="28287"/>
                    <a:pt x="74016" y="27880"/>
                    <a:pt x="78125" y="28732"/>
                  </a:cubicBezTo>
                  <a:cubicBezTo>
                    <a:pt x="79227" y="28892"/>
                    <a:pt x="80313" y="29139"/>
                    <a:pt x="81373" y="29478"/>
                  </a:cubicBezTo>
                  <a:cubicBezTo>
                    <a:pt x="81719" y="27773"/>
                    <a:pt x="82012" y="26069"/>
                    <a:pt x="82278" y="24339"/>
                  </a:cubicBezTo>
                  <a:cubicBezTo>
                    <a:pt x="82278" y="24339"/>
                    <a:pt x="84355" y="11558"/>
                    <a:pt x="88509" y="6579"/>
                  </a:cubicBezTo>
                  <a:cubicBezTo>
                    <a:pt x="91555" y="3043"/>
                    <a:pt x="96042" y="1086"/>
                    <a:pt x="100704" y="1254"/>
                  </a:cubicBezTo>
                  <a:cubicBezTo>
                    <a:pt x="93645" y="277"/>
                    <a:pt x="86528" y="-213"/>
                    <a:pt x="79403" y="-211"/>
                  </a:cubicBezTo>
                </a:path>
              </a:pathLst>
            </a:custGeom>
            <a:solidFill>
              <a:srgbClr val="8FD942"/>
            </a:solidFill>
            <a:ln w="2661" cap="flat">
              <a:noFill/>
              <a:prstDash val="solid"/>
              <a:miter/>
            </a:ln>
          </p:spPr>
          <p:txBody>
            <a:bodyPr rtlCol="0" anchor="ctr"/>
            <a:lstStyle/>
            <a:p>
              <a:endParaRPr lang="pl-PL"/>
            </a:p>
          </p:txBody>
        </p:sp>
        <p:sp>
          <p:nvSpPr>
            <p:cNvPr id="94" name="Freeform: Shape 93">
              <a:extLst>
                <a:ext uri="{FF2B5EF4-FFF2-40B4-BE49-F238E27FC236}">
                  <a16:creationId xmlns:a16="http://schemas.microsoft.com/office/drawing/2014/main" id="{DC861FE2-C62B-4161-B63A-858CF3A75C3C}"/>
                </a:ext>
              </a:extLst>
            </p:cNvPr>
            <p:cNvSpPr/>
            <p:nvPr/>
          </p:nvSpPr>
          <p:spPr>
            <a:xfrm>
              <a:off x="11478444" y="6717190"/>
              <a:ext cx="30172" cy="26310"/>
            </a:xfrm>
            <a:custGeom>
              <a:avLst/>
              <a:gdLst>
                <a:gd name="connsiteX0" fmla="*/ 989 w 53465"/>
                <a:gd name="connsiteY0" fmla="*/ 16669 h 46622"/>
                <a:gd name="connsiteX1" fmla="*/ 1415 w 53465"/>
                <a:gd name="connsiteY1" fmla="*/ 18878 h 46622"/>
                <a:gd name="connsiteX2" fmla="*/ 1921 w 53465"/>
                <a:gd name="connsiteY2" fmla="*/ 21541 h 46622"/>
                <a:gd name="connsiteX3" fmla="*/ 2426 w 53465"/>
                <a:gd name="connsiteY3" fmla="*/ 24337 h 46622"/>
                <a:gd name="connsiteX4" fmla="*/ 2719 w 53465"/>
                <a:gd name="connsiteY4" fmla="*/ 26014 h 46622"/>
                <a:gd name="connsiteX5" fmla="*/ 2719 w 53465"/>
                <a:gd name="connsiteY5" fmla="*/ 26361 h 46622"/>
                <a:gd name="connsiteX6" fmla="*/ 2719 w 53465"/>
                <a:gd name="connsiteY6" fmla="*/ 26573 h 46622"/>
                <a:gd name="connsiteX7" fmla="*/ 3199 w 53465"/>
                <a:gd name="connsiteY7" fmla="*/ 29449 h 46622"/>
                <a:gd name="connsiteX8" fmla="*/ 3651 w 53465"/>
                <a:gd name="connsiteY8" fmla="*/ 32484 h 46622"/>
                <a:gd name="connsiteX9" fmla="*/ 3891 w 53465"/>
                <a:gd name="connsiteY9" fmla="*/ 34268 h 46622"/>
                <a:gd name="connsiteX10" fmla="*/ 4370 w 53465"/>
                <a:gd name="connsiteY10" fmla="*/ 38103 h 46622"/>
                <a:gd name="connsiteX11" fmla="*/ 4743 w 53465"/>
                <a:gd name="connsiteY11" fmla="*/ 41165 h 46622"/>
                <a:gd name="connsiteX12" fmla="*/ 4743 w 53465"/>
                <a:gd name="connsiteY12" fmla="*/ 41324 h 46622"/>
                <a:gd name="connsiteX13" fmla="*/ 4743 w 53465"/>
                <a:gd name="connsiteY13" fmla="*/ 41324 h 46622"/>
                <a:gd name="connsiteX14" fmla="*/ 4743 w 53465"/>
                <a:gd name="connsiteY14" fmla="*/ 41324 h 46622"/>
                <a:gd name="connsiteX15" fmla="*/ 4743 w 53465"/>
                <a:gd name="connsiteY15" fmla="*/ 41671 h 46622"/>
                <a:gd name="connsiteX16" fmla="*/ 4743 w 53465"/>
                <a:gd name="connsiteY16" fmla="*/ 42443 h 46622"/>
                <a:gd name="connsiteX17" fmla="*/ 4743 w 53465"/>
                <a:gd name="connsiteY17" fmla="*/ 42949 h 46622"/>
                <a:gd name="connsiteX18" fmla="*/ 5063 w 53465"/>
                <a:gd name="connsiteY18" fmla="*/ 46277 h 46622"/>
                <a:gd name="connsiteX19" fmla="*/ 5063 w 53465"/>
                <a:gd name="connsiteY19" fmla="*/ 46037 h 46622"/>
                <a:gd name="connsiteX20" fmla="*/ 24313 w 53465"/>
                <a:gd name="connsiteY20" fmla="*/ 38049 h 46622"/>
                <a:gd name="connsiteX21" fmla="*/ 36668 w 53465"/>
                <a:gd name="connsiteY21" fmla="*/ 34481 h 46622"/>
                <a:gd name="connsiteX22" fmla="*/ 44416 w 53465"/>
                <a:gd name="connsiteY22" fmla="*/ 21168 h 46622"/>
                <a:gd name="connsiteX23" fmla="*/ 50460 w 53465"/>
                <a:gd name="connsiteY23" fmla="*/ 6737 h 46622"/>
                <a:gd name="connsiteX24" fmla="*/ 50833 w 53465"/>
                <a:gd name="connsiteY24" fmla="*/ 5592 h 46622"/>
                <a:gd name="connsiteX25" fmla="*/ 54454 w 53465"/>
                <a:gd name="connsiteY25" fmla="*/ -346 h 46622"/>
                <a:gd name="connsiteX26" fmla="*/ 989 w 53465"/>
                <a:gd name="connsiteY26" fmla="*/ 16669 h 4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3465" h="46622">
                  <a:moveTo>
                    <a:pt x="989" y="16669"/>
                  </a:moveTo>
                  <a:cubicBezTo>
                    <a:pt x="1148" y="17414"/>
                    <a:pt x="1282" y="18160"/>
                    <a:pt x="1415" y="18878"/>
                  </a:cubicBezTo>
                  <a:cubicBezTo>
                    <a:pt x="1548" y="19597"/>
                    <a:pt x="1761" y="20609"/>
                    <a:pt x="1921" y="21541"/>
                  </a:cubicBezTo>
                  <a:cubicBezTo>
                    <a:pt x="2080" y="22473"/>
                    <a:pt x="2267" y="23405"/>
                    <a:pt x="2426" y="24337"/>
                  </a:cubicBezTo>
                  <a:cubicBezTo>
                    <a:pt x="2586" y="25269"/>
                    <a:pt x="2613" y="25455"/>
                    <a:pt x="2719" y="26014"/>
                  </a:cubicBezTo>
                  <a:cubicBezTo>
                    <a:pt x="2719" y="26147"/>
                    <a:pt x="2719" y="26254"/>
                    <a:pt x="2719" y="26361"/>
                  </a:cubicBezTo>
                  <a:lnTo>
                    <a:pt x="2719" y="26573"/>
                  </a:lnTo>
                  <a:lnTo>
                    <a:pt x="3199" y="29449"/>
                  </a:lnTo>
                  <a:cubicBezTo>
                    <a:pt x="3358" y="30461"/>
                    <a:pt x="3492" y="31473"/>
                    <a:pt x="3651" y="32484"/>
                  </a:cubicBezTo>
                  <a:lnTo>
                    <a:pt x="3891" y="34268"/>
                  </a:lnTo>
                  <a:cubicBezTo>
                    <a:pt x="4077" y="35546"/>
                    <a:pt x="4211" y="36931"/>
                    <a:pt x="4370" y="38103"/>
                  </a:cubicBezTo>
                  <a:cubicBezTo>
                    <a:pt x="4530" y="39274"/>
                    <a:pt x="4610" y="40153"/>
                    <a:pt x="4743" y="41165"/>
                  </a:cubicBezTo>
                  <a:lnTo>
                    <a:pt x="4743" y="41324"/>
                  </a:lnTo>
                  <a:lnTo>
                    <a:pt x="4743" y="41324"/>
                  </a:lnTo>
                  <a:lnTo>
                    <a:pt x="4743" y="41324"/>
                  </a:lnTo>
                  <a:cubicBezTo>
                    <a:pt x="4743" y="41324"/>
                    <a:pt x="4743" y="41564"/>
                    <a:pt x="4743" y="41671"/>
                  </a:cubicBezTo>
                  <a:lnTo>
                    <a:pt x="4743" y="42443"/>
                  </a:lnTo>
                  <a:cubicBezTo>
                    <a:pt x="4756" y="42610"/>
                    <a:pt x="4756" y="42781"/>
                    <a:pt x="4743" y="42949"/>
                  </a:cubicBezTo>
                  <a:cubicBezTo>
                    <a:pt x="4743" y="44067"/>
                    <a:pt x="4983" y="45185"/>
                    <a:pt x="5063" y="46277"/>
                  </a:cubicBezTo>
                  <a:lnTo>
                    <a:pt x="5063" y="46037"/>
                  </a:lnTo>
                  <a:cubicBezTo>
                    <a:pt x="11274" y="42906"/>
                    <a:pt x="17710" y="40235"/>
                    <a:pt x="24313" y="38049"/>
                  </a:cubicBezTo>
                  <a:cubicBezTo>
                    <a:pt x="28360" y="36691"/>
                    <a:pt x="32487" y="35387"/>
                    <a:pt x="36668" y="34481"/>
                  </a:cubicBezTo>
                  <a:cubicBezTo>
                    <a:pt x="39546" y="30224"/>
                    <a:pt x="42134" y="25775"/>
                    <a:pt x="44416" y="21168"/>
                  </a:cubicBezTo>
                  <a:cubicBezTo>
                    <a:pt x="46735" y="16493"/>
                    <a:pt x="48756" y="11671"/>
                    <a:pt x="50460" y="6737"/>
                  </a:cubicBezTo>
                  <a:cubicBezTo>
                    <a:pt x="50460" y="6338"/>
                    <a:pt x="50700" y="5965"/>
                    <a:pt x="50833" y="5592"/>
                  </a:cubicBezTo>
                  <a:cubicBezTo>
                    <a:pt x="51589" y="3371"/>
                    <a:pt x="52825" y="1343"/>
                    <a:pt x="54454" y="-346"/>
                  </a:cubicBezTo>
                  <a:cubicBezTo>
                    <a:pt x="35701" y="1822"/>
                    <a:pt x="17545" y="7600"/>
                    <a:pt x="989" y="16669"/>
                  </a:cubicBezTo>
                </a:path>
              </a:pathLst>
            </a:custGeom>
            <a:solidFill>
              <a:srgbClr val="00A652"/>
            </a:solidFill>
            <a:ln w="2661" cap="flat">
              <a:noFill/>
              <a:prstDash val="solid"/>
              <a:miter/>
            </a:ln>
          </p:spPr>
          <p:txBody>
            <a:bodyPr rtlCol="0" anchor="ctr"/>
            <a:lstStyle/>
            <a:p>
              <a:endParaRPr lang="pl-PL"/>
            </a:p>
          </p:txBody>
        </p:sp>
        <p:sp>
          <p:nvSpPr>
            <p:cNvPr id="95" name="Freeform: Shape 94">
              <a:extLst>
                <a:ext uri="{FF2B5EF4-FFF2-40B4-BE49-F238E27FC236}">
                  <a16:creationId xmlns:a16="http://schemas.microsoft.com/office/drawing/2014/main" id="{F366777C-5594-4CD2-877A-DBEE0315BBFE}"/>
                </a:ext>
              </a:extLst>
            </p:cNvPr>
            <p:cNvSpPr/>
            <p:nvPr/>
          </p:nvSpPr>
          <p:spPr>
            <a:xfrm>
              <a:off x="11480833" y="6736694"/>
              <a:ext cx="17385" cy="17249"/>
            </a:xfrm>
            <a:custGeom>
              <a:avLst/>
              <a:gdLst>
                <a:gd name="connsiteX0" fmla="*/ 20239 w 30806"/>
                <a:gd name="connsiteY0" fmla="*/ 3409 h 30566"/>
                <a:gd name="connsiteX1" fmla="*/ 989 w 30806"/>
                <a:gd name="connsiteY1" fmla="*/ 11397 h 30566"/>
                <a:gd name="connsiteX2" fmla="*/ 989 w 30806"/>
                <a:gd name="connsiteY2" fmla="*/ 11636 h 30566"/>
                <a:gd name="connsiteX3" fmla="*/ 989 w 30806"/>
                <a:gd name="connsiteY3" fmla="*/ 13154 h 30566"/>
                <a:gd name="connsiteX4" fmla="*/ 989 w 30806"/>
                <a:gd name="connsiteY4" fmla="*/ 13314 h 30566"/>
                <a:gd name="connsiteX5" fmla="*/ 1122 w 30806"/>
                <a:gd name="connsiteY5" fmla="*/ 15550 h 30566"/>
                <a:gd name="connsiteX6" fmla="*/ 1122 w 30806"/>
                <a:gd name="connsiteY6" fmla="*/ 16029 h 30566"/>
                <a:gd name="connsiteX7" fmla="*/ 1122 w 30806"/>
                <a:gd name="connsiteY7" fmla="*/ 16029 h 30566"/>
                <a:gd name="connsiteX8" fmla="*/ 1122 w 30806"/>
                <a:gd name="connsiteY8" fmla="*/ 16269 h 30566"/>
                <a:gd name="connsiteX9" fmla="*/ 1122 w 30806"/>
                <a:gd name="connsiteY9" fmla="*/ 18186 h 30566"/>
                <a:gd name="connsiteX10" fmla="*/ 1122 w 30806"/>
                <a:gd name="connsiteY10" fmla="*/ 19731 h 30566"/>
                <a:gd name="connsiteX11" fmla="*/ 1122 w 30806"/>
                <a:gd name="connsiteY11" fmla="*/ 19917 h 30566"/>
                <a:gd name="connsiteX12" fmla="*/ 1122 w 30806"/>
                <a:gd name="connsiteY12" fmla="*/ 21674 h 30566"/>
                <a:gd name="connsiteX13" fmla="*/ 1122 w 30806"/>
                <a:gd name="connsiteY13" fmla="*/ 23219 h 30566"/>
                <a:gd name="connsiteX14" fmla="*/ 1122 w 30806"/>
                <a:gd name="connsiteY14" fmla="*/ 23538 h 30566"/>
                <a:gd name="connsiteX15" fmla="*/ 1122 w 30806"/>
                <a:gd name="connsiteY15" fmla="*/ 23538 h 30566"/>
                <a:gd name="connsiteX16" fmla="*/ 1122 w 30806"/>
                <a:gd name="connsiteY16" fmla="*/ 24710 h 30566"/>
                <a:gd name="connsiteX17" fmla="*/ 1122 w 30806"/>
                <a:gd name="connsiteY17" fmla="*/ 26174 h 30566"/>
                <a:gd name="connsiteX18" fmla="*/ 1122 w 30806"/>
                <a:gd name="connsiteY18" fmla="*/ 26174 h 30566"/>
                <a:gd name="connsiteX19" fmla="*/ 1122 w 30806"/>
                <a:gd name="connsiteY19" fmla="*/ 26307 h 30566"/>
                <a:gd name="connsiteX20" fmla="*/ 1122 w 30806"/>
                <a:gd name="connsiteY20" fmla="*/ 27266 h 30566"/>
                <a:gd name="connsiteX21" fmla="*/ 1122 w 30806"/>
                <a:gd name="connsiteY21" fmla="*/ 29023 h 30566"/>
                <a:gd name="connsiteX22" fmla="*/ 1122 w 30806"/>
                <a:gd name="connsiteY22" fmla="*/ 30221 h 30566"/>
                <a:gd name="connsiteX23" fmla="*/ 1122 w 30806"/>
                <a:gd name="connsiteY23" fmla="*/ 30221 h 30566"/>
                <a:gd name="connsiteX24" fmla="*/ 2852 w 30806"/>
                <a:gd name="connsiteY24" fmla="*/ 29050 h 30566"/>
                <a:gd name="connsiteX25" fmla="*/ 12172 w 30806"/>
                <a:gd name="connsiteY25" fmla="*/ 22020 h 30566"/>
                <a:gd name="connsiteX26" fmla="*/ 27988 w 30806"/>
                <a:gd name="connsiteY26" fmla="*/ 5060 h 30566"/>
                <a:gd name="connsiteX27" fmla="*/ 29345 w 30806"/>
                <a:gd name="connsiteY27" fmla="*/ 3222 h 30566"/>
                <a:gd name="connsiteX28" fmla="*/ 31795 w 30806"/>
                <a:gd name="connsiteY28" fmla="*/ -346 h 30566"/>
                <a:gd name="connsiteX29" fmla="*/ 19441 w 30806"/>
                <a:gd name="connsiteY29" fmla="*/ 3222 h 30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0806" h="30566">
                  <a:moveTo>
                    <a:pt x="20239" y="3409"/>
                  </a:moveTo>
                  <a:cubicBezTo>
                    <a:pt x="13636" y="5600"/>
                    <a:pt x="7203" y="8268"/>
                    <a:pt x="989" y="11397"/>
                  </a:cubicBezTo>
                  <a:lnTo>
                    <a:pt x="989" y="11636"/>
                  </a:lnTo>
                  <a:cubicBezTo>
                    <a:pt x="989" y="12142"/>
                    <a:pt x="989" y="12648"/>
                    <a:pt x="989" y="13154"/>
                  </a:cubicBezTo>
                  <a:lnTo>
                    <a:pt x="989" y="13314"/>
                  </a:lnTo>
                  <a:cubicBezTo>
                    <a:pt x="989" y="14059"/>
                    <a:pt x="989" y="14805"/>
                    <a:pt x="1122" y="15550"/>
                  </a:cubicBezTo>
                  <a:lnTo>
                    <a:pt x="1122" y="16029"/>
                  </a:lnTo>
                  <a:lnTo>
                    <a:pt x="1122" y="16029"/>
                  </a:lnTo>
                  <a:lnTo>
                    <a:pt x="1122" y="16269"/>
                  </a:lnTo>
                  <a:cubicBezTo>
                    <a:pt x="1122" y="16908"/>
                    <a:pt x="1122" y="17547"/>
                    <a:pt x="1122" y="18186"/>
                  </a:cubicBezTo>
                  <a:cubicBezTo>
                    <a:pt x="1122" y="18825"/>
                    <a:pt x="1122" y="19225"/>
                    <a:pt x="1122" y="19731"/>
                  </a:cubicBezTo>
                  <a:lnTo>
                    <a:pt x="1122" y="19917"/>
                  </a:lnTo>
                  <a:lnTo>
                    <a:pt x="1122" y="21674"/>
                  </a:lnTo>
                  <a:cubicBezTo>
                    <a:pt x="1122" y="22207"/>
                    <a:pt x="1122" y="22713"/>
                    <a:pt x="1122" y="23219"/>
                  </a:cubicBezTo>
                  <a:cubicBezTo>
                    <a:pt x="1135" y="23325"/>
                    <a:pt x="1135" y="23432"/>
                    <a:pt x="1122" y="23538"/>
                  </a:cubicBezTo>
                  <a:lnTo>
                    <a:pt x="1122" y="23538"/>
                  </a:lnTo>
                  <a:cubicBezTo>
                    <a:pt x="1122" y="23937"/>
                    <a:pt x="1122" y="24310"/>
                    <a:pt x="1122" y="24710"/>
                  </a:cubicBezTo>
                  <a:cubicBezTo>
                    <a:pt x="1122" y="25109"/>
                    <a:pt x="1122" y="25695"/>
                    <a:pt x="1122" y="26174"/>
                  </a:cubicBezTo>
                  <a:lnTo>
                    <a:pt x="1122" y="26174"/>
                  </a:lnTo>
                  <a:lnTo>
                    <a:pt x="1122" y="26307"/>
                  </a:lnTo>
                  <a:cubicBezTo>
                    <a:pt x="1122" y="26627"/>
                    <a:pt x="1122" y="26946"/>
                    <a:pt x="1122" y="27266"/>
                  </a:cubicBezTo>
                  <a:cubicBezTo>
                    <a:pt x="1122" y="27585"/>
                    <a:pt x="1122" y="28437"/>
                    <a:pt x="1122" y="29023"/>
                  </a:cubicBezTo>
                  <a:cubicBezTo>
                    <a:pt x="1122" y="29609"/>
                    <a:pt x="1122" y="29822"/>
                    <a:pt x="1122" y="30221"/>
                  </a:cubicBezTo>
                  <a:lnTo>
                    <a:pt x="1122" y="30221"/>
                  </a:lnTo>
                  <a:lnTo>
                    <a:pt x="2852" y="29050"/>
                  </a:lnTo>
                  <a:cubicBezTo>
                    <a:pt x="6090" y="26888"/>
                    <a:pt x="9203" y="24539"/>
                    <a:pt x="12172" y="22020"/>
                  </a:cubicBezTo>
                  <a:cubicBezTo>
                    <a:pt x="18035" y="16948"/>
                    <a:pt x="23336" y="11263"/>
                    <a:pt x="27988" y="5060"/>
                  </a:cubicBezTo>
                  <a:lnTo>
                    <a:pt x="29345" y="3222"/>
                  </a:lnTo>
                  <a:cubicBezTo>
                    <a:pt x="30198" y="2024"/>
                    <a:pt x="31023" y="853"/>
                    <a:pt x="31795" y="-346"/>
                  </a:cubicBezTo>
                  <a:cubicBezTo>
                    <a:pt x="27615" y="666"/>
                    <a:pt x="23488" y="1864"/>
                    <a:pt x="19441" y="3222"/>
                  </a:cubicBezTo>
                </a:path>
              </a:pathLst>
            </a:custGeom>
            <a:solidFill>
              <a:srgbClr val="8FD942"/>
            </a:solidFill>
            <a:ln w="2661" cap="flat">
              <a:noFill/>
              <a:prstDash val="solid"/>
              <a:miter/>
            </a:ln>
          </p:spPr>
          <p:txBody>
            <a:bodyPr rtlCol="0" anchor="ctr"/>
            <a:lstStyle/>
            <a:p>
              <a:endParaRPr lang="pl-PL"/>
            </a:p>
          </p:txBody>
        </p:sp>
        <p:sp>
          <p:nvSpPr>
            <p:cNvPr id="96" name="Freeform: Shape 95">
              <a:extLst>
                <a:ext uri="{FF2B5EF4-FFF2-40B4-BE49-F238E27FC236}">
                  <a16:creationId xmlns:a16="http://schemas.microsoft.com/office/drawing/2014/main" id="{E688D390-5B66-4E6B-A4F8-8955B2EC157B}"/>
                </a:ext>
              </a:extLst>
            </p:cNvPr>
            <p:cNvSpPr/>
            <p:nvPr/>
          </p:nvSpPr>
          <p:spPr>
            <a:xfrm>
              <a:off x="11402788" y="6644225"/>
              <a:ext cx="49180" cy="59563"/>
            </a:xfrm>
            <a:custGeom>
              <a:avLst/>
              <a:gdLst>
                <a:gd name="connsiteX0" fmla="*/ 64918 w 87147"/>
                <a:gd name="connsiteY0" fmla="*/ 17494 h 105546"/>
                <a:gd name="connsiteX1" fmla="*/ 44735 w 87147"/>
                <a:gd name="connsiteY1" fmla="*/ -346 h 105546"/>
                <a:gd name="connsiteX2" fmla="*/ 14302 w 87147"/>
                <a:gd name="connsiteY2" fmla="*/ 29263 h 105546"/>
                <a:gd name="connsiteX3" fmla="*/ 989 w 87147"/>
                <a:gd name="connsiteY3" fmla="*/ 50111 h 105546"/>
                <a:gd name="connsiteX4" fmla="*/ 2160 w 87147"/>
                <a:gd name="connsiteY4" fmla="*/ 51602 h 105546"/>
                <a:gd name="connsiteX5" fmla="*/ 36774 w 87147"/>
                <a:gd name="connsiteY5" fmla="*/ 105200 h 105546"/>
                <a:gd name="connsiteX6" fmla="*/ 80015 w 87147"/>
                <a:gd name="connsiteY6" fmla="*/ 49286 h 105546"/>
                <a:gd name="connsiteX7" fmla="*/ 80894 w 87147"/>
                <a:gd name="connsiteY7" fmla="*/ 48647 h 105546"/>
                <a:gd name="connsiteX8" fmla="*/ 88136 w 87147"/>
                <a:gd name="connsiteY8" fmla="*/ 43641 h 105546"/>
                <a:gd name="connsiteX9" fmla="*/ 64891 w 87147"/>
                <a:gd name="connsiteY9" fmla="*/ 17441 h 105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147" h="105546">
                  <a:moveTo>
                    <a:pt x="64918" y="17494"/>
                  </a:moveTo>
                  <a:cubicBezTo>
                    <a:pt x="58514" y="11192"/>
                    <a:pt x="51778" y="5235"/>
                    <a:pt x="44735" y="-346"/>
                  </a:cubicBezTo>
                  <a:cubicBezTo>
                    <a:pt x="33206" y="7994"/>
                    <a:pt x="22955" y="17968"/>
                    <a:pt x="14302" y="29263"/>
                  </a:cubicBezTo>
                  <a:cubicBezTo>
                    <a:pt x="9269" y="35815"/>
                    <a:pt x="4815" y="42791"/>
                    <a:pt x="989" y="50111"/>
                  </a:cubicBezTo>
                  <a:cubicBezTo>
                    <a:pt x="1388" y="50590"/>
                    <a:pt x="1761" y="51096"/>
                    <a:pt x="2160" y="51602"/>
                  </a:cubicBezTo>
                  <a:cubicBezTo>
                    <a:pt x="15061" y="68552"/>
                    <a:pt x="26632" y="86472"/>
                    <a:pt x="36774" y="105200"/>
                  </a:cubicBezTo>
                  <a:cubicBezTo>
                    <a:pt x="45936" y="83034"/>
                    <a:pt x="60868" y="63728"/>
                    <a:pt x="80015" y="49286"/>
                  </a:cubicBezTo>
                  <a:lnTo>
                    <a:pt x="80894" y="48647"/>
                  </a:lnTo>
                  <a:cubicBezTo>
                    <a:pt x="83263" y="46916"/>
                    <a:pt x="85660" y="45238"/>
                    <a:pt x="88136" y="43641"/>
                  </a:cubicBezTo>
                  <a:cubicBezTo>
                    <a:pt x="81003" y="34380"/>
                    <a:pt x="73236" y="25626"/>
                    <a:pt x="64891" y="17441"/>
                  </a:cubicBezTo>
                </a:path>
              </a:pathLst>
            </a:custGeom>
            <a:solidFill>
              <a:srgbClr val="FAC200"/>
            </a:solidFill>
            <a:ln w="2661" cap="flat">
              <a:noFill/>
              <a:prstDash val="solid"/>
              <a:miter/>
            </a:ln>
          </p:spPr>
          <p:txBody>
            <a:bodyPr rtlCol="0" anchor="ctr"/>
            <a:lstStyle/>
            <a:p>
              <a:endParaRPr lang="pl-PL"/>
            </a:p>
          </p:txBody>
        </p:sp>
        <p:sp>
          <p:nvSpPr>
            <p:cNvPr id="97" name="Freeform: Shape 96">
              <a:extLst>
                <a:ext uri="{FF2B5EF4-FFF2-40B4-BE49-F238E27FC236}">
                  <a16:creationId xmlns:a16="http://schemas.microsoft.com/office/drawing/2014/main" id="{ACCEE81E-C667-4DF5-9F93-E8C7C38D3EEB}"/>
                </a:ext>
              </a:extLst>
            </p:cNvPr>
            <p:cNvSpPr/>
            <p:nvPr/>
          </p:nvSpPr>
          <p:spPr>
            <a:xfrm>
              <a:off x="11393217" y="6700272"/>
              <a:ext cx="51283" cy="56601"/>
            </a:xfrm>
            <a:custGeom>
              <a:avLst/>
              <a:gdLst>
                <a:gd name="connsiteX0" fmla="*/ 90133 w 90874"/>
                <a:gd name="connsiteY0" fmla="*/ 93882 h 100298"/>
                <a:gd name="connsiteX1" fmla="*/ 81613 w 90874"/>
                <a:gd name="connsiteY1" fmla="*/ 68055 h 100298"/>
                <a:gd name="connsiteX2" fmla="*/ 53762 w 90874"/>
                <a:gd name="connsiteY2" fmla="*/ 5909 h 100298"/>
                <a:gd name="connsiteX3" fmla="*/ 53762 w 90874"/>
                <a:gd name="connsiteY3" fmla="*/ 5909 h 100298"/>
                <a:gd name="connsiteX4" fmla="*/ 34165 w 90874"/>
                <a:gd name="connsiteY4" fmla="*/ 1276 h 100298"/>
                <a:gd name="connsiteX5" fmla="*/ 2213 w 90874"/>
                <a:gd name="connsiteY5" fmla="*/ 132 h 100298"/>
                <a:gd name="connsiteX6" fmla="*/ 989 w 90874"/>
                <a:gd name="connsiteY6" fmla="*/ 19089 h 100298"/>
                <a:gd name="connsiteX7" fmla="*/ 9376 w 90874"/>
                <a:gd name="connsiteY7" fmla="*/ 68081 h 100298"/>
                <a:gd name="connsiteX8" fmla="*/ 14888 w 90874"/>
                <a:gd name="connsiteY8" fmla="*/ 81395 h 100298"/>
                <a:gd name="connsiteX9" fmla="*/ 27854 w 90874"/>
                <a:gd name="connsiteY9" fmla="*/ 81182 h 100298"/>
                <a:gd name="connsiteX10" fmla="*/ 80388 w 90874"/>
                <a:gd name="connsiteY10" fmla="*/ 93829 h 100298"/>
                <a:gd name="connsiteX11" fmla="*/ 91864 w 90874"/>
                <a:gd name="connsiteY11" fmla="*/ 99953 h 100298"/>
                <a:gd name="connsiteX12" fmla="*/ 90080 w 90874"/>
                <a:gd name="connsiteY12" fmla="*/ 93829 h 10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874" h="100298">
                  <a:moveTo>
                    <a:pt x="90133" y="93882"/>
                  </a:moveTo>
                  <a:cubicBezTo>
                    <a:pt x="87470" y="85008"/>
                    <a:pt x="84629" y="76397"/>
                    <a:pt x="81613" y="68055"/>
                  </a:cubicBezTo>
                  <a:cubicBezTo>
                    <a:pt x="73918" y="46663"/>
                    <a:pt x="64607" y="25890"/>
                    <a:pt x="53762" y="5909"/>
                  </a:cubicBezTo>
                  <a:lnTo>
                    <a:pt x="53762" y="5909"/>
                  </a:lnTo>
                  <a:cubicBezTo>
                    <a:pt x="47353" y="3883"/>
                    <a:pt x="40803" y="2336"/>
                    <a:pt x="34165" y="1276"/>
                  </a:cubicBezTo>
                  <a:cubicBezTo>
                    <a:pt x="23600" y="-390"/>
                    <a:pt x="12872" y="-774"/>
                    <a:pt x="2213" y="132"/>
                  </a:cubicBezTo>
                  <a:cubicBezTo>
                    <a:pt x="1401" y="6418"/>
                    <a:pt x="991" y="12750"/>
                    <a:pt x="989" y="19089"/>
                  </a:cubicBezTo>
                  <a:cubicBezTo>
                    <a:pt x="973" y="35779"/>
                    <a:pt x="3808" y="52348"/>
                    <a:pt x="9376" y="68081"/>
                  </a:cubicBezTo>
                  <a:cubicBezTo>
                    <a:pt x="10992" y="72627"/>
                    <a:pt x="12829" y="77063"/>
                    <a:pt x="14888" y="81395"/>
                  </a:cubicBezTo>
                  <a:cubicBezTo>
                    <a:pt x="19174" y="81128"/>
                    <a:pt x="23488" y="81048"/>
                    <a:pt x="27854" y="81182"/>
                  </a:cubicBezTo>
                  <a:cubicBezTo>
                    <a:pt x="46046" y="81775"/>
                    <a:pt x="63920" y="86078"/>
                    <a:pt x="80388" y="93829"/>
                  </a:cubicBezTo>
                  <a:cubicBezTo>
                    <a:pt x="84329" y="95605"/>
                    <a:pt x="88155" y="97645"/>
                    <a:pt x="91864" y="99953"/>
                  </a:cubicBezTo>
                  <a:cubicBezTo>
                    <a:pt x="91278" y="97903"/>
                    <a:pt x="90692" y="95853"/>
                    <a:pt x="90080" y="93829"/>
                  </a:cubicBezTo>
                </a:path>
              </a:pathLst>
            </a:custGeom>
            <a:solidFill>
              <a:srgbClr val="FAC200"/>
            </a:solidFill>
            <a:ln w="2661" cap="flat">
              <a:noFill/>
              <a:prstDash val="solid"/>
              <a:miter/>
            </a:ln>
          </p:spPr>
          <p:txBody>
            <a:bodyPr rtlCol="0" anchor="ctr"/>
            <a:lstStyle/>
            <a:p>
              <a:endParaRPr lang="pl-PL"/>
            </a:p>
          </p:txBody>
        </p:sp>
        <p:sp>
          <p:nvSpPr>
            <p:cNvPr id="98" name="Freeform: Shape 97">
              <a:extLst>
                <a:ext uri="{FF2B5EF4-FFF2-40B4-BE49-F238E27FC236}">
                  <a16:creationId xmlns:a16="http://schemas.microsoft.com/office/drawing/2014/main" id="{9201C7A3-67D0-4941-945B-C44396221C83}"/>
                </a:ext>
              </a:extLst>
            </p:cNvPr>
            <p:cNvSpPr/>
            <p:nvPr/>
          </p:nvSpPr>
          <p:spPr>
            <a:xfrm>
              <a:off x="11444530" y="6711466"/>
              <a:ext cx="36834" cy="78871"/>
            </a:xfrm>
            <a:custGeom>
              <a:avLst/>
              <a:gdLst>
                <a:gd name="connsiteX0" fmla="*/ 64785 w 65270"/>
                <a:gd name="connsiteY0" fmla="*/ 76205 h 139760"/>
                <a:gd name="connsiteX1" fmla="*/ 66249 w 65270"/>
                <a:gd name="connsiteY1" fmla="*/ 75246 h 139760"/>
                <a:gd name="connsiteX2" fmla="*/ 66249 w 65270"/>
                <a:gd name="connsiteY2" fmla="*/ 74048 h 139760"/>
                <a:gd name="connsiteX3" fmla="*/ 66249 w 65270"/>
                <a:gd name="connsiteY3" fmla="*/ 72291 h 139760"/>
                <a:gd name="connsiteX4" fmla="*/ 66249 w 65270"/>
                <a:gd name="connsiteY4" fmla="*/ 71332 h 139760"/>
                <a:gd name="connsiteX5" fmla="*/ 66249 w 65270"/>
                <a:gd name="connsiteY5" fmla="*/ 71199 h 139760"/>
                <a:gd name="connsiteX6" fmla="*/ 66249 w 65270"/>
                <a:gd name="connsiteY6" fmla="*/ 71199 h 139760"/>
                <a:gd name="connsiteX7" fmla="*/ 66249 w 65270"/>
                <a:gd name="connsiteY7" fmla="*/ 69734 h 139760"/>
                <a:gd name="connsiteX8" fmla="*/ 66249 w 65270"/>
                <a:gd name="connsiteY8" fmla="*/ 68563 h 139760"/>
                <a:gd name="connsiteX9" fmla="*/ 66249 w 65270"/>
                <a:gd name="connsiteY9" fmla="*/ 68563 h 139760"/>
                <a:gd name="connsiteX10" fmla="*/ 66249 w 65270"/>
                <a:gd name="connsiteY10" fmla="*/ 68243 h 139760"/>
                <a:gd name="connsiteX11" fmla="*/ 66249 w 65270"/>
                <a:gd name="connsiteY11" fmla="*/ 66699 h 139760"/>
                <a:gd name="connsiteX12" fmla="*/ 66249 w 65270"/>
                <a:gd name="connsiteY12" fmla="*/ 64942 h 139760"/>
                <a:gd name="connsiteX13" fmla="*/ 66249 w 65270"/>
                <a:gd name="connsiteY13" fmla="*/ 64755 h 139760"/>
                <a:gd name="connsiteX14" fmla="*/ 66249 w 65270"/>
                <a:gd name="connsiteY14" fmla="*/ 63211 h 139760"/>
                <a:gd name="connsiteX15" fmla="*/ 66249 w 65270"/>
                <a:gd name="connsiteY15" fmla="*/ 61294 h 139760"/>
                <a:gd name="connsiteX16" fmla="*/ 66249 w 65270"/>
                <a:gd name="connsiteY16" fmla="*/ 61054 h 139760"/>
                <a:gd name="connsiteX17" fmla="*/ 66249 w 65270"/>
                <a:gd name="connsiteY17" fmla="*/ 61054 h 139760"/>
                <a:gd name="connsiteX18" fmla="*/ 66249 w 65270"/>
                <a:gd name="connsiteY18" fmla="*/ 60575 h 139760"/>
                <a:gd name="connsiteX19" fmla="*/ 66116 w 65270"/>
                <a:gd name="connsiteY19" fmla="*/ 58338 h 139760"/>
                <a:gd name="connsiteX20" fmla="*/ 66116 w 65270"/>
                <a:gd name="connsiteY20" fmla="*/ 58179 h 139760"/>
                <a:gd name="connsiteX21" fmla="*/ 66116 w 65270"/>
                <a:gd name="connsiteY21" fmla="*/ 56661 h 139760"/>
                <a:gd name="connsiteX22" fmla="*/ 65797 w 65270"/>
                <a:gd name="connsiteY22" fmla="*/ 53333 h 139760"/>
                <a:gd name="connsiteX23" fmla="*/ 65797 w 65270"/>
                <a:gd name="connsiteY23" fmla="*/ 52827 h 139760"/>
                <a:gd name="connsiteX24" fmla="*/ 65797 w 65270"/>
                <a:gd name="connsiteY24" fmla="*/ 51868 h 139760"/>
                <a:gd name="connsiteX25" fmla="*/ 65797 w 65270"/>
                <a:gd name="connsiteY25" fmla="*/ 51442 h 139760"/>
                <a:gd name="connsiteX26" fmla="*/ 65424 w 65270"/>
                <a:gd name="connsiteY26" fmla="*/ 48380 h 139760"/>
                <a:gd name="connsiteX27" fmla="*/ 64971 w 65270"/>
                <a:gd name="connsiteY27" fmla="*/ 44546 h 139760"/>
                <a:gd name="connsiteX28" fmla="*/ 64705 w 65270"/>
                <a:gd name="connsiteY28" fmla="*/ 42762 h 139760"/>
                <a:gd name="connsiteX29" fmla="*/ 64705 w 65270"/>
                <a:gd name="connsiteY29" fmla="*/ 41830 h 139760"/>
                <a:gd name="connsiteX30" fmla="*/ 64386 w 65270"/>
                <a:gd name="connsiteY30" fmla="*/ 39753 h 139760"/>
                <a:gd name="connsiteX31" fmla="*/ 64386 w 65270"/>
                <a:gd name="connsiteY31" fmla="*/ 39753 h 139760"/>
                <a:gd name="connsiteX32" fmla="*/ 63906 w 65270"/>
                <a:gd name="connsiteY32" fmla="*/ 36878 h 139760"/>
                <a:gd name="connsiteX33" fmla="*/ 63906 w 65270"/>
                <a:gd name="connsiteY33" fmla="*/ 36665 h 139760"/>
                <a:gd name="connsiteX34" fmla="*/ 63640 w 65270"/>
                <a:gd name="connsiteY34" fmla="*/ 35094 h 139760"/>
                <a:gd name="connsiteX35" fmla="*/ 63640 w 65270"/>
                <a:gd name="connsiteY35" fmla="*/ 34641 h 139760"/>
                <a:gd name="connsiteX36" fmla="*/ 63640 w 65270"/>
                <a:gd name="connsiteY36" fmla="*/ 33816 h 139760"/>
                <a:gd name="connsiteX37" fmla="*/ 63294 w 65270"/>
                <a:gd name="connsiteY37" fmla="*/ 31979 h 139760"/>
                <a:gd name="connsiteX38" fmla="*/ 63294 w 65270"/>
                <a:gd name="connsiteY38" fmla="*/ 31845 h 139760"/>
                <a:gd name="connsiteX39" fmla="*/ 62815 w 65270"/>
                <a:gd name="connsiteY39" fmla="*/ 29183 h 139760"/>
                <a:gd name="connsiteX40" fmla="*/ 62362 w 65270"/>
                <a:gd name="connsiteY40" fmla="*/ 26973 h 139760"/>
                <a:gd name="connsiteX41" fmla="*/ 62362 w 65270"/>
                <a:gd name="connsiteY41" fmla="*/ 26520 h 139760"/>
                <a:gd name="connsiteX42" fmla="*/ 61377 w 65270"/>
                <a:gd name="connsiteY42" fmla="*/ 22100 h 139760"/>
                <a:gd name="connsiteX43" fmla="*/ 61377 w 65270"/>
                <a:gd name="connsiteY43" fmla="*/ 22100 h 139760"/>
                <a:gd name="connsiteX44" fmla="*/ 60951 w 65270"/>
                <a:gd name="connsiteY44" fmla="*/ 20316 h 139760"/>
                <a:gd name="connsiteX45" fmla="*/ 60951 w 65270"/>
                <a:gd name="connsiteY45" fmla="*/ 20130 h 139760"/>
                <a:gd name="connsiteX46" fmla="*/ 60205 w 65270"/>
                <a:gd name="connsiteY46" fmla="*/ 17015 h 139760"/>
                <a:gd name="connsiteX47" fmla="*/ 60205 w 65270"/>
                <a:gd name="connsiteY47" fmla="*/ 17015 h 139760"/>
                <a:gd name="connsiteX48" fmla="*/ 59753 w 65270"/>
                <a:gd name="connsiteY48" fmla="*/ 15177 h 139760"/>
                <a:gd name="connsiteX49" fmla="*/ 59753 w 65270"/>
                <a:gd name="connsiteY49" fmla="*/ 15177 h 139760"/>
                <a:gd name="connsiteX50" fmla="*/ 58847 w 65270"/>
                <a:gd name="connsiteY50" fmla="*/ 11769 h 139760"/>
                <a:gd name="connsiteX51" fmla="*/ 58421 w 65270"/>
                <a:gd name="connsiteY51" fmla="*/ 10172 h 139760"/>
                <a:gd name="connsiteX52" fmla="*/ 57010 w 65270"/>
                <a:gd name="connsiteY52" fmla="*/ 5326 h 139760"/>
                <a:gd name="connsiteX53" fmla="*/ 57010 w 65270"/>
                <a:gd name="connsiteY53" fmla="*/ 5166 h 139760"/>
                <a:gd name="connsiteX54" fmla="*/ 56691 w 65270"/>
                <a:gd name="connsiteY54" fmla="*/ 4208 h 139760"/>
                <a:gd name="connsiteX55" fmla="*/ 56691 w 65270"/>
                <a:gd name="connsiteY55" fmla="*/ 4074 h 139760"/>
                <a:gd name="connsiteX56" fmla="*/ 55546 w 65270"/>
                <a:gd name="connsiteY56" fmla="*/ 453 h 139760"/>
                <a:gd name="connsiteX57" fmla="*/ 55306 w 65270"/>
                <a:gd name="connsiteY57" fmla="*/ -346 h 139760"/>
                <a:gd name="connsiteX58" fmla="*/ 55306 w 65270"/>
                <a:gd name="connsiteY58" fmla="*/ -346 h 139760"/>
                <a:gd name="connsiteX59" fmla="*/ 32141 w 65270"/>
                <a:gd name="connsiteY59" fmla="*/ 19597 h 139760"/>
                <a:gd name="connsiteX60" fmla="*/ 11293 w 65270"/>
                <a:gd name="connsiteY60" fmla="*/ 48114 h 139760"/>
                <a:gd name="connsiteX61" fmla="*/ 2320 w 65270"/>
                <a:gd name="connsiteY61" fmla="*/ 73941 h 139760"/>
                <a:gd name="connsiteX62" fmla="*/ 989 w 65270"/>
                <a:gd name="connsiteY62" fmla="*/ 80065 h 139760"/>
                <a:gd name="connsiteX63" fmla="*/ 5355 w 65270"/>
                <a:gd name="connsiteY63" fmla="*/ 96467 h 139760"/>
                <a:gd name="connsiteX64" fmla="*/ 6447 w 65270"/>
                <a:gd name="connsiteY64" fmla="*/ 100940 h 139760"/>
                <a:gd name="connsiteX65" fmla="*/ 14142 w 65270"/>
                <a:gd name="connsiteY65" fmla="*/ 139415 h 139760"/>
                <a:gd name="connsiteX66" fmla="*/ 35443 w 65270"/>
                <a:gd name="connsiteY66" fmla="*/ 100940 h 139760"/>
                <a:gd name="connsiteX67" fmla="*/ 64732 w 65270"/>
                <a:gd name="connsiteY67" fmla="*/ 76098 h 13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5270" h="139760">
                  <a:moveTo>
                    <a:pt x="64785" y="76205"/>
                  </a:moveTo>
                  <a:lnTo>
                    <a:pt x="66249" y="75246"/>
                  </a:lnTo>
                  <a:cubicBezTo>
                    <a:pt x="66249" y="74847"/>
                    <a:pt x="66249" y="74447"/>
                    <a:pt x="66249" y="74048"/>
                  </a:cubicBezTo>
                  <a:cubicBezTo>
                    <a:pt x="66249" y="73648"/>
                    <a:pt x="66249" y="72876"/>
                    <a:pt x="66249" y="72291"/>
                  </a:cubicBezTo>
                  <a:cubicBezTo>
                    <a:pt x="66249" y="71705"/>
                    <a:pt x="66249" y="71652"/>
                    <a:pt x="66249" y="71332"/>
                  </a:cubicBezTo>
                  <a:lnTo>
                    <a:pt x="66249" y="71199"/>
                  </a:lnTo>
                  <a:lnTo>
                    <a:pt x="66249" y="71199"/>
                  </a:lnTo>
                  <a:cubicBezTo>
                    <a:pt x="66249" y="70720"/>
                    <a:pt x="66249" y="70214"/>
                    <a:pt x="66249" y="69734"/>
                  </a:cubicBezTo>
                  <a:cubicBezTo>
                    <a:pt x="66249" y="69255"/>
                    <a:pt x="66249" y="68962"/>
                    <a:pt x="66249" y="68563"/>
                  </a:cubicBezTo>
                  <a:lnTo>
                    <a:pt x="66249" y="68563"/>
                  </a:lnTo>
                  <a:cubicBezTo>
                    <a:pt x="66263" y="68456"/>
                    <a:pt x="66263" y="68350"/>
                    <a:pt x="66249" y="68243"/>
                  </a:cubicBezTo>
                  <a:cubicBezTo>
                    <a:pt x="66249" y="67737"/>
                    <a:pt x="66249" y="67232"/>
                    <a:pt x="66249" y="66699"/>
                  </a:cubicBezTo>
                  <a:lnTo>
                    <a:pt x="66249" y="64942"/>
                  </a:lnTo>
                  <a:lnTo>
                    <a:pt x="66249" y="64755"/>
                  </a:lnTo>
                  <a:cubicBezTo>
                    <a:pt x="66249" y="64249"/>
                    <a:pt x="66249" y="63744"/>
                    <a:pt x="66249" y="63211"/>
                  </a:cubicBezTo>
                  <a:cubicBezTo>
                    <a:pt x="66249" y="62679"/>
                    <a:pt x="66249" y="61933"/>
                    <a:pt x="66249" y="61294"/>
                  </a:cubicBezTo>
                  <a:lnTo>
                    <a:pt x="66249" y="61054"/>
                  </a:lnTo>
                  <a:lnTo>
                    <a:pt x="66249" y="61054"/>
                  </a:lnTo>
                  <a:lnTo>
                    <a:pt x="66249" y="60575"/>
                  </a:lnTo>
                  <a:cubicBezTo>
                    <a:pt x="66249" y="59830"/>
                    <a:pt x="66249" y="59084"/>
                    <a:pt x="66116" y="58338"/>
                  </a:cubicBezTo>
                  <a:lnTo>
                    <a:pt x="66116" y="58179"/>
                  </a:lnTo>
                  <a:cubicBezTo>
                    <a:pt x="66116" y="57673"/>
                    <a:pt x="66116" y="57167"/>
                    <a:pt x="66116" y="56661"/>
                  </a:cubicBezTo>
                  <a:cubicBezTo>
                    <a:pt x="66116" y="55543"/>
                    <a:pt x="65930" y="54451"/>
                    <a:pt x="65797" y="53333"/>
                  </a:cubicBezTo>
                  <a:cubicBezTo>
                    <a:pt x="65797" y="53146"/>
                    <a:pt x="65797" y="52987"/>
                    <a:pt x="65797" y="52827"/>
                  </a:cubicBezTo>
                  <a:cubicBezTo>
                    <a:pt x="65797" y="52667"/>
                    <a:pt x="65797" y="52188"/>
                    <a:pt x="65797" y="51868"/>
                  </a:cubicBezTo>
                  <a:lnTo>
                    <a:pt x="65797" y="51442"/>
                  </a:lnTo>
                  <a:cubicBezTo>
                    <a:pt x="65797" y="50430"/>
                    <a:pt x="65557" y="49392"/>
                    <a:pt x="65424" y="48380"/>
                  </a:cubicBezTo>
                  <a:cubicBezTo>
                    <a:pt x="65291" y="47368"/>
                    <a:pt x="65131" y="45718"/>
                    <a:pt x="64971" y="44546"/>
                  </a:cubicBezTo>
                  <a:cubicBezTo>
                    <a:pt x="64971" y="43960"/>
                    <a:pt x="64785" y="43348"/>
                    <a:pt x="64705" y="42762"/>
                  </a:cubicBezTo>
                  <a:cubicBezTo>
                    <a:pt x="64625" y="42176"/>
                    <a:pt x="64705" y="42150"/>
                    <a:pt x="64705" y="41830"/>
                  </a:cubicBezTo>
                  <a:lnTo>
                    <a:pt x="64386" y="39753"/>
                  </a:lnTo>
                  <a:lnTo>
                    <a:pt x="64386" y="39753"/>
                  </a:lnTo>
                  <a:lnTo>
                    <a:pt x="63906" y="36878"/>
                  </a:lnTo>
                  <a:lnTo>
                    <a:pt x="63906" y="36665"/>
                  </a:lnTo>
                  <a:cubicBezTo>
                    <a:pt x="63906" y="36132"/>
                    <a:pt x="63720" y="35600"/>
                    <a:pt x="63640" y="35094"/>
                  </a:cubicBezTo>
                  <a:lnTo>
                    <a:pt x="63640" y="34641"/>
                  </a:lnTo>
                  <a:cubicBezTo>
                    <a:pt x="63640" y="34348"/>
                    <a:pt x="63640" y="34082"/>
                    <a:pt x="63640" y="33816"/>
                  </a:cubicBezTo>
                  <a:cubicBezTo>
                    <a:pt x="63640" y="33550"/>
                    <a:pt x="63400" y="32591"/>
                    <a:pt x="63294" y="31979"/>
                  </a:cubicBezTo>
                  <a:lnTo>
                    <a:pt x="63294" y="31845"/>
                  </a:lnTo>
                  <a:lnTo>
                    <a:pt x="62815" y="29183"/>
                  </a:lnTo>
                  <a:cubicBezTo>
                    <a:pt x="62655" y="28437"/>
                    <a:pt x="62522" y="27718"/>
                    <a:pt x="62362" y="26973"/>
                  </a:cubicBezTo>
                  <a:lnTo>
                    <a:pt x="62362" y="26520"/>
                  </a:lnTo>
                  <a:cubicBezTo>
                    <a:pt x="62042" y="25056"/>
                    <a:pt x="61723" y="23565"/>
                    <a:pt x="61377" y="22100"/>
                  </a:cubicBezTo>
                  <a:lnTo>
                    <a:pt x="61377" y="22100"/>
                  </a:lnTo>
                  <a:cubicBezTo>
                    <a:pt x="61244" y="21515"/>
                    <a:pt x="61084" y="20902"/>
                    <a:pt x="60951" y="20316"/>
                  </a:cubicBezTo>
                  <a:lnTo>
                    <a:pt x="60951" y="20130"/>
                  </a:lnTo>
                  <a:cubicBezTo>
                    <a:pt x="60711" y="19092"/>
                    <a:pt x="60472" y="18053"/>
                    <a:pt x="60205" y="17015"/>
                  </a:cubicBezTo>
                  <a:lnTo>
                    <a:pt x="60205" y="17015"/>
                  </a:lnTo>
                  <a:cubicBezTo>
                    <a:pt x="60046" y="16402"/>
                    <a:pt x="59912" y="15790"/>
                    <a:pt x="59753" y="15177"/>
                  </a:cubicBezTo>
                  <a:lnTo>
                    <a:pt x="59753" y="15177"/>
                  </a:lnTo>
                  <a:cubicBezTo>
                    <a:pt x="59460" y="14033"/>
                    <a:pt x="59140" y="12914"/>
                    <a:pt x="58847" y="11769"/>
                  </a:cubicBezTo>
                  <a:cubicBezTo>
                    <a:pt x="58688" y="11237"/>
                    <a:pt x="58554" y="10704"/>
                    <a:pt x="58421" y="10172"/>
                  </a:cubicBezTo>
                  <a:cubicBezTo>
                    <a:pt x="57969" y="8548"/>
                    <a:pt x="57489" y="6950"/>
                    <a:pt x="57010" y="5326"/>
                  </a:cubicBezTo>
                  <a:lnTo>
                    <a:pt x="57010" y="5166"/>
                  </a:lnTo>
                  <a:lnTo>
                    <a:pt x="56691" y="4208"/>
                  </a:lnTo>
                  <a:lnTo>
                    <a:pt x="56691" y="4074"/>
                  </a:lnTo>
                  <a:cubicBezTo>
                    <a:pt x="56318" y="2876"/>
                    <a:pt x="55945" y="1651"/>
                    <a:pt x="55546" y="453"/>
                  </a:cubicBezTo>
                  <a:lnTo>
                    <a:pt x="55306" y="-346"/>
                  </a:lnTo>
                  <a:lnTo>
                    <a:pt x="55306" y="-346"/>
                  </a:lnTo>
                  <a:cubicBezTo>
                    <a:pt x="46772" y="5297"/>
                    <a:pt x="38990" y="11998"/>
                    <a:pt x="32141" y="19597"/>
                  </a:cubicBezTo>
                  <a:cubicBezTo>
                    <a:pt x="23791" y="27995"/>
                    <a:pt x="16762" y="37610"/>
                    <a:pt x="11293" y="48114"/>
                  </a:cubicBezTo>
                  <a:cubicBezTo>
                    <a:pt x="7430" y="56395"/>
                    <a:pt x="4423" y="65048"/>
                    <a:pt x="2320" y="73941"/>
                  </a:cubicBezTo>
                  <a:cubicBezTo>
                    <a:pt x="1814" y="76071"/>
                    <a:pt x="1362" y="78122"/>
                    <a:pt x="989" y="80065"/>
                  </a:cubicBezTo>
                  <a:cubicBezTo>
                    <a:pt x="2533" y="85391"/>
                    <a:pt x="3971" y="90876"/>
                    <a:pt x="5355" y="96467"/>
                  </a:cubicBezTo>
                  <a:cubicBezTo>
                    <a:pt x="5728" y="97932"/>
                    <a:pt x="6101" y="99449"/>
                    <a:pt x="6447" y="100940"/>
                  </a:cubicBezTo>
                  <a:cubicBezTo>
                    <a:pt x="9376" y="113215"/>
                    <a:pt x="11985" y="126022"/>
                    <a:pt x="14142" y="139415"/>
                  </a:cubicBezTo>
                  <a:cubicBezTo>
                    <a:pt x="18559" y="125279"/>
                    <a:pt x="25807" y="112187"/>
                    <a:pt x="35443" y="100940"/>
                  </a:cubicBezTo>
                  <a:cubicBezTo>
                    <a:pt x="44062" y="91398"/>
                    <a:pt x="53911" y="83045"/>
                    <a:pt x="64732" y="76098"/>
                  </a:cubicBezTo>
                </a:path>
              </a:pathLst>
            </a:custGeom>
            <a:solidFill>
              <a:srgbClr val="FAC200"/>
            </a:solidFill>
            <a:ln w="2661" cap="flat">
              <a:noFill/>
              <a:prstDash val="solid"/>
              <a:miter/>
            </a:ln>
          </p:spPr>
          <p:txBody>
            <a:bodyPr rtlCol="0" anchor="ctr"/>
            <a:lstStyle/>
            <a:p>
              <a:endParaRPr lang="pl-PL"/>
            </a:p>
          </p:txBody>
        </p:sp>
        <p:sp>
          <p:nvSpPr>
            <p:cNvPr id="99" name="Freeform: Shape 98">
              <a:extLst>
                <a:ext uri="{FF2B5EF4-FFF2-40B4-BE49-F238E27FC236}">
                  <a16:creationId xmlns:a16="http://schemas.microsoft.com/office/drawing/2014/main" id="{9160D767-E65E-4FB0-8FB9-E9E6455F18F4}"/>
                </a:ext>
              </a:extLst>
            </p:cNvPr>
            <p:cNvSpPr/>
            <p:nvPr/>
          </p:nvSpPr>
          <p:spPr>
            <a:xfrm>
              <a:off x="11422998" y="6669063"/>
              <a:ext cx="51268" cy="87781"/>
            </a:xfrm>
            <a:custGeom>
              <a:avLst/>
              <a:gdLst>
                <a:gd name="connsiteX0" fmla="*/ 91837 w 90848"/>
                <a:gd name="connsiteY0" fmla="*/ 74447 h 155549"/>
                <a:gd name="connsiteX1" fmla="*/ 91438 w 90848"/>
                <a:gd name="connsiteY1" fmla="*/ 73276 h 155549"/>
                <a:gd name="connsiteX2" fmla="*/ 90532 w 90848"/>
                <a:gd name="connsiteY2" fmla="*/ 70613 h 155549"/>
                <a:gd name="connsiteX3" fmla="*/ 89787 w 90848"/>
                <a:gd name="connsiteY3" fmla="*/ 68430 h 155549"/>
                <a:gd name="connsiteX4" fmla="*/ 88908 w 90848"/>
                <a:gd name="connsiteY4" fmla="*/ 66060 h 155549"/>
                <a:gd name="connsiteX5" fmla="*/ 88056 w 90848"/>
                <a:gd name="connsiteY5" fmla="*/ 63770 h 155549"/>
                <a:gd name="connsiteX6" fmla="*/ 87737 w 90848"/>
                <a:gd name="connsiteY6" fmla="*/ 62892 h 155549"/>
                <a:gd name="connsiteX7" fmla="*/ 85341 w 90848"/>
                <a:gd name="connsiteY7" fmla="*/ 56874 h 155549"/>
                <a:gd name="connsiteX8" fmla="*/ 84701 w 90848"/>
                <a:gd name="connsiteY8" fmla="*/ 55356 h 155549"/>
                <a:gd name="connsiteX9" fmla="*/ 83477 w 90848"/>
                <a:gd name="connsiteY9" fmla="*/ 52481 h 155549"/>
                <a:gd name="connsiteX10" fmla="*/ 61217 w 90848"/>
                <a:gd name="connsiteY10" fmla="*/ 11956 h 155549"/>
                <a:gd name="connsiteX11" fmla="*/ 52351 w 90848"/>
                <a:gd name="connsiteY11" fmla="*/ -346 h 155549"/>
                <a:gd name="connsiteX12" fmla="*/ 45108 w 90848"/>
                <a:gd name="connsiteY12" fmla="*/ 4660 h 155549"/>
                <a:gd name="connsiteX13" fmla="*/ 44230 w 90848"/>
                <a:gd name="connsiteY13" fmla="*/ 5299 h 155549"/>
                <a:gd name="connsiteX14" fmla="*/ 989 w 90848"/>
                <a:gd name="connsiteY14" fmla="*/ 61214 h 155549"/>
                <a:gd name="connsiteX15" fmla="*/ 989 w 90848"/>
                <a:gd name="connsiteY15" fmla="*/ 61214 h 155549"/>
                <a:gd name="connsiteX16" fmla="*/ 28840 w 90848"/>
                <a:gd name="connsiteY16" fmla="*/ 123253 h 155549"/>
                <a:gd name="connsiteX17" fmla="*/ 37360 w 90848"/>
                <a:gd name="connsiteY17" fmla="*/ 149080 h 155549"/>
                <a:gd name="connsiteX18" fmla="*/ 39144 w 90848"/>
                <a:gd name="connsiteY18" fmla="*/ 155204 h 155549"/>
                <a:gd name="connsiteX19" fmla="*/ 40475 w 90848"/>
                <a:gd name="connsiteY19" fmla="*/ 149080 h 155549"/>
                <a:gd name="connsiteX20" fmla="*/ 49448 w 90848"/>
                <a:gd name="connsiteY20" fmla="*/ 123253 h 155549"/>
                <a:gd name="connsiteX21" fmla="*/ 68646 w 90848"/>
                <a:gd name="connsiteY21" fmla="*/ 94284 h 155549"/>
                <a:gd name="connsiteX22" fmla="*/ 91811 w 90848"/>
                <a:gd name="connsiteY22" fmla="*/ 74341 h 155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0848" h="155549">
                  <a:moveTo>
                    <a:pt x="91837" y="74447"/>
                  </a:moveTo>
                  <a:lnTo>
                    <a:pt x="91438" y="73276"/>
                  </a:lnTo>
                  <a:cubicBezTo>
                    <a:pt x="91145" y="72397"/>
                    <a:pt x="90852" y="71518"/>
                    <a:pt x="90532" y="70613"/>
                  </a:cubicBezTo>
                  <a:lnTo>
                    <a:pt x="89787" y="68430"/>
                  </a:lnTo>
                  <a:lnTo>
                    <a:pt x="88908" y="66060"/>
                  </a:lnTo>
                  <a:cubicBezTo>
                    <a:pt x="88642" y="65288"/>
                    <a:pt x="88349" y="64516"/>
                    <a:pt x="88056" y="63770"/>
                  </a:cubicBezTo>
                  <a:lnTo>
                    <a:pt x="87737" y="62892"/>
                  </a:lnTo>
                  <a:cubicBezTo>
                    <a:pt x="86965" y="60868"/>
                    <a:pt x="86166" y="58871"/>
                    <a:pt x="85341" y="56874"/>
                  </a:cubicBezTo>
                  <a:lnTo>
                    <a:pt x="84701" y="55356"/>
                  </a:lnTo>
                  <a:cubicBezTo>
                    <a:pt x="84302" y="54398"/>
                    <a:pt x="83903" y="53439"/>
                    <a:pt x="83477" y="52481"/>
                  </a:cubicBezTo>
                  <a:cubicBezTo>
                    <a:pt x="77315" y="38318"/>
                    <a:pt x="69863" y="24752"/>
                    <a:pt x="61217" y="11956"/>
                  </a:cubicBezTo>
                  <a:cubicBezTo>
                    <a:pt x="58395" y="7775"/>
                    <a:pt x="55413" y="3675"/>
                    <a:pt x="52351" y="-346"/>
                  </a:cubicBezTo>
                  <a:cubicBezTo>
                    <a:pt x="49874" y="1252"/>
                    <a:pt x="47478" y="2929"/>
                    <a:pt x="45108" y="4660"/>
                  </a:cubicBezTo>
                  <a:lnTo>
                    <a:pt x="44230" y="5299"/>
                  </a:lnTo>
                  <a:cubicBezTo>
                    <a:pt x="25083" y="19741"/>
                    <a:pt x="10151" y="39048"/>
                    <a:pt x="989" y="61214"/>
                  </a:cubicBezTo>
                  <a:lnTo>
                    <a:pt x="989" y="61214"/>
                  </a:lnTo>
                  <a:cubicBezTo>
                    <a:pt x="11823" y="81162"/>
                    <a:pt x="21134" y="101901"/>
                    <a:pt x="28840" y="123253"/>
                  </a:cubicBezTo>
                  <a:cubicBezTo>
                    <a:pt x="31822" y="131534"/>
                    <a:pt x="34698" y="140134"/>
                    <a:pt x="37360" y="149080"/>
                  </a:cubicBezTo>
                  <a:cubicBezTo>
                    <a:pt x="37972" y="151104"/>
                    <a:pt x="38558" y="153154"/>
                    <a:pt x="39144" y="155204"/>
                  </a:cubicBezTo>
                  <a:cubicBezTo>
                    <a:pt x="39517" y="153261"/>
                    <a:pt x="39969" y="151210"/>
                    <a:pt x="40475" y="149080"/>
                  </a:cubicBezTo>
                  <a:cubicBezTo>
                    <a:pt x="42579" y="140187"/>
                    <a:pt x="45585" y="131534"/>
                    <a:pt x="49448" y="123253"/>
                  </a:cubicBezTo>
                  <a:cubicBezTo>
                    <a:pt x="54372" y="112696"/>
                    <a:pt x="60842" y="102932"/>
                    <a:pt x="68646" y="94284"/>
                  </a:cubicBezTo>
                  <a:cubicBezTo>
                    <a:pt x="75494" y="86685"/>
                    <a:pt x="83277" y="79983"/>
                    <a:pt x="91811" y="74341"/>
                  </a:cubicBezTo>
                  <a:close/>
                </a:path>
              </a:pathLst>
            </a:custGeom>
            <a:solidFill>
              <a:srgbClr val="E09C00"/>
            </a:solidFill>
            <a:ln w="2661" cap="flat">
              <a:noFill/>
              <a:prstDash val="solid"/>
              <a:miter/>
            </a:ln>
          </p:spPr>
          <p:txBody>
            <a:bodyPr rtlCol="0" anchor="ctr"/>
            <a:lstStyle/>
            <a:p>
              <a:endParaRPr lang="pl-PL"/>
            </a:p>
          </p:txBody>
        </p:sp>
        <p:sp>
          <p:nvSpPr>
            <p:cNvPr id="100" name="Freeform: Shape 99">
              <a:extLst>
                <a:ext uri="{FF2B5EF4-FFF2-40B4-BE49-F238E27FC236}">
                  <a16:creationId xmlns:a16="http://schemas.microsoft.com/office/drawing/2014/main" id="{83A1A5FE-94E5-4C2D-B4D5-1BBA34103F52}"/>
                </a:ext>
              </a:extLst>
            </p:cNvPr>
            <p:cNvSpPr/>
            <p:nvPr/>
          </p:nvSpPr>
          <p:spPr>
            <a:xfrm>
              <a:off x="11393940" y="6672699"/>
              <a:ext cx="29090" cy="31088"/>
            </a:xfrm>
            <a:custGeom>
              <a:avLst/>
              <a:gdLst>
                <a:gd name="connsiteX0" fmla="*/ 17790 w 51548"/>
                <a:gd name="connsiteY0" fmla="*/ 1145 h 55089"/>
                <a:gd name="connsiteX1" fmla="*/ 16618 w 51548"/>
                <a:gd name="connsiteY1" fmla="*/ -346 h 55089"/>
                <a:gd name="connsiteX2" fmla="*/ 16272 w 51548"/>
                <a:gd name="connsiteY2" fmla="*/ 293 h 55089"/>
                <a:gd name="connsiteX3" fmla="*/ 989 w 51548"/>
                <a:gd name="connsiteY3" fmla="*/ 48939 h 55089"/>
                <a:gd name="connsiteX4" fmla="*/ 32940 w 51548"/>
                <a:gd name="connsiteY4" fmla="*/ 50111 h 55089"/>
                <a:gd name="connsiteX5" fmla="*/ 52537 w 51548"/>
                <a:gd name="connsiteY5" fmla="*/ 54744 h 55089"/>
                <a:gd name="connsiteX6" fmla="*/ 17923 w 51548"/>
                <a:gd name="connsiteY6" fmla="*/ 1145 h 55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48" h="55089">
                  <a:moveTo>
                    <a:pt x="17790" y="1145"/>
                  </a:moveTo>
                  <a:cubicBezTo>
                    <a:pt x="17390" y="640"/>
                    <a:pt x="17018" y="134"/>
                    <a:pt x="16618" y="-346"/>
                  </a:cubicBezTo>
                  <a:cubicBezTo>
                    <a:pt x="16618" y="-133"/>
                    <a:pt x="16405" y="80"/>
                    <a:pt x="16272" y="293"/>
                  </a:cubicBezTo>
                  <a:cubicBezTo>
                    <a:pt x="8353" y="15484"/>
                    <a:pt x="3180" y="31952"/>
                    <a:pt x="989" y="48939"/>
                  </a:cubicBezTo>
                  <a:cubicBezTo>
                    <a:pt x="11647" y="48055"/>
                    <a:pt x="22375" y="48449"/>
                    <a:pt x="32940" y="50111"/>
                  </a:cubicBezTo>
                  <a:cubicBezTo>
                    <a:pt x="39578" y="51171"/>
                    <a:pt x="46128" y="52718"/>
                    <a:pt x="52537" y="54744"/>
                  </a:cubicBezTo>
                  <a:cubicBezTo>
                    <a:pt x="42395" y="36015"/>
                    <a:pt x="30823" y="18096"/>
                    <a:pt x="17923" y="1145"/>
                  </a:cubicBezTo>
                </a:path>
              </a:pathLst>
            </a:custGeom>
            <a:solidFill>
              <a:srgbClr val="E09C00"/>
            </a:solidFill>
            <a:ln w="2661" cap="flat">
              <a:noFill/>
              <a:prstDash val="solid"/>
              <a:miter/>
            </a:ln>
          </p:spPr>
          <p:txBody>
            <a:bodyPr rtlCol="0" anchor="ctr"/>
            <a:lstStyle/>
            <a:p>
              <a:endParaRPr lang="pl-PL"/>
            </a:p>
          </p:txBody>
        </p:sp>
        <p:sp>
          <p:nvSpPr>
            <p:cNvPr id="101" name="Freeform: Shape 100">
              <a:extLst>
                <a:ext uri="{FF2B5EF4-FFF2-40B4-BE49-F238E27FC236}">
                  <a16:creationId xmlns:a16="http://schemas.microsoft.com/office/drawing/2014/main" id="{10E88644-4F52-4D05-B8EB-FE1AEB962756}"/>
                </a:ext>
              </a:extLst>
            </p:cNvPr>
            <p:cNvSpPr/>
            <p:nvPr/>
          </p:nvSpPr>
          <p:spPr>
            <a:xfrm>
              <a:off x="11401092" y="6746296"/>
              <a:ext cx="50862" cy="44116"/>
            </a:xfrm>
            <a:custGeom>
              <a:avLst/>
              <a:gdLst>
                <a:gd name="connsiteX0" fmla="*/ 83423 w 90129"/>
                <a:gd name="connsiteY0" fmla="*/ 39327 h 78174"/>
                <a:gd name="connsiteX1" fmla="*/ 82332 w 90129"/>
                <a:gd name="connsiteY1" fmla="*/ 34854 h 78174"/>
                <a:gd name="connsiteX2" fmla="*/ 77965 w 90129"/>
                <a:gd name="connsiteY2" fmla="*/ 18453 h 78174"/>
                <a:gd name="connsiteX3" fmla="*/ 66489 w 90129"/>
                <a:gd name="connsiteY3" fmla="*/ 12328 h 78174"/>
                <a:gd name="connsiteX4" fmla="*/ 13956 w 90129"/>
                <a:gd name="connsiteY4" fmla="*/ -292 h 78174"/>
                <a:gd name="connsiteX5" fmla="*/ 989 w 90129"/>
                <a:gd name="connsiteY5" fmla="*/ -79 h 78174"/>
                <a:gd name="connsiteX6" fmla="*/ 7619 w 90129"/>
                <a:gd name="connsiteY6" fmla="*/ 12355 h 78174"/>
                <a:gd name="connsiteX7" fmla="*/ 28227 w 90129"/>
                <a:gd name="connsiteY7" fmla="*/ 39354 h 78174"/>
                <a:gd name="connsiteX8" fmla="*/ 91118 w 90129"/>
                <a:gd name="connsiteY8" fmla="*/ 77829 h 78174"/>
                <a:gd name="connsiteX9" fmla="*/ 83423 w 90129"/>
                <a:gd name="connsiteY9" fmla="*/ 39354 h 78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129" h="78174">
                  <a:moveTo>
                    <a:pt x="83423" y="39327"/>
                  </a:moveTo>
                  <a:cubicBezTo>
                    <a:pt x="83077" y="37836"/>
                    <a:pt x="82704" y="36319"/>
                    <a:pt x="82332" y="34854"/>
                  </a:cubicBezTo>
                  <a:cubicBezTo>
                    <a:pt x="80947" y="29263"/>
                    <a:pt x="79509" y="23804"/>
                    <a:pt x="77965" y="18453"/>
                  </a:cubicBezTo>
                  <a:cubicBezTo>
                    <a:pt x="74272" y="16235"/>
                    <a:pt x="70448" y="14192"/>
                    <a:pt x="66489" y="12328"/>
                  </a:cubicBezTo>
                  <a:cubicBezTo>
                    <a:pt x="50021" y="4588"/>
                    <a:pt x="32144" y="293"/>
                    <a:pt x="13956" y="-292"/>
                  </a:cubicBezTo>
                  <a:cubicBezTo>
                    <a:pt x="9589" y="-425"/>
                    <a:pt x="5275" y="-292"/>
                    <a:pt x="989" y="-79"/>
                  </a:cubicBezTo>
                  <a:cubicBezTo>
                    <a:pt x="3012" y="4181"/>
                    <a:pt x="5222" y="8327"/>
                    <a:pt x="7619" y="12355"/>
                  </a:cubicBezTo>
                  <a:cubicBezTo>
                    <a:pt x="13418" y="22122"/>
                    <a:pt x="20335" y="31182"/>
                    <a:pt x="28227" y="39354"/>
                  </a:cubicBezTo>
                  <a:cubicBezTo>
                    <a:pt x="45566" y="57332"/>
                    <a:pt x="67216" y="70576"/>
                    <a:pt x="91118" y="77829"/>
                  </a:cubicBezTo>
                  <a:cubicBezTo>
                    <a:pt x="88961" y="64516"/>
                    <a:pt x="86352" y="51629"/>
                    <a:pt x="83423" y="39354"/>
                  </a:cubicBezTo>
                </a:path>
              </a:pathLst>
            </a:custGeom>
            <a:solidFill>
              <a:srgbClr val="E09C00"/>
            </a:solidFill>
            <a:ln w="2661" cap="flat">
              <a:noFill/>
              <a:prstDash val="solid"/>
              <a:miter/>
            </a:ln>
          </p:spPr>
          <p:txBody>
            <a:bodyPr rtlCol="0" anchor="ctr"/>
            <a:lstStyle/>
            <a:p>
              <a:endParaRPr lang="pl-PL"/>
            </a:p>
          </p:txBody>
        </p:sp>
        <p:sp>
          <p:nvSpPr>
            <p:cNvPr id="102" name="Freeform: Shape 101">
              <a:extLst>
                <a:ext uri="{FF2B5EF4-FFF2-40B4-BE49-F238E27FC236}">
                  <a16:creationId xmlns:a16="http://schemas.microsoft.com/office/drawing/2014/main" id="{AF43B7D8-8CBE-4C2A-9402-24A5E6020215}"/>
                </a:ext>
              </a:extLst>
            </p:cNvPr>
            <p:cNvSpPr/>
            <p:nvPr/>
          </p:nvSpPr>
          <p:spPr>
            <a:xfrm>
              <a:off x="11451983" y="6691629"/>
              <a:ext cx="106699" cy="102254"/>
            </a:xfrm>
            <a:custGeom>
              <a:avLst/>
              <a:gdLst>
                <a:gd name="connsiteX0" fmla="*/ 189954 w 189072"/>
                <a:gd name="connsiteY0" fmla="*/ 30014 h 181196"/>
                <a:gd name="connsiteX1" fmla="*/ 188463 w 189072"/>
                <a:gd name="connsiteY1" fmla="*/ 13159 h 181196"/>
                <a:gd name="connsiteX2" fmla="*/ 180928 w 189072"/>
                <a:gd name="connsiteY2" fmla="*/ 13639 h 181196"/>
                <a:gd name="connsiteX3" fmla="*/ 171449 w 189072"/>
                <a:gd name="connsiteY3" fmla="*/ 21467 h 181196"/>
                <a:gd name="connsiteX4" fmla="*/ 171449 w 189072"/>
                <a:gd name="connsiteY4" fmla="*/ 21467 h 181196"/>
                <a:gd name="connsiteX5" fmla="*/ 171449 w 189072"/>
                <a:gd name="connsiteY5" fmla="*/ 21467 h 181196"/>
                <a:gd name="connsiteX6" fmla="*/ 169080 w 189072"/>
                <a:gd name="connsiteY6" fmla="*/ 52513 h 181196"/>
                <a:gd name="connsiteX7" fmla="*/ 162370 w 189072"/>
                <a:gd name="connsiteY7" fmla="*/ 81988 h 181196"/>
                <a:gd name="connsiteX8" fmla="*/ 161944 w 189072"/>
                <a:gd name="connsiteY8" fmla="*/ 83373 h 181196"/>
                <a:gd name="connsiteX9" fmla="*/ 151773 w 189072"/>
                <a:gd name="connsiteY9" fmla="*/ 109200 h 181196"/>
                <a:gd name="connsiteX10" fmla="*/ 145169 w 189072"/>
                <a:gd name="connsiteY10" fmla="*/ 120649 h 181196"/>
                <a:gd name="connsiteX11" fmla="*/ 143785 w 189072"/>
                <a:gd name="connsiteY11" fmla="*/ 121395 h 181196"/>
                <a:gd name="connsiteX12" fmla="*/ 142853 w 189072"/>
                <a:gd name="connsiteY12" fmla="*/ 121102 h 181196"/>
                <a:gd name="connsiteX13" fmla="*/ 142400 w 189072"/>
                <a:gd name="connsiteY13" fmla="*/ 118785 h 181196"/>
                <a:gd name="connsiteX14" fmla="*/ 147992 w 189072"/>
                <a:gd name="connsiteY14" fmla="*/ 109200 h 181196"/>
                <a:gd name="connsiteX15" fmla="*/ 158323 w 189072"/>
                <a:gd name="connsiteY15" fmla="*/ 83373 h 181196"/>
                <a:gd name="connsiteX16" fmla="*/ 159042 w 189072"/>
                <a:gd name="connsiteY16" fmla="*/ 81030 h 181196"/>
                <a:gd name="connsiteX17" fmla="*/ 165725 w 189072"/>
                <a:gd name="connsiteY17" fmla="*/ 51315 h 181196"/>
                <a:gd name="connsiteX18" fmla="*/ 168121 w 189072"/>
                <a:gd name="connsiteY18" fmla="*/ 20215 h 181196"/>
                <a:gd name="connsiteX19" fmla="*/ 166763 w 189072"/>
                <a:gd name="connsiteY19" fmla="*/ -340 h 181196"/>
                <a:gd name="connsiteX20" fmla="*/ 166763 w 189072"/>
                <a:gd name="connsiteY20" fmla="*/ -340 h 181196"/>
                <a:gd name="connsiteX21" fmla="*/ 166763 w 189072"/>
                <a:gd name="connsiteY21" fmla="*/ -340 h 181196"/>
                <a:gd name="connsiteX22" fmla="*/ 154062 w 189072"/>
                <a:gd name="connsiteY22" fmla="*/ 2589 h 181196"/>
                <a:gd name="connsiteX23" fmla="*/ 146847 w 189072"/>
                <a:gd name="connsiteY23" fmla="*/ 14544 h 181196"/>
                <a:gd name="connsiteX24" fmla="*/ 146847 w 189072"/>
                <a:gd name="connsiteY24" fmla="*/ 14544 h 181196"/>
                <a:gd name="connsiteX25" fmla="*/ 144371 w 189072"/>
                <a:gd name="connsiteY25" fmla="*/ 46016 h 181196"/>
                <a:gd name="connsiteX26" fmla="*/ 137181 w 189072"/>
                <a:gd name="connsiteY26" fmla="*/ 76636 h 181196"/>
                <a:gd name="connsiteX27" fmla="*/ 134972 w 189072"/>
                <a:gd name="connsiteY27" fmla="*/ 83293 h 181196"/>
                <a:gd name="connsiteX28" fmla="*/ 123070 w 189072"/>
                <a:gd name="connsiteY28" fmla="*/ 109120 h 181196"/>
                <a:gd name="connsiteX29" fmla="*/ 120167 w 189072"/>
                <a:gd name="connsiteY29" fmla="*/ 113700 h 181196"/>
                <a:gd name="connsiteX30" fmla="*/ 118783 w 189072"/>
                <a:gd name="connsiteY30" fmla="*/ 114445 h 181196"/>
                <a:gd name="connsiteX31" fmla="*/ 117851 w 189072"/>
                <a:gd name="connsiteY31" fmla="*/ 114152 h 181196"/>
                <a:gd name="connsiteX32" fmla="*/ 117409 w 189072"/>
                <a:gd name="connsiteY32" fmla="*/ 111860 h 181196"/>
                <a:gd name="connsiteX33" fmla="*/ 117425 w 189072"/>
                <a:gd name="connsiteY33" fmla="*/ 111836 h 181196"/>
                <a:gd name="connsiteX34" fmla="*/ 119156 w 189072"/>
                <a:gd name="connsiteY34" fmla="*/ 109173 h 181196"/>
                <a:gd name="connsiteX35" fmla="*/ 131430 w 189072"/>
                <a:gd name="connsiteY35" fmla="*/ 83346 h 181196"/>
                <a:gd name="connsiteX36" fmla="*/ 133827 w 189072"/>
                <a:gd name="connsiteY36" fmla="*/ 76343 h 181196"/>
                <a:gd name="connsiteX37" fmla="*/ 141069 w 189072"/>
                <a:gd name="connsiteY37" fmla="*/ 45590 h 181196"/>
                <a:gd name="connsiteX38" fmla="*/ 143465 w 189072"/>
                <a:gd name="connsiteY38" fmla="*/ 14038 h 181196"/>
                <a:gd name="connsiteX39" fmla="*/ 143465 w 189072"/>
                <a:gd name="connsiteY39" fmla="*/ 13798 h 181196"/>
                <a:gd name="connsiteX40" fmla="*/ 143465 w 189072"/>
                <a:gd name="connsiteY40" fmla="*/ 13798 h 181196"/>
                <a:gd name="connsiteX41" fmla="*/ 140403 w 189072"/>
                <a:gd name="connsiteY41" fmla="*/ 13585 h 181196"/>
                <a:gd name="connsiteX42" fmla="*/ 128208 w 189072"/>
                <a:gd name="connsiteY42" fmla="*/ 18911 h 181196"/>
                <a:gd name="connsiteX43" fmla="*/ 121978 w 189072"/>
                <a:gd name="connsiteY43" fmla="*/ 36670 h 181196"/>
                <a:gd name="connsiteX44" fmla="*/ 121073 w 189072"/>
                <a:gd name="connsiteY44" fmla="*/ 41809 h 181196"/>
                <a:gd name="connsiteX45" fmla="*/ 120673 w 189072"/>
                <a:gd name="connsiteY45" fmla="*/ 43993 h 181196"/>
                <a:gd name="connsiteX46" fmla="*/ 110901 w 189072"/>
                <a:gd name="connsiteY46" fmla="*/ 75944 h 181196"/>
                <a:gd name="connsiteX47" fmla="*/ 107546 w 189072"/>
                <a:gd name="connsiteY47" fmla="*/ 83453 h 181196"/>
                <a:gd name="connsiteX48" fmla="*/ 93807 w 189072"/>
                <a:gd name="connsiteY48" fmla="*/ 106218 h 181196"/>
                <a:gd name="connsiteX49" fmla="*/ 92476 w 189072"/>
                <a:gd name="connsiteY49" fmla="*/ 106883 h 181196"/>
                <a:gd name="connsiteX50" fmla="*/ 91464 w 189072"/>
                <a:gd name="connsiteY50" fmla="*/ 106564 h 181196"/>
                <a:gd name="connsiteX51" fmla="*/ 91118 w 189072"/>
                <a:gd name="connsiteY51" fmla="*/ 104221 h 181196"/>
                <a:gd name="connsiteX52" fmla="*/ 103792 w 189072"/>
                <a:gd name="connsiteY52" fmla="*/ 83266 h 181196"/>
                <a:gd name="connsiteX53" fmla="*/ 107147 w 189072"/>
                <a:gd name="connsiteY53" fmla="*/ 76024 h 181196"/>
                <a:gd name="connsiteX54" fmla="*/ 117105 w 189072"/>
                <a:gd name="connsiteY54" fmla="*/ 44019 h 181196"/>
                <a:gd name="connsiteX55" fmla="*/ 117691 w 189072"/>
                <a:gd name="connsiteY55" fmla="*/ 41064 h 181196"/>
                <a:gd name="connsiteX56" fmla="*/ 105470 w 189072"/>
                <a:gd name="connsiteY56" fmla="*/ 42235 h 181196"/>
                <a:gd name="connsiteX57" fmla="*/ 101502 w 189072"/>
                <a:gd name="connsiteY57" fmla="*/ 44898 h 181196"/>
                <a:gd name="connsiteX58" fmla="*/ 97881 w 189072"/>
                <a:gd name="connsiteY58" fmla="*/ 50835 h 181196"/>
                <a:gd name="connsiteX59" fmla="*/ 97509 w 189072"/>
                <a:gd name="connsiteY59" fmla="*/ 51980 h 181196"/>
                <a:gd name="connsiteX60" fmla="*/ 91491 w 189072"/>
                <a:gd name="connsiteY60" fmla="*/ 66412 h 181196"/>
                <a:gd name="connsiteX61" fmla="*/ 83716 w 189072"/>
                <a:gd name="connsiteY61" fmla="*/ 79725 h 181196"/>
                <a:gd name="connsiteX62" fmla="*/ 81266 w 189072"/>
                <a:gd name="connsiteY62" fmla="*/ 83293 h 181196"/>
                <a:gd name="connsiteX63" fmla="*/ 79909 w 189072"/>
                <a:gd name="connsiteY63" fmla="*/ 85130 h 181196"/>
                <a:gd name="connsiteX64" fmla="*/ 64093 w 189072"/>
                <a:gd name="connsiteY64" fmla="*/ 102091 h 181196"/>
                <a:gd name="connsiteX65" fmla="*/ 54774 w 189072"/>
                <a:gd name="connsiteY65" fmla="*/ 109120 h 181196"/>
                <a:gd name="connsiteX66" fmla="*/ 53043 w 189072"/>
                <a:gd name="connsiteY66" fmla="*/ 110292 h 181196"/>
                <a:gd name="connsiteX67" fmla="*/ 53043 w 189072"/>
                <a:gd name="connsiteY67" fmla="*/ 110292 h 181196"/>
                <a:gd name="connsiteX68" fmla="*/ 51578 w 189072"/>
                <a:gd name="connsiteY68" fmla="*/ 111250 h 181196"/>
                <a:gd name="connsiteX69" fmla="*/ 22290 w 189072"/>
                <a:gd name="connsiteY69" fmla="*/ 136092 h 181196"/>
                <a:gd name="connsiteX70" fmla="*/ 989 w 189072"/>
                <a:gd name="connsiteY70" fmla="*/ 174567 h 181196"/>
                <a:gd name="connsiteX71" fmla="*/ 1468 w 189072"/>
                <a:gd name="connsiteY71" fmla="*/ 174700 h 181196"/>
                <a:gd name="connsiteX72" fmla="*/ 21065 w 189072"/>
                <a:gd name="connsiteY72" fmla="*/ 179120 h 181196"/>
                <a:gd name="connsiteX73" fmla="*/ 43511 w 189072"/>
                <a:gd name="connsiteY73" fmla="*/ 180851 h 181196"/>
                <a:gd name="connsiteX74" fmla="*/ 43910 w 189072"/>
                <a:gd name="connsiteY74" fmla="*/ 180851 h 181196"/>
                <a:gd name="connsiteX75" fmla="*/ 148924 w 189072"/>
                <a:gd name="connsiteY75" fmla="*/ 136119 h 181196"/>
                <a:gd name="connsiteX76" fmla="*/ 169559 w 189072"/>
                <a:gd name="connsiteY76" fmla="*/ 109120 h 181196"/>
                <a:gd name="connsiteX77" fmla="*/ 179783 w 189072"/>
                <a:gd name="connsiteY77" fmla="*/ 88325 h 181196"/>
                <a:gd name="connsiteX78" fmla="*/ 181674 w 189072"/>
                <a:gd name="connsiteY78" fmla="*/ 83293 h 181196"/>
                <a:gd name="connsiteX79" fmla="*/ 187718 w 189072"/>
                <a:gd name="connsiteY79" fmla="*/ 60527 h 181196"/>
                <a:gd name="connsiteX80" fmla="*/ 190061 w 189072"/>
                <a:gd name="connsiteY80" fmla="*/ 34301 h 181196"/>
                <a:gd name="connsiteX81" fmla="*/ 190061 w 189072"/>
                <a:gd name="connsiteY81" fmla="*/ 29854 h 181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89072" h="181196">
                  <a:moveTo>
                    <a:pt x="189954" y="30014"/>
                  </a:moveTo>
                  <a:cubicBezTo>
                    <a:pt x="189784" y="24372"/>
                    <a:pt x="189286" y="18743"/>
                    <a:pt x="188463" y="13159"/>
                  </a:cubicBezTo>
                  <a:cubicBezTo>
                    <a:pt x="185942" y="12909"/>
                    <a:pt x="183396" y="13072"/>
                    <a:pt x="180928" y="13639"/>
                  </a:cubicBezTo>
                  <a:cubicBezTo>
                    <a:pt x="176713" y="14613"/>
                    <a:pt x="173204" y="17513"/>
                    <a:pt x="171449" y="21467"/>
                  </a:cubicBezTo>
                  <a:lnTo>
                    <a:pt x="171449" y="21467"/>
                  </a:lnTo>
                  <a:lnTo>
                    <a:pt x="171449" y="21467"/>
                  </a:lnTo>
                  <a:cubicBezTo>
                    <a:pt x="171487" y="31862"/>
                    <a:pt x="170693" y="42243"/>
                    <a:pt x="169080" y="52513"/>
                  </a:cubicBezTo>
                  <a:cubicBezTo>
                    <a:pt x="167522" y="62479"/>
                    <a:pt x="165280" y="72328"/>
                    <a:pt x="162370" y="81988"/>
                  </a:cubicBezTo>
                  <a:cubicBezTo>
                    <a:pt x="162210" y="82441"/>
                    <a:pt x="162077" y="82893"/>
                    <a:pt x="161944" y="83373"/>
                  </a:cubicBezTo>
                  <a:cubicBezTo>
                    <a:pt x="159260" y="92244"/>
                    <a:pt x="155860" y="100882"/>
                    <a:pt x="151773" y="109200"/>
                  </a:cubicBezTo>
                  <a:cubicBezTo>
                    <a:pt x="149821" y="113154"/>
                    <a:pt x="147614" y="116980"/>
                    <a:pt x="145169" y="120649"/>
                  </a:cubicBezTo>
                  <a:cubicBezTo>
                    <a:pt x="144860" y="121112"/>
                    <a:pt x="144341" y="121392"/>
                    <a:pt x="143785" y="121395"/>
                  </a:cubicBezTo>
                  <a:cubicBezTo>
                    <a:pt x="143452" y="121387"/>
                    <a:pt x="143130" y="121286"/>
                    <a:pt x="142853" y="121102"/>
                  </a:cubicBezTo>
                  <a:cubicBezTo>
                    <a:pt x="142091" y="120585"/>
                    <a:pt x="141892" y="119552"/>
                    <a:pt x="142400" y="118785"/>
                  </a:cubicBezTo>
                  <a:cubicBezTo>
                    <a:pt x="144458" y="115707"/>
                    <a:pt x="146325" y="112507"/>
                    <a:pt x="147992" y="109200"/>
                  </a:cubicBezTo>
                  <a:cubicBezTo>
                    <a:pt x="152161" y="100898"/>
                    <a:pt x="155617" y="92258"/>
                    <a:pt x="158323" y="83373"/>
                  </a:cubicBezTo>
                  <a:lnTo>
                    <a:pt x="159042" y="81030"/>
                  </a:lnTo>
                  <a:cubicBezTo>
                    <a:pt x="161944" y="71290"/>
                    <a:pt x="164178" y="61361"/>
                    <a:pt x="165725" y="51315"/>
                  </a:cubicBezTo>
                  <a:cubicBezTo>
                    <a:pt x="167306" y="41024"/>
                    <a:pt x="168108" y="30626"/>
                    <a:pt x="168121" y="20215"/>
                  </a:cubicBezTo>
                  <a:cubicBezTo>
                    <a:pt x="168116" y="13341"/>
                    <a:pt x="167663" y="6474"/>
                    <a:pt x="166763" y="-340"/>
                  </a:cubicBezTo>
                  <a:lnTo>
                    <a:pt x="166763" y="-340"/>
                  </a:lnTo>
                  <a:lnTo>
                    <a:pt x="166763" y="-340"/>
                  </a:lnTo>
                  <a:cubicBezTo>
                    <a:pt x="162351" y="-431"/>
                    <a:pt x="157987" y="576"/>
                    <a:pt x="154062" y="2589"/>
                  </a:cubicBezTo>
                  <a:cubicBezTo>
                    <a:pt x="149685" y="4988"/>
                    <a:pt x="146929" y="9552"/>
                    <a:pt x="146847" y="14544"/>
                  </a:cubicBezTo>
                  <a:lnTo>
                    <a:pt x="146847" y="14544"/>
                  </a:lnTo>
                  <a:cubicBezTo>
                    <a:pt x="146868" y="25085"/>
                    <a:pt x="146040" y="35608"/>
                    <a:pt x="144371" y="46016"/>
                  </a:cubicBezTo>
                  <a:cubicBezTo>
                    <a:pt x="142752" y="56390"/>
                    <a:pt x="140347" y="66625"/>
                    <a:pt x="137181" y="76636"/>
                  </a:cubicBezTo>
                  <a:cubicBezTo>
                    <a:pt x="136489" y="78899"/>
                    <a:pt x="135744" y="81109"/>
                    <a:pt x="134972" y="83293"/>
                  </a:cubicBezTo>
                  <a:cubicBezTo>
                    <a:pt x="131840" y="92263"/>
                    <a:pt x="127854" y="100911"/>
                    <a:pt x="123070" y="109120"/>
                  </a:cubicBezTo>
                  <a:cubicBezTo>
                    <a:pt x="122111" y="110744"/>
                    <a:pt x="121153" y="112262"/>
                    <a:pt x="120167" y="113700"/>
                  </a:cubicBezTo>
                  <a:cubicBezTo>
                    <a:pt x="119861" y="114166"/>
                    <a:pt x="119342" y="114448"/>
                    <a:pt x="118783" y="114445"/>
                  </a:cubicBezTo>
                  <a:cubicBezTo>
                    <a:pt x="118450" y="114437"/>
                    <a:pt x="118128" y="114336"/>
                    <a:pt x="117851" y="114152"/>
                  </a:cubicBezTo>
                  <a:cubicBezTo>
                    <a:pt x="117095" y="113641"/>
                    <a:pt x="116898" y="112616"/>
                    <a:pt x="117409" y="111860"/>
                  </a:cubicBezTo>
                  <a:cubicBezTo>
                    <a:pt x="117414" y="111852"/>
                    <a:pt x="117419" y="111844"/>
                    <a:pt x="117425" y="111836"/>
                  </a:cubicBezTo>
                  <a:cubicBezTo>
                    <a:pt x="118011" y="110957"/>
                    <a:pt x="118570" y="110052"/>
                    <a:pt x="119156" y="109173"/>
                  </a:cubicBezTo>
                  <a:cubicBezTo>
                    <a:pt x="124127" y="101010"/>
                    <a:pt x="128240" y="92356"/>
                    <a:pt x="131430" y="83346"/>
                  </a:cubicBezTo>
                  <a:cubicBezTo>
                    <a:pt x="132256" y="81056"/>
                    <a:pt x="133054" y="78713"/>
                    <a:pt x="133827" y="76343"/>
                  </a:cubicBezTo>
                  <a:cubicBezTo>
                    <a:pt x="137027" y="66292"/>
                    <a:pt x="139447" y="56012"/>
                    <a:pt x="141069" y="45590"/>
                  </a:cubicBezTo>
                  <a:cubicBezTo>
                    <a:pt x="142738" y="35158"/>
                    <a:pt x="143540" y="24603"/>
                    <a:pt x="143465" y="14038"/>
                  </a:cubicBezTo>
                  <a:lnTo>
                    <a:pt x="143465" y="13798"/>
                  </a:lnTo>
                  <a:lnTo>
                    <a:pt x="143465" y="13798"/>
                  </a:lnTo>
                  <a:cubicBezTo>
                    <a:pt x="142451" y="13655"/>
                    <a:pt x="141428" y="13583"/>
                    <a:pt x="140403" y="13585"/>
                  </a:cubicBezTo>
                  <a:cubicBezTo>
                    <a:pt x="135741" y="13418"/>
                    <a:pt x="131255" y="15375"/>
                    <a:pt x="128208" y="18911"/>
                  </a:cubicBezTo>
                  <a:cubicBezTo>
                    <a:pt x="124055" y="23890"/>
                    <a:pt x="121978" y="36670"/>
                    <a:pt x="121978" y="36670"/>
                  </a:cubicBezTo>
                  <a:cubicBezTo>
                    <a:pt x="121712" y="38401"/>
                    <a:pt x="121419" y="40105"/>
                    <a:pt x="121073" y="41809"/>
                  </a:cubicBezTo>
                  <a:cubicBezTo>
                    <a:pt x="121073" y="41809"/>
                    <a:pt x="121073" y="42608"/>
                    <a:pt x="120673" y="43993"/>
                  </a:cubicBezTo>
                  <a:cubicBezTo>
                    <a:pt x="118469" y="54936"/>
                    <a:pt x="115196" y="65640"/>
                    <a:pt x="110901" y="75944"/>
                  </a:cubicBezTo>
                  <a:cubicBezTo>
                    <a:pt x="109871" y="78394"/>
                    <a:pt x="108753" y="80896"/>
                    <a:pt x="107546" y="83453"/>
                  </a:cubicBezTo>
                  <a:cubicBezTo>
                    <a:pt x="103744" y="91483"/>
                    <a:pt x="99141" y="99111"/>
                    <a:pt x="93807" y="106218"/>
                  </a:cubicBezTo>
                  <a:cubicBezTo>
                    <a:pt x="93488" y="106633"/>
                    <a:pt x="92998" y="106878"/>
                    <a:pt x="92476" y="106883"/>
                  </a:cubicBezTo>
                  <a:cubicBezTo>
                    <a:pt x="92114" y="106886"/>
                    <a:pt x="91760" y="106774"/>
                    <a:pt x="91464" y="106564"/>
                  </a:cubicBezTo>
                  <a:cubicBezTo>
                    <a:pt x="90724" y="106013"/>
                    <a:pt x="90567" y="104964"/>
                    <a:pt x="91118" y="104221"/>
                  </a:cubicBezTo>
                  <a:cubicBezTo>
                    <a:pt x="95956" y="97626"/>
                    <a:pt x="100198" y="90615"/>
                    <a:pt x="103792" y="83266"/>
                  </a:cubicBezTo>
                  <a:cubicBezTo>
                    <a:pt x="104964" y="80896"/>
                    <a:pt x="106082" y="78473"/>
                    <a:pt x="107147" y="76024"/>
                  </a:cubicBezTo>
                  <a:cubicBezTo>
                    <a:pt x="111572" y="65733"/>
                    <a:pt x="114911" y="55005"/>
                    <a:pt x="117105" y="44019"/>
                  </a:cubicBezTo>
                  <a:cubicBezTo>
                    <a:pt x="117318" y="43034"/>
                    <a:pt x="117505" y="42049"/>
                    <a:pt x="117691" y="41064"/>
                  </a:cubicBezTo>
                  <a:cubicBezTo>
                    <a:pt x="113593" y="40212"/>
                    <a:pt x="109333" y="40619"/>
                    <a:pt x="105470" y="42235"/>
                  </a:cubicBezTo>
                  <a:cubicBezTo>
                    <a:pt x="103995" y="42872"/>
                    <a:pt x="102650" y="43774"/>
                    <a:pt x="101502" y="44898"/>
                  </a:cubicBezTo>
                  <a:cubicBezTo>
                    <a:pt x="99868" y="46583"/>
                    <a:pt x="98632" y="48612"/>
                    <a:pt x="97881" y="50835"/>
                  </a:cubicBezTo>
                  <a:cubicBezTo>
                    <a:pt x="97881" y="51208"/>
                    <a:pt x="97615" y="51581"/>
                    <a:pt x="97509" y="51980"/>
                  </a:cubicBezTo>
                  <a:cubicBezTo>
                    <a:pt x="95812" y="56914"/>
                    <a:pt x="93802" y="61734"/>
                    <a:pt x="91491" y="66412"/>
                  </a:cubicBezTo>
                  <a:cubicBezTo>
                    <a:pt x="89190" y="71013"/>
                    <a:pt x="86594" y="75459"/>
                    <a:pt x="83716" y="79725"/>
                  </a:cubicBezTo>
                  <a:cubicBezTo>
                    <a:pt x="82944" y="80923"/>
                    <a:pt x="82119" y="82095"/>
                    <a:pt x="81266" y="83293"/>
                  </a:cubicBezTo>
                  <a:lnTo>
                    <a:pt x="79909" y="85130"/>
                  </a:lnTo>
                  <a:cubicBezTo>
                    <a:pt x="75257" y="91334"/>
                    <a:pt x="69956" y="97019"/>
                    <a:pt x="64093" y="102091"/>
                  </a:cubicBezTo>
                  <a:cubicBezTo>
                    <a:pt x="61124" y="104610"/>
                    <a:pt x="58011" y="106958"/>
                    <a:pt x="54774" y="109120"/>
                  </a:cubicBezTo>
                  <a:lnTo>
                    <a:pt x="53043" y="110292"/>
                  </a:lnTo>
                  <a:lnTo>
                    <a:pt x="53043" y="110292"/>
                  </a:lnTo>
                  <a:lnTo>
                    <a:pt x="51578" y="111250"/>
                  </a:lnTo>
                  <a:cubicBezTo>
                    <a:pt x="40757" y="118197"/>
                    <a:pt x="30909" y="126550"/>
                    <a:pt x="22290" y="136092"/>
                  </a:cubicBezTo>
                  <a:cubicBezTo>
                    <a:pt x="12654" y="147339"/>
                    <a:pt x="5406" y="160429"/>
                    <a:pt x="989" y="174567"/>
                  </a:cubicBezTo>
                  <a:lnTo>
                    <a:pt x="1468" y="174700"/>
                  </a:lnTo>
                  <a:cubicBezTo>
                    <a:pt x="7888" y="176636"/>
                    <a:pt x="14435" y="178114"/>
                    <a:pt x="21065" y="179120"/>
                  </a:cubicBezTo>
                  <a:cubicBezTo>
                    <a:pt x="28491" y="180278"/>
                    <a:pt x="35994" y="180856"/>
                    <a:pt x="43511" y="180851"/>
                  </a:cubicBezTo>
                  <a:lnTo>
                    <a:pt x="43910" y="180851"/>
                  </a:lnTo>
                  <a:cubicBezTo>
                    <a:pt x="83532" y="180798"/>
                    <a:pt x="121432" y="164652"/>
                    <a:pt x="148924" y="136119"/>
                  </a:cubicBezTo>
                  <a:cubicBezTo>
                    <a:pt x="156824" y="127947"/>
                    <a:pt x="163749" y="118889"/>
                    <a:pt x="169559" y="109120"/>
                  </a:cubicBezTo>
                  <a:cubicBezTo>
                    <a:pt x="173507" y="102466"/>
                    <a:pt x="176926" y="95514"/>
                    <a:pt x="179783" y="88325"/>
                  </a:cubicBezTo>
                  <a:cubicBezTo>
                    <a:pt x="180449" y="86674"/>
                    <a:pt x="181088" y="84970"/>
                    <a:pt x="181674" y="83293"/>
                  </a:cubicBezTo>
                  <a:cubicBezTo>
                    <a:pt x="184304" y="75880"/>
                    <a:pt x="186325" y="68268"/>
                    <a:pt x="187718" y="60527"/>
                  </a:cubicBezTo>
                  <a:cubicBezTo>
                    <a:pt x="189283" y="51874"/>
                    <a:pt x="190066" y="43095"/>
                    <a:pt x="190061" y="34301"/>
                  </a:cubicBezTo>
                  <a:cubicBezTo>
                    <a:pt x="190061" y="32810"/>
                    <a:pt x="190061" y="31318"/>
                    <a:pt x="190061" y="29854"/>
                  </a:cubicBezTo>
                </a:path>
              </a:pathLst>
            </a:custGeom>
            <a:solidFill>
              <a:srgbClr val="143DCF"/>
            </a:solidFill>
            <a:ln w="2661" cap="flat">
              <a:noFill/>
              <a:prstDash val="solid"/>
              <a:miter/>
            </a:ln>
          </p:spPr>
          <p:txBody>
            <a:bodyPr rtlCol="0" anchor="ctr"/>
            <a:lstStyle/>
            <a:p>
              <a:endParaRPr lang="pl-PL"/>
            </a:p>
          </p:txBody>
        </p:sp>
        <p:sp>
          <p:nvSpPr>
            <p:cNvPr id="103" name="Freeform: Shape 102">
              <a:extLst>
                <a:ext uri="{FF2B5EF4-FFF2-40B4-BE49-F238E27FC236}">
                  <a16:creationId xmlns:a16="http://schemas.microsoft.com/office/drawing/2014/main" id="{ACBDBE0C-B48A-49DD-AD33-E569668EE126}"/>
                </a:ext>
              </a:extLst>
            </p:cNvPr>
            <p:cNvSpPr/>
            <p:nvPr/>
          </p:nvSpPr>
          <p:spPr>
            <a:xfrm>
              <a:off x="11502581" y="6714997"/>
              <a:ext cx="17090" cy="37099"/>
            </a:xfrm>
            <a:custGeom>
              <a:avLst/>
              <a:gdLst>
                <a:gd name="connsiteX0" fmla="*/ 31273 w 30283"/>
                <a:gd name="connsiteY0" fmla="*/ 400 h 65740"/>
                <a:gd name="connsiteX1" fmla="*/ 28024 w 30283"/>
                <a:gd name="connsiteY1" fmla="*/ -346 h 65740"/>
                <a:gd name="connsiteX2" fmla="*/ 27438 w 30283"/>
                <a:gd name="connsiteY2" fmla="*/ 2610 h 65740"/>
                <a:gd name="connsiteX3" fmla="*/ 17374 w 30283"/>
                <a:gd name="connsiteY3" fmla="*/ 34721 h 65740"/>
                <a:gd name="connsiteX4" fmla="*/ 13992 w 30283"/>
                <a:gd name="connsiteY4" fmla="*/ 41963 h 65740"/>
                <a:gd name="connsiteX5" fmla="*/ 1318 w 30283"/>
                <a:gd name="connsiteY5" fmla="*/ 62732 h 65740"/>
                <a:gd name="connsiteX6" fmla="*/ 1664 w 30283"/>
                <a:gd name="connsiteY6" fmla="*/ 65075 h 65740"/>
                <a:gd name="connsiteX7" fmla="*/ 2650 w 30283"/>
                <a:gd name="connsiteY7" fmla="*/ 65394 h 65740"/>
                <a:gd name="connsiteX8" fmla="*/ 4007 w 30283"/>
                <a:gd name="connsiteY8" fmla="*/ 64729 h 65740"/>
                <a:gd name="connsiteX9" fmla="*/ 17747 w 30283"/>
                <a:gd name="connsiteY9" fmla="*/ 41963 h 65740"/>
                <a:gd name="connsiteX10" fmla="*/ 21101 w 30283"/>
                <a:gd name="connsiteY10" fmla="*/ 34481 h 65740"/>
                <a:gd name="connsiteX11" fmla="*/ 30873 w 30283"/>
                <a:gd name="connsiteY11" fmla="*/ 2530 h 65740"/>
                <a:gd name="connsiteX12" fmla="*/ 31273 w 30283"/>
                <a:gd name="connsiteY12" fmla="*/ 347 h 6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283" h="65740">
                  <a:moveTo>
                    <a:pt x="31273" y="400"/>
                  </a:moveTo>
                  <a:cubicBezTo>
                    <a:pt x="30213" y="62"/>
                    <a:pt x="29126" y="-186"/>
                    <a:pt x="28024" y="-346"/>
                  </a:cubicBezTo>
                  <a:cubicBezTo>
                    <a:pt x="27838" y="640"/>
                    <a:pt x="27652" y="1625"/>
                    <a:pt x="27438" y="2610"/>
                  </a:cubicBezTo>
                  <a:cubicBezTo>
                    <a:pt x="25218" y="13636"/>
                    <a:pt x="21844" y="24398"/>
                    <a:pt x="17374" y="34721"/>
                  </a:cubicBezTo>
                  <a:cubicBezTo>
                    <a:pt x="16309" y="37171"/>
                    <a:pt x="15190" y="39594"/>
                    <a:pt x="13992" y="41963"/>
                  </a:cubicBezTo>
                  <a:cubicBezTo>
                    <a:pt x="10400" y="49254"/>
                    <a:pt x="6159" y="56203"/>
                    <a:pt x="1318" y="62732"/>
                  </a:cubicBezTo>
                  <a:cubicBezTo>
                    <a:pt x="767" y="63475"/>
                    <a:pt x="924" y="64524"/>
                    <a:pt x="1664" y="65075"/>
                  </a:cubicBezTo>
                  <a:cubicBezTo>
                    <a:pt x="1952" y="65283"/>
                    <a:pt x="2295" y="65394"/>
                    <a:pt x="2650" y="65394"/>
                  </a:cubicBezTo>
                  <a:cubicBezTo>
                    <a:pt x="3182" y="65405"/>
                    <a:pt x="3688" y="65157"/>
                    <a:pt x="4007" y="64729"/>
                  </a:cubicBezTo>
                  <a:cubicBezTo>
                    <a:pt x="9341" y="57622"/>
                    <a:pt x="13944" y="49994"/>
                    <a:pt x="17747" y="41963"/>
                  </a:cubicBezTo>
                  <a:cubicBezTo>
                    <a:pt x="18945" y="39301"/>
                    <a:pt x="20063" y="36931"/>
                    <a:pt x="21101" y="34481"/>
                  </a:cubicBezTo>
                  <a:cubicBezTo>
                    <a:pt x="25380" y="24172"/>
                    <a:pt x="28653" y="13471"/>
                    <a:pt x="30873" y="2530"/>
                  </a:cubicBezTo>
                  <a:cubicBezTo>
                    <a:pt x="31140" y="1145"/>
                    <a:pt x="31273" y="347"/>
                    <a:pt x="31273" y="347"/>
                  </a:cubicBezTo>
                </a:path>
              </a:pathLst>
            </a:custGeom>
            <a:solidFill>
              <a:srgbClr val="8FD942"/>
            </a:solidFill>
            <a:ln w="2661" cap="flat">
              <a:noFill/>
              <a:prstDash val="solid"/>
              <a:miter/>
            </a:ln>
          </p:spPr>
          <p:txBody>
            <a:bodyPr rtlCol="0" anchor="ctr"/>
            <a:lstStyle/>
            <a:p>
              <a:endParaRPr lang="pl-PL"/>
            </a:p>
          </p:txBody>
        </p:sp>
        <p:sp>
          <p:nvSpPr>
            <p:cNvPr id="104" name="Freeform: Shape 103">
              <a:extLst>
                <a:ext uri="{FF2B5EF4-FFF2-40B4-BE49-F238E27FC236}">
                  <a16:creationId xmlns:a16="http://schemas.microsoft.com/office/drawing/2014/main" id="{DE492A0B-AA05-42B7-BA3A-02E939EFA0DF}"/>
                </a:ext>
              </a:extLst>
            </p:cNvPr>
            <p:cNvSpPr/>
            <p:nvPr/>
          </p:nvSpPr>
          <p:spPr>
            <a:xfrm>
              <a:off x="11517500" y="6699685"/>
              <a:ext cx="16773" cy="56738"/>
            </a:xfrm>
            <a:custGeom>
              <a:avLst/>
              <a:gdLst>
                <a:gd name="connsiteX0" fmla="*/ 27995 w 29722"/>
                <a:gd name="connsiteY0" fmla="*/ -239 h 100540"/>
                <a:gd name="connsiteX1" fmla="*/ 27542 w 29722"/>
                <a:gd name="connsiteY1" fmla="*/ -239 h 100540"/>
                <a:gd name="connsiteX2" fmla="*/ 27356 w 29722"/>
                <a:gd name="connsiteY2" fmla="*/ -239 h 100540"/>
                <a:gd name="connsiteX3" fmla="*/ 27356 w 29722"/>
                <a:gd name="connsiteY3" fmla="*/ -239 h 100540"/>
                <a:gd name="connsiteX4" fmla="*/ 24959 w 29722"/>
                <a:gd name="connsiteY4" fmla="*/ 31313 h 100540"/>
                <a:gd name="connsiteX5" fmla="*/ 17691 w 29722"/>
                <a:gd name="connsiteY5" fmla="*/ 62093 h 100540"/>
                <a:gd name="connsiteX6" fmla="*/ 15294 w 29722"/>
                <a:gd name="connsiteY6" fmla="*/ 69095 h 100540"/>
                <a:gd name="connsiteX7" fmla="*/ 3020 w 29722"/>
                <a:gd name="connsiteY7" fmla="*/ 94923 h 100540"/>
                <a:gd name="connsiteX8" fmla="*/ 1289 w 29722"/>
                <a:gd name="connsiteY8" fmla="*/ 97585 h 100540"/>
                <a:gd name="connsiteX9" fmla="*/ 1691 w 29722"/>
                <a:gd name="connsiteY9" fmla="*/ 99886 h 100540"/>
                <a:gd name="connsiteX10" fmla="*/ 1715 w 29722"/>
                <a:gd name="connsiteY10" fmla="*/ 99902 h 100540"/>
                <a:gd name="connsiteX11" fmla="*/ 2647 w 29722"/>
                <a:gd name="connsiteY11" fmla="*/ 100195 h 100540"/>
                <a:gd name="connsiteX12" fmla="*/ 4031 w 29722"/>
                <a:gd name="connsiteY12" fmla="*/ 99449 h 100540"/>
                <a:gd name="connsiteX13" fmla="*/ 6933 w 29722"/>
                <a:gd name="connsiteY13" fmla="*/ 94870 h 100540"/>
                <a:gd name="connsiteX14" fmla="*/ 18835 w 29722"/>
                <a:gd name="connsiteY14" fmla="*/ 69042 h 100540"/>
                <a:gd name="connsiteX15" fmla="*/ 21045 w 29722"/>
                <a:gd name="connsiteY15" fmla="*/ 62386 h 100540"/>
                <a:gd name="connsiteX16" fmla="*/ 28234 w 29722"/>
                <a:gd name="connsiteY16" fmla="*/ 31766 h 100540"/>
                <a:gd name="connsiteX17" fmla="*/ 30711 w 29722"/>
                <a:gd name="connsiteY17" fmla="*/ 293 h 100540"/>
                <a:gd name="connsiteX18" fmla="*/ 30711 w 29722"/>
                <a:gd name="connsiteY18" fmla="*/ 293 h 100540"/>
                <a:gd name="connsiteX19" fmla="*/ 30711 w 29722"/>
                <a:gd name="connsiteY19" fmla="*/ 293 h 100540"/>
                <a:gd name="connsiteX20" fmla="*/ 28048 w 29722"/>
                <a:gd name="connsiteY20" fmla="*/ -346 h 100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722" h="100540">
                  <a:moveTo>
                    <a:pt x="27995" y="-239"/>
                  </a:moveTo>
                  <a:lnTo>
                    <a:pt x="27542" y="-239"/>
                  </a:lnTo>
                  <a:lnTo>
                    <a:pt x="27356" y="-239"/>
                  </a:lnTo>
                  <a:lnTo>
                    <a:pt x="27356" y="-239"/>
                  </a:lnTo>
                  <a:cubicBezTo>
                    <a:pt x="27430" y="10326"/>
                    <a:pt x="26629" y="20881"/>
                    <a:pt x="24959" y="31313"/>
                  </a:cubicBezTo>
                  <a:cubicBezTo>
                    <a:pt x="23330" y="41745"/>
                    <a:pt x="20899" y="52033"/>
                    <a:pt x="17691" y="62093"/>
                  </a:cubicBezTo>
                  <a:cubicBezTo>
                    <a:pt x="16918" y="64462"/>
                    <a:pt x="16120" y="66806"/>
                    <a:pt x="15294" y="69095"/>
                  </a:cubicBezTo>
                  <a:cubicBezTo>
                    <a:pt x="12104" y="78106"/>
                    <a:pt x="7991" y="86759"/>
                    <a:pt x="3020" y="94923"/>
                  </a:cubicBezTo>
                  <a:cubicBezTo>
                    <a:pt x="2434" y="95855"/>
                    <a:pt x="1875" y="96760"/>
                    <a:pt x="1289" y="97585"/>
                  </a:cubicBezTo>
                  <a:cubicBezTo>
                    <a:pt x="764" y="98331"/>
                    <a:pt x="945" y="99361"/>
                    <a:pt x="1691" y="99886"/>
                  </a:cubicBezTo>
                  <a:cubicBezTo>
                    <a:pt x="1699" y="99891"/>
                    <a:pt x="1707" y="99897"/>
                    <a:pt x="1715" y="99902"/>
                  </a:cubicBezTo>
                  <a:cubicBezTo>
                    <a:pt x="1992" y="100086"/>
                    <a:pt x="2314" y="100187"/>
                    <a:pt x="2647" y="100195"/>
                  </a:cubicBezTo>
                  <a:cubicBezTo>
                    <a:pt x="3203" y="100195"/>
                    <a:pt x="3725" y="99915"/>
                    <a:pt x="4031" y="99449"/>
                  </a:cubicBezTo>
                  <a:cubicBezTo>
                    <a:pt x="5016" y="98011"/>
                    <a:pt x="5975" y="96494"/>
                    <a:pt x="6933" y="94870"/>
                  </a:cubicBezTo>
                  <a:cubicBezTo>
                    <a:pt x="11718" y="86661"/>
                    <a:pt x="15704" y="78013"/>
                    <a:pt x="18835" y="69042"/>
                  </a:cubicBezTo>
                  <a:cubicBezTo>
                    <a:pt x="19608" y="66859"/>
                    <a:pt x="20327" y="64649"/>
                    <a:pt x="21045" y="62386"/>
                  </a:cubicBezTo>
                  <a:cubicBezTo>
                    <a:pt x="24211" y="52374"/>
                    <a:pt x="26616" y="42139"/>
                    <a:pt x="28234" y="31766"/>
                  </a:cubicBezTo>
                  <a:cubicBezTo>
                    <a:pt x="29904" y="21357"/>
                    <a:pt x="30732" y="10835"/>
                    <a:pt x="30711" y="293"/>
                  </a:cubicBezTo>
                  <a:lnTo>
                    <a:pt x="30711" y="293"/>
                  </a:lnTo>
                  <a:lnTo>
                    <a:pt x="30711" y="293"/>
                  </a:lnTo>
                  <a:cubicBezTo>
                    <a:pt x="29840" y="19"/>
                    <a:pt x="28948" y="-194"/>
                    <a:pt x="28048" y="-346"/>
                  </a:cubicBezTo>
                </a:path>
              </a:pathLst>
            </a:custGeom>
            <a:solidFill>
              <a:srgbClr val="8FD942"/>
            </a:solidFill>
            <a:ln w="2661" cap="flat">
              <a:noFill/>
              <a:prstDash val="solid"/>
              <a:miter/>
            </a:ln>
          </p:spPr>
          <p:txBody>
            <a:bodyPr rtlCol="0" anchor="ctr"/>
            <a:lstStyle/>
            <a:p>
              <a:endParaRPr lang="pl-PL"/>
            </a:p>
          </p:txBody>
        </p:sp>
        <p:sp>
          <p:nvSpPr>
            <p:cNvPr id="105" name="Freeform: Shape 104">
              <a:extLst>
                <a:ext uri="{FF2B5EF4-FFF2-40B4-BE49-F238E27FC236}">
                  <a16:creationId xmlns:a16="http://schemas.microsoft.com/office/drawing/2014/main" id="{AB9DA7DA-2872-4172-82BF-03E5E181A091}"/>
                </a:ext>
              </a:extLst>
            </p:cNvPr>
            <p:cNvSpPr/>
            <p:nvPr/>
          </p:nvSpPr>
          <p:spPr>
            <a:xfrm>
              <a:off x="11531661" y="6691648"/>
              <a:ext cx="16507" cy="68726"/>
            </a:xfrm>
            <a:custGeom>
              <a:avLst/>
              <a:gdLst>
                <a:gd name="connsiteX0" fmla="*/ 30239 w 29251"/>
                <a:gd name="connsiteY0" fmla="*/ 21351 h 121784"/>
                <a:gd name="connsiteX1" fmla="*/ 28934 w 29251"/>
                <a:gd name="connsiteY1" fmla="*/ -296 h 121784"/>
                <a:gd name="connsiteX2" fmla="*/ 25526 w 29251"/>
                <a:gd name="connsiteY2" fmla="*/ -296 h 121784"/>
                <a:gd name="connsiteX3" fmla="*/ 26911 w 29251"/>
                <a:gd name="connsiteY3" fmla="*/ 20313 h 121784"/>
                <a:gd name="connsiteX4" fmla="*/ 24514 w 29251"/>
                <a:gd name="connsiteY4" fmla="*/ 51412 h 121784"/>
                <a:gd name="connsiteX5" fmla="*/ 17911 w 29251"/>
                <a:gd name="connsiteY5" fmla="*/ 81074 h 121784"/>
                <a:gd name="connsiteX6" fmla="*/ 17192 w 29251"/>
                <a:gd name="connsiteY6" fmla="*/ 83417 h 121784"/>
                <a:gd name="connsiteX7" fmla="*/ 6861 w 29251"/>
                <a:gd name="connsiteY7" fmla="*/ 109244 h 121784"/>
                <a:gd name="connsiteX8" fmla="*/ 1270 w 29251"/>
                <a:gd name="connsiteY8" fmla="*/ 118830 h 121784"/>
                <a:gd name="connsiteX9" fmla="*/ 1722 w 29251"/>
                <a:gd name="connsiteY9" fmla="*/ 121146 h 121784"/>
                <a:gd name="connsiteX10" fmla="*/ 2654 w 29251"/>
                <a:gd name="connsiteY10" fmla="*/ 121439 h 121784"/>
                <a:gd name="connsiteX11" fmla="*/ 4039 w 29251"/>
                <a:gd name="connsiteY11" fmla="*/ 120694 h 121784"/>
                <a:gd name="connsiteX12" fmla="*/ 10642 w 29251"/>
                <a:gd name="connsiteY12" fmla="*/ 109244 h 121784"/>
                <a:gd name="connsiteX13" fmla="*/ 20813 w 29251"/>
                <a:gd name="connsiteY13" fmla="*/ 83417 h 121784"/>
                <a:gd name="connsiteX14" fmla="*/ 21239 w 29251"/>
                <a:gd name="connsiteY14" fmla="*/ 82032 h 121784"/>
                <a:gd name="connsiteX15" fmla="*/ 27869 w 29251"/>
                <a:gd name="connsiteY15" fmla="*/ 52557 h 121784"/>
                <a:gd name="connsiteX16" fmla="*/ 30239 w 29251"/>
                <a:gd name="connsiteY16" fmla="*/ 21511 h 121784"/>
                <a:gd name="connsiteX17" fmla="*/ 30239 w 29251"/>
                <a:gd name="connsiteY17" fmla="*/ 21511 h 121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251" h="121784">
                  <a:moveTo>
                    <a:pt x="30239" y="21351"/>
                  </a:moveTo>
                  <a:cubicBezTo>
                    <a:pt x="30207" y="14117"/>
                    <a:pt x="29770" y="6891"/>
                    <a:pt x="28934" y="-296"/>
                  </a:cubicBezTo>
                  <a:cubicBezTo>
                    <a:pt x="27800" y="-362"/>
                    <a:pt x="26660" y="-362"/>
                    <a:pt x="25526" y="-296"/>
                  </a:cubicBezTo>
                  <a:cubicBezTo>
                    <a:pt x="26448" y="6534"/>
                    <a:pt x="26911" y="13419"/>
                    <a:pt x="26911" y="20313"/>
                  </a:cubicBezTo>
                  <a:cubicBezTo>
                    <a:pt x="26898" y="30724"/>
                    <a:pt x="26096" y="41121"/>
                    <a:pt x="24514" y="51412"/>
                  </a:cubicBezTo>
                  <a:cubicBezTo>
                    <a:pt x="22991" y="61437"/>
                    <a:pt x="20784" y="71347"/>
                    <a:pt x="17911" y="81074"/>
                  </a:cubicBezTo>
                  <a:lnTo>
                    <a:pt x="17192" y="83417"/>
                  </a:lnTo>
                  <a:cubicBezTo>
                    <a:pt x="14487" y="92302"/>
                    <a:pt x="11031" y="100942"/>
                    <a:pt x="6861" y="109244"/>
                  </a:cubicBezTo>
                  <a:cubicBezTo>
                    <a:pt x="5189" y="112549"/>
                    <a:pt x="3323" y="115749"/>
                    <a:pt x="1270" y="118830"/>
                  </a:cubicBezTo>
                  <a:cubicBezTo>
                    <a:pt x="761" y="119596"/>
                    <a:pt x="961" y="120630"/>
                    <a:pt x="1722" y="121146"/>
                  </a:cubicBezTo>
                  <a:cubicBezTo>
                    <a:pt x="1999" y="121330"/>
                    <a:pt x="2321" y="121431"/>
                    <a:pt x="2654" y="121439"/>
                  </a:cubicBezTo>
                  <a:cubicBezTo>
                    <a:pt x="3211" y="121436"/>
                    <a:pt x="3730" y="121157"/>
                    <a:pt x="4039" y="120694"/>
                  </a:cubicBezTo>
                  <a:cubicBezTo>
                    <a:pt x="6483" y="117024"/>
                    <a:pt x="8691" y="113198"/>
                    <a:pt x="10642" y="109244"/>
                  </a:cubicBezTo>
                  <a:cubicBezTo>
                    <a:pt x="14729" y="100926"/>
                    <a:pt x="18129" y="92289"/>
                    <a:pt x="20813" y="83417"/>
                  </a:cubicBezTo>
                  <a:cubicBezTo>
                    <a:pt x="20813" y="82938"/>
                    <a:pt x="21080" y="82485"/>
                    <a:pt x="21239" y="82032"/>
                  </a:cubicBezTo>
                  <a:cubicBezTo>
                    <a:pt x="24123" y="72370"/>
                    <a:pt x="26338" y="62523"/>
                    <a:pt x="27869" y="52557"/>
                  </a:cubicBezTo>
                  <a:cubicBezTo>
                    <a:pt x="29483" y="42287"/>
                    <a:pt x="30276" y="31906"/>
                    <a:pt x="30239" y="21511"/>
                  </a:cubicBezTo>
                  <a:lnTo>
                    <a:pt x="30239" y="21511"/>
                  </a:lnTo>
                  <a:close/>
                </a:path>
              </a:pathLst>
            </a:custGeom>
            <a:solidFill>
              <a:srgbClr val="8FD942"/>
            </a:solidFill>
            <a:ln w="2661" cap="flat">
              <a:noFill/>
              <a:prstDash val="solid"/>
              <a:miter/>
            </a:ln>
          </p:spPr>
          <p:txBody>
            <a:bodyPr rtlCol="0" anchor="ctr"/>
            <a:lstStyle/>
            <a:p>
              <a:endParaRPr lang="pl-PL"/>
            </a:p>
          </p:txBody>
        </p:sp>
        <p:sp>
          <p:nvSpPr>
            <p:cNvPr id="106" name="Freeform: Shape 105">
              <a:extLst>
                <a:ext uri="{FF2B5EF4-FFF2-40B4-BE49-F238E27FC236}">
                  <a16:creationId xmlns:a16="http://schemas.microsoft.com/office/drawing/2014/main" id="{232EDA18-9AB3-43C2-9A0B-531B95328B92}"/>
                </a:ext>
              </a:extLst>
            </p:cNvPr>
            <p:cNvSpPr/>
            <p:nvPr/>
          </p:nvSpPr>
          <p:spPr>
            <a:xfrm>
              <a:off x="11646242" y="6644465"/>
              <a:ext cx="64654" cy="65032"/>
            </a:xfrm>
            <a:custGeom>
              <a:avLst/>
              <a:gdLst>
                <a:gd name="connsiteX0" fmla="*/ 989 w 114568"/>
                <a:gd name="connsiteY0" fmla="*/ 56475 h 115237"/>
                <a:gd name="connsiteX1" fmla="*/ 60738 w 114568"/>
                <a:gd name="connsiteY1" fmla="*/ 114892 h 115237"/>
                <a:gd name="connsiteX2" fmla="*/ 112233 w 114568"/>
                <a:gd name="connsiteY2" fmla="*/ 83340 h 115237"/>
                <a:gd name="connsiteX3" fmla="*/ 105550 w 114568"/>
                <a:gd name="connsiteY3" fmla="*/ 75219 h 115237"/>
                <a:gd name="connsiteX4" fmla="*/ 87870 w 114568"/>
                <a:gd name="connsiteY4" fmla="*/ 75219 h 115237"/>
                <a:gd name="connsiteX5" fmla="*/ 79057 w 114568"/>
                <a:gd name="connsiteY5" fmla="*/ 80545 h 115237"/>
                <a:gd name="connsiteX6" fmla="*/ 59833 w 114568"/>
                <a:gd name="connsiteY6" fmla="*/ 87361 h 115237"/>
                <a:gd name="connsiteX7" fmla="*/ 37440 w 114568"/>
                <a:gd name="connsiteY7" fmla="*/ 72850 h 115237"/>
                <a:gd name="connsiteX8" fmla="*/ 35523 w 114568"/>
                <a:gd name="connsiteY8" fmla="*/ 66646 h 115237"/>
                <a:gd name="connsiteX9" fmla="*/ 109011 w 114568"/>
                <a:gd name="connsiteY9" fmla="*/ 66646 h 115237"/>
                <a:gd name="connsiteX10" fmla="*/ 115447 w 114568"/>
                <a:gd name="connsiteY10" fmla="*/ 61488 h 115237"/>
                <a:gd name="connsiteX11" fmla="*/ 115481 w 114568"/>
                <a:gd name="connsiteY11" fmla="*/ 60895 h 115237"/>
                <a:gd name="connsiteX12" fmla="*/ 60685 w 114568"/>
                <a:gd name="connsiteY12" fmla="*/ -346 h 115237"/>
                <a:gd name="connsiteX13" fmla="*/ 989 w 114568"/>
                <a:gd name="connsiteY13" fmla="*/ 56368 h 115237"/>
                <a:gd name="connsiteX14" fmla="*/ 59380 w 114568"/>
                <a:gd name="connsiteY14" fmla="*/ 26946 h 115237"/>
                <a:gd name="connsiteX15" fmla="*/ 81533 w 114568"/>
                <a:gd name="connsiteY15" fmla="*/ 46303 h 115237"/>
                <a:gd name="connsiteX16" fmla="*/ 42605 w 114568"/>
                <a:gd name="connsiteY16" fmla="*/ 46303 h 115237"/>
                <a:gd name="connsiteX17" fmla="*/ 35683 w 114568"/>
                <a:gd name="connsiteY17" fmla="*/ 46303 h 115237"/>
                <a:gd name="connsiteX18" fmla="*/ 59380 w 114568"/>
                <a:gd name="connsiteY18" fmla="*/ 26973 h 11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4568" h="115237">
                  <a:moveTo>
                    <a:pt x="989" y="56475"/>
                  </a:moveTo>
                  <a:cubicBezTo>
                    <a:pt x="989" y="91089"/>
                    <a:pt x="27322" y="114892"/>
                    <a:pt x="60738" y="114892"/>
                  </a:cubicBezTo>
                  <a:cubicBezTo>
                    <a:pt x="87364" y="114892"/>
                    <a:pt x="105789" y="101446"/>
                    <a:pt x="112233" y="83340"/>
                  </a:cubicBezTo>
                  <a:cubicBezTo>
                    <a:pt x="113963" y="78415"/>
                    <a:pt x="110742" y="75219"/>
                    <a:pt x="105550" y="75219"/>
                  </a:cubicBezTo>
                  <a:lnTo>
                    <a:pt x="87870" y="75219"/>
                  </a:lnTo>
                  <a:cubicBezTo>
                    <a:pt x="83796" y="75219"/>
                    <a:pt x="81639" y="77350"/>
                    <a:pt x="79057" y="80545"/>
                  </a:cubicBezTo>
                  <a:cubicBezTo>
                    <a:pt x="75808" y="84379"/>
                    <a:pt x="69098" y="87361"/>
                    <a:pt x="59833" y="87361"/>
                  </a:cubicBezTo>
                  <a:cubicBezTo>
                    <a:pt x="50034" y="87806"/>
                    <a:pt x="41037" y="81975"/>
                    <a:pt x="37440" y="72850"/>
                  </a:cubicBezTo>
                  <a:cubicBezTo>
                    <a:pt x="36641" y="70834"/>
                    <a:pt x="35999" y="68760"/>
                    <a:pt x="35523" y="66646"/>
                  </a:cubicBezTo>
                  <a:lnTo>
                    <a:pt x="109011" y="66646"/>
                  </a:lnTo>
                  <a:cubicBezTo>
                    <a:pt x="112212" y="67000"/>
                    <a:pt x="115092" y="64689"/>
                    <a:pt x="115447" y="61488"/>
                  </a:cubicBezTo>
                  <a:cubicBezTo>
                    <a:pt x="115468" y="61291"/>
                    <a:pt x="115479" y="61094"/>
                    <a:pt x="115481" y="60895"/>
                  </a:cubicBezTo>
                  <a:cubicBezTo>
                    <a:pt x="117185" y="22926"/>
                    <a:pt x="89787" y="-346"/>
                    <a:pt x="60685" y="-346"/>
                  </a:cubicBezTo>
                  <a:cubicBezTo>
                    <a:pt x="26070" y="-346"/>
                    <a:pt x="989" y="22233"/>
                    <a:pt x="989" y="56368"/>
                  </a:cubicBezTo>
                  <a:moveTo>
                    <a:pt x="59380" y="26946"/>
                  </a:moveTo>
                  <a:cubicBezTo>
                    <a:pt x="79616" y="26946"/>
                    <a:pt x="81533" y="46303"/>
                    <a:pt x="81533" y="46303"/>
                  </a:cubicBezTo>
                  <a:lnTo>
                    <a:pt x="42605" y="46303"/>
                  </a:lnTo>
                  <a:lnTo>
                    <a:pt x="35683" y="46303"/>
                  </a:lnTo>
                  <a:cubicBezTo>
                    <a:pt x="35683" y="46303"/>
                    <a:pt x="39171" y="26973"/>
                    <a:pt x="59380" y="26973"/>
                  </a:cubicBezTo>
                </a:path>
              </a:pathLst>
            </a:custGeom>
            <a:solidFill>
              <a:srgbClr val="FFFFFF"/>
            </a:solidFill>
            <a:ln w="2661" cap="flat">
              <a:noFill/>
              <a:prstDash val="solid"/>
              <a:miter/>
            </a:ln>
          </p:spPr>
          <p:txBody>
            <a:bodyPr rtlCol="0" anchor="ctr"/>
            <a:lstStyle/>
            <a:p>
              <a:endParaRPr lang="pl-PL"/>
            </a:p>
          </p:txBody>
        </p:sp>
        <p:sp>
          <p:nvSpPr>
            <p:cNvPr id="107" name="Freeform: Shape 106">
              <a:extLst>
                <a:ext uri="{FF2B5EF4-FFF2-40B4-BE49-F238E27FC236}">
                  <a16:creationId xmlns:a16="http://schemas.microsoft.com/office/drawing/2014/main" id="{322A0713-BFD2-4A95-BF37-42BCF883E2EA}"/>
                </a:ext>
              </a:extLst>
            </p:cNvPr>
            <p:cNvSpPr/>
            <p:nvPr/>
          </p:nvSpPr>
          <p:spPr>
            <a:xfrm>
              <a:off x="11719462" y="6644495"/>
              <a:ext cx="64897" cy="89810"/>
            </a:xfrm>
            <a:custGeom>
              <a:avLst/>
              <a:gdLst>
                <a:gd name="connsiteX0" fmla="*/ 115987 w 114998"/>
                <a:gd name="connsiteY0" fmla="*/ 57140 h 159144"/>
                <a:gd name="connsiteX1" fmla="*/ 58501 w 114998"/>
                <a:gd name="connsiteY1" fmla="*/ -346 h 159144"/>
                <a:gd name="connsiteX2" fmla="*/ 58475 w 114998"/>
                <a:gd name="connsiteY2" fmla="*/ -346 h 159144"/>
                <a:gd name="connsiteX3" fmla="*/ 29958 w 114998"/>
                <a:gd name="connsiteY3" fmla="*/ 7269 h 159144"/>
                <a:gd name="connsiteX4" fmla="*/ 23142 w 114998"/>
                <a:gd name="connsiteY4" fmla="*/ 1784 h 159144"/>
                <a:gd name="connsiteX5" fmla="*/ 8178 w 114998"/>
                <a:gd name="connsiteY5" fmla="*/ 1784 h 159144"/>
                <a:gd name="connsiteX6" fmla="*/ 989 w 114998"/>
                <a:gd name="connsiteY6" fmla="*/ 8947 h 159144"/>
                <a:gd name="connsiteX7" fmla="*/ 989 w 114998"/>
                <a:gd name="connsiteY7" fmla="*/ 57114 h 159144"/>
                <a:gd name="connsiteX8" fmla="*/ 989 w 114998"/>
                <a:gd name="connsiteY8" fmla="*/ 57114 h 159144"/>
                <a:gd name="connsiteX9" fmla="*/ 989 w 114998"/>
                <a:gd name="connsiteY9" fmla="*/ 151610 h 159144"/>
                <a:gd name="connsiteX10" fmla="*/ 8178 w 114998"/>
                <a:gd name="connsiteY10" fmla="*/ 158799 h 159144"/>
                <a:gd name="connsiteX11" fmla="*/ 23142 w 114998"/>
                <a:gd name="connsiteY11" fmla="*/ 158799 h 159144"/>
                <a:gd name="connsiteX12" fmla="*/ 30304 w 114998"/>
                <a:gd name="connsiteY12" fmla="*/ 151610 h 159144"/>
                <a:gd name="connsiteX13" fmla="*/ 30304 w 114998"/>
                <a:gd name="connsiteY13" fmla="*/ 107197 h 159144"/>
                <a:gd name="connsiteX14" fmla="*/ 58475 w 114998"/>
                <a:gd name="connsiteY14" fmla="*/ 114599 h 159144"/>
                <a:gd name="connsiteX15" fmla="*/ 115934 w 114998"/>
                <a:gd name="connsiteY15" fmla="*/ 57140 h 159144"/>
                <a:gd name="connsiteX16" fmla="*/ 86432 w 114998"/>
                <a:gd name="connsiteY16" fmla="*/ 57140 h 159144"/>
                <a:gd name="connsiteX17" fmla="*/ 58475 w 114998"/>
                <a:gd name="connsiteY17" fmla="*/ 85098 h 159144"/>
                <a:gd name="connsiteX18" fmla="*/ 30491 w 114998"/>
                <a:gd name="connsiteY18" fmla="*/ 57140 h 159144"/>
                <a:gd name="connsiteX19" fmla="*/ 58475 w 114998"/>
                <a:gd name="connsiteY19" fmla="*/ 29156 h 159144"/>
                <a:gd name="connsiteX20" fmla="*/ 86432 w 114998"/>
                <a:gd name="connsiteY20" fmla="*/ 57140 h 159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998" h="159144">
                  <a:moveTo>
                    <a:pt x="115987" y="57140"/>
                  </a:moveTo>
                  <a:cubicBezTo>
                    <a:pt x="115987" y="25391"/>
                    <a:pt x="90250" y="-346"/>
                    <a:pt x="58501" y="-346"/>
                  </a:cubicBezTo>
                  <a:cubicBezTo>
                    <a:pt x="58493" y="-346"/>
                    <a:pt x="58483" y="-346"/>
                    <a:pt x="58475" y="-346"/>
                  </a:cubicBezTo>
                  <a:cubicBezTo>
                    <a:pt x="48466" y="-346"/>
                    <a:pt x="38633" y="2280"/>
                    <a:pt x="29958" y="7269"/>
                  </a:cubicBezTo>
                  <a:cubicBezTo>
                    <a:pt x="29220" y="4088"/>
                    <a:pt x="26406" y="1824"/>
                    <a:pt x="23142" y="1784"/>
                  </a:cubicBezTo>
                  <a:lnTo>
                    <a:pt x="8178" y="1784"/>
                  </a:lnTo>
                  <a:cubicBezTo>
                    <a:pt x="4224" y="1798"/>
                    <a:pt x="1018" y="4993"/>
                    <a:pt x="989" y="8947"/>
                  </a:cubicBezTo>
                  <a:lnTo>
                    <a:pt x="989" y="57114"/>
                  </a:lnTo>
                  <a:lnTo>
                    <a:pt x="989" y="57114"/>
                  </a:lnTo>
                  <a:lnTo>
                    <a:pt x="989" y="151610"/>
                  </a:lnTo>
                  <a:cubicBezTo>
                    <a:pt x="1002" y="155574"/>
                    <a:pt x="4213" y="158786"/>
                    <a:pt x="8178" y="158799"/>
                  </a:cubicBezTo>
                  <a:lnTo>
                    <a:pt x="23142" y="158799"/>
                  </a:lnTo>
                  <a:cubicBezTo>
                    <a:pt x="27096" y="158770"/>
                    <a:pt x="30291" y="155564"/>
                    <a:pt x="30304" y="151610"/>
                  </a:cubicBezTo>
                  <a:lnTo>
                    <a:pt x="30304" y="107197"/>
                  </a:lnTo>
                  <a:cubicBezTo>
                    <a:pt x="38899" y="112051"/>
                    <a:pt x="48604" y="114602"/>
                    <a:pt x="58475" y="114599"/>
                  </a:cubicBezTo>
                  <a:cubicBezTo>
                    <a:pt x="90208" y="114599"/>
                    <a:pt x="115934" y="88873"/>
                    <a:pt x="115934" y="57140"/>
                  </a:cubicBezTo>
                  <a:moveTo>
                    <a:pt x="86432" y="57140"/>
                  </a:moveTo>
                  <a:cubicBezTo>
                    <a:pt x="86432" y="72581"/>
                    <a:pt x="73915" y="85098"/>
                    <a:pt x="58475" y="85098"/>
                  </a:cubicBezTo>
                  <a:cubicBezTo>
                    <a:pt x="43029" y="85098"/>
                    <a:pt x="30506" y="72586"/>
                    <a:pt x="30491" y="57140"/>
                  </a:cubicBezTo>
                  <a:cubicBezTo>
                    <a:pt x="30504" y="41692"/>
                    <a:pt x="43026" y="29172"/>
                    <a:pt x="58475" y="29156"/>
                  </a:cubicBezTo>
                  <a:cubicBezTo>
                    <a:pt x="73921" y="29172"/>
                    <a:pt x="86432" y="41694"/>
                    <a:pt x="86432" y="57140"/>
                  </a:cubicBezTo>
                </a:path>
              </a:pathLst>
            </a:custGeom>
            <a:solidFill>
              <a:srgbClr val="FFFFFF"/>
            </a:solidFill>
            <a:ln w="2661" cap="flat">
              <a:noFill/>
              <a:prstDash val="solid"/>
              <a:miter/>
            </a:ln>
          </p:spPr>
          <p:txBody>
            <a:bodyPr rtlCol="0" anchor="ctr"/>
            <a:lstStyle/>
            <a:p>
              <a:endParaRPr lang="pl-PL"/>
            </a:p>
          </p:txBody>
        </p:sp>
        <p:sp>
          <p:nvSpPr>
            <p:cNvPr id="108" name="Freeform: Shape 107">
              <a:extLst>
                <a:ext uri="{FF2B5EF4-FFF2-40B4-BE49-F238E27FC236}">
                  <a16:creationId xmlns:a16="http://schemas.microsoft.com/office/drawing/2014/main" id="{8D9B8D69-9C2F-45B4-B265-AC8403ED691B}"/>
                </a:ext>
              </a:extLst>
            </p:cNvPr>
            <p:cNvSpPr/>
            <p:nvPr/>
          </p:nvSpPr>
          <p:spPr>
            <a:xfrm>
              <a:off x="11792669" y="6644495"/>
              <a:ext cx="64867" cy="64867"/>
            </a:xfrm>
            <a:custGeom>
              <a:avLst/>
              <a:gdLst>
                <a:gd name="connsiteX0" fmla="*/ 115934 w 114945"/>
                <a:gd name="connsiteY0" fmla="*/ 64596 h 114945"/>
                <a:gd name="connsiteX1" fmla="*/ 115934 w 114945"/>
                <a:gd name="connsiteY1" fmla="*/ 49632 h 114945"/>
                <a:gd name="connsiteX2" fmla="*/ 108745 w 114945"/>
                <a:gd name="connsiteY2" fmla="*/ 42443 h 114945"/>
                <a:gd name="connsiteX3" fmla="*/ 73119 w 114945"/>
                <a:gd name="connsiteY3" fmla="*/ 42443 h 114945"/>
                <a:gd name="connsiteX4" fmla="*/ 73119 w 114945"/>
                <a:gd name="connsiteY4" fmla="*/ 6843 h 114945"/>
                <a:gd name="connsiteX5" fmla="*/ 65930 w 114945"/>
                <a:gd name="connsiteY5" fmla="*/ -346 h 114945"/>
                <a:gd name="connsiteX6" fmla="*/ 50993 w 114945"/>
                <a:gd name="connsiteY6" fmla="*/ -346 h 114945"/>
                <a:gd name="connsiteX7" fmla="*/ 43804 w 114945"/>
                <a:gd name="connsiteY7" fmla="*/ 6843 h 114945"/>
                <a:gd name="connsiteX8" fmla="*/ 43804 w 114945"/>
                <a:gd name="connsiteY8" fmla="*/ 42469 h 114945"/>
                <a:gd name="connsiteX9" fmla="*/ 8178 w 114945"/>
                <a:gd name="connsiteY9" fmla="*/ 42469 h 114945"/>
                <a:gd name="connsiteX10" fmla="*/ 989 w 114945"/>
                <a:gd name="connsiteY10" fmla="*/ 49658 h 114945"/>
                <a:gd name="connsiteX11" fmla="*/ 989 w 114945"/>
                <a:gd name="connsiteY11" fmla="*/ 64596 h 114945"/>
                <a:gd name="connsiteX12" fmla="*/ 8178 w 114945"/>
                <a:gd name="connsiteY12" fmla="*/ 71785 h 114945"/>
                <a:gd name="connsiteX13" fmla="*/ 43804 w 114945"/>
                <a:gd name="connsiteY13" fmla="*/ 71785 h 114945"/>
                <a:gd name="connsiteX14" fmla="*/ 43804 w 114945"/>
                <a:gd name="connsiteY14" fmla="*/ 107410 h 114945"/>
                <a:gd name="connsiteX15" fmla="*/ 50993 w 114945"/>
                <a:gd name="connsiteY15" fmla="*/ 114599 h 114945"/>
                <a:gd name="connsiteX16" fmla="*/ 65930 w 114945"/>
                <a:gd name="connsiteY16" fmla="*/ 114599 h 114945"/>
                <a:gd name="connsiteX17" fmla="*/ 73119 w 114945"/>
                <a:gd name="connsiteY17" fmla="*/ 107410 h 114945"/>
                <a:gd name="connsiteX18" fmla="*/ 73119 w 114945"/>
                <a:gd name="connsiteY18" fmla="*/ 71785 h 114945"/>
                <a:gd name="connsiteX19" fmla="*/ 108745 w 114945"/>
                <a:gd name="connsiteY19" fmla="*/ 71785 h 114945"/>
                <a:gd name="connsiteX20" fmla="*/ 115934 w 114945"/>
                <a:gd name="connsiteY20" fmla="*/ 64596 h 114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945" h="114945">
                  <a:moveTo>
                    <a:pt x="115934" y="64596"/>
                  </a:moveTo>
                  <a:lnTo>
                    <a:pt x="115934" y="49632"/>
                  </a:lnTo>
                  <a:cubicBezTo>
                    <a:pt x="115918" y="45667"/>
                    <a:pt x="112709" y="42456"/>
                    <a:pt x="108745" y="42443"/>
                  </a:cubicBezTo>
                  <a:lnTo>
                    <a:pt x="73119" y="42443"/>
                  </a:lnTo>
                  <a:lnTo>
                    <a:pt x="73119" y="6843"/>
                  </a:lnTo>
                  <a:cubicBezTo>
                    <a:pt x="73103" y="2879"/>
                    <a:pt x="69894" y="-332"/>
                    <a:pt x="65930" y="-346"/>
                  </a:cubicBezTo>
                  <a:lnTo>
                    <a:pt x="50993" y="-346"/>
                  </a:lnTo>
                  <a:cubicBezTo>
                    <a:pt x="47028" y="-330"/>
                    <a:pt x="43817" y="2879"/>
                    <a:pt x="43804" y="6843"/>
                  </a:cubicBezTo>
                  <a:lnTo>
                    <a:pt x="43804" y="42469"/>
                  </a:lnTo>
                  <a:lnTo>
                    <a:pt x="8178" y="42469"/>
                  </a:lnTo>
                  <a:cubicBezTo>
                    <a:pt x="4213" y="42483"/>
                    <a:pt x="1002" y="45694"/>
                    <a:pt x="989" y="49658"/>
                  </a:cubicBezTo>
                  <a:lnTo>
                    <a:pt x="989" y="64596"/>
                  </a:lnTo>
                  <a:cubicBezTo>
                    <a:pt x="1002" y="68560"/>
                    <a:pt x="4213" y="71771"/>
                    <a:pt x="8178" y="71785"/>
                  </a:cubicBezTo>
                  <a:lnTo>
                    <a:pt x="43804" y="71785"/>
                  </a:lnTo>
                  <a:lnTo>
                    <a:pt x="43804" y="107410"/>
                  </a:lnTo>
                  <a:cubicBezTo>
                    <a:pt x="43820" y="111375"/>
                    <a:pt x="47028" y="114586"/>
                    <a:pt x="50993" y="114599"/>
                  </a:cubicBezTo>
                  <a:lnTo>
                    <a:pt x="65930" y="114599"/>
                  </a:lnTo>
                  <a:cubicBezTo>
                    <a:pt x="69900" y="114599"/>
                    <a:pt x="73119" y="111380"/>
                    <a:pt x="73119" y="107410"/>
                  </a:cubicBezTo>
                  <a:lnTo>
                    <a:pt x="73119" y="71785"/>
                  </a:lnTo>
                  <a:lnTo>
                    <a:pt x="108745" y="71785"/>
                  </a:lnTo>
                  <a:cubicBezTo>
                    <a:pt x="112709" y="71771"/>
                    <a:pt x="115918" y="68560"/>
                    <a:pt x="115934" y="64596"/>
                  </a:cubicBezTo>
                </a:path>
              </a:pathLst>
            </a:custGeom>
            <a:solidFill>
              <a:srgbClr val="8FDB42"/>
            </a:solidFill>
            <a:ln w="2661" cap="flat">
              <a:noFill/>
              <a:prstDash val="solid"/>
              <a:miter/>
            </a:ln>
          </p:spPr>
          <p:txBody>
            <a:bodyPr rtlCol="0" anchor="ctr"/>
            <a:lstStyle/>
            <a:p>
              <a:endParaRPr lang="pl-PL"/>
            </a:p>
          </p:txBody>
        </p:sp>
        <p:sp>
          <p:nvSpPr>
            <p:cNvPr id="109" name="Freeform: Shape 108">
              <a:extLst>
                <a:ext uri="{FF2B5EF4-FFF2-40B4-BE49-F238E27FC236}">
                  <a16:creationId xmlns:a16="http://schemas.microsoft.com/office/drawing/2014/main" id="{5182DC49-6BBE-477F-A174-0065D8773B37}"/>
                </a:ext>
              </a:extLst>
            </p:cNvPr>
            <p:cNvSpPr/>
            <p:nvPr/>
          </p:nvSpPr>
          <p:spPr>
            <a:xfrm>
              <a:off x="11574954" y="6644781"/>
              <a:ext cx="64867" cy="89524"/>
            </a:xfrm>
            <a:custGeom>
              <a:avLst/>
              <a:gdLst>
                <a:gd name="connsiteX0" fmla="*/ 115934 w 114945"/>
                <a:gd name="connsiteY0" fmla="*/ 57114 h 158638"/>
                <a:gd name="connsiteX1" fmla="*/ 58475 w 114945"/>
                <a:gd name="connsiteY1" fmla="*/ -346 h 158638"/>
                <a:gd name="connsiteX2" fmla="*/ 29905 w 114945"/>
                <a:gd name="connsiteY2" fmla="*/ 7296 h 158638"/>
                <a:gd name="connsiteX3" fmla="*/ 23115 w 114945"/>
                <a:gd name="connsiteY3" fmla="*/ 2131 h 158638"/>
                <a:gd name="connsiteX4" fmla="*/ 8178 w 114945"/>
                <a:gd name="connsiteY4" fmla="*/ 2131 h 158638"/>
                <a:gd name="connsiteX5" fmla="*/ 989 w 114945"/>
                <a:gd name="connsiteY5" fmla="*/ 9320 h 158638"/>
                <a:gd name="connsiteX6" fmla="*/ 989 w 114945"/>
                <a:gd name="connsiteY6" fmla="*/ 57114 h 158638"/>
                <a:gd name="connsiteX7" fmla="*/ 989 w 114945"/>
                <a:gd name="connsiteY7" fmla="*/ 57114 h 158638"/>
                <a:gd name="connsiteX8" fmla="*/ 989 w 114945"/>
                <a:gd name="connsiteY8" fmla="*/ 151104 h 158638"/>
                <a:gd name="connsiteX9" fmla="*/ 8178 w 114945"/>
                <a:gd name="connsiteY9" fmla="*/ 158293 h 158638"/>
                <a:gd name="connsiteX10" fmla="*/ 23115 w 114945"/>
                <a:gd name="connsiteY10" fmla="*/ 158293 h 158638"/>
                <a:gd name="connsiteX11" fmla="*/ 30304 w 114945"/>
                <a:gd name="connsiteY11" fmla="*/ 151104 h 158638"/>
                <a:gd name="connsiteX12" fmla="*/ 30304 w 114945"/>
                <a:gd name="connsiteY12" fmla="*/ 107171 h 158638"/>
                <a:gd name="connsiteX13" fmla="*/ 58475 w 114945"/>
                <a:gd name="connsiteY13" fmla="*/ 114573 h 158638"/>
                <a:gd name="connsiteX14" fmla="*/ 115934 w 114945"/>
                <a:gd name="connsiteY14" fmla="*/ 57114 h 158638"/>
                <a:gd name="connsiteX15" fmla="*/ 86432 w 114945"/>
                <a:gd name="connsiteY15" fmla="*/ 57114 h 158638"/>
                <a:gd name="connsiteX16" fmla="*/ 58475 w 114945"/>
                <a:gd name="connsiteY16" fmla="*/ 85098 h 158638"/>
                <a:gd name="connsiteX17" fmla="*/ 30491 w 114945"/>
                <a:gd name="connsiteY17" fmla="*/ 57114 h 158638"/>
                <a:gd name="connsiteX18" fmla="*/ 58475 w 114945"/>
                <a:gd name="connsiteY18" fmla="*/ 29156 h 158638"/>
                <a:gd name="connsiteX19" fmla="*/ 86432 w 114945"/>
                <a:gd name="connsiteY19" fmla="*/ 57114 h 158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4945" h="158638">
                  <a:moveTo>
                    <a:pt x="115934" y="57114"/>
                  </a:moveTo>
                  <a:cubicBezTo>
                    <a:pt x="115934" y="25381"/>
                    <a:pt x="90208" y="-346"/>
                    <a:pt x="58475" y="-346"/>
                  </a:cubicBezTo>
                  <a:cubicBezTo>
                    <a:pt x="48447" y="-340"/>
                    <a:pt x="38596" y="2293"/>
                    <a:pt x="29905" y="7296"/>
                  </a:cubicBezTo>
                  <a:cubicBezTo>
                    <a:pt x="29034" y="4261"/>
                    <a:pt x="26273" y="2160"/>
                    <a:pt x="23115" y="2131"/>
                  </a:cubicBezTo>
                  <a:lnTo>
                    <a:pt x="8178" y="2131"/>
                  </a:lnTo>
                  <a:cubicBezTo>
                    <a:pt x="4213" y="2144"/>
                    <a:pt x="1002" y="5355"/>
                    <a:pt x="989" y="9320"/>
                  </a:cubicBezTo>
                  <a:lnTo>
                    <a:pt x="989" y="57114"/>
                  </a:lnTo>
                  <a:lnTo>
                    <a:pt x="989" y="57114"/>
                  </a:lnTo>
                  <a:lnTo>
                    <a:pt x="989" y="151104"/>
                  </a:lnTo>
                  <a:cubicBezTo>
                    <a:pt x="1002" y="155069"/>
                    <a:pt x="4213" y="158280"/>
                    <a:pt x="8178" y="158293"/>
                  </a:cubicBezTo>
                  <a:lnTo>
                    <a:pt x="23115" y="158293"/>
                  </a:lnTo>
                  <a:cubicBezTo>
                    <a:pt x="27080" y="158280"/>
                    <a:pt x="30291" y="155069"/>
                    <a:pt x="30304" y="151104"/>
                  </a:cubicBezTo>
                  <a:lnTo>
                    <a:pt x="30304" y="107171"/>
                  </a:lnTo>
                  <a:cubicBezTo>
                    <a:pt x="38899" y="112025"/>
                    <a:pt x="48604" y="114575"/>
                    <a:pt x="58475" y="114573"/>
                  </a:cubicBezTo>
                  <a:cubicBezTo>
                    <a:pt x="90202" y="114557"/>
                    <a:pt x="115918" y="88841"/>
                    <a:pt x="115934" y="57114"/>
                  </a:cubicBezTo>
                  <a:moveTo>
                    <a:pt x="86432" y="57114"/>
                  </a:moveTo>
                  <a:cubicBezTo>
                    <a:pt x="86432" y="72559"/>
                    <a:pt x="73920" y="85082"/>
                    <a:pt x="58475" y="85098"/>
                  </a:cubicBezTo>
                  <a:cubicBezTo>
                    <a:pt x="43026" y="85082"/>
                    <a:pt x="30506" y="72562"/>
                    <a:pt x="30491" y="57114"/>
                  </a:cubicBezTo>
                  <a:cubicBezTo>
                    <a:pt x="30506" y="41668"/>
                    <a:pt x="43029" y="29156"/>
                    <a:pt x="58475" y="29156"/>
                  </a:cubicBezTo>
                  <a:cubicBezTo>
                    <a:pt x="73915" y="29156"/>
                    <a:pt x="86432" y="41673"/>
                    <a:pt x="86432" y="57114"/>
                  </a:cubicBezTo>
                </a:path>
              </a:pathLst>
            </a:custGeom>
            <a:solidFill>
              <a:srgbClr val="FFFFFF"/>
            </a:solidFill>
            <a:ln w="2661" cap="flat">
              <a:noFill/>
              <a:prstDash val="solid"/>
              <a:miter/>
            </a:ln>
          </p:spPr>
          <p:txBody>
            <a:bodyPr rtlCol="0" anchor="ctr"/>
            <a:lstStyle/>
            <a:p>
              <a:endParaRPr lang="pl-PL"/>
            </a:p>
          </p:txBody>
        </p:sp>
        <p:sp>
          <p:nvSpPr>
            <p:cNvPr id="110" name="Freeform: Shape 109">
              <a:extLst>
                <a:ext uri="{FF2B5EF4-FFF2-40B4-BE49-F238E27FC236}">
                  <a16:creationId xmlns:a16="http://schemas.microsoft.com/office/drawing/2014/main" id="{6ECF68EC-B1A2-4616-8AB2-EC5ED589A1C2}"/>
                </a:ext>
              </a:extLst>
            </p:cNvPr>
            <p:cNvSpPr/>
            <p:nvPr/>
          </p:nvSpPr>
          <p:spPr>
            <a:xfrm>
              <a:off x="11574969" y="6750860"/>
              <a:ext cx="19691" cy="26558"/>
            </a:xfrm>
            <a:custGeom>
              <a:avLst/>
              <a:gdLst>
                <a:gd name="connsiteX0" fmla="*/ 1103 w 34893"/>
                <a:gd name="connsiteY0" fmla="*/ 44632 h 47062"/>
                <a:gd name="connsiteX1" fmla="*/ 1103 w 34893"/>
                <a:gd name="connsiteY1" fmla="*/ 2270 h 47062"/>
                <a:gd name="connsiteX2" fmla="*/ 2765 w 34893"/>
                <a:gd name="connsiteY2" fmla="*/ 273 h 47062"/>
                <a:gd name="connsiteX3" fmla="*/ 3100 w 34893"/>
                <a:gd name="connsiteY3" fmla="*/ 273 h 47062"/>
                <a:gd name="connsiteX4" fmla="*/ 5124 w 34893"/>
                <a:gd name="connsiteY4" fmla="*/ 273 h 47062"/>
                <a:gd name="connsiteX5" fmla="*/ 7387 w 34893"/>
                <a:gd name="connsiteY5" fmla="*/ 1897 h 47062"/>
                <a:gd name="connsiteX6" fmla="*/ 9704 w 34893"/>
                <a:gd name="connsiteY6" fmla="*/ 2589 h 47062"/>
                <a:gd name="connsiteX7" fmla="*/ 19316 w 34893"/>
                <a:gd name="connsiteY7" fmla="*/ -339 h 47062"/>
                <a:gd name="connsiteX8" fmla="*/ 35880 w 34893"/>
                <a:gd name="connsiteY8" fmla="*/ 16060 h 47062"/>
                <a:gd name="connsiteX9" fmla="*/ 35877 w 34893"/>
                <a:gd name="connsiteY9" fmla="*/ 16462 h 47062"/>
                <a:gd name="connsiteX10" fmla="*/ 19667 w 34893"/>
                <a:gd name="connsiteY10" fmla="*/ 33524 h 47062"/>
                <a:gd name="connsiteX11" fmla="*/ 19182 w 34893"/>
                <a:gd name="connsiteY11" fmla="*/ 33529 h 47062"/>
                <a:gd name="connsiteX12" fmla="*/ 11195 w 34893"/>
                <a:gd name="connsiteY12" fmla="*/ 31585 h 47062"/>
                <a:gd name="connsiteX13" fmla="*/ 9118 w 34893"/>
                <a:gd name="connsiteY13" fmla="*/ 32597 h 47062"/>
                <a:gd name="connsiteX14" fmla="*/ 9118 w 34893"/>
                <a:gd name="connsiteY14" fmla="*/ 44712 h 47062"/>
                <a:gd name="connsiteX15" fmla="*/ 7456 w 34893"/>
                <a:gd name="connsiteY15" fmla="*/ 46709 h 47062"/>
                <a:gd name="connsiteX16" fmla="*/ 7121 w 34893"/>
                <a:gd name="connsiteY16" fmla="*/ 46709 h 47062"/>
                <a:gd name="connsiteX17" fmla="*/ 2994 w 34893"/>
                <a:gd name="connsiteY17" fmla="*/ 46709 h 47062"/>
                <a:gd name="connsiteX18" fmla="*/ 997 w 34893"/>
                <a:gd name="connsiteY18" fmla="*/ 45048 h 47062"/>
                <a:gd name="connsiteX19" fmla="*/ 997 w 34893"/>
                <a:gd name="connsiteY19" fmla="*/ 44712 h 47062"/>
                <a:gd name="connsiteX20" fmla="*/ 10236 w 34893"/>
                <a:gd name="connsiteY20" fmla="*/ 22106 h 47062"/>
                <a:gd name="connsiteX21" fmla="*/ 18224 w 34893"/>
                <a:gd name="connsiteY21" fmla="*/ 26127 h 47062"/>
                <a:gd name="connsiteX22" fmla="*/ 26968 w 34893"/>
                <a:gd name="connsiteY22" fmla="*/ 16571 h 47062"/>
                <a:gd name="connsiteX23" fmla="*/ 26957 w 34893"/>
                <a:gd name="connsiteY23" fmla="*/ 16382 h 47062"/>
                <a:gd name="connsiteX24" fmla="*/ 18250 w 34893"/>
                <a:gd name="connsiteY24" fmla="*/ 6983 h 47062"/>
                <a:gd name="connsiteX25" fmla="*/ 10263 w 34893"/>
                <a:gd name="connsiteY25" fmla="*/ 10977 h 47062"/>
                <a:gd name="connsiteX26" fmla="*/ 9677 w 34893"/>
                <a:gd name="connsiteY26" fmla="*/ 13133 h 47062"/>
                <a:gd name="connsiteX27" fmla="*/ 9677 w 34893"/>
                <a:gd name="connsiteY27" fmla="*/ 19896 h 47062"/>
                <a:gd name="connsiteX28" fmla="*/ 10263 w 34893"/>
                <a:gd name="connsiteY28" fmla="*/ 22027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893" h="47062">
                  <a:moveTo>
                    <a:pt x="1103" y="44632"/>
                  </a:moveTo>
                  <a:lnTo>
                    <a:pt x="1103" y="2270"/>
                  </a:lnTo>
                  <a:cubicBezTo>
                    <a:pt x="1010" y="1261"/>
                    <a:pt x="1756" y="366"/>
                    <a:pt x="2765" y="273"/>
                  </a:cubicBezTo>
                  <a:cubicBezTo>
                    <a:pt x="2877" y="262"/>
                    <a:pt x="2988" y="262"/>
                    <a:pt x="3100" y="273"/>
                  </a:cubicBezTo>
                  <a:lnTo>
                    <a:pt x="5124" y="273"/>
                  </a:lnTo>
                  <a:cubicBezTo>
                    <a:pt x="6170" y="201"/>
                    <a:pt x="7121" y="883"/>
                    <a:pt x="7387" y="1897"/>
                  </a:cubicBezTo>
                  <a:cubicBezTo>
                    <a:pt x="7707" y="3228"/>
                    <a:pt x="8638" y="3415"/>
                    <a:pt x="9704" y="2589"/>
                  </a:cubicBezTo>
                  <a:cubicBezTo>
                    <a:pt x="12502" y="592"/>
                    <a:pt x="15878" y="-435"/>
                    <a:pt x="19316" y="-339"/>
                  </a:cubicBezTo>
                  <a:cubicBezTo>
                    <a:pt x="28419" y="-385"/>
                    <a:pt x="35834" y="6956"/>
                    <a:pt x="35880" y="16060"/>
                  </a:cubicBezTo>
                  <a:cubicBezTo>
                    <a:pt x="35880" y="16193"/>
                    <a:pt x="35880" y="16329"/>
                    <a:pt x="35877" y="16462"/>
                  </a:cubicBezTo>
                  <a:cubicBezTo>
                    <a:pt x="36111" y="25650"/>
                    <a:pt x="28856" y="33289"/>
                    <a:pt x="19667" y="33524"/>
                  </a:cubicBezTo>
                  <a:cubicBezTo>
                    <a:pt x="19505" y="33529"/>
                    <a:pt x="19345" y="33529"/>
                    <a:pt x="19182" y="33529"/>
                  </a:cubicBezTo>
                  <a:cubicBezTo>
                    <a:pt x="16397" y="33582"/>
                    <a:pt x="13644" y="32914"/>
                    <a:pt x="11195" y="31585"/>
                  </a:cubicBezTo>
                  <a:cubicBezTo>
                    <a:pt x="9943" y="30840"/>
                    <a:pt x="9118" y="31213"/>
                    <a:pt x="9118" y="32597"/>
                  </a:cubicBezTo>
                  <a:lnTo>
                    <a:pt x="9118" y="44712"/>
                  </a:lnTo>
                  <a:cubicBezTo>
                    <a:pt x="9211" y="45721"/>
                    <a:pt x="8465" y="46616"/>
                    <a:pt x="7456" y="46709"/>
                  </a:cubicBezTo>
                  <a:cubicBezTo>
                    <a:pt x="7344" y="46720"/>
                    <a:pt x="7233" y="46720"/>
                    <a:pt x="7121" y="46709"/>
                  </a:cubicBezTo>
                  <a:lnTo>
                    <a:pt x="2994" y="46709"/>
                  </a:lnTo>
                  <a:cubicBezTo>
                    <a:pt x="1982" y="46802"/>
                    <a:pt x="1090" y="46057"/>
                    <a:pt x="997" y="45048"/>
                  </a:cubicBezTo>
                  <a:cubicBezTo>
                    <a:pt x="986" y="44936"/>
                    <a:pt x="986" y="44824"/>
                    <a:pt x="997" y="44712"/>
                  </a:cubicBezTo>
                  <a:moveTo>
                    <a:pt x="10236" y="22106"/>
                  </a:moveTo>
                  <a:cubicBezTo>
                    <a:pt x="12039" y="24721"/>
                    <a:pt x="15050" y="26236"/>
                    <a:pt x="18224" y="26127"/>
                  </a:cubicBezTo>
                  <a:cubicBezTo>
                    <a:pt x="23277" y="25903"/>
                    <a:pt x="27192" y="21625"/>
                    <a:pt x="26968" y="16571"/>
                  </a:cubicBezTo>
                  <a:cubicBezTo>
                    <a:pt x="26965" y="16507"/>
                    <a:pt x="26963" y="16446"/>
                    <a:pt x="26957" y="16382"/>
                  </a:cubicBezTo>
                  <a:cubicBezTo>
                    <a:pt x="27122" y="11392"/>
                    <a:pt x="23238" y="7198"/>
                    <a:pt x="18250" y="6983"/>
                  </a:cubicBezTo>
                  <a:cubicBezTo>
                    <a:pt x="15085" y="6884"/>
                    <a:pt x="12081" y="8386"/>
                    <a:pt x="10263" y="10977"/>
                  </a:cubicBezTo>
                  <a:cubicBezTo>
                    <a:pt x="9837" y="11613"/>
                    <a:pt x="9632" y="12369"/>
                    <a:pt x="9677" y="13133"/>
                  </a:cubicBezTo>
                  <a:lnTo>
                    <a:pt x="9677" y="19896"/>
                  </a:lnTo>
                  <a:cubicBezTo>
                    <a:pt x="9650" y="20650"/>
                    <a:pt x="9855" y="21393"/>
                    <a:pt x="10263" y="22027"/>
                  </a:cubicBezTo>
                </a:path>
              </a:pathLst>
            </a:custGeom>
            <a:solidFill>
              <a:srgbClr val="FFFFFF"/>
            </a:solidFill>
            <a:ln w="2661" cap="flat">
              <a:noFill/>
              <a:prstDash val="solid"/>
              <a:miter/>
            </a:ln>
          </p:spPr>
          <p:txBody>
            <a:bodyPr rtlCol="0" anchor="ctr"/>
            <a:lstStyle/>
            <a:p>
              <a:endParaRPr lang="pl-PL"/>
            </a:p>
          </p:txBody>
        </p:sp>
        <p:sp>
          <p:nvSpPr>
            <p:cNvPr id="111" name="Freeform: Shape 110">
              <a:extLst>
                <a:ext uri="{FF2B5EF4-FFF2-40B4-BE49-F238E27FC236}">
                  <a16:creationId xmlns:a16="http://schemas.microsoft.com/office/drawing/2014/main" id="{89B41B98-97B3-45E2-A267-7D31B632B1B6}"/>
                </a:ext>
              </a:extLst>
            </p:cNvPr>
            <p:cNvSpPr/>
            <p:nvPr/>
          </p:nvSpPr>
          <p:spPr>
            <a:xfrm>
              <a:off x="11597252" y="6750822"/>
              <a:ext cx="18514" cy="19157"/>
            </a:xfrm>
            <a:custGeom>
              <a:avLst/>
              <a:gdLst>
                <a:gd name="connsiteX0" fmla="*/ 18038 w 32808"/>
                <a:gd name="connsiteY0" fmla="*/ -324 h 33946"/>
                <a:gd name="connsiteX1" fmla="*/ 33795 w 32808"/>
                <a:gd name="connsiteY1" fmla="*/ 15867 h 33946"/>
                <a:gd name="connsiteX2" fmla="*/ 33721 w 32808"/>
                <a:gd name="connsiteY2" fmla="*/ 17196 h 33946"/>
                <a:gd name="connsiteX3" fmla="*/ 31915 w 32808"/>
                <a:gd name="connsiteY3" fmla="*/ 19012 h 33946"/>
                <a:gd name="connsiteX4" fmla="*/ 31777 w 32808"/>
                <a:gd name="connsiteY4" fmla="*/ 19006 h 33946"/>
                <a:gd name="connsiteX5" fmla="*/ 11568 w 32808"/>
                <a:gd name="connsiteY5" fmla="*/ 19006 h 33946"/>
                <a:gd name="connsiteX6" fmla="*/ 10130 w 32808"/>
                <a:gd name="connsiteY6" fmla="*/ 20950 h 33946"/>
                <a:gd name="connsiteX7" fmla="*/ 18118 w 32808"/>
                <a:gd name="connsiteY7" fmla="*/ 26488 h 33946"/>
                <a:gd name="connsiteX8" fmla="*/ 24455 w 32808"/>
                <a:gd name="connsiteY8" fmla="*/ 23613 h 33946"/>
                <a:gd name="connsiteX9" fmla="*/ 26771 w 32808"/>
                <a:gd name="connsiteY9" fmla="*/ 22148 h 33946"/>
                <a:gd name="connsiteX10" fmla="*/ 31058 w 32808"/>
                <a:gd name="connsiteY10" fmla="*/ 22148 h 33946"/>
                <a:gd name="connsiteX11" fmla="*/ 32815 w 32808"/>
                <a:gd name="connsiteY11" fmla="*/ 24358 h 33946"/>
                <a:gd name="connsiteX12" fmla="*/ 18118 w 32808"/>
                <a:gd name="connsiteY12" fmla="*/ 33571 h 33946"/>
                <a:gd name="connsiteX13" fmla="*/ 994 w 32808"/>
                <a:gd name="connsiteY13" fmla="*/ 17371 h 33946"/>
                <a:gd name="connsiteX14" fmla="*/ 997 w 32808"/>
                <a:gd name="connsiteY14" fmla="*/ 16370 h 33946"/>
                <a:gd name="connsiteX15" fmla="*/ 16866 w 32808"/>
                <a:gd name="connsiteY15" fmla="*/ -340 h 33946"/>
                <a:gd name="connsiteX16" fmla="*/ 18118 w 32808"/>
                <a:gd name="connsiteY16" fmla="*/ -324 h 33946"/>
                <a:gd name="connsiteX17" fmla="*/ 12020 w 32808"/>
                <a:gd name="connsiteY17" fmla="*/ 13362 h 33946"/>
                <a:gd name="connsiteX18" fmla="*/ 23257 w 32808"/>
                <a:gd name="connsiteY18" fmla="*/ 13362 h 33946"/>
                <a:gd name="connsiteX19" fmla="*/ 24774 w 32808"/>
                <a:gd name="connsiteY19" fmla="*/ 11365 h 33946"/>
                <a:gd name="connsiteX20" fmla="*/ 17985 w 32808"/>
                <a:gd name="connsiteY20" fmla="*/ 6705 h 33946"/>
                <a:gd name="connsiteX21" fmla="*/ 10582 w 32808"/>
                <a:gd name="connsiteY21" fmla="*/ 11285 h 33946"/>
                <a:gd name="connsiteX22" fmla="*/ 12020 w 32808"/>
                <a:gd name="connsiteY22" fmla="*/ 13362 h 3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808" h="33946">
                  <a:moveTo>
                    <a:pt x="18038" y="-324"/>
                  </a:moveTo>
                  <a:cubicBezTo>
                    <a:pt x="26859" y="-204"/>
                    <a:pt x="33915" y="7046"/>
                    <a:pt x="33795" y="15867"/>
                  </a:cubicBezTo>
                  <a:cubicBezTo>
                    <a:pt x="33787" y="16312"/>
                    <a:pt x="33763" y="16754"/>
                    <a:pt x="33721" y="17196"/>
                  </a:cubicBezTo>
                  <a:cubicBezTo>
                    <a:pt x="33723" y="18197"/>
                    <a:pt x="32914" y="19009"/>
                    <a:pt x="31915" y="19012"/>
                  </a:cubicBezTo>
                  <a:cubicBezTo>
                    <a:pt x="31870" y="19012"/>
                    <a:pt x="31822" y="19009"/>
                    <a:pt x="31777" y="19006"/>
                  </a:cubicBezTo>
                  <a:lnTo>
                    <a:pt x="11568" y="19006"/>
                  </a:lnTo>
                  <a:cubicBezTo>
                    <a:pt x="10396" y="19006"/>
                    <a:pt x="9624" y="19778"/>
                    <a:pt x="10130" y="20950"/>
                  </a:cubicBezTo>
                  <a:cubicBezTo>
                    <a:pt x="11272" y="24361"/>
                    <a:pt x="14523" y="26616"/>
                    <a:pt x="18118" y="26488"/>
                  </a:cubicBezTo>
                  <a:cubicBezTo>
                    <a:pt x="20589" y="26709"/>
                    <a:pt x="22996" y="25618"/>
                    <a:pt x="24455" y="23613"/>
                  </a:cubicBezTo>
                  <a:cubicBezTo>
                    <a:pt x="24897" y="22734"/>
                    <a:pt x="25789" y="22172"/>
                    <a:pt x="26771" y="22148"/>
                  </a:cubicBezTo>
                  <a:lnTo>
                    <a:pt x="31058" y="22148"/>
                  </a:lnTo>
                  <a:cubicBezTo>
                    <a:pt x="32443" y="22148"/>
                    <a:pt x="33295" y="23027"/>
                    <a:pt x="32815" y="24358"/>
                  </a:cubicBezTo>
                  <a:cubicBezTo>
                    <a:pt x="30403" y="30267"/>
                    <a:pt x="24487" y="33975"/>
                    <a:pt x="18118" y="33571"/>
                  </a:cubicBezTo>
                  <a:cubicBezTo>
                    <a:pt x="8916" y="33826"/>
                    <a:pt x="1250" y="26573"/>
                    <a:pt x="994" y="17371"/>
                  </a:cubicBezTo>
                  <a:cubicBezTo>
                    <a:pt x="986" y="17036"/>
                    <a:pt x="986" y="16703"/>
                    <a:pt x="997" y="16370"/>
                  </a:cubicBezTo>
                  <a:cubicBezTo>
                    <a:pt x="765" y="7373"/>
                    <a:pt x="7869" y="-109"/>
                    <a:pt x="16866" y="-340"/>
                  </a:cubicBezTo>
                  <a:cubicBezTo>
                    <a:pt x="17284" y="-351"/>
                    <a:pt x="17702" y="-346"/>
                    <a:pt x="18118" y="-324"/>
                  </a:cubicBezTo>
                  <a:moveTo>
                    <a:pt x="12020" y="13362"/>
                  </a:moveTo>
                  <a:lnTo>
                    <a:pt x="23257" y="13362"/>
                  </a:lnTo>
                  <a:cubicBezTo>
                    <a:pt x="24508" y="13362"/>
                    <a:pt x="25280" y="12616"/>
                    <a:pt x="24774" y="11365"/>
                  </a:cubicBezTo>
                  <a:cubicBezTo>
                    <a:pt x="23707" y="8545"/>
                    <a:pt x="20999" y="6686"/>
                    <a:pt x="17985" y="6705"/>
                  </a:cubicBezTo>
                  <a:cubicBezTo>
                    <a:pt x="14859" y="6737"/>
                    <a:pt x="12007" y="8502"/>
                    <a:pt x="10582" y="11285"/>
                  </a:cubicBezTo>
                  <a:cubicBezTo>
                    <a:pt x="10023" y="12483"/>
                    <a:pt x="10716" y="13362"/>
                    <a:pt x="12020" y="13362"/>
                  </a:cubicBezTo>
                </a:path>
              </a:pathLst>
            </a:custGeom>
            <a:solidFill>
              <a:srgbClr val="FFFFFF"/>
            </a:solidFill>
            <a:ln w="2661" cap="flat">
              <a:noFill/>
              <a:prstDash val="solid"/>
              <a:miter/>
            </a:ln>
          </p:spPr>
          <p:txBody>
            <a:bodyPr rtlCol="0" anchor="ctr"/>
            <a:lstStyle/>
            <a:p>
              <a:endParaRPr lang="pl-PL"/>
            </a:p>
          </p:txBody>
        </p:sp>
        <p:sp>
          <p:nvSpPr>
            <p:cNvPr id="112" name="Freeform: Shape 111">
              <a:extLst>
                <a:ext uri="{FF2B5EF4-FFF2-40B4-BE49-F238E27FC236}">
                  <a16:creationId xmlns:a16="http://schemas.microsoft.com/office/drawing/2014/main" id="{A4754D20-3B4F-492E-BFC2-60A2F2638682}"/>
                </a:ext>
              </a:extLst>
            </p:cNvPr>
            <p:cNvSpPr/>
            <p:nvPr/>
          </p:nvSpPr>
          <p:spPr>
            <a:xfrm>
              <a:off x="11619475" y="6750860"/>
              <a:ext cx="19631" cy="26558"/>
            </a:xfrm>
            <a:custGeom>
              <a:avLst/>
              <a:gdLst>
                <a:gd name="connsiteX0" fmla="*/ 997 w 34787"/>
                <a:gd name="connsiteY0" fmla="*/ 44632 h 47062"/>
                <a:gd name="connsiteX1" fmla="*/ 997 w 34787"/>
                <a:gd name="connsiteY1" fmla="*/ 2270 h 47062"/>
                <a:gd name="connsiteX2" fmla="*/ 2658 w 34787"/>
                <a:gd name="connsiteY2" fmla="*/ 273 h 47062"/>
                <a:gd name="connsiteX3" fmla="*/ 2994 w 34787"/>
                <a:gd name="connsiteY3" fmla="*/ 273 h 47062"/>
                <a:gd name="connsiteX4" fmla="*/ 5017 w 34787"/>
                <a:gd name="connsiteY4" fmla="*/ 273 h 47062"/>
                <a:gd name="connsiteX5" fmla="*/ 7280 w 34787"/>
                <a:gd name="connsiteY5" fmla="*/ 1897 h 47062"/>
                <a:gd name="connsiteX6" fmla="*/ 9597 w 34787"/>
                <a:gd name="connsiteY6" fmla="*/ 2589 h 47062"/>
                <a:gd name="connsiteX7" fmla="*/ 19209 w 34787"/>
                <a:gd name="connsiteY7" fmla="*/ -339 h 47062"/>
                <a:gd name="connsiteX8" fmla="*/ 35773 w 34787"/>
                <a:gd name="connsiteY8" fmla="*/ 16060 h 47062"/>
                <a:gd name="connsiteX9" fmla="*/ 35770 w 34787"/>
                <a:gd name="connsiteY9" fmla="*/ 16462 h 47062"/>
                <a:gd name="connsiteX10" fmla="*/ 19560 w 34787"/>
                <a:gd name="connsiteY10" fmla="*/ 33524 h 47062"/>
                <a:gd name="connsiteX11" fmla="*/ 19076 w 34787"/>
                <a:gd name="connsiteY11" fmla="*/ 33529 h 47062"/>
                <a:gd name="connsiteX12" fmla="*/ 11088 w 34787"/>
                <a:gd name="connsiteY12" fmla="*/ 31585 h 47062"/>
                <a:gd name="connsiteX13" fmla="*/ 9011 w 34787"/>
                <a:gd name="connsiteY13" fmla="*/ 32597 h 47062"/>
                <a:gd name="connsiteX14" fmla="*/ 9011 w 34787"/>
                <a:gd name="connsiteY14" fmla="*/ 44712 h 47062"/>
                <a:gd name="connsiteX15" fmla="*/ 7350 w 34787"/>
                <a:gd name="connsiteY15" fmla="*/ 46709 h 47062"/>
                <a:gd name="connsiteX16" fmla="*/ 7014 w 34787"/>
                <a:gd name="connsiteY16" fmla="*/ 46709 h 47062"/>
                <a:gd name="connsiteX17" fmla="*/ 3100 w 34787"/>
                <a:gd name="connsiteY17" fmla="*/ 46709 h 47062"/>
                <a:gd name="connsiteX18" fmla="*/ 1103 w 34787"/>
                <a:gd name="connsiteY18" fmla="*/ 45048 h 47062"/>
                <a:gd name="connsiteX19" fmla="*/ 1103 w 34787"/>
                <a:gd name="connsiteY19" fmla="*/ 44712 h 47062"/>
                <a:gd name="connsiteX20" fmla="*/ 10342 w 34787"/>
                <a:gd name="connsiteY20" fmla="*/ 22106 h 47062"/>
                <a:gd name="connsiteX21" fmla="*/ 18330 w 34787"/>
                <a:gd name="connsiteY21" fmla="*/ 26127 h 47062"/>
                <a:gd name="connsiteX22" fmla="*/ 27042 w 34787"/>
                <a:gd name="connsiteY22" fmla="*/ 16539 h 47062"/>
                <a:gd name="connsiteX23" fmla="*/ 27037 w 34787"/>
                <a:gd name="connsiteY23" fmla="*/ 16462 h 47062"/>
                <a:gd name="connsiteX24" fmla="*/ 18330 w 34787"/>
                <a:gd name="connsiteY24" fmla="*/ 7063 h 47062"/>
                <a:gd name="connsiteX25" fmla="*/ 10342 w 34787"/>
                <a:gd name="connsiteY25" fmla="*/ 11057 h 47062"/>
                <a:gd name="connsiteX26" fmla="*/ 9757 w 34787"/>
                <a:gd name="connsiteY26" fmla="*/ 13213 h 47062"/>
                <a:gd name="connsiteX27" fmla="*/ 9757 w 34787"/>
                <a:gd name="connsiteY27" fmla="*/ 19976 h 47062"/>
                <a:gd name="connsiteX28" fmla="*/ 10342 w 34787"/>
                <a:gd name="connsiteY28" fmla="*/ 22106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787" h="47062">
                  <a:moveTo>
                    <a:pt x="997" y="44632"/>
                  </a:moveTo>
                  <a:lnTo>
                    <a:pt x="997" y="2270"/>
                  </a:lnTo>
                  <a:cubicBezTo>
                    <a:pt x="903" y="1261"/>
                    <a:pt x="1649" y="366"/>
                    <a:pt x="2658" y="273"/>
                  </a:cubicBezTo>
                  <a:cubicBezTo>
                    <a:pt x="2770" y="262"/>
                    <a:pt x="2882" y="262"/>
                    <a:pt x="2994" y="273"/>
                  </a:cubicBezTo>
                  <a:lnTo>
                    <a:pt x="5017" y="273"/>
                  </a:lnTo>
                  <a:cubicBezTo>
                    <a:pt x="6064" y="201"/>
                    <a:pt x="7014" y="883"/>
                    <a:pt x="7280" y="1897"/>
                  </a:cubicBezTo>
                  <a:cubicBezTo>
                    <a:pt x="7600" y="3228"/>
                    <a:pt x="8532" y="3415"/>
                    <a:pt x="9597" y="2589"/>
                  </a:cubicBezTo>
                  <a:cubicBezTo>
                    <a:pt x="12395" y="592"/>
                    <a:pt x="15771" y="-435"/>
                    <a:pt x="19209" y="-339"/>
                  </a:cubicBezTo>
                  <a:cubicBezTo>
                    <a:pt x="28312" y="-385"/>
                    <a:pt x="35728" y="6956"/>
                    <a:pt x="35773" y="16060"/>
                  </a:cubicBezTo>
                  <a:cubicBezTo>
                    <a:pt x="35773" y="16193"/>
                    <a:pt x="35773" y="16329"/>
                    <a:pt x="35770" y="16462"/>
                  </a:cubicBezTo>
                  <a:cubicBezTo>
                    <a:pt x="36005" y="25650"/>
                    <a:pt x="28749" y="33289"/>
                    <a:pt x="19560" y="33524"/>
                  </a:cubicBezTo>
                  <a:cubicBezTo>
                    <a:pt x="19398" y="33529"/>
                    <a:pt x="19238" y="33529"/>
                    <a:pt x="19076" y="33529"/>
                  </a:cubicBezTo>
                  <a:cubicBezTo>
                    <a:pt x="16291" y="33582"/>
                    <a:pt x="13538" y="32914"/>
                    <a:pt x="11088" y="31585"/>
                  </a:cubicBezTo>
                  <a:cubicBezTo>
                    <a:pt x="9836" y="30840"/>
                    <a:pt x="9011" y="31213"/>
                    <a:pt x="9011" y="32597"/>
                  </a:cubicBezTo>
                  <a:lnTo>
                    <a:pt x="9011" y="44712"/>
                  </a:lnTo>
                  <a:cubicBezTo>
                    <a:pt x="9104" y="45721"/>
                    <a:pt x="8359" y="46616"/>
                    <a:pt x="7350" y="46709"/>
                  </a:cubicBezTo>
                  <a:cubicBezTo>
                    <a:pt x="7238" y="46720"/>
                    <a:pt x="7126" y="46720"/>
                    <a:pt x="7014" y="46709"/>
                  </a:cubicBezTo>
                  <a:lnTo>
                    <a:pt x="3100" y="46709"/>
                  </a:lnTo>
                  <a:cubicBezTo>
                    <a:pt x="2088" y="46802"/>
                    <a:pt x="1196" y="46057"/>
                    <a:pt x="1103" y="45048"/>
                  </a:cubicBezTo>
                  <a:cubicBezTo>
                    <a:pt x="1092" y="44936"/>
                    <a:pt x="1092" y="44824"/>
                    <a:pt x="1103" y="44712"/>
                  </a:cubicBezTo>
                  <a:moveTo>
                    <a:pt x="10342" y="22106"/>
                  </a:moveTo>
                  <a:cubicBezTo>
                    <a:pt x="12145" y="24721"/>
                    <a:pt x="15156" y="26236"/>
                    <a:pt x="18330" y="26127"/>
                  </a:cubicBezTo>
                  <a:cubicBezTo>
                    <a:pt x="23384" y="25885"/>
                    <a:pt x="27282" y="21592"/>
                    <a:pt x="27042" y="16539"/>
                  </a:cubicBezTo>
                  <a:cubicBezTo>
                    <a:pt x="27040" y="16515"/>
                    <a:pt x="27040" y="16488"/>
                    <a:pt x="27037" y="16462"/>
                  </a:cubicBezTo>
                  <a:cubicBezTo>
                    <a:pt x="27202" y="11472"/>
                    <a:pt x="23317" y="7278"/>
                    <a:pt x="18330" y="7063"/>
                  </a:cubicBezTo>
                  <a:cubicBezTo>
                    <a:pt x="15164" y="6964"/>
                    <a:pt x="12161" y="8466"/>
                    <a:pt x="10342" y="11057"/>
                  </a:cubicBezTo>
                  <a:cubicBezTo>
                    <a:pt x="9919" y="11693"/>
                    <a:pt x="9711" y="12449"/>
                    <a:pt x="9757" y="13213"/>
                  </a:cubicBezTo>
                  <a:lnTo>
                    <a:pt x="9757" y="19976"/>
                  </a:lnTo>
                  <a:cubicBezTo>
                    <a:pt x="9730" y="20730"/>
                    <a:pt x="9935" y="21473"/>
                    <a:pt x="10342" y="22106"/>
                  </a:cubicBezTo>
                </a:path>
              </a:pathLst>
            </a:custGeom>
            <a:solidFill>
              <a:srgbClr val="FFFFFF"/>
            </a:solidFill>
            <a:ln w="2661" cap="flat">
              <a:noFill/>
              <a:prstDash val="solid"/>
              <a:miter/>
            </a:ln>
          </p:spPr>
          <p:txBody>
            <a:bodyPr rtlCol="0" anchor="ctr"/>
            <a:lstStyle/>
            <a:p>
              <a:endParaRPr lang="pl-PL"/>
            </a:p>
          </p:txBody>
        </p:sp>
        <p:sp>
          <p:nvSpPr>
            <p:cNvPr id="113" name="Freeform: Shape 112">
              <a:extLst>
                <a:ext uri="{FF2B5EF4-FFF2-40B4-BE49-F238E27FC236}">
                  <a16:creationId xmlns:a16="http://schemas.microsoft.com/office/drawing/2014/main" id="{6EBE2611-C02F-4A02-9091-1E39667656A3}"/>
                </a:ext>
              </a:extLst>
            </p:cNvPr>
            <p:cNvSpPr/>
            <p:nvPr/>
          </p:nvSpPr>
          <p:spPr>
            <a:xfrm>
              <a:off x="11641544" y="6750833"/>
              <a:ext cx="16868" cy="19128"/>
            </a:xfrm>
            <a:custGeom>
              <a:avLst/>
              <a:gdLst>
                <a:gd name="connsiteX0" fmla="*/ 16181 w 29890"/>
                <a:gd name="connsiteY0" fmla="*/ -346 h 33895"/>
                <a:gd name="connsiteX1" fmla="*/ 30186 w 29890"/>
                <a:gd name="connsiteY1" fmla="*/ 9400 h 33895"/>
                <a:gd name="connsiteX2" fmla="*/ 28296 w 29890"/>
                <a:gd name="connsiteY2" fmla="*/ 11476 h 33895"/>
                <a:gd name="connsiteX3" fmla="*/ 24275 w 29890"/>
                <a:gd name="connsiteY3" fmla="*/ 11476 h 33895"/>
                <a:gd name="connsiteX4" fmla="*/ 22092 w 29890"/>
                <a:gd name="connsiteY4" fmla="*/ 9719 h 33895"/>
                <a:gd name="connsiteX5" fmla="*/ 16048 w 29890"/>
                <a:gd name="connsiteY5" fmla="*/ 6444 h 33895"/>
                <a:gd name="connsiteX6" fmla="*/ 10723 w 29890"/>
                <a:gd name="connsiteY6" fmla="*/ 9266 h 33895"/>
                <a:gd name="connsiteX7" fmla="*/ 30879 w 29890"/>
                <a:gd name="connsiteY7" fmla="*/ 23591 h 33895"/>
                <a:gd name="connsiteX8" fmla="*/ 16687 w 29890"/>
                <a:gd name="connsiteY8" fmla="*/ 33550 h 33895"/>
                <a:gd name="connsiteX9" fmla="*/ 1057 w 29890"/>
                <a:gd name="connsiteY9" fmla="*/ 23511 h 33895"/>
                <a:gd name="connsiteX10" fmla="*/ 2895 w 29890"/>
                <a:gd name="connsiteY10" fmla="*/ 21381 h 33895"/>
                <a:gd name="connsiteX11" fmla="*/ 7155 w 29890"/>
                <a:gd name="connsiteY11" fmla="*/ 21381 h 33895"/>
                <a:gd name="connsiteX12" fmla="*/ 9338 w 29890"/>
                <a:gd name="connsiteY12" fmla="*/ 23006 h 33895"/>
                <a:gd name="connsiteX13" fmla="*/ 16873 w 29890"/>
                <a:gd name="connsiteY13" fmla="*/ 26786 h 33895"/>
                <a:gd name="connsiteX14" fmla="*/ 22411 w 29890"/>
                <a:gd name="connsiteY14" fmla="*/ 23645 h 33895"/>
                <a:gd name="connsiteX15" fmla="*/ 2256 w 29890"/>
                <a:gd name="connsiteY15" fmla="*/ 9453 h 33895"/>
                <a:gd name="connsiteX16" fmla="*/ 16128 w 29890"/>
                <a:gd name="connsiteY16" fmla="*/ -346 h 3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890" h="33895">
                  <a:moveTo>
                    <a:pt x="16181" y="-346"/>
                  </a:moveTo>
                  <a:cubicBezTo>
                    <a:pt x="24169" y="-346"/>
                    <a:pt x="28855" y="3622"/>
                    <a:pt x="30186" y="9400"/>
                  </a:cubicBezTo>
                  <a:cubicBezTo>
                    <a:pt x="30479" y="10704"/>
                    <a:pt x="29681" y="11476"/>
                    <a:pt x="28296" y="11476"/>
                  </a:cubicBezTo>
                  <a:lnTo>
                    <a:pt x="24275" y="11476"/>
                  </a:lnTo>
                  <a:cubicBezTo>
                    <a:pt x="23077" y="11476"/>
                    <a:pt x="22518" y="10837"/>
                    <a:pt x="22092" y="9719"/>
                  </a:cubicBezTo>
                  <a:cubicBezTo>
                    <a:pt x="21320" y="7642"/>
                    <a:pt x="19429" y="6444"/>
                    <a:pt x="16048" y="6444"/>
                  </a:cubicBezTo>
                  <a:cubicBezTo>
                    <a:pt x="12666" y="6444"/>
                    <a:pt x="10723" y="7562"/>
                    <a:pt x="10723" y="9266"/>
                  </a:cubicBezTo>
                  <a:cubicBezTo>
                    <a:pt x="10723" y="15364"/>
                    <a:pt x="30879" y="10971"/>
                    <a:pt x="30879" y="23591"/>
                  </a:cubicBezTo>
                  <a:cubicBezTo>
                    <a:pt x="30879" y="29982"/>
                    <a:pt x="25048" y="33550"/>
                    <a:pt x="16687" y="33550"/>
                  </a:cubicBezTo>
                  <a:cubicBezTo>
                    <a:pt x="8326" y="33550"/>
                    <a:pt x="2389" y="29928"/>
                    <a:pt x="1057" y="23511"/>
                  </a:cubicBezTo>
                  <a:cubicBezTo>
                    <a:pt x="738" y="22127"/>
                    <a:pt x="1563" y="21381"/>
                    <a:pt x="2895" y="21381"/>
                  </a:cubicBezTo>
                  <a:lnTo>
                    <a:pt x="7155" y="21381"/>
                  </a:lnTo>
                  <a:cubicBezTo>
                    <a:pt x="8172" y="21347"/>
                    <a:pt x="9077" y="22020"/>
                    <a:pt x="9338" y="23006"/>
                  </a:cubicBezTo>
                  <a:cubicBezTo>
                    <a:pt x="10858" y="25668"/>
                    <a:pt x="13830" y="27159"/>
                    <a:pt x="16873" y="26786"/>
                  </a:cubicBezTo>
                  <a:cubicBezTo>
                    <a:pt x="20281" y="26786"/>
                    <a:pt x="22411" y="25721"/>
                    <a:pt x="22411" y="23645"/>
                  </a:cubicBezTo>
                  <a:cubicBezTo>
                    <a:pt x="22411" y="17494"/>
                    <a:pt x="2256" y="22127"/>
                    <a:pt x="2256" y="9453"/>
                  </a:cubicBezTo>
                  <a:cubicBezTo>
                    <a:pt x="2256" y="3808"/>
                    <a:pt x="7101" y="-346"/>
                    <a:pt x="16128" y="-346"/>
                  </a:cubicBezTo>
                </a:path>
              </a:pathLst>
            </a:custGeom>
            <a:solidFill>
              <a:srgbClr val="FFFFFF"/>
            </a:solidFill>
            <a:ln w="2661" cap="flat">
              <a:noFill/>
              <a:prstDash val="solid"/>
              <a:miter/>
            </a:ln>
          </p:spPr>
          <p:txBody>
            <a:bodyPr rtlCol="0" anchor="ctr"/>
            <a:lstStyle/>
            <a:p>
              <a:endParaRPr lang="pl-PL"/>
            </a:p>
          </p:txBody>
        </p:sp>
        <p:sp>
          <p:nvSpPr>
            <p:cNvPr id="114" name="Freeform: Shape 113">
              <a:extLst>
                <a:ext uri="{FF2B5EF4-FFF2-40B4-BE49-F238E27FC236}">
                  <a16:creationId xmlns:a16="http://schemas.microsoft.com/office/drawing/2014/main" id="{ABCE79E5-AE03-4A37-90FC-37F91965C875}"/>
                </a:ext>
              </a:extLst>
            </p:cNvPr>
            <p:cNvSpPr/>
            <p:nvPr/>
          </p:nvSpPr>
          <p:spPr>
            <a:xfrm>
              <a:off x="11661657" y="6742209"/>
              <a:ext cx="6551" cy="27381"/>
            </a:xfrm>
            <a:custGeom>
              <a:avLst/>
              <a:gdLst>
                <a:gd name="connsiteX0" fmla="*/ 989 w 11609"/>
                <a:gd name="connsiteY0" fmla="*/ 5352 h 48520"/>
                <a:gd name="connsiteX1" fmla="*/ 6687 w 11609"/>
                <a:gd name="connsiteY1" fmla="*/ -346 h 48520"/>
                <a:gd name="connsiteX2" fmla="*/ 6767 w 11609"/>
                <a:gd name="connsiteY2" fmla="*/ -346 h 48520"/>
                <a:gd name="connsiteX3" fmla="*/ 12598 w 11609"/>
                <a:gd name="connsiteY3" fmla="*/ 5352 h 48520"/>
                <a:gd name="connsiteX4" fmla="*/ 6767 w 11609"/>
                <a:gd name="connsiteY4" fmla="*/ 11263 h 48520"/>
                <a:gd name="connsiteX5" fmla="*/ 989 w 11609"/>
                <a:gd name="connsiteY5" fmla="*/ 5432 h 48520"/>
                <a:gd name="connsiteX6" fmla="*/ 989 w 11609"/>
                <a:gd name="connsiteY6" fmla="*/ 5352 h 48520"/>
                <a:gd name="connsiteX7" fmla="*/ 10734 w 11609"/>
                <a:gd name="connsiteY7" fmla="*/ 17521 h 48520"/>
                <a:gd name="connsiteX8" fmla="*/ 10734 w 11609"/>
                <a:gd name="connsiteY8" fmla="*/ 46144 h 48520"/>
                <a:gd name="connsiteX9" fmla="*/ 9046 w 11609"/>
                <a:gd name="connsiteY9" fmla="*/ 48167 h 48520"/>
                <a:gd name="connsiteX10" fmla="*/ 8710 w 11609"/>
                <a:gd name="connsiteY10" fmla="*/ 48167 h 48520"/>
                <a:gd name="connsiteX11" fmla="*/ 3998 w 11609"/>
                <a:gd name="connsiteY11" fmla="*/ 48167 h 48520"/>
                <a:gd name="connsiteX12" fmla="*/ 1998 w 11609"/>
                <a:gd name="connsiteY12" fmla="*/ 46450 h 48520"/>
                <a:gd name="connsiteX13" fmla="*/ 2001 w 11609"/>
                <a:gd name="connsiteY13" fmla="*/ 46144 h 48520"/>
                <a:gd name="connsiteX14" fmla="*/ 2001 w 11609"/>
                <a:gd name="connsiteY14" fmla="*/ 17600 h 48520"/>
                <a:gd name="connsiteX15" fmla="*/ 3662 w 11609"/>
                <a:gd name="connsiteY15" fmla="*/ 15603 h 48520"/>
                <a:gd name="connsiteX16" fmla="*/ 3998 w 11609"/>
                <a:gd name="connsiteY16" fmla="*/ 15603 h 48520"/>
                <a:gd name="connsiteX17" fmla="*/ 8710 w 11609"/>
                <a:gd name="connsiteY17" fmla="*/ 15603 h 48520"/>
                <a:gd name="connsiteX18" fmla="*/ 10731 w 11609"/>
                <a:gd name="connsiteY18" fmla="*/ 17294 h 48520"/>
                <a:gd name="connsiteX19" fmla="*/ 10734 w 11609"/>
                <a:gd name="connsiteY19" fmla="*/ 17600 h 48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09" h="48520">
                  <a:moveTo>
                    <a:pt x="989" y="5352"/>
                  </a:moveTo>
                  <a:cubicBezTo>
                    <a:pt x="989" y="2205"/>
                    <a:pt x="3540" y="-346"/>
                    <a:pt x="6687" y="-346"/>
                  </a:cubicBezTo>
                  <a:cubicBezTo>
                    <a:pt x="6713" y="-346"/>
                    <a:pt x="6740" y="-346"/>
                    <a:pt x="6767" y="-346"/>
                  </a:cubicBezTo>
                  <a:cubicBezTo>
                    <a:pt x="9935" y="-346"/>
                    <a:pt x="12526" y="2184"/>
                    <a:pt x="12598" y="5352"/>
                  </a:cubicBezTo>
                  <a:cubicBezTo>
                    <a:pt x="12598" y="8585"/>
                    <a:pt x="9999" y="11221"/>
                    <a:pt x="6767" y="11263"/>
                  </a:cubicBezTo>
                  <a:cubicBezTo>
                    <a:pt x="3561" y="11250"/>
                    <a:pt x="973" y="8638"/>
                    <a:pt x="989" y="5432"/>
                  </a:cubicBezTo>
                  <a:cubicBezTo>
                    <a:pt x="989" y="5406"/>
                    <a:pt x="989" y="5379"/>
                    <a:pt x="989" y="5352"/>
                  </a:cubicBezTo>
                  <a:moveTo>
                    <a:pt x="10734" y="17521"/>
                  </a:moveTo>
                  <a:lnTo>
                    <a:pt x="10734" y="46144"/>
                  </a:lnTo>
                  <a:cubicBezTo>
                    <a:pt x="10827" y="47169"/>
                    <a:pt x="10071" y="48074"/>
                    <a:pt x="9046" y="48167"/>
                  </a:cubicBezTo>
                  <a:cubicBezTo>
                    <a:pt x="8934" y="48178"/>
                    <a:pt x="8822" y="48178"/>
                    <a:pt x="8710" y="48167"/>
                  </a:cubicBezTo>
                  <a:lnTo>
                    <a:pt x="3998" y="48167"/>
                  </a:lnTo>
                  <a:cubicBezTo>
                    <a:pt x="2972" y="48244"/>
                    <a:pt x="2075" y="47475"/>
                    <a:pt x="1998" y="46450"/>
                  </a:cubicBezTo>
                  <a:cubicBezTo>
                    <a:pt x="1990" y="46349"/>
                    <a:pt x="1993" y="46245"/>
                    <a:pt x="2001" y="46144"/>
                  </a:cubicBezTo>
                  <a:lnTo>
                    <a:pt x="2001" y="17600"/>
                  </a:lnTo>
                  <a:cubicBezTo>
                    <a:pt x="1907" y="16591"/>
                    <a:pt x="2653" y="15697"/>
                    <a:pt x="3662" y="15603"/>
                  </a:cubicBezTo>
                  <a:cubicBezTo>
                    <a:pt x="3774" y="15593"/>
                    <a:pt x="3886" y="15593"/>
                    <a:pt x="3998" y="15603"/>
                  </a:cubicBezTo>
                  <a:lnTo>
                    <a:pt x="8710" y="15603"/>
                  </a:lnTo>
                  <a:cubicBezTo>
                    <a:pt x="9735" y="15513"/>
                    <a:pt x="10641" y="16269"/>
                    <a:pt x="10731" y="17294"/>
                  </a:cubicBezTo>
                  <a:cubicBezTo>
                    <a:pt x="10742" y="17395"/>
                    <a:pt x="10742" y="17499"/>
                    <a:pt x="10734" y="17600"/>
                  </a:cubicBezTo>
                </a:path>
              </a:pathLst>
            </a:custGeom>
            <a:solidFill>
              <a:srgbClr val="FFFFFF"/>
            </a:solidFill>
            <a:ln w="2661" cap="flat">
              <a:noFill/>
              <a:prstDash val="solid"/>
              <a:miter/>
            </a:ln>
          </p:spPr>
          <p:txBody>
            <a:bodyPr rtlCol="0" anchor="ctr"/>
            <a:lstStyle/>
            <a:p>
              <a:endParaRPr lang="pl-PL"/>
            </a:p>
          </p:txBody>
        </p:sp>
        <p:sp>
          <p:nvSpPr>
            <p:cNvPr id="115" name="Freeform: Shape 114">
              <a:extLst>
                <a:ext uri="{FF2B5EF4-FFF2-40B4-BE49-F238E27FC236}">
                  <a16:creationId xmlns:a16="http://schemas.microsoft.com/office/drawing/2014/main" id="{18B0891D-4A68-475A-B3D8-3835A094085C}"/>
                </a:ext>
              </a:extLst>
            </p:cNvPr>
            <p:cNvSpPr/>
            <p:nvPr/>
          </p:nvSpPr>
          <p:spPr>
            <a:xfrm>
              <a:off x="11670912" y="6750850"/>
              <a:ext cx="18928" cy="19154"/>
            </a:xfrm>
            <a:custGeom>
              <a:avLst/>
              <a:gdLst>
                <a:gd name="connsiteX0" fmla="*/ 25781 w 33540"/>
                <a:gd name="connsiteY0" fmla="*/ 11128 h 33942"/>
                <a:gd name="connsiteX1" fmla="*/ 18672 w 33540"/>
                <a:gd name="connsiteY1" fmla="*/ 7001 h 33942"/>
                <a:gd name="connsiteX2" fmla="*/ 9850 w 33540"/>
                <a:gd name="connsiteY2" fmla="*/ 15699 h 33942"/>
                <a:gd name="connsiteX3" fmla="*/ 9885 w 33540"/>
                <a:gd name="connsiteY3" fmla="*/ 16533 h 33942"/>
                <a:gd name="connsiteX4" fmla="*/ 17838 w 33540"/>
                <a:gd name="connsiteY4" fmla="*/ 26030 h 33942"/>
                <a:gd name="connsiteX5" fmla="*/ 18618 w 33540"/>
                <a:gd name="connsiteY5" fmla="*/ 26065 h 33942"/>
                <a:gd name="connsiteX6" fmla="*/ 25514 w 33540"/>
                <a:gd name="connsiteY6" fmla="*/ 22364 h 33942"/>
                <a:gd name="connsiteX7" fmla="*/ 27778 w 33540"/>
                <a:gd name="connsiteY7" fmla="*/ 20793 h 33942"/>
                <a:gd name="connsiteX8" fmla="*/ 32411 w 33540"/>
                <a:gd name="connsiteY8" fmla="*/ 20793 h 33942"/>
                <a:gd name="connsiteX9" fmla="*/ 34301 w 33540"/>
                <a:gd name="connsiteY9" fmla="*/ 22923 h 33942"/>
                <a:gd name="connsiteX10" fmla="*/ 18805 w 33540"/>
                <a:gd name="connsiteY10" fmla="*/ 33573 h 33942"/>
                <a:gd name="connsiteX11" fmla="*/ 1013 w 33540"/>
                <a:gd name="connsiteY11" fmla="*/ 17545 h 33942"/>
                <a:gd name="connsiteX12" fmla="*/ 992 w 33540"/>
                <a:gd name="connsiteY12" fmla="*/ 16373 h 33942"/>
                <a:gd name="connsiteX13" fmla="*/ 17503 w 33540"/>
                <a:gd name="connsiteY13" fmla="*/ -346 h 33942"/>
                <a:gd name="connsiteX14" fmla="*/ 18485 w 33540"/>
                <a:gd name="connsiteY14" fmla="*/ -322 h 33942"/>
                <a:gd name="connsiteX15" fmla="*/ 34461 w 33540"/>
                <a:gd name="connsiteY15" fmla="*/ 10728 h 33942"/>
                <a:gd name="connsiteX16" fmla="*/ 33324 w 33540"/>
                <a:gd name="connsiteY16" fmla="*/ 12810 h 33942"/>
                <a:gd name="connsiteX17" fmla="*/ 32597 w 33540"/>
                <a:gd name="connsiteY17" fmla="*/ 12858 h 33942"/>
                <a:gd name="connsiteX18" fmla="*/ 28124 w 33540"/>
                <a:gd name="connsiteY18" fmla="*/ 12858 h 33942"/>
                <a:gd name="connsiteX19" fmla="*/ 25887 w 33540"/>
                <a:gd name="connsiteY19" fmla="*/ 11234 h 33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3540" h="33942">
                  <a:moveTo>
                    <a:pt x="25781" y="11128"/>
                  </a:moveTo>
                  <a:cubicBezTo>
                    <a:pt x="24463" y="8441"/>
                    <a:pt x="21656" y="6814"/>
                    <a:pt x="18672" y="7001"/>
                  </a:cubicBezTo>
                  <a:cubicBezTo>
                    <a:pt x="13834" y="6966"/>
                    <a:pt x="9885" y="10861"/>
                    <a:pt x="9850" y="15699"/>
                  </a:cubicBezTo>
                  <a:cubicBezTo>
                    <a:pt x="9850" y="15979"/>
                    <a:pt x="9861" y="16256"/>
                    <a:pt x="9885" y="16533"/>
                  </a:cubicBezTo>
                  <a:cubicBezTo>
                    <a:pt x="9459" y="21352"/>
                    <a:pt x="13019" y="25604"/>
                    <a:pt x="17838" y="26030"/>
                  </a:cubicBezTo>
                  <a:cubicBezTo>
                    <a:pt x="18099" y="26054"/>
                    <a:pt x="18357" y="26065"/>
                    <a:pt x="18618" y="26065"/>
                  </a:cubicBezTo>
                  <a:cubicBezTo>
                    <a:pt x="21441" y="26281"/>
                    <a:pt x="24133" y="24835"/>
                    <a:pt x="25514" y="22364"/>
                  </a:cubicBezTo>
                  <a:cubicBezTo>
                    <a:pt x="25869" y="21421"/>
                    <a:pt x="26771" y="20796"/>
                    <a:pt x="27778" y="20793"/>
                  </a:cubicBezTo>
                  <a:lnTo>
                    <a:pt x="32411" y="20793"/>
                  </a:lnTo>
                  <a:cubicBezTo>
                    <a:pt x="33742" y="20793"/>
                    <a:pt x="34621" y="21618"/>
                    <a:pt x="34301" y="22923"/>
                  </a:cubicBezTo>
                  <a:cubicBezTo>
                    <a:pt x="32810" y="29340"/>
                    <a:pt x="26313" y="33573"/>
                    <a:pt x="18805" y="33573"/>
                  </a:cubicBezTo>
                  <a:cubicBezTo>
                    <a:pt x="9464" y="34061"/>
                    <a:pt x="1498" y="26882"/>
                    <a:pt x="1013" y="17545"/>
                  </a:cubicBezTo>
                  <a:cubicBezTo>
                    <a:pt x="992" y="17153"/>
                    <a:pt x="984" y="16764"/>
                    <a:pt x="992" y="16373"/>
                  </a:cubicBezTo>
                  <a:cubicBezTo>
                    <a:pt x="936" y="7198"/>
                    <a:pt x="8327" y="-287"/>
                    <a:pt x="17503" y="-346"/>
                  </a:cubicBezTo>
                  <a:cubicBezTo>
                    <a:pt x="17830" y="-346"/>
                    <a:pt x="18158" y="-340"/>
                    <a:pt x="18485" y="-322"/>
                  </a:cubicBezTo>
                  <a:cubicBezTo>
                    <a:pt x="27724" y="-322"/>
                    <a:pt x="32996" y="4578"/>
                    <a:pt x="34461" y="10728"/>
                  </a:cubicBezTo>
                  <a:cubicBezTo>
                    <a:pt x="34722" y="11618"/>
                    <a:pt x="34213" y="12549"/>
                    <a:pt x="33324" y="12810"/>
                  </a:cubicBezTo>
                  <a:cubicBezTo>
                    <a:pt x="33087" y="12880"/>
                    <a:pt x="32839" y="12896"/>
                    <a:pt x="32597" y="12858"/>
                  </a:cubicBezTo>
                  <a:lnTo>
                    <a:pt x="28124" y="12858"/>
                  </a:lnTo>
                  <a:cubicBezTo>
                    <a:pt x="27006" y="12858"/>
                    <a:pt x="26446" y="12299"/>
                    <a:pt x="25887" y="11234"/>
                  </a:cubicBezTo>
                </a:path>
              </a:pathLst>
            </a:custGeom>
            <a:solidFill>
              <a:srgbClr val="FFFFFF"/>
            </a:solidFill>
            <a:ln w="2661" cap="flat">
              <a:noFill/>
              <a:prstDash val="solid"/>
              <a:miter/>
            </a:ln>
          </p:spPr>
          <p:txBody>
            <a:bodyPr rtlCol="0" anchor="ctr"/>
            <a:lstStyle/>
            <a:p>
              <a:endParaRPr lang="pl-PL"/>
            </a:p>
          </p:txBody>
        </p:sp>
        <p:sp>
          <p:nvSpPr>
            <p:cNvPr id="116" name="Freeform: Shape 115">
              <a:extLst>
                <a:ext uri="{FF2B5EF4-FFF2-40B4-BE49-F238E27FC236}">
                  <a16:creationId xmlns:a16="http://schemas.microsoft.com/office/drawing/2014/main" id="{E7C390C0-46CC-4B06-BB49-9C5CD7570357}"/>
                </a:ext>
              </a:extLst>
            </p:cNvPr>
            <p:cNvSpPr/>
            <p:nvPr/>
          </p:nvSpPr>
          <p:spPr>
            <a:xfrm>
              <a:off x="11692340" y="6750833"/>
              <a:ext cx="20150" cy="19139"/>
            </a:xfrm>
            <a:custGeom>
              <a:avLst/>
              <a:gdLst>
                <a:gd name="connsiteX0" fmla="*/ 18856 w 35707"/>
                <a:gd name="connsiteY0" fmla="*/ -346 h 33914"/>
                <a:gd name="connsiteX1" fmla="*/ 36695 w 35707"/>
                <a:gd name="connsiteY1" fmla="*/ 16349 h 33914"/>
                <a:gd name="connsiteX2" fmla="*/ 19833 w 35707"/>
                <a:gd name="connsiteY2" fmla="*/ 33568 h 33914"/>
                <a:gd name="connsiteX3" fmla="*/ 18856 w 35707"/>
                <a:gd name="connsiteY3" fmla="*/ 33550 h 33914"/>
                <a:gd name="connsiteX4" fmla="*/ 1008 w 35707"/>
                <a:gd name="connsiteY4" fmla="*/ 17300 h 33914"/>
                <a:gd name="connsiteX5" fmla="*/ 989 w 35707"/>
                <a:gd name="connsiteY5" fmla="*/ 16349 h 33914"/>
                <a:gd name="connsiteX6" fmla="*/ 18856 w 35707"/>
                <a:gd name="connsiteY6" fmla="*/ -346 h 33914"/>
                <a:gd name="connsiteX7" fmla="*/ 18856 w 35707"/>
                <a:gd name="connsiteY7" fmla="*/ 26147 h 33914"/>
                <a:gd name="connsiteX8" fmla="*/ 28028 w 35707"/>
                <a:gd name="connsiteY8" fmla="*/ 17214 h 33914"/>
                <a:gd name="connsiteX9" fmla="*/ 28015 w 35707"/>
                <a:gd name="connsiteY9" fmla="*/ 16615 h 33914"/>
                <a:gd name="connsiteX10" fmla="*/ 19455 w 35707"/>
                <a:gd name="connsiteY10" fmla="*/ 7096 h 33914"/>
                <a:gd name="connsiteX11" fmla="*/ 18856 w 35707"/>
                <a:gd name="connsiteY11" fmla="*/ 7083 h 33914"/>
                <a:gd name="connsiteX12" fmla="*/ 9683 w 35707"/>
                <a:gd name="connsiteY12" fmla="*/ 15960 h 33914"/>
                <a:gd name="connsiteX13" fmla="*/ 9696 w 35707"/>
                <a:gd name="connsiteY13" fmla="*/ 16615 h 33914"/>
                <a:gd name="connsiteX14" fmla="*/ 18200 w 35707"/>
                <a:gd name="connsiteY14" fmla="*/ 26134 h 33914"/>
                <a:gd name="connsiteX15" fmla="*/ 18856 w 35707"/>
                <a:gd name="connsiteY15" fmla="*/ 26147 h 33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07" h="33914">
                  <a:moveTo>
                    <a:pt x="18856" y="-346"/>
                  </a:moveTo>
                  <a:cubicBezTo>
                    <a:pt x="29346" y="-346"/>
                    <a:pt x="36695" y="7003"/>
                    <a:pt x="36695" y="16349"/>
                  </a:cubicBezTo>
                  <a:cubicBezTo>
                    <a:pt x="36794" y="25759"/>
                    <a:pt x="29245" y="33470"/>
                    <a:pt x="19833" y="33568"/>
                  </a:cubicBezTo>
                  <a:cubicBezTo>
                    <a:pt x="19508" y="33571"/>
                    <a:pt x="19180" y="33565"/>
                    <a:pt x="18856" y="33550"/>
                  </a:cubicBezTo>
                  <a:cubicBezTo>
                    <a:pt x="9440" y="33991"/>
                    <a:pt x="1450" y="26717"/>
                    <a:pt x="1008" y="17300"/>
                  </a:cubicBezTo>
                  <a:cubicBezTo>
                    <a:pt x="992" y="16983"/>
                    <a:pt x="987" y="16666"/>
                    <a:pt x="989" y="16349"/>
                  </a:cubicBezTo>
                  <a:cubicBezTo>
                    <a:pt x="989" y="7003"/>
                    <a:pt x="8391" y="-346"/>
                    <a:pt x="18856" y="-346"/>
                  </a:cubicBezTo>
                  <a:moveTo>
                    <a:pt x="18856" y="26147"/>
                  </a:moveTo>
                  <a:cubicBezTo>
                    <a:pt x="23856" y="26214"/>
                    <a:pt x="27962" y="22215"/>
                    <a:pt x="28028" y="17214"/>
                  </a:cubicBezTo>
                  <a:cubicBezTo>
                    <a:pt x="28031" y="17015"/>
                    <a:pt x="28026" y="16815"/>
                    <a:pt x="28015" y="16615"/>
                  </a:cubicBezTo>
                  <a:cubicBezTo>
                    <a:pt x="28281" y="11623"/>
                    <a:pt x="24447" y="7360"/>
                    <a:pt x="19455" y="7096"/>
                  </a:cubicBezTo>
                  <a:cubicBezTo>
                    <a:pt x="19255" y="7086"/>
                    <a:pt x="19055" y="7080"/>
                    <a:pt x="18856" y="7083"/>
                  </a:cubicBezTo>
                  <a:cubicBezTo>
                    <a:pt x="13871" y="7001"/>
                    <a:pt x="9765" y="10976"/>
                    <a:pt x="9683" y="15960"/>
                  </a:cubicBezTo>
                  <a:cubicBezTo>
                    <a:pt x="9680" y="16179"/>
                    <a:pt x="9683" y="16397"/>
                    <a:pt x="9696" y="16615"/>
                  </a:cubicBezTo>
                  <a:cubicBezTo>
                    <a:pt x="9417" y="21592"/>
                    <a:pt x="13224" y="25855"/>
                    <a:pt x="18200" y="26134"/>
                  </a:cubicBezTo>
                  <a:cubicBezTo>
                    <a:pt x="18419" y="26147"/>
                    <a:pt x="18637" y="26150"/>
                    <a:pt x="18856" y="26147"/>
                  </a:cubicBezTo>
                </a:path>
              </a:pathLst>
            </a:custGeom>
            <a:solidFill>
              <a:srgbClr val="FFFFFF"/>
            </a:solidFill>
            <a:ln w="2661" cap="flat">
              <a:noFill/>
              <a:prstDash val="solid"/>
              <a:miter/>
            </a:ln>
          </p:spPr>
          <p:txBody>
            <a:bodyPr rtlCol="0" anchor="ctr"/>
            <a:lstStyle/>
            <a:p>
              <a:endParaRPr lang="pl-PL"/>
            </a:p>
          </p:txBody>
        </p:sp>
        <p:sp>
          <p:nvSpPr>
            <p:cNvPr id="117" name="Freeform: Shape 116">
              <a:extLst>
                <a:ext uri="{FF2B5EF4-FFF2-40B4-BE49-F238E27FC236}">
                  <a16:creationId xmlns:a16="http://schemas.microsoft.com/office/drawing/2014/main" id="{3273C96B-5B61-4CD7-ABF1-042766A4AEC9}"/>
                </a:ext>
              </a:extLst>
            </p:cNvPr>
            <p:cNvSpPr/>
            <p:nvPr/>
          </p:nvSpPr>
          <p:spPr>
            <a:xfrm>
              <a:off x="11719549" y="6750860"/>
              <a:ext cx="19630" cy="26558"/>
            </a:xfrm>
            <a:custGeom>
              <a:avLst/>
              <a:gdLst>
                <a:gd name="connsiteX0" fmla="*/ 994 w 34784"/>
                <a:gd name="connsiteY0" fmla="*/ 44632 h 47062"/>
                <a:gd name="connsiteX1" fmla="*/ 994 w 34784"/>
                <a:gd name="connsiteY1" fmla="*/ 2270 h 47062"/>
                <a:gd name="connsiteX2" fmla="*/ 2711 w 34784"/>
                <a:gd name="connsiteY2" fmla="*/ 270 h 47062"/>
                <a:gd name="connsiteX3" fmla="*/ 3018 w 34784"/>
                <a:gd name="connsiteY3" fmla="*/ 273 h 47062"/>
                <a:gd name="connsiteX4" fmla="*/ 5015 w 34784"/>
                <a:gd name="connsiteY4" fmla="*/ 273 h 47062"/>
                <a:gd name="connsiteX5" fmla="*/ 7278 w 34784"/>
                <a:gd name="connsiteY5" fmla="*/ 1897 h 47062"/>
                <a:gd name="connsiteX6" fmla="*/ 9594 w 34784"/>
                <a:gd name="connsiteY6" fmla="*/ 2589 h 47062"/>
                <a:gd name="connsiteX7" fmla="*/ 19206 w 34784"/>
                <a:gd name="connsiteY7" fmla="*/ -339 h 47062"/>
                <a:gd name="connsiteX8" fmla="*/ 35771 w 34784"/>
                <a:gd name="connsiteY8" fmla="*/ 16060 h 47062"/>
                <a:gd name="connsiteX9" fmla="*/ 35768 w 34784"/>
                <a:gd name="connsiteY9" fmla="*/ 16462 h 47062"/>
                <a:gd name="connsiteX10" fmla="*/ 19558 w 34784"/>
                <a:gd name="connsiteY10" fmla="*/ 33524 h 47062"/>
                <a:gd name="connsiteX11" fmla="*/ 19073 w 34784"/>
                <a:gd name="connsiteY11" fmla="*/ 33529 h 47062"/>
                <a:gd name="connsiteX12" fmla="*/ 11085 w 34784"/>
                <a:gd name="connsiteY12" fmla="*/ 31585 h 47062"/>
                <a:gd name="connsiteX13" fmla="*/ 9009 w 34784"/>
                <a:gd name="connsiteY13" fmla="*/ 32597 h 47062"/>
                <a:gd name="connsiteX14" fmla="*/ 9009 w 34784"/>
                <a:gd name="connsiteY14" fmla="*/ 44712 h 47062"/>
                <a:gd name="connsiteX15" fmla="*/ 7347 w 34784"/>
                <a:gd name="connsiteY15" fmla="*/ 46709 h 47062"/>
                <a:gd name="connsiteX16" fmla="*/ 7012 w 34784"/>
                <a:gd name="connsiteY16" fmla="*/ 46709 h 47062"/>
                <a:gd name="connsiteX17" fmla="*/ 3124 w 34784"/>
                <a:gd name="connsiteY17" fmla="*/ 46709 h 47062"/>
                <a:gd name="connsiteX18" fmla="*/ 1103 w 34784"/>
                <a:gd name="connsiteY18" fmla="*/ 45018 h 47062"/>
                <a:gd name="connsiteX19" fmla="*/ 1101 w 34784"/>
                <a:gd name="connsiteY19" fmla="*/ 44712 h 47062"/>
                <a:gd name="connsiteX20" fmla="*/ 10340 w 34784"/>
                <a:gd name="connsiteY20" fmla="*/ 22106 h 47062"/>
                <a:gd name="connsiteX21" fmla="*/ 18328 w 34784"/>
                <a:gd name="connsiteY21" fmla="*/ 26127 h 47062"/>
                <a:gd name="connsiteX22" fmla="*/ 27064 w 34784"/>
                <a:gd name="connsiteY22" fmla="*/ 16512 h 47062"/>
                <a:gd name="connsiteX23" fmla="*/ 27061 w 34784"/>
                <a:gd name="connsiteY23" fmla="*/ 16462 h 47062"/>
                <a:gd name="connsiteX24" fmla="*/ 18328 w 34784"/>
                <a:gd name="connsiteY24" fmla="*/ 7063 h 47062"/>
                <a:gd name="connsiteX25" fmla="*/ 10340 w 34784"/>
                <a:gd name="connsiteY25" fmla="*/ 11057 h 47062"/>
                <a:gd name="connsiteX26" fmla="*/ 9781 w 34784"/>
                <a:gd name="connsiteY26" fmla="*/ 13213 h 47062"/>
                <a:gd name="connsiteX27" fmla="*/ 9781 w 34784"/>
                <a:gd name="connsiteY27" fmla="*/ 19976 h 47062"/>
                <a:gd name="connsiteX28" fmla="*/ 10340 w 34784"/>
                <a:gd name="connsiteY28" fmla="*/ 22106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784" h="47062">
                  <a:moveTo>
                    <a:pt x="994" y="44632"/>
                  </a:moveTo>
                  <a:lnTo>
                    <a:pt x="994" y="2270"/>
                  </a:lnTo>
                  <a:cubicBezTo>
                    <a:pt x="917" y="1245"/>
                    <a:pt x="1686" y="348"/>
                    <a:pt x="2711" y="270"/>
                  </a:cubicBezTo>
                  <a:cubicBezTo>
                    <a:pt x="2813" y="262"/>
                    <a:pt x="2917" y="265"/>
                    <a:pt x="3018" y="273"/>
                  </a:cubicBezTo>
                  <a:lnTo>
                    <a:pt x="5015" y="273"/>
                  </a:lnTo>
                  <a:cubicBezTo>
                    <a:pt x="6064" y="190"/>
                    <a:pt x="7022" y="875"/>
                    <a:pt x="7278" y="1897"/>
                  </a:cubicBezTo>
                  <a:cubicBezTo>
                    <a:pt x="7597" y="3228"/>
                    <a:pt x="8529" y="3415"/>
                    <a:pt x="9594" y="2589"/>
                  </a:cubicBezTo>
                  <a:cubicBezTo>
                    <a:pt x="12393" y="592"/>
                    <a:pt x="15769" y="-435"/>
                    <a:pt x="19206" y="-339"/>
                  </a:cubicBezTo>
                  <a:cubicBezTo>
                    <a:pt x="28310" y="-385"/>
                    <a:pt x="35725" y="6956"/>
                    <a:pt x="35771" y="16060"/>
                  </a:cubicBezTo>
                  <a:cubicBezTo>
                    <a:pt x="35771" y="16193"/>
                    <a:pt x="35771" y="16329"/>
                    <a:pt x="35768" y="16462"/>
                  </a:cubicBezTo>
                  <a:cubicBezTo>
                    <a:pt x="36002" y="25650"/>
                    <a:pt x="28747" y="33289"/>
                    <a:pt x="19558" y="33524"/>
                  </a:cubicBezTo>
                  <a:cubicBezTo>
                    <a:pt x="19395" y="33529"/>
                    <a:pt x="19236" y="33529"/>
                    <a:pt x="19073" y="33529"/>
                  </a:cubicBezTo>
                  <a:cubicBezTo>
                    <a:pt x="16288" y="33580"/>
                    <a:pt x="13538" y="32909"/>
                    <a:pt x="11085" y="31585"/>
                  </a:cubicBezTo>
                  <a:cubicBezTo>
                    <a:pt x="9834" y="30840"/>
                    <a:pt x="9009" y="31213"/>
                    <a:pt x="9009" y="32597"/>
                  </a:cubicBezTo>
                  <a:lnTo>
                    <a:pt x="9009" y="44712"/>
                  </a:lnTo>
                  <a:cubicBezTo>
                    <a:pt x="9102" y="45721"/>
                    <a:pt x="8356" y="46616"/>
                    <a:pt x="7347" y="46709"/>
                  </a:cubicBezTo>
                  <a:cubicBezTo>
                    <a:pt x="7235" y="46720"/>
                    <a:pt x="7123" y="46720"/>
                    <a:pt x="7012" y="46709"/>
                  </a:cubicBezTo>
                  <a:lnTo>
                    <a:pt x="3124" y="46709"/>
                  </a:lnTo>
                  <a:cubicBezTo>
                    <a:pt x="2099" y="46799"/>
                    <a:pt x="1194" y="46043"/>
                    <a:pt x="1103" y="45018"/>
                  </a:cubicBezTo>
                  <a:cubicBezTo>
                    <a:pt x="1093" y="44917"/>
                    <a:pt x="1093" y="44813"/>
                    <a:pt x="1101" y="44712"/>
                  </a:cubicBezTo>
                  <a:moveTo>
                    <a:pt x="10340" y="22106"/>
                  </a:moveTo>
                  <a:cubicBezTo>
                    <a:pt x="12148" y="24716"/>
                    <a:pt x="15154" y="26231"/>
                    <a:pt x="18328" y="26127"/>
                  </a:cubicBezTo>
                  <a:cubicBezTo>
                    <a:pt x="23395" y="25885"/>
                    <a:pt x="27306" y="21579"/>
                    <a:pt x="27064" y="16512"/>
                  </a:cubicBezTo>
                  <a:cubicBezTo>
                    <a:pt x="27064" y="16496"/>
                    <a:pt x="27061" y="16478"/>
                    <a:pt x="27061" y="16462"/>
                  </a:cubicBezTo>
                  <a:cubicBezTo>
                    <a:pt x="27210" y="11467"/>
                    <a:pt x="23320" y="7278"/>
                    <a:pt x="18328" y="7063"/>
                  </a:cubicBezTo>
                  <a:cubicBezTo>
                    <a:pt x="15165" y="6972"/>
                    <a:pt x="12166" y="8471"/>
                    <a:pt x="10340" y="11057"/>
                  </a:cubicBezTo>
                  <a:cubicBezTo>
                    <a:pt x="9924" y="11696"/>
                    <a:pt x="9727" y="12452"/>
                    <a:pt x="9781" y="13213"/>
                  </a:cubicBezTo>
                  <a:lnTo>
                    <a:pt x="9781" y="19976"/>
                  </a:lnTo>
                  <a:cubicBezTo>
                    <a:pt x="9746" y="20727"/>
                    <a:pt x="9941" y="21470"/>
                    <a:pt x="10340" y="22106"/>
                  </a:cubicBezTo>
                </a:path>
              </a:pathLst>
            </a:custGeom>
            <a:solidFill>
              <a:srgbClr val="8FDB42"/>
            </a:solidFill>
            <a:ln w="2661" cap="flat">
              <a:noFill/>
              <a:prstDash val="solid"/>
              <a:miter/>
            </a:ln>
          </p:spPr>
          <p:txBody>
            <a:bodyPr rtlCol="0" anchor="ctr"/>
            <a:lstStyle/>
            <a:p>
              <a:endParaRPr lang="pl-PL"/>
            </a:p>
          </p:txBody>
        </p:sp>
        <p:sp>
          <p:nvSpPr>
            <p:cNvPr id="118" name="Freeform: Shape 117">
              <a:extLst>
                <a:ext uri="{FF2B5EF4-FFF2-40B4-BE49-F238E27FC236}">
                  <a16:creationId xmlns:a16="http://schemas.microsoft.com/office/drawing/2014/main" id="{53E47AAA-C742-4E0F-B23C-2A96D35C0F19}"/>
                </a:ext>
              </a:extLst>
            </p:cNvPr>
            <p:cNvSpPr/>
            <p:nvPr/>
          </p:nvSpPr>
          <p:spPr>
            <a:xfrm>
              <a:off x="11741806" y="6750833"/>
              <a:ext cx="20150" cy="19139"/>
            </a:xfrm>
            <a:custGeom>
              <a:avLst/>
              <a:gdLst>
                <a:gd name="connsiteX0" fmla="*/ 18882 w 35707"/>
                <a:gd name="connsiteY0" fmla="*/ -346 h 33914"/>
                <a:gd name="connsiteX1" fmla="*/ 36695 w 35707"/>
                <a:gd name="connsiteY1" fmla="*/ 16349 h 33914"/>
                <a:gd name="connsiteX2" fmla="*/ 19833 w 35707"/>
                <a:gd name="connsiteY2" fmla="*/ 33565 h 33914"/>
                <a:gd name="connsiteX3" fmla="*/ 18882 w 35707"/>
                <a:gd name="connsiteY3" fmla="*/ 33550 h 33914"/>
                <a:gd name="connsiteX4" fmla="*/ 1008 w 35707"/>
                <a:gd name="connsiteY4" fmla="*/ 17273 h 33914"/>
                <a:gd name="connsiteX5" fmla="*/ 989 w 35707"/>
                <a:gd name="connsiteY5" fmla="*/ 16349 h 33914"/>
                <a:gd name="connsiteX6" fmla="*/ 18882 w 35707"/>
                <a:gd name="connsiteY6" fmla="*/ -346 h 33914"/>
                <a:gd name="connsiteX7" fmla="*/ 18882 w 35707"/>
                <a:gd name="connsiteY7" fmla="*/ 26147 h 33914"/>
                <a:gd name="connsiteX8" fmla="*/ 28052 w 35707"/>
                <a:gd name="connsiteY8" fmla="*/ 17158 h 33914"/>
                <a:gd name="connsiteX9" fmla="*/ 28041 w 35707"/>
                <a:gd name="connsiteY9" fmla="*/ 16615 h 33914"/>
                <a:gd name="connsiteX10" fmla="*/ 19425 w 35707"/>
                <a:gd name="connsiteY10" fmla="*/ 7094 h 33914"/>
                <a:gd name="connsiteX11" fmla="*/ 18882 w 35707"/>
                <a:gd name="connsiteY11" fmla="*/ 7083 h 33914"/>
                <a:gd name="connsiteX12" fmla="*/ 9709 w 35707"/>
                <a:gd name="connsiteY12" fmla="*/ 15960 h 33914"/>
                <a:gd name="connsiteX13" fmla="*/ 9723 w 35707"/>
                <a:gd name="connsiteY13" fmla="*/ 16615 h 33914"/>
                <a:gd name="connsiteX14" fmla="*/ 18227 w 35707"/>
                <a:gd name="connsiteY14" fmla="*/ 26134 h 33914"/>
                <a:gd name="connsiteX15" fmla="*/ 18882 w 35707"/>
                <a:gd name="connsiteY15" fmla="*/ 26147 h 33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07" h="33914">
                  <a:moveTo>
                    <a:pt x="18882" y="-346"/>
                  </a:moveTo>
                  <a:cubicBezTo>
                    <a:pt x="29346" y="-346"/>
                    <a:pt x="36695" y="7003"/>
                    <a:pt x="36695" y="16349"/>
                  </a:cubicBezTo>
                  <a:cubicBezTo>
                    <a:pt x="36793" y="25759"/>
                    <a:pt x="29242" y="33467"/>
                    <a:pt x="19833" y="33565"/>
                  </a:cubicBezTo>
                  <a:cubicBezTo>
                    <a:pt x="19516" y="33568"/>
                    <a:pt x="19199" y="33563"/>
                    <a:pt x="18882" y="33550"/>
                  </a:cubicBezTo>
                  <a:cubicBezTo>
                    <a:pt x="9451" y="33991"/>
                    <a:pt x="1450" y="26704"/>
                    <a:pt x="1008" y="17273"/>
                  </a:cubicBezTo>
                  <a:cubicBezTo>
                    <a:pt x="992" y="16967"/>
                    <a:pt x="987" y="16658"/>
                    <a:pt x="989" y="16349"/>
                  </a:cubicBezTo>
                  <a:cubicBezTo>
                    <a:pt x="989" y="7003"/>
                    <a:pt x="8391" y="-346"/>
                    <a:pt x="18882" y="-346"/>
                  </a:cubicBezTo>
                  <a:moveTo>
                    <a:pt x="18882" y="26147"/>
                  </a:moveTo>
                  <a:cubicBezTo>
                    <a:pt x="23896" y="26198"/>
                    <a:pt x="28002" y="22175"/>
                    <a:pt x="28052" y="17158"/>
                  </a:cubicBezTo>
                  <a:cubicBezTo>
                    <a:pt x="28055" y="16977"/>
                    <a:pt x="28049" y="16796"/>
                    <a:pt x="28041" y="16615"/>
                  </a:cubicBezTo>
                  <a:cubicBezTo>
                    <a:pt x="28292" y="11607"/>
                    <a:pt x="24434" y="7344"/>
                    <a:pt x="19425" y="7094"/>
                  </a:cubicBezTo>
                  <a:cubicBezTo>
                    <a:pt x="19244" y="7086"/>
                    <a:pt x="19063" y="7080"/>
                    <a:pt x="18882" y="7083"/>
                  </a:cubicBezTo>
                  <a:cubicBezTo>
                    <a:pt x="13898" y="7001"/>
                    <a:pt x="9792" y="10976"/>
                    <a:pt x="9709" y="15960"/>
                  </a:cubicBezTo>
                  <a:cubicBezTo>
                    <a:pt x="9707" y="16179"/>
                    <a:pt x="9709" y="16397"/>
                    <a:pt x="9723" y="16615"/>
                  </a:cubicBezTo>
                  <a:cubicBezTo>
                    <a:pt x="9443" y="21592"/>
                    <a:pt x="13251" y="25855"/>
                    <a:pt x="18227" y="26134"/>
                  </a:cubicBezTo>
                  <a:cubicBezTo>
                    <a:pt x="18445" y="26147"/>
                    <a:pt x="18664" y="26150"/>
                    <a:pt x="18882" y="26147"/>
                  </a:cubicBezTo>
                </a:path>
              </a:pathLst>
            </a:custGeom>
            <a:solidFill>
              <a:srgbClr val="8FDB42"/>
            </a:solidFill>
            <a:ln w="2661" cap="flat">
              <a:noFill/>
              <a:prstDash val="solid"/>
              <a:miter/>
            </a:ln>
          </p:spPr>
          <p:txBody>
            <a:bodyPr rtlCol="0" anchor="ctr"/>
            <a:lstStyle/>
            <a:p>
              <a:endParaRPr lang="pl-PL"/>
            </a:p>
          </p:txBody>
        </p:sp>
        <p:sp>
          <p:nvSpPr>
            <p:cNvPr id="119" name="Freeform: Shape 118">
              <a:extLst>
                <a:ext uri="{FF2B5EF4-FFF2-40B4-BE49-F238E27FC236}">
                  <a16:creationId xmlns:a16="http://schemas.microsoft.com/office/drawing/2014/main" id="{3A77EBE1-25C8-4842-A86D-1860DD88FE9F}"/>
                </a:ext>
              </a:extLst>
            </p:cNvPr>
            <p:cNvSpPr/>
            <p:nvPr/>
          </p:nvSpPr>
          <p:spPr>
            <a:xfrm>
              <a:off x="11764305" y="6750833"/>
              <a:ext cx="16853" cy="19128"/>
            </a:xfrm>
            <a:custGeom>
              <a:avLst/>
              <a:gdLst>
                <a:gd name="connsiteX0" fmla="*/ 16288 w 29863"/>
                <a:gd name="connsiteY0" fmla="*/ -346 h 33895"/>
                <a:gd name="connsiteX1" fmla="*/ 30266 w 29863"/>
                <a:gd name="connsiteY1" fmla="*/ 9400 h 33895"/>
                <a:gd name="connsiteX2" fmla="*/ 28376 w 29863"/>
                <a:gd name="connsiteY2" fmla="*/ 11476 h 33895"/>
                <a:gd name="connsiteX3" fmla="*/ 24275 w 29863"/>
                <a:gd name="connsiteY3" fmla="*/ 11476 h 33895"/>
                <a:gd name="connsiteX4" fmla="*/ 22065 w 29863"/>
                <a:gd name="connsiteY4" fmla="*/ 9719 h 33895"/>
                <a:gd name="connsiteX5" fmla="*/ 16048 w 29863"/>
                <a:gd name="connsiteY5" fmla="*/ 6444 h 33895"/>
                <a:gd name="connsiteX6" fmla="*/ 10723 w 29863"/>
                <a:gd name="connsiteY6" fmla="*/ 9266 h 33895"/>
                <a:gd name="connsiteX7" fmla="*/ 30852 w 29863"/>
                <a:gd name="connsiteY7" fmla="*/ 23591 h 33895"/>
                <a:gd name="connsiteX8" fmla="*/ 16687 w 29863"/>
                <a:gd name="connsiteY8" fmla="*/ 33550 h 33895"/>
                <a:gd name="connsiteX9" fmla="*/ 1058 w 29863"/>
                <a:gd name="connsiteY9" fmla="*/ 23511 h 33895"/>
                <a:gd name="connsiteX10" fmla="*/ 2868 w 29863"/>
                <a:gd name="connsiteY10" fmla="*/ 21381 h 33895"/>
                <a:gd name="connsiteX11" fmla="*/ 7128 w 29863"/>
                <a:gd name="connsiteY11" fmla="*/ 21381 h 33895"/>
                <a:gd name="connsiteX12" fmla="*/ 9338 w 29863"/>
                <a:gd name="connsiteY12" fmla="*/ 23006 h 33895"/>
                <a:gd name="connsiteX13" fmla="*/ 16873 w 29863"/>
                <a:gd name="connsiteY13" fmla="*/ 26786 h 33895"/>
                <a:gd name="connsiteX14" fmla="*/ 22385 w 29863"/>
                <a:gd name="connsiteY14" fmla="*/ 23645 h 33895"/>
                <a:gd name="connsiteX15" fmla="*/ 2256 w 29863"/>
                <a:gd name="connsiteY15" fmla="*/ 9453 h 33895"/>
                <a:gd name="connsiteX16" fmla="*/ 16128 w 29863"/>
                <a:gd name="connsiteY16" fmla="*/ -346 h 3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863" h="33895">
                  <a:moveTo>
                    <a:pt x="16288" y="-346"/>
                  </a:moveTo>
                  <a:cubicBezTo>
                    <a:pt x="24275" y="-346"/>
                    <a:pt x="28962" y="3622"/>
                    <a:pt x="30266" y="9400"/>
                  </a:cubicBezTo>
                  <a:cubicBezTo>
                    <a:pt x="30586" y="10704"/>
                    <a:pt x="29760" y="11476"/>
                    <a:pt x="28376" y="11476"/>
                  </a:cubicBezTo>
                  <a:lnTo>
                    <a:pt x="24275" y="11476"/>
                  </a:lnTo>
                  <a:cubicBezTo>
                    <a:pt x="23077" y="11476"/>
                    <a:pt x="22518" y="10837"/>
                    <a:pt x="22065" y="9719"/>
                  </a:cubicBezTo>
                  <a:cubicBezTo>
                    <a:pt x="21320" y="7642"/>
                    <a:pt x="19403" y="6444"/>
                    <a:pt x="16048" y="6444"/>
                  </a:cubicBezTo>
                  <a:cubicBezTo>
                    <a:pt x="12693" y="6444"/>
                    <a:pt x="10723" y="7562"/>
                    <a:pt x="10723" y="9266"/>
                  </a:cubicBezTo>
                  <a:cubicBezTo>
                    <a:pt x="10723" y="15364"/>
                    <a:pt x="30852" y="10971"/>
                    <a:pt x="30852" y="23591"/>
                  </a:cubicBezTo>
                  <a:cubicBezTo>
                    <a:pt x="30852" y="29982"/>
                    <a:pt x="25021" y="33550"/>
                    <a:pt x="16687" y="33550"/>
                  </a:cubicBezTo>
                  <a:cubicBezTo>
                    <a:pt x="8353" y="33550"/>
                    <a:pt x="2362" y="29928"/>
                    <a:pt x="1058" y="23511"/>
                  </a:cubicBezTo>
                  <a:cubicBezTo>
                    <a:pt x="738" y="22127"/>
                    <a:pt x="1563" y="21381"/>
                    <a:pt x="2868" y="21381"/>
                  </a:cubicBezTo>
                  <a:lnTo>
                    <a:pt x="7128" y="21381"/>
                  </a:lnTo>
                  <a:cubicBezTo>
                    <a:pt x="8153" y="21344"/>
                    <a:pt x="9067" y="22018"/>
                    <a:pt x="9338" y="23006"/>
                  </a:cubicBezTo>
                  <a:cubicBezTo>
                    <a:pt x="10853" y="25673"/>
                    <a:pt x="13827" y="27165"/>
                    <a:pt x="16873" y="26786"/>
                  </a:cubicBezTo>
                  <a:cubicBezTo>
                    <a:pt x="20255" y="26786"/>
                    <a:pt x="22385" y="25721"/>
                    <a:pt x="22385" y="23645"/>
                  </a:cubicBezTo>
                  <a:cubicBezTo>
                    <a:pt x="22385" y="17494"/>
                    <a:pt x="2256" y="22127"/>
                    <a:pt x="2256" y="9453"/>
                  </a:cubicBezTo>
                  <a:cubicBezTo>
                    <a:pt x="2256" y="3808"/>
                    <a:pt x="7075" y="-346"/>
                    <a:pt x="16128" y="-346"/>
                  </a:cubicBezTo>
                </a:path>
              </a:pathLst>
            </a:custGeom>
            <a:solidFill>
              <a:srgbClr val="8FDB42"/>
            </a:solidFill>
            <a:ln w="2661" cap="flat">
              <a:noFill/>
              <a:prstDash val="solid"/>
              <a:miter/>
            </a:ln>
          </p:spPr>
          <p:txBody>
            <a:bodyPr rtlCol="0" anchor="ctr"/>
            <a:lstStyle/>
            <a:p>
              <a:endParaRPr lang="pl-PL"/>
            </a:p>
          </p:txBody>
        </p:sp>
        <p:sp>
          <p:nvSpPr>
            <p:cNvPr id="120" name="Freeform: Shape 119">
              <a:extLst>
                <a:ext uri="{FF2B5EF4-FFF2-40B4-BE49-F238E27FC236}">
                  <a16:creationId xmlns:a16="http://schemas.microsoft.com/office/drawing/2014/main" id="{11A45402-5E6C-4AFA-A0DA-536FA45EFB17}"/>
                </a:ext>
              </a:extLst>
            </p:cNvPr>
            <p:cNvSpPr/>
            <p:nvPr/>
          </p:nvSpPr>
          <p:spPr>
            <a:xfrm>
              <a:off x="11784416" y="6742209"/>
              <a:ext cx="6552" cy="27380"/>
            </a:xfrm>
            <a:custGeom>
              <a:avLst/>
              <a:gdLst>
                <a:gd name="connsiteX0" fmla="*/ 1098 w 11611"/>
                <a:gd name="connsiteY0" fmla="*/ 5352 h 48518"/>
                <a:gd name="connsiteX1" fmla="*/ 6796 w 11611"/>
                <a:gd name="connsiteY1" fmla="*/ -346 h 48518"/>
                <a:gd name="connsiteX2" fmla="*/ 6876 w 11611"/>
                <a:gd name="connsiteY2" fmla="*/ -346 h 48518"/>
                <a:gd name="connsiteX3" fmla="*/ 12600 w 11611"/>
                <a:gd name="connsiteY3" fmla="*/ 5352 h 48518"/>
                <a:gd name="connsiteX4" fmla="*/ 6769 w 11611"/>
                <a:gd name="connsiteY4" fmla="*/ 11263 h 48518"/>
                <a:gd name="connsiteX5" fmla="*/ 989 w 11611"/>
                <a:gd name="connsiteY5" fmla="*/ 5488 h 48518"/>
                <a:gd name="connsiteX6" fmla="*/ 991 w 11611"/>
                <a:gd name="connsiteY6" fmla="*/ 5352 h 48518"/>
                <a:gd name="connsiteX7" fmla="*/ 10710 w 11611"/>
                <a:gd name="connsiteY7" fmla="*/ 17521 h 48518"/>
                <a:gd name="connsiteX8" fmla="*/ 10710 w 11611"/>
                <a:gd name="connsiteY8" fmla="*/ 46144 h 48518"/>
                <a:gd name="connsiteX9" fmla="*/ 9019 w 11611"/>
                <a:gd name="connsiteY9" fmla="*/ 48165 h 48518"/>
                <a:gd name="connsiteX10" fmla="*/ 8713 w 11611"/>
                <a:gd name="connsiteY10" fmla="*/ 48167 h 48518"/>
                <a:gd name="connsiteX11" fmla="*/ 4000 w 11611"/>
                <a:gd name="connsiteY11" fmla="*/ 48167 h 48518"/>
                <a:gd name="connsiteX12" fmla="*/ 2001 w 11611"/>
                <a:gd name="connsiteY12" fmla="*/ 46450 h 48518"/>
                <a:gd name="connsiteX13" fmla="*/ 2003 w 11611"/>
                <a:gd name="connsiteY13" fmla="*/ 46144 h 48518"/>
                <a:gd name="connsiteX14" fmla="*/ 2003 w 11611"/>
                <a:gd name="connsiteY14" fmla="*/ 17600 h 48518"/>
                <a:gd name="connsiteX15" fmla="*/ 3665 w 11611"/>
                <a:gd name="connsiteY15" fmla="*/ 15603 h 48518"/>
                <a:gd name="connsiteX16" fmla="*/ 4000 w 11611"/>
                <a:gd name="connsiteY16" fmla="*/ 15603 h 48518"/>
                <a:gd name="connsiteX17" fmla="*/ 8713 w 11611"/>
                <a:gd name="connsiteY17" fmla="*/ 15603 h 48518"/>
                <a:gd name="connsiteX18" fmla="*/ 10710 w 11611"/>
                <a:gd name="connsiteY18" fmla="*/ 17265 h 48518"/>
                <a:gd name="connsiteX19" fmla="*/ 10710 w 11611"/>
                <a:gd name="connsiteY19" fmla="*/ 17600 h 48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11" h="48518">
                  <a:moveTo>
                    <a:pt x="1098" y="5352"/>
                  </a:moveTo>
                  <a:cubicBezTo>
                    <a:pt x="1098" y="2205"/>
                    <a:pt x="3649" y="-346"/>
                    <a:pt x="6796" y="-346"/>
                  </a:cubicBezTo>
                  <a:cubicBezTo>
                    <a:pt x="6823" y="-346"/>
                    <a:pt x="6849" y="-346"/>
                    <a:pt x="6876" y="-346"/>
                  </a:cubicBezTo>
                  <a:cubicBezTo>
                    <a:pt x="10004" y="-290"/>
                    <a:pt x="12529" y="2224"/>
                    <a:pt x="12600" y="5352"/>
                  </a:cubicBezTo>
                  <a:cubicBezTo>
                    <a:pt x="12600" y="8585"/>
                    <a:pt x="10002" y="11221"/>
                    <a:pt x="6769" y="11263"/>
                  </a:cubicBezTo>
                  <a:cubicBezTo>
                    <a:pt x="3579" y="11263"/>
                    <a:pt x="991" y="8678"/>
                    <a:pt x="989" y="5488"/>
                  </a:cubicBezTo>
                  <a:cubicBezTo>
                    <a:pt x="989" y="5443"/>
                    <a:pt x="991" y="5398"/>
                    <a:pt x="991" y="5352"/>
                  </a:cubicBezTo>
                  <a:moveTo>
                    <a:pt x="10710" y="17521"/>
                  </a:moveTo>
                  <a:lnTo>
                    <a:pt x="10710" y="46144"/>
                  </a:lnTo>
                  <a:cubicBezTo>
                    <a:pt x="10800" y="47169"/>
                    <a:pt x="10044" y="48074"/>
                    <a:pt x="9019" y="48165"/>
                  </a:cubicBezTo>
                  <a:cubicBezTo>
                    <a:pt x="8918" y="48175"/>
                    <a:pt x="8814" y="48175"/>
                    <a:pt x="8713" y="48167"/>
                  </a:cubicBezTo>
                  <a:lnTo>
                    <a:pt x="4000" y="48167"/>
                  </a:lnTo>
                  <a:cubicBezTo>
                    <a:pt x="2975" y="48244"/>
                    <a:pt x="2078" y="47475"/>
                    <a:pt x="2001" y="46450"/>
                  </a:cubicBezTo>
                  <a:cubicBezTo>
                    <a:pt x="1993" y="46349"/>
                    <a:pt x="1995" y="46245"/>
                    <a:pt x="2003" y="46144"/>
                  </a:cubicBezTo>
                  <a:lnTo>
                    <a:pt x="2003" y="17600"/>
                  </a:lnTo>
                  <a:cubicBezTo>
                    <a:pt x="1910" y="16591"/>
                    <a:pt x="2656" y="15697"/>
                    <a:pt x="3665" y="15603"/>
                  </a:cubicBezTo>
                  <a:cubicBezTo>
                    <a:pt x="3776" y="15593"/>
                    <a:pt x="3888" y="15593"/>
                    <a:pt x="4000" y="15603"/>
                  </a:cubicBezTo>
                  <a:lnTo>
                    <a:pt x="8713" y="15603"/>
                  </a:lnTo>
                  <a:cubicBezTo>
                    <a:pt x="9722" y="15510"/>
                    <a:pt x="10617" y="16256"/>
                    <a:pt x="10710" y="17265"/>
                  </a:cubicBezTo>
                  <a:cubicBezTo>
                    <a:pt x="10721" y="17377"/>
                    <a:pt x="10721" y="17489"/>
                    <a:pt x="10710" y="17600"/>
                  </a:cubicBezTo>
                </a:path>
              </a:pathLst>
            </a:custGeom>
            <a:solidFill>
              <a:srgbClr val="8FDB42"/>
            </a:solidFill>
            <a:ln w="2661" cap="flat">
              <a:noFill/>
              <a:prstDash val="solid"/>
              <a:miter/>
            </a:ln>
          </p:spPr>
          <p:txBody>
            <a:bodyPr rtlCol="0" anchor="ctr"/>
            <a:lstStyle/>
            <a:p>
              <a:endParaRPr lang="pl-PL"/>
            </a:p>
          </p:txBody>
        </p:sp>
        <p:sp>
          <p:nvSpPr>
            <p:cNvPr id="121" name="Freeform: Shape 120">
              <a:extLst>
                <a:ext uri="{FF2B5EF4-FFF2-40B4-BE49-F238E27FC236}">
                  <a16:creationId xmlns:a16="http://schemas.microsoft.com/office/drawing/2014/main" id="{13E43CC5-F5AD-4EEB-B02D-E5DC3DC57D2C}"/>
                </a:ext>
              </a:extLst>
            </p:cNvPr>
            <p:cNvSpPr/>
            <p:nvPr/>
          </p:nvSpPr>
          <p:spPr>
            <a:xfrm>
              <a:off x="11793381" y="6746197"/>
              <a:ext cx="13675" cy="23794"/>
            </a:xfrm>
            <a:custGeom>
              <a:avLst/>
              <a:gdLst>
                <a:gd name="connsiteX0" fmla="*/ 1029 w 24233"/>
                <a:gd name="connsiteY0" fmla="*/ 13782 h 42164"/>
                <a:gd name="connsiteX1" fmla="*/ 1029 w 24233"/>
                <a:gd name="connsiteY1" fmla="*/ 10533 h 42164"/>
                <a:gd name="connsiteX2" fmla="*/ 2608 w 24233"/>
                <a:gd name="connsiteY2" fmla="*/ 8518 h 42164"/>
                <a:gd name="connsiteX3" fmla="*/ 2972 w 24233"/>
                <a:gd name="connsiteY3" fmla="*/ 8510 h 42164"/>
                <a:gd name="connsiteX4" fmla="*/ 5049 w 24233"/>
                <a:gd name="connsiteY4" fmla="*/ 8510 h 42164"/>
                <a:gd name="connsiteX5" fmla="*/ 5741 w 24233"/>
                <a:gd name="connsiteY5" fmla="*/ 7817 h 42164"/>
                <a:gd name="connsiteX6" fmla="*/ 5741 w 24233"/>
                <a:gd name="connsiteY6" fmla="*/ 3105 h 42164"/>
                <a:gd name="connsiteX7" fmla="*/ 7419 w 24233"/>
                <a:gd name="connsiteY7" fmla="*/ 921 h 42164"/>
                <a:gd name="connsiteX8" fmla="*/ 11892 w 24233"/>
                <a:gd name="connsiteY8" fmla="*/ -224 h 42164"/>
                <a:gd name="connsiteX9" fmla="*/ 14043 w 24233"/>
                <a:gd name="connsiteY9" fmla="*/ 684 h 42164"/>
                <a:gd name="connsiteX10" fmla="*/ 14155 w 24233"/>
                <a:gd name="connsiteY10" fmla="*/ 1480 h 42164"/>
                <a:gd name="connsiteX11" fmla="*/ 14155 w 24233"/>
                <a:gd name="connsiteY11" fmla="*/ 7871 h 42164"/>
                <a:gd name="connsiteX12" fmla="*/ 14794 w 24233"/>
                <a:gd name="connsiteY12" fmla="*/ 8563 h 42164"/>
                <a:gd name="connsiteX13" fmla="*/ 14848 w 24233"/>
                <a:gd name="connsiteY13" fmla="*/ 8563 h 42164"/>
                <a:gd name="connsiteX14" fmla="*/ 22835 w 24233"/>
                <a:gd name="connsiteY14" fmla="*/ 8563 h 42164"/>
                <a:gd name="connsiteX15" fmla="*/ 24859 w 24233"/>
                <a:gd name="connsiteY15" fmla="*/ 10251 h 42164"/>
                <a:gd name="connsiteX16" fmla="*/ 24859 w 24233"/>
                <a:gd name="connsiteY16" fmla="*/ 10587 h 42164"/>
                <a:gd name="connsiteX17" fmla="*/ 24859 w 24233"/>
                <a:gd name="connsiteY17" fmla="*/ 13888 h 42164"/>
                <a:gd name="connsiteX18" fmla="*/ 23171 w 24233"/>
                <a:gd name="connsiteY18" fmla="*/ 15912 h 42164"/>
                <a:gd name="connsiteX19" fmla="*/ 22835 w 24233"/>
                <a:gd name="connsiteY19" fmla="*/ 15912 h 42164"/>
                <a:gd name="connsiteX20" fmla="*/ 14848 w 24233"/>
                <a:gd name="connsiteY20" fmla="*/ 15912 h 42164"/>
                <a:gd name="connsiteX21" fmla="*/ 14150 w 24233"/>
                <a:gd name="connsiteY21" fmla="*/ 16545 h 42164"/>
                <a:gd name="connsiteX22" fmla="*/ 14155 w 24233"/>
                <a:gd name="connsiteY22" fmla="*/ 16657 h 42164"/>
                <a:gd name="connsiteX23" fmla="*/ 14155 w 24233"/>
                <a:gd name="connsiteY23" fmla="*/ 30157 h 42164"/>
                <a:gd name="connsiteX24" fmla="*/ 17590 w 24233"/>
                <a:gd name="connsiteY24" fmla="*/ 34177 h 42164"/>
                <a:gd name="connsiteX25" fmla="*/ 22436 w 24233"/>
                <a:gd name="connsiteY25" fmla="*/ 33485 h 42164"/>
                <a:gd name="connsiteX26" fmla="*/ 24683 w 24233"/>
                <a:gd name="connsiteY26" fmla="*/ 34454 h 42164"/>
                <a:gd name="connsiteX27" fmla="*/ 24806 w 24233"/>
                <a:gd name="connsiteY27" fmla="*/ 35109 h 42164"/>
                <a:gd name="connsiteX28" fmla="*/ 25178 w 24233"/>
                <a:gd name="connsiteY28" fmla="*/ 38384 h 42164"/>
                <a:gd name="connsiteX29" fmla="*/ 23639 w 24233"/>
                <a:gd name="connsiteY29" fmla="*/ 40754 h 42164"/>
                <a:gd name="connsiteX30" fmla="*/ 23634 w 24233"/>
                <a:gd name="connsiteY30" fmla="*/ 40754 h 42164"/>
                <a:gd name="connsiteX31" fmla="*/ 15966 w 24233"/>
                <a:gd name="connsiteY31" fmla="*/ 41819 h 42164"/>
                <a:gd name="connsiteX32" fmla="*/ 5315 w 24233"/>
                <a:gd name="connsiteY32" fmla="*/ 30343 h 42164"/>
                <a:gd name="connsiteX33" fmla="*/ 5315 w 24233"/>
                <a:gd name="connsiteY33" fmla="*/ 16657 h 42164"/>
                <a:gd name="connsiteX34" fmla="*/ 4703 w 24233"/>
                <a:gd name="connsiteY34" fmla="*/ 15859 h 42164"/>
                <a:gd name="connsiteX35" fmla="*/ 2946 w 24233"/>
                <a:gd name="connsiteY35" fmla="*/ 15859 h 42164"/>
                <a:gd name="connsiteX36" fmla="*/ 994 w 24233"/>
                <a:gd name="connsiteY36" fmla="*/ 14200 h 42164"/>
                <a:gd name="connsiteX37" fmla="*/ 1002 w 24233"/>
                <a:gd name="connsiteY37" fmla="*/ 13835 h 42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233" h="42164">
                  <a:moveTo>
                    <a:pt x="1029" y="13782"/>
                  </a:moveTo>
                  <a:lnTo>
                    <a:pt x="1029" y="10533"/>
                  </a:lnTo>
                  <a:cubicBezTo>
                    <a:pt x="909" y="9540"/>
                    <a:pt x="1614" y="8637"/>
                    <a:pt x="2608" y="8518"/>
                  </a:cubicBezTo>
                  <a:cubicBezTo>
                    <a:pt x="2727" y="8502"/>
                    <a:pt x="2850" y="8499"/>
                    <a:pt x="2972" y="8510"/>
                  </a:cubicBezTo>
                  <a:lnTo>
                    <a:pt x="5049" y="8510"/>
                  </a:lnTo>
                  <a:cubicBezTo>
                    <a:pt x="5432" y="8510"/>
                    <a:pt x="5741" y="8201"/>
                    <a:pt x="5741" y="7817"/>
                  </a:cubicBezTo>
                  <a:lnTo>
                    <a:pt x="5741" y="3105"/>
                  </a:lnTo>
                  <a:cubicBezTo>
                    <a:pt x="5630" y="2045"/>
                    <a:pt x="6367" y="1086"/>
                    <a:pt x="7419" y="921"/>
                  </a:cubicBezTo>
                  <a:lnTo>
                    <a:pt x="11892" y="-224"/>
                  </a:lnTo>
                  <a:cubicBezTo>
                    <a:pt x="12736" y="-567"/>
                    <a:pt x="13700" y="-160"/>
                    <a:pt x="14043" y="684"/>
                  </a:cubicBezTo>
                  <a:cubicBezTo>
                    <a:pt x="14145" y="937"/>
                    <a:pt x="14184" y="1209"/>
                    <a:pt x="14155" y="1480"/>
                  </a:cubicBezTo>
                  <a:lnTo>
                    <a:pt x="14155" y="7871"/>
                  </a:lnTo>
                  <a:cubicBezTo>
                    <a:pt x="14139" y="8238"/>
                    <a:pt x="14427" y="8547"/>
                    <a:pt x="14794" y="8563"/>
                  </a:cubicBezTo>
                  <a:cubicBezTo>
                    <a:pt x="14810" y="8563"/>
                    <a:pt x="14829" y="8563"/>
                    <a:pt x="14848" y="8563"/>
                  </a:cubicBezTo>
                  <a:lnTo>
                    <a:pt x="22835" y="8563"/>
                  </a:lnTo>
                  <a:cubicBezTo>
                    <a:pt x="23861" y="8470"/>
                    <a:pt x="24766" y="9226"/>
                    <a:pt x="24859" y="10251"/>
                  </a:cubicBezTo>
                  <a:cubicBezTo>
                    <a:pt x="24870" y="10363"/>
                    <a:pt x="24870" y="10475"/>
                    <a:pt x="24859" y="10587"/>
                  </a:cubicBezTo>
                  <a:lnTo>
                    <a:pt x="24859" y="13888"/>
                  </a:lnTo>
                  <a:cubicBezTo>
                    <a:pt x="24952" y="14913"/>
                    <a:pt x="24196" y="15819"/>
                    <a:pt x="23171" y="15912"/>
                  </a:cubicBezTo>
                  <a:cubicBezTo>
                    <a:pt x="23059" y="15922"/>
                    <a:pt x="22947" y="15922"/>
                    <a:pt x="22835" y="15912"/>
                  </a:cubicBezTo>
                  <a:lnTo>
                    <a:pt x="14848" y="15912"/>
                  </a:lnTo>
                  <a:cubicBezTo>
                    <a:pt x="14480" y="15893"/>
                    <a:pt x="14169" y="16178"/>
                    <a:pt x="14150" y="16545"/>
                  </a:cubicBezTo>
                  <a:cubicBezTo>
                    <a:pt x="14150" y="16583"/>
                    <a:pt x="14150" y="16620"/>
                    <a:pt x="14155" y="16657"/>
                  </a:cubicBezTo>
                  <a:lnTo>
                    <a:pt x="14155" y="30157"/>
                  </a:lnTo>
                  <a:cubicBezTo>
                    <a:pt x="14155" y="32819"/>
                    <a:pt x="15034" y="34177"/>
                    <a:pt x="17590" y="34177"/>
                  </a:cubicBezTo>
                  <a:cubicBezTo>
                    <a:pt x="19230" y="34175"/>
                    <a:pt x="20860" y="33940"/>
                    <a:pt x="22436" y="33485"/>
                  </a:cubicBezTo>
                  <a:cubicBezTo>
                    <a:pt x="23325" y="33131"/>
                    <a:pt x="24332" y="33565"/>
                    <a:pt x="24683" y="34454"/>
                  </a:cubicBezTo>
                  <a:cubicBezTo>
                    <a:pt x="24766" y="34662"/>
                    <a:pt x="24808" y="34886"/>
                    <a:pt x="24806" y="35109"/>
                  </a:cubicBezTo>
                  <a:lnTo>
                    <a:pt x="25178" y="38384"/>
                  </a:lnTo>
                  <a:cubicBezTo>
                    <a:pt x="25407" y="39463"/>
                    <a:pt x="24718" y="40522"/>
                    <a:pt x="23639" y="40754"/>
                  </a:cubicBezTo>
                  <a:cubicBezTo>
                    <a:pt x="23639" y="40754"/>
                    <a:pt x="23637" y="40754"/>
                    <a:pt x="23634" y="40754"/>
                  </a:cubicBezTo>
                  <a:cubicBezTo>
                    <a:pt x="21139" y="41462"/>
                    <a:pt x="18559" y="41822"/>
                    <a:pt x="15966" y="41819"/>
                  </a:cubicBezTo>
                  <a:cubicBezTo>
                    <a:pt x="10241" y="41819"/>
                    <a:pt x="5315" y="38943"/>
                    <a:pt x="5315" y="30343"/>
                  </a:cubicBezTo>
                  <a:lnTo>
                    <a:pt x="5315" y="16657"/>
                  </a:lnTo>
                  <a:cubicBezTo>
                    <a:pt x="5363" y="16269"/>
                    <a:pt x="5092" y="15914"/>
                    <a:pt x="4703" y="15859"/>
                  </a:cubicBezTo>
                  <a:lnTo>
                    <a:pt x="2946" y="15859"/>
                  </a:lnTo>
                  <a:cubicBezTo>
                    <a:pt x="1950" y="15938"/>
                    <a:pt x="1076" y="15198"/>
                    <a:pt x="994" y="14200"/>
                  </a:cubicBezTo>
                  <a:cubicBezTo>
                    <a:pt x="986" y="14080"/>
                    <a:pt x="986" y="13957"/>
                    <a:pt x="1002" y="13835"/>
                  </a:cubicBezTo>
                </a:path>
              </a:pathLst>
            </a:custGeom>
            <a:solidFill>
              <a:srgbClr val="8FDB42"/>
            </a:solidFill>
            <a:ln w="2661" cap="flat">
              <a:noFill/>
              <a:prstDash val="solid"/>
              <a:miter/>
            </a:ln>
          </p:spPr>
          <p:txBody>
            <a:bodyPr rtlCol="0" anchor="ctr"/>
            <a:lstStyle/>
            <a:p>
              <a:endParaRPr lang="pl-PL"/>
            </a:p>
          </p:txBody>
        </p:sp>
        <p:sp>
          <p:nvSpPr>
            <p:cNvPr id="122" name="Freeform: Shape 121">
              <a:extLst>
                <a:ext uri="{FF2B5EF4-FFF2-40B4-BE49-F238E27FC236}">
                  <a16:creationId xmlns:a16="http://schemas.microsoft.com/office/drawing/2014/main" id="{50371354-707A-4E81-B293-335B098597B2}"/>
                </a:ext>
              </a:extLst>
            </p:cNvPr>
            <p:cNvSpPr/>
            <p:nvPr/>
          </p:nvSpPr>
          <p:spPr>
            <a:xfrm>
              <a:off x="11809766" y="6742209"/>
              <a:ext cx="6552" cy="27380"/>
            </a:xfrm>
            <a:custGeom>
              <a:avLst/>
              <a:gdLst>
                <a:gd name="connsiteX0" fmla="*/ 991 w 11611"/>
                <a:gd name="connsiteY0" fmla="*/ 5352 h 48518"/>
                <a:gd name="connsiteX1" fmla="*/ 6689 w 11611"/>
                <a:gd name="connsiteY1" fmla="*/ -346 h 48518"/>
                <a:gd name="connsiteX2" fmla="*/ 6769 w 11611"/>
                <a:gd name="connsiteY2" fmla="*/ -346 h 48518"/>
                <a:gd name="connsiteX3" fmla="*/ 12600 w 11611"/>
                <a:gd name="connsiteY3" fmla="*/ 5352 h 48518"/>
                <a:gd name="connsiteX4" fmla="*/ 6769 w 11611"/>
                <a:gd name="connsiteY4" fmla="*/ 11263 h 48518"/>
                <a:gd name="connsiteX5" fmla="*/ 989 w 11611"/>
                <a:gd name="connsiteY5" fmla="*/ 5488 h 48518"/>
                <a:gd name="connsiteX6" fmla="*/ 991 w 11611"/>
                <a:gd name="connsiteY6" fmla="*/ 5352 h 48518"/>
                <a:gd name="connsiteX7" fmla="*/ 10710 w 11611"/>
                <a:gd name="connsiteY7" fmla="*/ 17521 h 48518"/>
                <a:gd name="connsiteX8" fmla="*/ 10710 w 11611"/>
                <a:gd name="connsiteY8" fmla="*/ 46144 h 48518"/>
                <a:gd name="connsiteX9" fmla="*/ 9019 w 11611"/>
                <a:gd name="connsiteY9" fmla="*/ 48165 h 48518"/>
                <a:gd name="connsiteX10" fmla="*/ 8713 w 11611"/>
                <a:gd name="connsiteY10" fmla="*/ 48167 h 48518"/>
                <a:gd name="connsiteX11" fmla="*/ 4000 w 11611"/>
                <a:gd name="connsiteY11" fmla="*/ 48167 h 48518"/>
                <a:gd name="connsiteX12" fmla="*/ 2001 w 11611"/>
                <a:gd name="connsiteY12" fmla="*/ 46450 h 48518"/>
                <a:gd name="connsiteX13" fmla="*/ 2003 w 11611"/>
                <a:gd name="connsiteY13" fmla="*/ 46144 h 48518"/>
                <a:gd name="connsiteX14" fmla="*/ 2003 w 11611"/>
                <a:gd name="connsiteY14" fmla="*/ 17600 h 48518"/>
                <a:gd name="connsiteX15" fmla="*/ 3665 w 11611"/>
                <a:gd name="connsiteY15" fmla="*/ 15603 h 48518"/>
                <a:gd name="connsiteX16" fmla="*/ 4000 w 11611"/>
                <a:gd name="connsiteY16" fmla="*/ 15603 h 48518"/>
                <a:gd name="connsiteX17" fmla="*/ 8713 w 11611"/>
                <a:gd name="connsiteY17" fmla="*/ 15603 h 48518"/>
                <a:gd name="connsiteX18" fmla="*/ 10710 w 11611"/>
                <a:gd name="connsiteY18" fmla="*/ 17265 h 48518"/>
                <a:gd name="connsiteX19" fmla="*/ 10710 w 11611"/>
                <a:gd name="connsiteY19" fmla="*/ 17600 h 48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11" h="48518">
                  <a:moveTo>
                    <a:pt x="991" y="5352"/>
                  </a:moveTo>
                  <a:cubicBezTo>
                    <a:pt x="991" y="2205"/>
                    <a:pt x="3542" y="-346"/>
                    <a:pt x="6689" y="-346"/>
                  </a:cubicBezTo>
                  <a:cubicBezTo>
                    <a:pt x="6716" y="-346"/>
                    <a:pt x="6743" y="-346"/>
                    <a:pt x="6769" y="-346"/>
                  </a:cubicBezTo>
                  <a:cubicBezTo>
                    <a:pt x="9938" y="-346"/>
                    <a:pt x="12529" y="2184"/>
                    <a:pt x="12600" y="5352"/>
                  </a:cubicBezTo>
                  <a:cubicBezTo>
                    <a:pt x="12600" y="8585"/>
                    <a:pt x="10002" y="11221"/>
                    <a:pt x="6769" y="11263"/>
                  </a:cubicBezTo>
                  <a:cubicBezTo>
                    <a:pt x="3579" y="11263"/>
                    <a:pt x="991" y="8678"/>
                    <a:pt x="989" y="5488"/>
                  </a:cubicBezTo>
                  <a:cubicBezTo>
                    <a:pt x="989" y="5443"/>
                    <a:pt x="991" y="5398"/>
                    <a:pt x="991" y="5352"/>
                  </a:cubicBezTo>
                  <a:moveTo>
                    <a:pt x="10710" y="17521"/>
                  </a:moveTo>
                  <a:lnTo>
                    <a:pt x="10710" y="46144"/>
                  </a:lnTo>
                  <a:cubicBezTo>
                    <a:pt x="10800" y="47169"/>
                    <a:pt x="10044" y="48074"/>
                    <a:pt x="9019" y="48165"/>
                  </a:cubicBezTo>
                  <a:cubicBezTo>
                    <a:pt x="8918" y="48175"/>
                    <a:pt x="8814" y="48175"/>
                    <a:pt x="8713" y="48167"/>
                  </a:cubicBezTo>
                  <a:lnTo>
                    <a:pt x="4000" y="48167"/>
                  </a:lnTo>
                  <a:cubicBezTo>
                    <a:pt x="2975" y="48244"/>
                    <a:pt x="2078" y="47475"/>
                    <a:pt x="2001" y="46450"/>
                  </a:cubicBezTo>
                  <a:cubicBezTo>
                    <a:pt x="1993" y="46349"/>
                    <a:pt x="1995" y="46245"/>
                    <a:pt x="2003" y="46144"/>
                  </a:cubicBezTo>
                  <a:lnTo>
                    <a:pt x="2003" y="17600"/>
                  </a:lnTo>
                  <a:cubicBezTo>
                    <a:pt x="1910" y="16591"/>
                    <a:pt x="2656" y="15697"/>
                    <a:pt x="3665" y="15603"/>
                  </a:cubicBezTo>
                  <a:cubicBezTo>
                    <a:pt x="3777" y="15593"/>
                    <a:pt x="3888" y="15593"/>
                    <a:pt x="4000" y="15603"/>
                  </a:cubicBezTo>
                  <a:lnTo>
                    <a:pt x="8713" y="15603"/>
                  </a:lnTo>
                  <a:cubicBezTo>
                    <a:pt x="9722" y="15510"/>
                    <a:pt x="10617" y="16256"/>
                    <a:pt x="10710" y="17265"/>
                  </a:cubicBezTo>
                  <a:cubicBezTo>
                    <a:pt x="10721" y="17377"/>
                    <a:pt x="10721" y="17489"/>
                    <a:pt x="10710" y="17600"/>
                  </a:cubicBezTo>
                </a:path>
              </a:pathLst>
            </a:custGeom>
            <a:solidFill>
              <a:srgbClr val="8FDB42"/>
            </a:solidFill>
            <a:ln w="2661" cap="flat">
              <a:noFill/>
              <a:prstDash val="solid"/>
              <a:miter/>
            </a:ln>
          </p:spPr>
          <p:txBody>
            <a:bodyPr rtlCol="0" anchor="ctr"/>
            <a:lstStyle/>
            <a:p>
              <a:endParaRPr lang="pl-PL"/>
            </a:p>
          </p:txBody>
        </p:sp>
        <p:sp>
          <p:nvSpPr>
            <p:cNvPr id="123" name="Freeform: Shape 122">
              <a:extLst>
                <a:ext uri="{FF2B5EF4-FFF2-40B4-BE49-F238E27FC236}">
                  <a16:creationId xmlns:a16="http://schemas.microsoft.com/office/drawing/2014/main" id="{4135C00E-C2DD-49AA-90D0-C6118985BE63}"/>
                </a:ext>
              </a:extLst>
            </p:cNvPr>
            <p:cNvSpPr/>
            <p:nvPr/>
          </p:nvSpPr>
          <p:spPr>
            <a:xfrm>
              <a:off x="11818135" y="6751161"/>
              <a:ext cx="19391" cy="18427"/>
            </a:xfrm>
            <a:custGeom>
              <a:avLst/>
              <a:gdLst>
                <a:gd name="connsiteX0" fmla="*/ 3041 w 34361"/>
                <a:gd name="connsiteY0" fmla="*/ -340 h 32653"/>
                <a:gd name="connsiteX1" fmla="*/ 8766 w 34361"/>
                <a:gd name="connsiteY1" fmla="*/ -340 h 32653"/>
                <a:gd name="connsiteX2" fmla="*/ 11029 w 34361"/>
                <a:gd name="connsiteY2" fmla="*/ 1364 h 32653"/>
                <a:gd name="connsiteX3" fmla="*/ 17606 w 34361"/>
                <a:gd name="connsiteY3" fmla="*/ 22665 h 32653"/>
                <a:gd name="connsiteX4" fmla="*/ 19257 w 34361"/>
                <a:gd name="connsiteY4" fmla="*/ 22665 h 32653"/>
                <a:gd name="connsiteX5" fmla="*/ 26020 w 34361"/>
                <a:gd name="connsiteY5" fmla="*/ 1364 h 32653"/>
                <a:gd name="connsiteX6" fmla="*/ 28230 w 34361"/>
                <a:gd name="connsiteY6" fmla="*/ -340 h 32653"/>
                <a:gd name="connsiteX7" fmla="*/ 33555 w 34361"/>
                <a:gd name="connsiteY7" fmla="*/ -340 h 32653"/>
                <a:gd name="connsiteX8" fmla="*/ 35179 w 34361"/>
                <a:gd name="connsiteY8" fmla="*/ 1976 h 32653"/>
                <a:gd name="connsiteX9" fmla="*/ 23623 w 34361"/>
                <a:gd name="connsiteY9" fmla="*/ 30546 h 32653"/>
                <a:gd name="connsiteX10" fmla="*/ 20961 w 34361"/>
                <a:gd name="connsiteY10" fmla="*/ 32304 h 32653"/>
                <a:gd name="connsiteX11" fmla="*/ 15130 w 34361"/>
                <a:gd name="connsiteY11" fmla="*/ 32304 h 32653"/>
                <a:gd name="connsiteX12" fmla="*/ 12467 w 34361"/>
                <a:gd name="connsiteY12" fmla="*/ 30546 h 32653"/>
                <a:gd name="connsiteX13" fmla="*/ 1178 w 34361"/>
                <a:gd name="connsiteY13" fmla="*/ 1923 h 32653"/>
                <a:gd name="connsiteX14" fmla="*/ 2748 w 34361"/>
                <a:gd name="connsiteY14" fmla="*/ -340 h 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361" h="32653">
                  <a:moveTo>
                    <a:pt x="3041" y="-340"/>
                  </a:moveTo>
                  <a:lnTo>
                    <a:pt x="8766" y="-340"/>
                  </a:lnTo>
                  <a:cubicBezTo>
                    <a:pt x="9839" y="-417"/>
                    <a:pt x="10806" y="310"/>
                    <a:pt x="11029" y="1364"/>
                  </a:cubicBezTo>
                  <a:lnTo>
                    <a:pt x="17606" y="22665"/>
                  </a:lnTo>
                  <a:cubicBezTo>
                    <a:pt x="18005" y="23757"/>
                    <a:pt x="18884" y="23757"/>
                    <a:pt x="19257" y="22665"/>
                  </a:cubicBezTo>
                  <a:lnTo>
                    <a:pt x="26020" y="1364"/>
                  </a:lnTo>
                  <a:cubicBezTo>
                    <a:pt x="26230" y="326"/>
                    <a:pt x="27173" y="-401"/>
                    <a:pt x="28230" y="-340"/>
                  </a:cubicBezTo>
                  <a:lnTo>
                    <a:pt x="33555" y="-340"/>
                  </a:lnTo>
                  <a:cubicBezTo>
                    <a:pt x="35046" y="-340"/>
                    <a:pt x="35685" y="592"/>
                    <a:pt x="35179" y="1976"/>
                  </a:cubicBezTo>
                  <a:lnTo>
                    <a:pt x="23623" y="30546"/>
                  </a:lnTo>
                  <a:cubicBezTo>
                    <a:pt x="23224" y="31657"/>
                    <a:pt x="22140" y="32373"/>
                    <a:pt x="20961" y="32304"/>
                  </a:cubicBezTo>
                  <a:lnTo>
                    <a:pt x="15130" y="32304"/>
                  </a:lnTo>
                  <a:cubicBezTo>
                    <a:pt x="13950" y="32373"/>
                    <a:pt x="12866" y="31657"/>
                    <a:pt x="12467" y="30546"/>
                  </a:cubicBezTo>
                  <a:lnTo>
                    <a:pt x="1178" y="1923"/>
                  </a:lnTo>
                  <a:cubicBezTo>
                    <a:pt x="672" y="592"/>
                    <a:pt x="1178" y="-340"/>
                    <a:pt x="2748" y="-340"/>
                  </a:cubicBezTo>
                </a:path>
              </a:pathLst>
            </a:custGeom>
            <a:solidFill>
              <a:srgbClr val="8FDB42"/>
            </a:solidFill>
            <a:ln w="2661" cap="flat">
              <a:noFill/>
              <a:prstDash val="solid"/>
              <a:miter/>
            </a:ln>
          </p:spPr>
          <p:txBody>
            <a:bodyPr rtlCol="0" anchor="ctr"/>
            <a:lstStyle/>
            <a:p>
              <a:endParaRPr lang="pl-PL"/>
            </a:p>
          </p:txBody>
        </p:sp>
        <p:sp>
          <p:nvSpPr>
            <p:cNvPr id="124" name="Freeform: Shape 123">
              <a:extLst>
                <a:ext uri="{FF2B5EF4-FFF2-40B4-BE49-F238E27FC236}">
                  <a16:creationId xmlns:a16="http://schemas.microsoft.com/office/drawing/2014/main" id="{81110520-1F1C-41CE-B0F7-A519190470F2}"/>
                </a:ext>
              </a:extLst>
            </p:cNvPr>
            <p:cNvSpPr/>
            <p:nvPr/>
          </p:nvSpPr>
          <p:spPr>
            <a:xfrm>
              <a:off x="11839093" y="6750822"/>
              <a:ext cx="18454" cy="19157"/>
            </a:xfrm>
            <a:custGeom>
              <a:avLst/>
              <a:gdLst>
                <a:gd name="connsiteX0" fmla="*/ 17931 w 32701"/>
                <a:gd name="connsiteY0" fmla="*/ -324 h 33946"/>
                <a:gd name="connsiteX1" fmla="*/ 33689 w 32701"/>
                <a:gd name="connsiteY1" fmla="*/ 15867 h 33946"/>
                <a:gd name="connsiteX2" fmla="*/ 33614 w 32701"/>
                <a:gd name="connsiteY2" fmla="*/ 17196 h 33946"/>
                <a:gd name="connsiteX3" fmla="*/ 31809 w 32701"/>
                <a:gd name="connsiteY3" fmla="*/ 19012 h 33946"/>
                <a:gd name="connsiteX4" fmla="*/ 31670 w 32701"/>
                <a:gd name="connsiteY4" fmla="*/ 19006 h 33946"/>
                <a:gd name="connsiteX5" fmla="*/ 11568 w 32701"/>
                <a:gd name="connsiteY5" fmla="*/ 19006 h 33946"/>
                <a:gd name="connsiteX6" fmla="*/ 10130 w 32701"/>
                <a:gd name="connsiteY6" fmla="*/ 20950 h 33946"/>
                <a:gd name="connsiteX7" fmla="*/ 18118 w 32701"/>
                <a:gd name="connsiteY7" fmla="*/ 26488 h 33946"/>
                <a:gd name="connsiteX8" fmla="*/ 24455 w 32701"/>
                <a:gd name="connsiteY8" fmla="*/ 23613 h 33946"/>
                <a:gd name="connsiteX9" fmla="*/ 26771 w 32701"/>
                <a:gd name="connsiteY9" fmla="*/ 22148 h 33946"/>
                <a:gd name="connsiteX10" fmla="*/ 31058 w 32701"/>
                <a:gd name="connsiteY10" fmla="*/ 22148 h 33946"/>
                <a:gd name="connsiteX11" fmla="*/ 32789 w 32701"/>
                <a:gd name="connsiteY11" fmla="*/ 24358 h 33946"/>
                <a:gd name="connsiteX12" fmla="*/ 18118 w 32701"/>
                <a:gd name="connsiteY12" fmla="*/ 33571 h 33946"/>
                <a:gd name="connsiteX13" fmla="*/ 994 w 32701"/>
                <a:gd name="connsiteY13" fmla="*/ 17371 h 33946"/>
                <a:gd name="connsiteX14" fmla="*/ 997 w 32701"/>
                <a:gd name="connsiteY14" fmla="*/ 16370 h 33946"/>
                <a:gd name="connsiteX15" fmla="*/ 16866 w 32701"/>
                <a:gd name="connsiteY15" fmla="*/ -340 h 33946"/>
                <a:gd name="connsiteX16" fmla="*/ 18118 w 32701"/>
                <a:gd name="connsiteY16" fmla="*/ -324 h 33946"/>
                <a:gd name="connsiteX17" fmla="*/ 12020 w 32701"/>
                <a:gd name="connsiteY17" fmla="*/ 13362 h 33946"/>
                <a:gd name="connsiteX18" fmla="*/ 23257 w 32701"/>
                <a:gd name="connsiteY18" fmla="*/ 13362 h 33946"/>
                <a:gd name="connsiteX19" fmla="*/ 24774 w 32701"/>
                <a:gd name="connsiteY19" fmla="*/ 11365 h 33946"/>
                <a:gd name="connsiteX20" fmla="*/ 17984 w 32701"/>
                <a:gd name="connsiteY20" fmla="*/ 6705 h 33946"/>
                <a:gd name="connsiteX21" fmla="*/ 10582 w 32701"/>
                <a:gd name="connsiteY21" fmla="*/ 11285 h 33946"/>
                <a:gd name="connsiteX22" fmla="*/ 12020 w 32701"/>
                <a:gd name="connsiteY22" fmla="*/ 13362 h 3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701" h="33946">
                  <a:moveTo>
                    <a:pt x="17931" y="-324"/>
                  </a:moveTo>
                  <a:cubicBezTo>
                    <a:pt x="26753" y="-204"/>
                    <a:pt x="33809" y="7046"/>
                    <a:pt x="33689" y="15867"/>
                  </a:cubicBezTo>
                  <a:cubicBezTo>
                    <a:pt x="33681" y="16312"/>
                    <a:pt x="33657" y="16754"/>
                    <a:pt x="33614" y="17196"/>
                  </a:cubicBezTo>
                  <a:cubicBezTo>
                    <a:pt x="33617" y="18197"/>
                    <a:pt x="32807" y="19009"/>
                    <a:pt x="31809" y="19012"/>
                  </a:cubicBezTo>
                  <a:cubicBezTo>
                    <a:pt x="31764" y="19012"/>
                    <a:pt x="31716" y="19009"/>
                    <a:pt x="31670" y="19006"/>
                  </a:cubicBezTo>
                  <a:lnTo>
                    <a:pt x="11568" y="19006"/>
                  </a:lnTo>
                  <a:cubicBezTo>
                    <a:pt x="10369" y="19006"/>
                    <a:pt x="9624" y="19778"/>
                    <a:pt x="10130" y="20950"/>
                  </a:cubicBezTo>
                  <a:cubicBezTo>
                    <a:pt x="11272" y="24361"/>
                    <a:pt x="14523" y="26616"/>
                    <a:pt x="18118" y="26488"/>
                  </a:cubicBezTo>
                  <a:cubicBezTo>
                    <a:pt x="20589" y="26709"/>
                    <a:pt x="22996" y="25618"/>
                    <a:pt x="24455" y="23613"/>
                  </a:cubicBezTo>
                  <a:cubicBezTo>
                    <a:pt x="24897" y="22734"/>
                    <a:pt x="25789" y="22172"/>
                    <a:pt x="26771" y="22148"/>
                  </a:cubicBezTo>
                  <a:lnTo>
                    <a:pt x="31058" y="22148"/>
                  </a:lnTo>
                  <a:cubicBezTo>
                    <a:pt x="32416" y="22148"/>
                    <a:pt x="33295" y="23027"/>
                    <a:pt x="32789" y="24358"/>
                  </a:cubicBezTo>
                  <a:cubicBezTo>
                    <a:pt x="30387" y="30264"/>
                    <a:pt x="24479" y="33973"/>
                    <a:pt x="18118" y="33571"/>
                  </a:cubicBezTo>
                  <a:cubicBezTo>
                    <a:pt x="8916" y="33826"/>
                    <a:pt x="1250" y="26573"/>
                    <a:pt x="994" y="17371"/>
                  </a:cubicBezTo>
                  <a:cubicBezTo>
                    <a:pt x="986" y="17036"/>
                    <a:pt x="986" y="16703"/>
                    <a:pt x="997" y="16370"/>
                  </a:cubicBezTo>
                  <a:cubicBezTo>
                    <a:pt x="765" y="7373"/>
                    <a:pt x="7869" y="-109"/>
                    <a:pt x="16866" y="-340"/>
                  </a:cubicBezTo>
                  <a:cubicBezTo>
                    <a:pt x="17284" y="-351"/>
                    <a:pt x="17700" y="-346"/>
                    <a:pt x="18118" y="-324"/>
                  </a:cubicBezTo>
                  <a:moveTo>
                    <a:pt x="12020" y="13362"/>
                  </a:moveTo>
                  <a:lnTo>
                    <a:pt x="23257" y="13362"/>
                  </a:lnTo>
                  <a:cubicBezTo>
                    <a:pt x="24508" y="13362"/>
                    <a:pt x="25280" y="12616"/>
                    <a:pt x="24774" y="11365"/>
                  </a:cubicBezTo>
                  <a:cubicBezTo>
                    <a:pt x="23707" y="8545"/>
                    <a:pt x="20999" y="6686"/>
                    <a:pt x="17984" y="6705"/>
                  </a:cubicBezTo>
                  <a:cubicBezTo>
                    <a:pt x="14859" y="6737"/>
                    <a:pt x="12007" y="8502"/>
                    <a:pt x="10582" y="11285"/>
                  </a:cubicBezTo>
                  <a:cubicBezTo>
                    <a:pt x="10023" y="12483"/>
                    <a:pt x="10716" y="13362"/>
                    <a:pt x="12020" y="13362"/>
                  </a:cubicBezTo>
                </a:path>
              </a:pathLst>
            </a:custGeom>
            <a:solidFill>
              <a:srgbClr val="8FDB42"/>
            </a:solidFill>
            <a:ln w="2661" cap="flat">
              <a:noFill/>
              <a:prstDash val="solid"/>
              <a:miter/>
            </a:ln>
          </p:spPr>
          <p:txBody>
            <a:bodyPr rtlCol="0" anchor="ctr"/>
            <a:lstStyle/>
            <a:p>
              <a:endParaRPr lang="pl-PL"/>
            </a:p>
          </p:txBody>
        </p:sp>
        <p:sp>
          <p:nvSpPr>
            <p:cNvPr id="125" name="Freeform: Shape 124">
              <a:extLst>
                <a:ext uri="{FF2B5EF4-FFF2-40B4-BE49-F238E27FC236}">
                  <a16:creationId xmlns:a16="http://schemas.microsoft.com/office/drawing/2014/main" id="{4953EE52-D3A9-4D5D-B167-CE712C78F761}"/>
                </a:ext>
              </a:extLst>
            </p:cNvPr>
            <p:cNvSpPr/>
            <p:nvPr/>
          </p:nvSpPr>
          <p:spPr>
            <a:xfrm>
              <a:off x="11575064" y="6784526"/>
              <a:ext cx="208318" cy="27505"/>
            </a:xfrm>
            <a:custGeom>
              <a:avLst/>
              <a:gdLst>
                <a:gd name="connsiteX0" fmla="*/ 2220 w 369143"/>
                <a:gd name="connsiteY0" fmla="*/ 48333 h 48740"/>
                <a:gd name="connsiteX1" fmla="*/ 4004 w 369143"/>
                <a:gd name="connsiteY1" fmla="*/ 48333 h 48740"/>
                <a:gd name="connsiteX2" fmla="*/ 5226 w 369143"/>
                <a:gd name="connsiteY2" fmla="*/ 47390 h 48740"/>
                <a:gd name="connsiteX3" fmla="*/ 5229 w 369143"/>
                <a:gd name="connsiteY3" fmla="*/ 47135 h 48740"/>
                <a:gd name="connsiteX4" fmla="*/ 5229 w 369143"/>
                <a:gd name="connsiteY4" fmla="*/ 37043 h 48740"/>
                <a:gd name="connsiteX5" fmla="*/ 7172 w 369143"/>
                <a:gd name="connsiteY5" fmla="*/ 36165 h 48740"/>
                <a:gd name="connsiteX6" fmla="*/ 14202 w 369143"/>
                <a:gd name="connsiteY6" fmla="*/ 38109 h 48740"/>
                <a:gd name="connsiteX7" fmla="*/ 26961 w 369143"/>
                <a:gd name="connsiteY7" fmla="*/ 25096 h 48740"/>
                <a:gd name="connsiteX8" fmla="*/ 26955 w 369143"/>
                <a:gd name="connsiteY8" fmla="*/ 24795 h 48740"/>
                <a:gd name="connsiteX9" fmla="*/ 14444 w 369143"/>
                <a:gd name="connsiteY9" fmla="*/ 11751 h 48740"/>
                <a:gd name="connsiteX10" fmla="*/ 14281 w 369143"/>
                <a:gd name="connsiteY10" fmla="*/ 11749 h 48740"/>
                <a:gd name="connsiteX11" fmla="*/ 6533 w 369143"/>
                <a:gd name="connsiteY11" fmla="*/ 14198 h 48740"/>
                <a:gd name="connsiteX12" fmla="*/ 4403 w 369143"/>
                <a:gd name="connsiteY12" fmla="*/ 13453 h 48740"/>
                <a:gd name="connsiteX13" fmla="*/ 4403 w 369143"/>
                <a:gd name="connsiteY13" fmla="*/ 13453 h 48740"/>
                <a:gd name="connsiteX14" fmla="*/ 3098 w 369143"/>
                <a:gd name="connsiteY14" fmla="*/ 12334 h 48740"/>
                <a:gd name="connsiteX15" fmla="*/ 2220 w 369143"/>
                <a:gd name="connsiteY15" fmla="*/ 12334 h 48740"/>
                <a:gd name="connsiteX16" fmla="*/ 998 w 369143"/>
                <a:gd name="connsiteY16" fmla="*/ 13277 h 48740"/>
                <a:gd name="connsiteX17" fmla="*/ 995 w 369143"/>
                <a:gd name="connsiteY17" fmla="*/ 13533 h 48740"/>
                <a:gd name="connsiteX18" fmla="*/ 995 w 369143"/>
                <a:gd name="connsiteY18" fmla="*/ 47135 h 48740"/>
                <a:gd name="connsiteX19" fmla="*/ 1964 w 369143"/>
                <a:gd name="connsiteY19" fmla="*/ 48336 h 48740"/>
                <a:gd name="connsiteX20" fmla="*/ 2220 w 369143"/>
                <a:gd name="connsiteY20" fmla="*/ 48333 h 48740"/>
                <a:gd name="connsiteX21" fmla="*/ 5575 w 369143"/>
                <a:gd name="connsiteY21" fmla="*/ 27991 h 48740"/>
                <a:gd name="connsiteX22" fmla="*/ 5575 w 369143"/>
                <a:gd name="connsiteY22" fmla="*/ 21920 h 48740"/>
                <a:gd name="connsiteX23" fmla="*/ 6107 w 369143"/>
                <a:gd name="connsiteY23" fmla="*/ 19816 h 48740"/>
                <a:gd name="connsiteX24" fmla="*/ 13749 w 369143"/>
                <a:gd name="connsiteY24" fmla="*/ 15769 h 48740"/>
                <a:gd name="connsiteX25" fmla="*/ 22269 w 369143"/>
                <a:gd name="connsiteY25" fmla="*/ 24875 h 48740"/>
                <a:gd name="connsiteX26" fmla="*/ 13749 w 369143"/>
                <a:gd name="connsiteY26" fmla="*/ 34195 h 48740"/>
                <a:gd name="connsiteX27" fmla="*/ 6107 w 369143"/>
                <a:gd name="connsiteY27" fmla="*/ 30094 h 48740"/>
                <a:gd name="connsiteX28" fmla="*/ 5575 w 369143"/>
                <a:gd name="connsiteY28" fmla="*/ 27991 h 48740"/>
                <a:gd name="connsiteX29" fmla="*/ 36967 w 369143"/>
                <a:gd name="connsiteY29" fmla="*/ -340 h 48740"/>
                <a:gd name="connsiteX30" fmla="*/ 34837 w 369143"/>
                <a:gd name="connsiteY30" fmla="*/ -340 h 48740"/>
                <a:gd name="connsiteX31" fmla="*/ 33612 w 369143"/>
                <a:gd name="connsiteY31" fmla="*/ 662 h 48740"/>
                <a:gd name="connsiteX32" fmla="*/ 33612 w 369143"/>
                <a:gd name="connsiteY32" fmla="*/ 885 h 48740"/>
                <a:gd name="connsiteX33" fmla="*/ 33612 w 369143"/>
                <a:gd name="connsiteY33" fmla="*/ 36431 h 48740"/>
                <a:gd name="connsiteX34" fmla="*/ 34581 w 369143"/>
                <a:gd name="connsiteY34" fmla="*/ 37632 h 48740"/>
                <a:gd name="connsiteX35" fmla="*/ 34837 w 369143"/>
                <a:gd name="connsiteY35" fmla="*/ 37629 h 48740"/>
                <a:gd name="connsiteX36" fmla="*/ 36967 w 369143"/>
                <a:gd name="connsiteY36" fmla="*/ 37629 h 48740"/>
                <a:gd name="connsiteX37" fmla="*/ 38189 w 369143"/>
                <a:gd name="connsiteY37" fmla="*/ 36687 h 48740"/>
                <a:gd name="connsiteX38" fmla="*/ 38192 w 369143"/>
                <a:gd name="connsiteY38" fmla="*/ 36431 h 48740"/>
                <a:gd name="connsiteX39" fmla="*/ 38192 w 369143"/>
                <a:gd name="connsiteY39" fmla="*/ 885 h 48740"/>
                <a:gd name="connsiteX40" fmla="*/ 37191 w 369143"/>
                <a:gd name="connsiteY40" fmla="*/ -340 h 48740"/>
                <a:gd name="connsiteX41" fmla="*/ 36967 w 369143"/>
                <a:gd name="connsiteY41" fmla="*/ -340 h 48740"/>
                <a:gd name="connsiteX42" fmla="*/ 44768 w 369143"/>
                <a:gd name="connsiteY42" fmla="*/ 30680 h 48740"/>
                <a:gd name="connsiteX43" fmla="*/ 52485 w 369143"/>
                <a:gd name="connsiteY43" fmla="*/ 38141 h 48740"/>
                <a:gd name="connsiteX44" fmla="*/ 53049 w 369143"/>
                <a:gd name="connsiteY44" fmla="*/ 38109 h 48740"/>
                <a:gd name="connsiteX45" fmla="*/ 61756 w 369143"/>
                <a:gd name="connsiteY45" fmla="*/ 35446 h 48740"/>
                <a:gd name="connsiteX46" fmla="*/ 63992 w 369143"/>
                <a:gd name="connsiteY46" fmla="*/ 36218 h 48740"/>
                <a:gd name="connsiteX47" fmla="*/ 64152 w 369143"/>
                <a:gd name="connsiteY47" fmla="*/ 36724 h 48740"/>
                <a:gd name="connsiteX48" fmla="*/ 65510 w 369143"/>
                <a:gd name="connsiteY48" fmla="*/ 37736 h 48740"/>
                <a:gd name="connsiteX49" fmla="*/ 66096 w 369143"/>
                <a:gd name="connsiteY49" fmla="*/ 37736 h 48740"/>
                <a:gd name="connsiteX50" fmla="*/ 67294 w 369143"/>
                <a:gd name="connsiteY50" fmla="*/ 36761 h 48740"/>
                <a:gd name="connsiteX51" fmla="*/ 67294 w 369143"/>
                <a:gd name="connsiteY51" fmla="*/ 36538 h 48740"/>
                <a:gd name="connsiteX52" fmla="*/ 67294 w 369143"/>
                <a:gd name="connsiteY52" fmla="*/ 22905 h 48740"/>
                <a:gd name="connsiteX53" fmla="*/ 56644 w 369143"/>
                <a:gd name="connsiteY53" fmla="*/ 11935 h 48740"/>
                <a:gd name="connsiteX54" fmla="*/ 45993 w 369143"/>
                <a:gd name="connsiteY54" fmla="*/ 19497 h 48740"/>
                <a:gd name="connsiteX55" fmla="*/ 46712 w 369143"/>
                <a:gd name="connsiteY55" fmla="*/ 20778 h 48740"/>
                <a:gd name="connsiteX56" fmla="*/ 47165 w 369143"/>
                <a:gd name="connsiteY56" fmla="*/ 20802 h 48740"/>
                <a:gd name="connsiteX57" fmla="*/ 49055 w 369143"/>
                <a:gd name="connsiteY57" fmla="*/ 20802 h 48740"/>
                <a:gd name="connsiteX58" fmla="*/ 50386 w 369143"/>
                <a:gd name="connsiteY58" fmla="*/ 19736 h 48740"/>
                <a:gd name="connsiteX59" fmla="*/ 56510 w 369143"/>
                <a:gd name="connsiteY59" fmla="*/ 15929 h 48740"/>
                <a:gd name="connsiteX60" fmla="*/ 62938 w 369143"/>
                <a:gd name="connsiteY60" fmla="*/ 20791 h 48740"/>
                <a:gd name="connsiteX61" fmla="*/ 62981 w 369143"/>
                <a:gd name="connsiteY61" fmla="*/ 21920 h 48740"/>
                <a:gd name="connsiteX62" fmla="*/ 61277 w 369143"/>
                <a:gd name="connsiteY62" fmla="*/ 23491 h 48740"/>
                <a:gd name="connsiteX63" fmla="*/ 55632 w 369143"/>
                <a:gd name="connsiteY63" fmla="*/ 23491 h 48740"/>
                <a:gd name="connsiteX64" fmla="*/ 44981 w 369143"/>
                <a:gd name="connsiteY64" fmla="*/ 30840 h 48740"/>
                <a:gd name="connsiteX65" fmla="*/ 49561 w 369143"/>
                <a:gd name="connsiteY65" fmla="*/ 30840 h 48740"/>
                <a:gd name="connsiteX66" fmla="*/ 55792 w 369143"/>
                <a:gd name="connsiteY66" fmla="*/ 27325 h 48740"/>
                <a:gd name="connsiteX67" fmla="*/ 61330 w 369143"/>
                <a:gd name="connsiteY67" fmla="*/ 27325 h 48740"/>
                <a:gd name="connsiteX68" fmla="*/ 63034 w 369143"/>
                <a:gd name="connsiteY68" fmla="*/ 28691 h 48740"/>
                <a:gd name="connsiteX69" fmla="*/ 63034 w 369143"/>
                <a:gd name="connsiteY69" fmla="*/ 29029 h 48740"/>
                <a:gd name="connsiteX70" fmla="*/ 63034 w 369143"/>
                <a:gd name="connsiteY70" fmla="*/ 29535 h 48740"/>
                <a:gd name="connsiteX71" fmla="*/ 62022 w 369143"/>
                <a:gd name="connsiteY71" fmla="*/ 31585 h 48740"/>
                <a:gd name="connsiteX72" fmla="*/ 54274 w 369143"/>
                <a:gd name="connsiteY72" fmla="*/ 34248 h 48740"/>
                <a:gd name="connsiteX73" fmla="*/ 49561 w 369143"/>
                <a:gd name="connsiteY73" fmla="*/ 30733 h 48740"/>
                <a:gd name="connsiteX74" fmla="*/ 76826 w 369143"/>
                <a:gd name="connsiteY74" fmla="*/ 37789 h 48740"/>
                <a:gd name="connsiteX75" fmla="*/ 78956 w 369143"/>
                <a:gd name="connsiteY75" fmla="*/ 37789 h 48740"/>
                <a:gd name="connsiteX76" fmla="*/ 80179 w 369143"/>
                <a:gd name="connsiteY76" fmla="*/ 36846 h 48740"/>
                <a:gd name="connsiteX77" fmla="*/ 80181 w 369143"/>
                <a:gd name="connsiteY77" fmla="*/ 36591 h 48740"/>
                <a:gd name="connsiteX78" fmla="*/ 80181 w 369143"/>
                <a:gd name="connsiteY78" fmla="*/ 20988 h 48740"/>
                <a:gd name="connsiteX79" fmla="*/ 81299 w 369143"/>
                <a:gd name="connsiteY79" fmla="*/ 18964 h 48740"/>
                <a:gd name="connsiteX80" fmla="*/ 89580 w 369143"/>
                <a:gd name="connsiteY80" fmla="*/ 16035 h 48740"/>
                <a:gd name="connsiteX81" fmla="*/ 95140 w 369143"/>
                <a:gd name="connsiteY81" fmla="*/ 20658 h 48740"/>
                <a:gd name="connsiteX82" fmla="*/ 95118 w 369143"/>
                <a:gd name="connsiteY82" fmla="*/ 21787 h 48740"/>
                <a:gd name="connsiteX83" fmla="*/ 95118 w 369143"/>
                <a:gd name="connsiteY83" fmla="*/ 36591 h 48740"/>
                <a:gd name="connsiteX84" fmla="*/ 96088 w 369143"/>
                <a:gd name="connsiteY84" fmla="*/ 37792 h 48740"/>
                <a:gd name="connsiteX85" fmla="*/ 96343 w 369143"/>
                <a:gd name="connsiteY85" fmla="*/ 37789 h 48740"/>
                <a:gd name="connsiteX86" fmla="*/ 98473 w 369143"/>
                <a:gd name="connsiteY86" fmla="*/ 37789 h 48740"/>
                <a:gd name="connsiteX87" fmla="*/ 99696 w 369143"/>
                <a:gd name="connsiteY87" fmla="*/ 36846 h 48740"/>
                <a:gd name="connsiteX88" fmla="*/ 99698 w 369143"/>
                <a:gd name="connsiteY88" fmla="*/ 36591 h 48740"/>
                <a:gd name="connsiteX89" fmla="*/ 99698 w 369143"/>
                <a:gd name="connsiteY89" fmla="*/ 21574 h 48740"/>
                <a:gd name="connsiteX90" fmla="*/ 90885 w 369143"/>
                <a:gd name="connsiteY90" fmla="*/ 11988 h 48740"/>
                <a:gd name="connsiteX91" fmla="*/ 81326 w 369143"/>
                <a:gd name="connsiteY91" fmla="*/ 14811 h 48740"/>
                <a:gd name="connsiteX92" fmla="*/ 79143 w 369143"/>
                <a:gd name="connsiteY92" fmla="*/ 13932 h 48740"/>
                <a:gd name="connsiteX93" fmla="*/ 79143 w 369143"/>
                <a:gd name="connsiteY93" fmla="*/ 13559 h 48740"/>
                <a:gd name="connsiteX94" fmla="*/ 77758 w 369143"/>
                <a:gd name="connsiteY94" fmla="*/ 12494 h 48740"/>
                <a:gd name="connsiteX95" fmla="*/ 76906 w 369143"/>
                <a:gd name="connsiteY95" fmla="*/ 12494 h 48740"/>
                <a:gd name="connsiteX96" fmla="*/ 75684 w 369143"/>
                <a:gd name="connsiteY96" fmla="*/ 13437 h 48740"/>
                <a:gd name="connsiteX97" fmla="*/ 75681 w 369143"/>
                <a:gd name="connsiteY97" fmla="*/ 13692 h 48740"/>
                <a:gd name="connsiteX98" fmla="*/ 75681 w 369143"/>
                <a:gd name="connsiteY98" fmla="*/ 36591 h 48740"/>
                <a:gd name="connsiteX99" fmla="*/ 76651 w 369143"/>
                <a:gd name="connsiteY99" fmla="*/ 37792 h 48740"/>
                <a:gd name="connsiteX100" fmla="*/ 76906 w 369143"/>
                <a:gd name="connsiteY100" fmla="*/ 37789 h 48740"/>
                <a:gd name="connsiteX101" fmla="*/ 106195 w 369143"/>
                <a:gd name="connsiteY101" fmla="*/ 24982 h 48740"/>
                <a:gd name="connsiteX102" fmla="*/ 118323 w 369143"/>
                <a:gd name="connsiteY102" fmla="*/ 38282 h 48740"/>
                <a:gd name="connsiteX103" fmla="*/ 119055 w 369143"/>
                <a:gd name="connsiteY103" fmla="*/ 38295 h 48740"/>
                <a:gd name="connsiteX104" fmla="*/ 129945 w 369143"/>
                <a:gd name="connsiteY104" fmla="*/ 31212 h 48740"/>
                <a:gd name="connsiteX105" fmla="*/ 128880 w 369143"/>
                <a:gd name="connsiteY105" fmla="*/ 29828 h 48740"/>
                <a:gd name="connsiteX106" fmla="*/ 127043 w 369143"/>
                <a:gd name="connsiteY106" fmla="*/ 29828 h 48740"/>
                <a:gd name="connsiteX107" fmla="*/ 125632 w 369143"/>
                <a:gd name="connsiteY107" fmla="*/ 30813 h 48740"/>
                <a:gd name="connsiteX108" fmla="*/ 119055 w 369143"/>
                <a:gd name="connsiteY108" fmla="*/ 34381 h 48740"/>
                <a:gd name="connsiteX109" fmla="*/ 111068 w 369143"/>
                <a:gd name="connsiteY109" fmla="*/ 28177 h 48740"/>
                <a:gd name="connsiteX110" fmla="*/ 112638 w 369143"/>
                <a:gd name="connsiteY110" fmla="*/ 26340 h 48740"/>
                <a:gd name="connsiteX111" fmla="*/ 129173 w 369143"/>
                <a:gd name="connsiteY111" fmla="*/ 26340 h 48740"/>
                <a:gd name="connsiteX112" fmla="*/ 130821 w 369143"/>
                <a:gd name="connsiteY112" fmla="*/ 24905 h 48740"/>
                <a:gd name="connsiteX113" fmla="*/ 130824 w 369143"/>
                <a:gd name="connsiteY113" fmla="*/ 24769 h 48740"/>
                <a:gd name="connsiteX114" fmla="*/ 119372 w 369143"/>
                <a:gd name="connsiteY114" fmla="*/ 11975 h 48740"/>
                <a:gd name="connsiteX115" fmla="*/ 119055 w 369143"/>
                <a:gd name="connsiteY115" fmla="*/ 11962 h 48740"/>
                <a:gd name="connsiteX116" fmla="*/ 106245 w 369143"/>
                <a:gd name="connsiteY116" fmla="*/ 24444 h 48740"/>
                <a:gd name="connsiteX117" fmla="*/ 106248 w 369143"/>
                <a:gd name="connsiteY117" fmla="*/ 24955 h 48740"/>
                <a:gd name="connsiteX118" fmla="*/ 111707 w 369143"/>
                <a:gd name="connsiteY118" fmla="*/ 20535 h 48740"/>
                <a:gd name="connsiteX119" fmla="*/ 119002 w 369143"/>
                <a:gd name="connsiteY119" fmla="*/ 15849 h 48740"/>
                <a:gd name="connsiteX120" fmla="*/ 125792 w 369143"/>
                <a:gd name="connsiteY120" fmla="*/ 20589 h 48740"/>
                <a:gd name="connsiteX121" fmla="*/ 124327 w 369143"/>
                <a:gd name="connsiteY121" fmla="*/ 22532 h 48740"/>
                <a:gd name="connsiteX122" fmla="*/ 113065 w 369143"/>
                <a:gd name="connsiteY122" fmla="*/ 22532 h 48740"/>
                <a:gd name="connsiteX123" fmla="*/ 111707 w 369143"/>
                <a:gd name="connsiteY123" fmla="*/ 20589 h 48740"/>
                <a:gd name="connsiteX124" fmla="*/ 135670 w 369143"/>
                <a:gd name="connsiteY124" fmla="*/ 16408 h 48740"/>
                <a:gd name="connsiteX125" fmla="*/ 137720 w 369143"/>
                <a:gd name="connsiteY125" fmla="*/ 16408 h 48740"/>
                <a:gd name="connsiteX126" fmla="*/ 138200 w 369143"/>
                <a:gd name="connsiteY126" fmla="*/ 16832 h 48740"/>
                <a:gd name="connsiteX127" fmla="*/ 138200 w 369143"/>
                <a:gd name="connsiteY127" fmla="*/ 16888 h 48740"/>
                <a:gd name="connsiteX128" fmla="*/ 138200 w 369143"/>
                <a:gd name="connsiteY128" fmla="*/ 30414 h 48740"/>
                <a:gd name="connsiteX129" fmla="*/ 145495 w 369143"/>
                <a:gd name="connsiteY129" fmla="*/ 38401 h 48740"/>
                <a:gd name="connsiteX130" fmla="*/ 151592 w 369143"/>
                <a:gd name="connsiteY130" fmla="*/ 37443 h 48740"/>
                <a:gd name="connsiteX131" fmla="*/ 151939 w 369143"/>
                <a:gd name="connsiteY131" fmla="*/ 35819 h 48740"/>
                <a:gd name="connsiteX132" fmla="*/ 151779 w 369143"/>
                <a:gd name="connsiteY132" fmla="*/ 34354 h 48740"/>
                <a:gd name="connsiteX133" fmla="*/ 150314 w 369143"/>
                <a:gd name="connsiteY133" fmla="*/ 33476 h 48740"/>
                <a:gd name="connsiteX134" fmla="*/ 145735 w 369143"/>
                <a:gd name="connsiteY134" fmla="*/ 34221 h 48740"/>
                <a:gd name="connsiteX135" fmla="*/ 142247 w 369143"/>
                <a:gd name="connsiteY135" fmla="*/ 30281 h 48740"/>
                <a:gd name="connsiteX136" fmla="*/ 142247 w 369143"/>
                <a:gd name="connsiteY136" fmla="*/ 16834 h 48740"/>
                <a:gd name="connsiteX137" fmla="*/ 142670 w 369143"/>
                <a:gd name="connsiteY137" fmla="*/ 16355 h 48740"/>
                <a:gd name="connsiteX138" fmla="*/ 142726 w 369143"/>
                <a:gd name="connsiteY138" fmla="*/ 16355 h 48740"/>
                <a:gd name="connsiteX139" fmla="*/ 150714 w 369143"/>
                <a:gd name="connsiteY139" fmla="*/ 16355 h 48740"/>
                <a:gd name="connsiteX140" fmla="*/ 151939 w 369143"/>
                <a:gd name="connsiteY140" fmla="*/ 15354 h 48740"/>
                <a:gd name="connsiteX141" fmla="*/ 151939 w 369143"/>
                <a:gd name="connsiteY141" fmla="*/ 15130 h 48740"/>
                <a:gd name="connsiteX142" fmla="*/ 151939 w 369143"/>
                <a:gd name="connsiteY142" fmla="*/ 13666 h 48740"/>
                <a:gd name="connsiteX143" fmla="*/ 150969 w 369143"/>
                <a:gd name="connsiteY143" fmla="*/ 12465 h 48740"/>
                <a:gd name="connsiteX144" fmla="*/ 150714 w 369143"/>
                <a:gd name="connsiteY144" fmla="*/ 12468 h 48740"/>
                <a:gd name="connsiteX145" fmla="*/ 142726 w 369143"/>
                <a:gd name="connsiteY145" fmla="*/ 12468 h 48740"/>
                <a:gd name="connsiteX146" fmla="*/ 142247 w 369143"/>
                <a:gd name="connsiteY146" fmla="*/ 11988 h 48740"/>
                <a:gd name="connsiteX147" fmla="*/ 142247 w 369143"/>
                <a:gd name="connsiteY147" fmla="*/ 11962 h 48740"/>
                <a:gd name="connsiteX148" fmla="*/ 142247 w 369143"/>
                <a:gd name="connsiteY148" fmla="*/ 6636 h 48740"/>
                <a:gd name="connsiteX149" fmla="*/ 140889 w 369143"/>
                <a:gd name="connsiteY149" fmla="*/ 5571 h 48740"/>
                <a:gd name="connsiteX150" fmla="*/ 138839 w 369143"/>
                <a:gd name="connsiteY150" fmla="*/ 6104 h 48740"/>
                <a:gd name="connsiteX151" fmla="*/ 137827 w 369143"/>
                <a:gd name="connsiteY151" fmla="*/ 7462 h 48740"/>
                <a:gd name="connsiteX152" fmla="*/ 137827 w 369143"/>
                <a:gd name="connsiteY152" fmla="*/ 11855 h 48740"/>
                <a:gd name="connsiteX153" fmla="*/ 137377 w 369143"/>
                <a:gd name="connsiteY153" fmla="*/ 12361 h 48740"/>
                <a:gd name="connsiteX154" fmla="*/ 137321 w 369143"/>
                <a:gd name="connsiteY154" fmla="*/ 12361 h 48740"/>
                <a:gd name="connsiteX155" fmla="*/ 135138 w 369143"/>
                <a:gd name="connsiteY155" fmla="*/ 12361 h 48740"/>
                <a:gd name="connsiteX156" fmla="*/ 133915 w 369143"/>
                <a:gd name="connsiteY156" fmla="*/ 13304 h 48740"/>
                <a:gd name="connsiteX157" fmla="*/ 133913 w 369143"/>
                <a:gd name="connsiteY157" fmla="*/ 13559 h 48740"/>
                <a:gd name="connsiteX158" fmla="*/ 133913 w 369143"/>
                <a:gd name="connsiteY158" fmla="*/ 15024 h 48740"/>
                <a:gd name="connsiteX159" fmla="*/ 134914 w 369143"/>
                <a:gd name="connsiteY159" fmla="*/ 16248 h 48740"/>
                <a:gd name="connsiteX160" fmla="*/ 135138 w 369143"/>
                <a:gd name="connsiteY160" fmla="*/ 16248 h 48740"/>
                <a:gd name="connsiteX161" fmla="*/ 168820 w 369143"/>
                <a:gd name="connsiteY161" fmla="*/ 24023 h 48740"/>
                <a:gd name="connsiteX162" fmla="*/ 169821 w 369143"/>
                <a:gd name="connsiteY162" fmla="*/ 25248 h 48740"/>
                <a:gd name="connsiteX163" fmla="*/ 170044 w 369143"/>
                <a:gd name="connsiteY163" fmla="*/ 25248 h 48740"/>
                <a:gd name="connsiteX164" fmla="*/ 175609 w 369143"/>
                <a:gd name="connsiteY164" fmla="*/ 25248 h 48740"/>
                <a:gd name="connsiteX165" fmla="*/ 176674 w 369143"/>
                <a:gd name="connsiteY165" fmla="*/ 26087 h 48740"/>
                <a:gd name="connsiteX166" fmla="*/ 176674 w 369143"/>
                <a:gd name="connsiteY166" fmla="*/ 26313 h 48740"/>
                <a:gd name="connsiteX167" fmla="*/ 176674 w 369143"/>
                <a:gd name="connsiteY167" fmla="*/ 31772 h 48740"/>
                <a:gd name="connsiteX168" fmla="*/ 177556 w 369143"/>
                <a:gd name="connsiteY168" fmla="*/ 32994 h 48740"/>
                <a:gd name="connsiteX169" fmla="*/ 177872 w 369143"/>
                <a:gd name="connsiteY169" fmla="*/ 32996 h 48740"/>
                <a:gd name="connsiteX170" fmla="*/ 179230 w 369143"/>
                <a:gd name="connsiteY170" fmla="*/ 32996 h 48740"/>
                <a:gd name="connsiteX171" fmla="*/ 180455 w 369143"/>
                <a:gd name="connsiteY171" fmla="*/ 31995 h 48740"/>
                <a:gd name="connsiteX172" fmla="*/ 180455 w 369143"/>
                <a:gd name="connsiteY172" fmla="*/ 31772 h 48740"/>
                <a:gd name="connsiteX173" fmla="*/ 180455 w 369143"/>
                <a:gd name="connsiteY173" fmla="*/ 26313 h 48740"/>
                <a:gd name="connsiteX174" fmla="*/ 181353 w 369143"/>
                <a:gd name="connsiteY174" fmla="*/ 25248 h 48740"/>
                <a:gd name="connsiteX175" fmla="*/ 181520 w 369143"/>
                <a:gd name="connsiteY175" fmla="*/ 25248 h 48740"/>
                <a:gd name="connsiteX176" fmla="*/ 186979 w 369143"/>
                <a:gd name="connsiteY176" fmla="*/ 25248 h 48740"/>
                <a:gd name="connsiteX177" fmla="*/ 188203 w 369143"/>
                <a:gd name="connsiteY177" fmla="*/ 24247 h 48740"/>
                <a:gd name="connsiteX178" fmla="*/ 188203 w 369143"/>
                <a:gd name="connsiteY178" fmla="*/ 24023 h 48740"/>
                <a:gd name="connsiteX179" fmla="*/ 188203 w 369143"/>
                <a:gd name="connsiteY179" fmla="*/ 22665 h 48740"/>
                <a:gd name="connsiteX180" fmla="*/ 187234 w 369143"/>
                <a:gd name="connsiteY180" fmla="*/ 21465 h 48740"/>
                <a:gd name="connsiteX181" fmla="*/ 186979 w 369143"/>
                <a:gd name="connsiteY181" fmla="*/ 21467 h 48740"/>
                <a:gd name="connsiteX182" fmla="*/ 181520 w 369143"/>
                <a:gd name="connsiteY182" fmla="*/ 21467 h 48740"/>
                <a:gd name="connsiteX183" fmla="*/ 180453 w 369143"/>
                <a:gd name="connsiteY183" fmla="*/ 20573 h 48740"/>
                <a:gd name="connsiteX184" fmla="*/ 180455 w 369143"/>
                <a:gd name="connsiteY184" fmla="*/ 20376 h 48740"/>
                <a:gd name="connsiteX185" fmla="*/ 180455 w 369143"/>
                <a:gd name="connsiteY185" fmla="*/ 15050 h 48740"/>
                <a:gd name="connsiteX186" fmla="*/ 179515 w 369143"/>
                <a:gd name="connsiteY186" fmla="*/ 13825 h 48740"/>
                <a:gd name="connsiteX187" fmla="*/ 179230 w 369143"/>
                <a:gd name="connsiteY187" fmla="*/ 13825 h 48740"/>
                <a:gd name="connsiteX188" fmla="*/ 177846 w 369143"/>
                <a:gd name="connsiteY188" fmla="*/ 13825 h 48740"/>
                <a:gd name="connsiteX189" fmla="*/ 176621 w 369143"/>
                <a:gd name="connsiteY189" fmla="*/ 14702 h 48740"/>
                <a:gd name="connsiteX190" fmla="*/ 176621 w 369143"/>
                <a:gd name="connsiteY190" fmla="*/ 15050 h 48740"/>
                <a:gd name="connsiteX191" fmla="*/ 176621 w 369143"/>
                <a:gd name="connsiteY191" fmla="*/ 20376 h 48740"/>
                <a:gd name="connsiteX192" fmla="*/ 175814 w 369143"/>
                <a:gd name="connsiteY192" fmla="*/ 21465 h 48740"/>
                <a:gd name="connsiteX193" fmla="*/ 175556 w 369143"/>
                <a:gd name="connsiteY193" fmla="*/ 21467 h 48740"/>
                <a:gd name="connsiteX194" fmla="*/ 170044 w 369143"/>
                <a:gd name="connsiteY194" fmla="*/ 21467 h 48740"/>
                <a:gd name="connsiteX195" fmla="*/ 168822 w 369143"/>
                <a:gd name="connsiteY195" fmla="*/ 22410 h 48740"/>
                <a:gd name="connsiteX196" fmla="*/ 168820 w 369143"/>
                <a:gd name="connsiteY196" fmla="*/ 22665 h 48740"/>
                <a:gd name="connsiteX197" fmla="*/ 209185 w 369143"/>
                <a:gd name="connsiteY197" fmla="*/ 48360 h 48740"/>
                <a:gd name="connsiteX198" fmla="*/ 210995 w 369143"/>
                <a:gd name="connsiteY198" fmla="*/ 48360 h 48740"/>
                <a:gd name="connsiteX199" fmla="*/ 212194 w 369143"/>
                <a:gd name="connsiteY199" fmla="*/ 47385 h 48740"/>
                <a:gd name="connsiteX200" fmla="*/ 212194 w 369143"/>
                <a:gd name="connsiteY200" fmla="*/ 47161 h 48740"/>
                <a:gd name="connsiteX201" fmla="*/ 212194 w 369143"/>
                <a:gd name="connsiteY201" fmla="*/ 37070 h 48740"/>
                <a:gd name="connsiteX202" fmla="*/ 214137 w 369143"/>
                <a:gd name="connsiteY202" fmla="*/ 36192 h 48740"/>
                <a:gd name="connsiteX203" fmla="*/ 221167 w 369143"/>
                <a:gd name="connsiteY203" fmla="*/ 38135 h 48740"/>
                <a:gd name="connsiteX204" fmla="*/ 233926 w 369143"/>
                <a:gd name="connsiteY204" fmla="*/ 25123 h 48740"/>
                <a:gd name="connsiteX205" fmla="*/ 233921 w 369143"/>
                <a:gd name="connsiteY205" fmla="*/ 24822 h 48740"/>
                <a:gd name="connsiteX206" fmla="*/ 221409 w 369143"/>
                <a:gd name="connsiteY206" fmla="*/ 11778 h 48740"/>
                <a:gd name="connsiteX207" fmla="*/ 221247 w 369143"/>
                <a:gd name="connsiteY207" fmla="*/ 11775 h 48740"/>
                <a:gd name="connsiteX208" fmla="*/ 213525 w 369143"/>
                <a:gd name="connsiteY208" fmla="*/ 14225 h 48740"/>
                <a:gd name="connsiteX209" fmla="*/ 211368 w 369143"/>
                <a:gd name="connsiteY209" fmla="*/ 13479 h 48740"/>
                <a:gd name="connsiteX210" fmla="*/ 211368 w 369143"/>
                <a:gd name="connsiteY210" fmla="*/ 13479 h 48740"/>
                <a:gd name="connsiteX211" fmla="*/ 210064 w 369143"/>
                <a:gd name="connsiteY211" fmla="*/ 12361 h 48740"/>
                <a:gd name="connsiteX212" fmla="*/ 209185 w 369143"/>
                <a:gd name="connsiteY212" fmla="*/ 12361 h 48740"/>
                <a:gd name="connsiteX213" fmla="*/ 207963 w 369143"/>
                <a:gd name="connsiteY213" fmla="*/ 13304 h 48740"/>
                <a:gd name="connsiteX214" fmla="*/ 207960 w 369143"/>
                <a:gd name="connsiteY214" fmla="*/ 13559 h 48740"/>
                <a:gd name="connsiteX215" fmla="*/ 207960 w 369143"/>
                <a:gd name="connsiteY215" fmla="*/ 47161 h 48740"/>
                <a:gd name="connsiteX216" fmla="*/ 208929 w 369143"/>
                <a:gd name="connsiteY216" fmla="*/ 48362 h 48740"/>
                <a:gd name="connsiteX217" fmla="*/ 209185 w 369143"/>
                <a:gd name="connsiteY217" fmla="*/ 48360 h 48740"/>
                <a:gd name="connsiteX218" fmla="*/ 212540 w 369143"/>
                <a:gd name="connsiteY218" fmla="*/ 28017 h 48740"/>
                <a:gd name="connsiteX219" fmla="*/ 212540 w 369143"/>
                <a:gd name="connsiteY219" fmla="*/ 21947 h 48740"/>
                <a:gd name="connsiteX220" fmla="*/ 213072 w 369143"/>
                <a:gd name="connsiteY220" fmla="*/ 19843 h 48740"/>
                <a:gd name="connsiteX221" fmla="*/ 220714 w 369143"/>
                <a:gd name="connsiteY221" fmla="*/ 15796 h 48740"/>
                <a:gd name="connsiteX222" fmla="*/ 229234 w 369143"/>
                <a:gd name="connsiteY222" fmla="*/ 24902 h 48740"/>
                <a:gd name="connsiteX223" fmla="*/ 220714 w 369143"/>
                <a:gd name="connsiteY223" fmla="*/ 34221 h 48740"/>
                <a:gd name="connsiteX224" fmla="*/ 213072 w 369143"/>
                <a:gd name="connsiteY224" fmla="*/ 30121 h 48740"/>
                <a:gd name="connsiteX225" fmla="*/ 212540 w 369143"/>
                <a:gd name="connsiteY225" fmla="*/ 28017 h 48740"/>
                <a:gd name="connsiteX226" fmla="*/ 238740 w 369143"/>
                <a:gd name="connsiteY226" fmla="*/ 24849 h 48740"/>
                <a:gd name="connsiteX227" fmla="*/ 250868 w 369143"/>
                <a:gd name="connsiteY227" fmla="*/ 38148 h 48740"/>
                <a:gd name="connsiteX228" fmla="*/ 251600 w 369143"/>
                <a:gd name="connsiteY228" fmla="*/ 38162 h 48740"/>
                <a:gd name="connsiteX229" fmla="*/ 262491 w 369143"/>
                <a:gd name="connsiteY229" fmla="*/ 31079 h 48740"/>
                <a:gd name="connsiteX230" fmla="*/ 261425 w 369143"/>
                <a:gd name="connsiteY230" fmla="*/ 29695 h 48740"/>
                <a:gd name="connsiteX231" fmla="*/ 259588 w 369143"/>
                <a:gd name="connsiteY231" fmla="*/ 29695 h 48740"/>
                <a:gd name="connsiteX232" fmla="*/ 258177 w 369143"/>
                <a:gd name="connsiteY232" fmla="*/ 30680 h 48740"/>
                <a:gd name="connsiteX233" fmla="*/ 251600 w 369143"/>
                <a:gd name="connsiteY233" fmla="*/ 34248 h 48740"/>
                <a:gd name="connsiteX234" fmla="*/ 243612 w 369143"/>
                <a:gd name="connsiteY234" fmla="*/ 28044 h 48740"/>
                <a:gd name="connsiteX235" fmla="*/ 245184 w 369143"/>
                <a:gd name="connsiteY235" fmla="*/ 26207 h 48740"/>
                <a:gd name="connsiteX236" fmla="*/ 261718 w 369143"/>
                <a:gd name="connsiteY236" fmla="*/ 26207 h 48740"/>
                <a:gd name="connsiteX237" fmla="*/ 263366 w 369143"/>
                <a:gd name="connsiteY237" fmla="*/ 24774 h 48740"/>
                <a:gd name="connsiteX238" fmla="*/ 263369 w 369143"/>
                <a:gd name="connsiteY238" fmla="*/ 24636 h 48740"/>
                <a:gd name="connsiteX239" fmla="*/ 251917 w 369143"/>
                <a:gd name="connsiteY239" fmla="*/ 11842 h 48740"/>
                <a:gd name="connsiteX240" fmla="*/ 251600 w 369143"/>
                <a:gd name="connsiteY240" fmla="*/ 11829 h 48740"/>
                <a:gd name="connsiteX241" fmla="*/ 238791 w 369143"/>
                <a:gd name="connsiteY241" fmla="*/ 24311 h 48740"/>
                <a:gd name="connsiteX242" fmla="*/ 238793 w 369143"/>
                <a:gd name="connsiteY242" fmla="*/ 24822 h 48740"/>
                <a:gd name="connsiteX243" fmla="*/ 244118 w 369143"/>
                <a:gd name="connsiteY243" fmla="*/ 20402 h 48740"/>
                <a:gd name="connsiteX244" fmla="*/ 251414 w 369143"/>
                <a:gd name="connsiteY244" fmla="*/ 15716 h 48740"/>
                <a:gd name="connsiteX245" fmla="*/ 258204 w 369143"/>
                <a:gd name="connsiteY245" fmla="*/ 20455 h 48740"/>
                <a:gd name="connsiteX246" fmla="*/ 256739 w 369143"/>
                <a:gd name="connsiteY246" fmla="*/ 22399 h 48740"/>
                <a:gd name="connsiteX247" fmla="*/ 245476 w 369143"/>
                <a:gd name="connsiteY247" fmla="*/ 22399 h 48740"/>
                <a:gd name="connsiteX248" fmla="*/ 244118 w 369143"/>
                <a:gd name="connsiteY248" fmla="*/ 20455 h 48740"/>
                <a:gd name="connsiteX249" fmla="*/ 268082 w 369143"/>
                <a:gd name="connsiteY249" fmla="*/ 24875 h 48740"/>
                <a:gd name="connsiteX250" fmla="*/ 280801 w 369143"/>
                <a:gd name="connsiteY250" fmla="*/ 38188 h 48740"/>
                <a:gd name="connsiteX251" fmla="*/ 281395 w 369143"/>
                <a:gd name="connsiteY251" fmla="*/ 38188 h 48740"/>
                <a:gd name="connsiteX252" fmla="*/ 294708 w 369143"/>
                <a:gd name="connsiteY252" fmla="*/ 25469 h 48740"/>
                <a:gd name="connsiteX253" fmla="*/ 294708 w 369143"/>
                <a:gd name="connsiteY253" fmla="*/ 24875 h 48740"/>
                <a:gd name="connsiteX254" fmla="*/ 281989 w 369143"/>
                <a:gd name="connsiteY254" fmla="*/ 11874 h 48740"/>
                <a:gd name="connsiteX255" fmla="*/ 281395 w 369143"/>
                <a:gd name="connsiteY255" fmla="*/ 11882 h 48740"/>
                <a:gd name="connsiteX256" fmla="*/ 268087 w 369143"/>
                <a:gd name="connsiteY256" fmla="*/ 24335 h 48740"/>
                <a:gd name="connsiteX257" fmla="*/ 268082 w 369143"/>
                <a:gd name="connsiteY257" fmla="*/ 24875 h 48740"/>
                <a:gd name="connsiteX258" fmla="*/ 272662 w 369143"/>
                <a:gd name="connsiteY258" fmla="*/ 25035 h 48740"/>
                <a:gd name="connsiteX259" fmla="*/ 281012 w 369143"/>
                <a:gd name="connsiteY259" fmla="*/ 15833 h 48740"/>
                <a:gd name="connsiteX260" fmla="*/ 281528 w 369143"/>
                <a:gd name="connsiteY260" fmla="*/ 15822 h 48740"/>
                <a:gd name="connsiteX261" fmla="*/ 290349 w 369143"/>
                <a:gd name="connsiteY261" fmla="*/ 24628 h 48740"/>
                <a:gd name="connsiteX262" fmla="*/ 290341 w 369143"/>
                <a:gd name="connsiteY262" fmla="*/ 25035 h 48740"/>
                <a:gd name="connsiteX263" fmla="*/ 281882 w 369143"/>
                <a:gd name="connsiteY263" fmla="*/ 34240 h 48740"/>
                <a:gd name="connsiteX264" fmla="*/ 281528 w 369143"/>
                <a:gd name="connsiteY264" fmla="*/ 34248 h 48740"/>
                <a:gd name="connsiteX265" fmla="*/ 272654 w 369143"/>
                <a:gd name="connsiteY265" fmla="*/ 25442 h 48740"/>
                <a:gd name="connsiteX266" fmla="*/ 272662 w 369143"/>
                <a:gd name="connsiteY266" fmla="*/ 25035 h 48740"/>
                <a:gd name="connsiteX267" fmla="*/ 302749 w 369143"/>
                <a:gd name="connsiteY267" fmla="*/ 48386 h 48740"/>
                <a:gd name="connsiteX268" fmla="*/ 304533 w 369143"/>
                <a:gd name="connsiteY268" fmla="*/ 48386 h 48740"/>
                <a:gd name="connsiteX269" fmla="*/ 305755 w 369143"/>
                <a:gd name="connsiteY269" fmla="*/ 47444 h 48740"/>
                <a:gd name="connsiteX270" fmla="*/ 305758 w 369143"/>
                <a:gd name="connsiteY270" fmla="*/ 47188 h 48740"/>
                <a:gd name="connsiteX271" fmla="*/ 305758 w 369143"/>
                <a:gd name="connsiteY271" fmla="*/ 37097 h 48740"/>
                <a:gd name="connsiteX272" fmla="*/ 307702 w 369143"/>
                <a:gd name="connsiteY272" fmla="*/ 36218 h 48740"/>
                <a:gd name="connsiteX273" fmla="*/ 314731 w 369143"/>
                <a:gd name="connsiteY273" fmla="*/ 38162 h 48740"/>
                <a:gd name="connsiteX274" fmla="*/ 327490 w 369143"/>
                <a:gd name="connsiteY274" fmla="*/ 25096 h 48740"/>
                <a:gd name="connsiteX275" fmla="*/ 327485 w 369143"/>
                <a:gd name="connsiteY275" fmla="*/ 24849 h 48740"/>
                <a:gd name="connsiteX276" fmla="*/ 314973 w 369143"/>
                <a:gd name="connsiteY276" fmla="*/ 11805 h 48740"/>
                <a:gd name="connsiteX277" fmla="*/ 314811 w 369143"/>
                <a:gd name="connsiteY277" fmla="*/ 11802 h 48740"/>
                <a:gd name="connsiteX278" fmla="*/ 307063 w 369143"/>
                <a:gd name="connsiteY278" fmla="*/ 14252 h 48740"/>
                <a:gd name="connsiteX279" fmla="*/ 304933 w 369143"/>
                <a:gd name="connsiteY279" fmla="*/ 13506 h 48740"/>
                <a:gd name="connsiteX280" fmla="*/ 304933 w 369143"/>
                <a:gd name="connsiteY280" fmla="*/ 13506 h 48740"/>
                <a:gd name="connsiteX281" fmla="*/ 303628 w 369143"/>
                <a:gd name="connsiteY281" fmla="*/ 12388 h 48740"/>
                <a:gd name="connsiteX282" fmla="*/ 302749 w 369143"/>
                <a:gd name="connsiteY282" fmla="*/ 12388 h 48740"/>
                <a:gd name="connsiteX283" fmla="*/ 301527 w 369143"/>
                <a:gd name="connsiteY283" fmla="*/ 13330 h 48740"/>
                <a:gd name="connsiteX284" fmla="*/ 301524 w 369143"/>
                <a:gd name="connsiteY284" fmla="*/ 13586 h 48740"/>
                <a:gd name="connsiteX285" fmla="*/ 301524 w 369143"/>
                <a:gd name="connsiteY285" fmla="*/ 47188 h 48740"/>
                <a:gd name="connsiteX286" fmla="*/ 302494 w 369143"/>
                <a:gd name="connsiteY286" fmla="*/ 48389 h 48740"/>
                <a:gd name="connsiteX287" fmla="*/ 302749 w 369143"/>
                <a:gd name="connsiteY287" fmla="*/ 48386 h 48740"/>
                <a:gd name="connsiteX288" fmla="*/ 306104 w 369143"/>
                <a:gd name="connsiteY288" fmla="*/ 28044 h 48740"/>
                <a:gd name="connsiteX289" fmla="*/ 306104 w 369143"/>
                <a:gd name="connsiteY289" fmla="*/ 21973 h 48740"/>
                <a:gd name="connsiteX290" fmla="*/ 306637 w 369143"/>
                <a:gd name="connsiteY290" fmla="*/ 19870 h 48740"/>
                <a:gd name="connsiteX291" fmla="*/ 314278 w 369143"/>
                <a:gd name="connsiteY291" fmla="*/ 15822 h 48740"/>
                <a:gd name="connsiteX292" fmla="*/ 322799 w 369143"/>
                <a:gd name="connsiteY292" fmla="*/ 24929 h 48740"/>
                <a:gd name="connsiteX293" fmla="*/ 314278 w 369143"/>
                <a:gd name="connsiteY293" fmla="*/ 34248 h 48740"/>
                <a:gd name="connsiteX294" fmla="*/ 306637 w 369143"/>
                <a:gd name="connsiteY294" fmla="*/ 30147 h 48740"/>
                <a:gd name="connsiteX295" fmla="*/ 306104 w 369143"/>
                <a:gd name="connsiteY295" fmla="*/ 28044 h 48740"/>
                <a:gd name="connsiteX296" fmla="*/ 337496 w 369143"/>
                <a:gd name="connsiteY296" fmla="*/ -286 h 48740"/>
                <a:gd name="connsiteX297" fmla="*/ 335366 w 369143"/>
                <a:gd name="connsiteY297" fmla="*/ -286 h 48740"/>
                <a:gd name="connsiteX298" fmla="*/ 334141 w 369143"/>
                <a:gd name="connsiteY298" fmla="*/ 715 h 48740"/>
                <a:gd name="connsiteX299" fmla="*/ 334141 w 369143"/>
                <a:gd name="connsiteY299" fmla="*/ 938 h 48740"/>
                <a:gd name="connsiteX300" fmla="*/ 334141 w 369143"/>
                <a:gd name="connsiteY300" fmla="*/ 36484 h 48740"/>
                <a:gd name="connsiteX301" fmla="*/ 335111 w 369143"/>
                <a:gd name="connsiteY301" fmla="*/ 37685 h 48740"/>
                <a:gd name="connsiteX302" fmla="*/ 335366 w 369143"/>
                <a:gd name="connsiteY302" fmla="*/ 37683 h 48740"/>
                <a:gd name="connsiteX303" fmla="*/ 337496 w 369143"/>
                <a:gd name="connsiteY303" fmla="*/ 37683 h 48740"/>
                <a:gd name="connsiteX304" fmla="*/ 338718 w 369143"/>
                <a:gd name="connsiteY304" fmla="*/ 36740 h 48740"/>
                <a:gd name="connsiteX305" fmla="*/ 338721 w 369143"/>
                <a:gd name="connsiteY305" fmla="*/ 36484 h 48740"/>
                <a:gd name="connsiteX306" fmla="*/ 338721 w 369143"/>
                <a:gd name="connsiteY306" fmla="*/ 885 h 48740"/>
                <a:gd name="connsiteX307" fmla="*/ 337720 w 369143"/>
                <a:gd name="connsiteY307" fmla="*/ -340 h 48740"/>
                <a:gd name="connsiteX308" fmla="*/ 337496 w 369143"/>
                <a:gd name="connsiteY308" fmla="*/ -340 h 48740"/>
                <a:gd name="connsiteX309" fmla="*/ 345484 w 369143"/>
                <a:gd name="connsiteY309" fmla="*/ 24822 h 48740"/>
                <a:gd name="connsiteX310" fmla="*/ 357612 w 369143"/>
                <a:gd name="connsiteY310" fmla="*/ 38122 h 48740"/>
                <a:gd name="connsiteX311" fmla="*/ 358345 w 369143"/>
                <a:gd name="connsiteY311" fmla="*/ 38135 h 48740"/>
                <a:gd name="connsiteX312" fmla="*/ 369235 w 369143"/>
                <a:gd name="connsiteY312" fmla="*/ 31053 h 48740"/>
                <a:gd name="connsiteX313" fmla="*/ 368170 w 369143"/>
                <a:gd name="connsiteY313" fmla="*/ 29668 h 48740"/>
                <a:gd name="connsiteX314" fmla="*/ 366333 w 369143"/>
                <a:gd name="connsiteY314" fmla="*/ 29668 h 48740"/>
                <a:gd name="connsiteX315" fmla="*/ 364921 w 369143"/>
                <a:gd name="connsiteY315" fmla="*/ 30653 h 48740"/>
                <a:gd name="connsiteX316" fmla="*/ 358345 w 369143"/>
                <a:gd name="connsiteY316" fmla="*/ 34221 h 48740"/>
                <a:gd name="connsiteX317" fmla="*/ 350357 w 369143"/>
                <a:gd name="connsiteY317" fmla="*/ 28017 h 48740"/>
                <a:gd name="connsiteX318" fmla="*/ 351928 w 369143"/>
                <a:gd name="connsiteY318" fmla="*/ 26180 h 48740"/>
                <a:gd name="connsiteX319" fmla="*/ 368463 w 369143"/>
                <a:gd name="connsiteY319" fmla="*/ 26180 h 48740"/>
                <a:gd name="connsiteX320" fmla="*/ 370111 w 369143"/>
                <a:gd name="connsiteY320" fmla="*/ 24745 h 48740"/>
                <a:gd name="connsiteX321" fmla="*/ 370113 w 369143"/>
                <a:gd name="connsiteY321" fmla="*/ 24609 h 48740"/>
                <a:gd name="connsiteX322" fmla="*/ 358661 w 369143"/>
                <a:gd name="connsiteY322" fmla="*/ 11815 h 48740"/>
                <a:gd name="connsiteX323" fmla="*/ 358371 w 369143"/>
                <a:gd name="connsiteY323" fmla="*/ 11802 h 48740"/>
                <a:gd name="connsiteX324" fmla="*/ 345535 w 369143"/>
                <a:gd name="connsiteY324" fmla="*/ 24311 h 48740"/>
                <a:gd name="connsiteX325" fmla="*/ 345538 w 369143"/>
                <a:gd name="connsiteY325" fmla="*/ 24795 h 48740"/>
                <a:gd name="connsiteX326" fmla="*/ 350863 w 369143"/>
                <a:gd name="connsiteY326" fmla="*/ 20376 h 48740"/>
                <a:gd name="connsiteX327" fmla="*/ 358185 w 369143"/>
                <a:gd name="connsiteY327" fmla="*/ 15689 h 48740"/>
                <a:gd name="connsiteX328" fmla="*/ 364948 w 369143"/>
                <a:gd name="connsiteY328" fmla="*/ 20429 h 48740"/>
                <a:gd name="connsiteX329" fmla="*/ 363484 w 369143"/>
                <a:gd name="connsiteY329" fmla="*/ 22373 h 48740"/>
                <a:gd name="connsiteX330" fmla="*/ 352221 w 369143"/>
                <a:gd name="connsiteY330" fmla="*/ 22373 h 48740"/>
                <a:gd name="connsiteX331" fmla="*/ 350863 w 369143"/>
                <a:gd name="connsiteY331" fmla="*/ 20429 h 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Lst>
              <a:rect l="l" t="t" r="r" b="b"/>
              <a:pathLst>
                <a:path w="369143" h="48740">
                  <a:moveTo>
                    <a:pt x="2220" y="48333"/>
                  </a:moveTo>
                  <a:lnTo>
                    <a:pt x="4004" y="48333"/>
                  </a:lnTo>
                  <a:cubicBezTo>
                    <a:pt x="4603" y="48410"/>
                    <a:pt x="5149" y="47987"/>
                    <a:pt x="5226" y="47390"/>
                  </a:cubicBezTo>
                  <a:cubicBezTo>
                    <a:pt x="5237" y="47305"/>
                    <a:pt x="5237" y="47220"/>
                    <a:pt x="5229" y="47135"/>
                  </a:cubicBezTo>
                  <a:lnTo>
                    <a:pt x="5229" y="37043"/>
                  </a:lnTo>
                  <a:cubicBezTo>
                    <a:pt x="5229" y="35632"/>
                    <a:pt x="6001" y="35339"/>
                    <a:pt x="7172" y="36165"/>
                  </a:cubicBezTo>
                  <a:cubicBezTo>
                    <a:pt x="9265" y="37507"/>
                    <a:pt x="11717" y="38183"/>
                    <a:pt x="14202" y="38109"/>
                  </a:cubicBezTo>
                  <a:cubicBezTo>
                    <a:pt x="21319" y="38039"/>
                    <a:pt x="27033" y="32214"/>
                    <a:pt x="26961" y="25096"/>
                  </a:cubicBezTo>
                  <a:cubicBezTo>
                    <a:pt x="26961" y="24995"/>
                    <a:pt x="26958" y="24897"/>
                    <a:pt x="26955" y="24795"/>
                  </a:cubicBezTo>
                  <a:cubicBezTo>
                    <a:pt x="27102" y="17740"/>
                    <a:pt x="21502" y="11898"/>
                    <a:pt x="14444" y="11751"/>
                  </a:cubicBezTo>
                  <a:cubicBezTo>
                    <a:pt x="14391" y="11749"/>
                    <a:pt x="14335" y="11749"/>
                    <a:pt x="14281" y="11749"/>
                  </a:cubicBezTo>
                  <a:cubicBezTo>
                    <a:pt x="11496" y="11671"/>
                    <a:pt x="8767" y="12534"/>
                    <a:pt x="6533" y="14198"/>
                  </a:cubicBezTo>
                  <a:cubicBezTo>
                    <a:pt x="5468" y="15024"/>
                    <a:pt x="4643" y="14837"/>
                    <a:pt x="4403" y="13453"/>
                  </a:cubicBezTo>
                  <a:lnTo>
                    <a:pt x="4403" y="13453"/>
                  </a:lnTo>
                  <a:cubicBezTo>
                    <a:pt x="4347" y="12787"/>
                    <a:pt x="3767" y="12289"/>
                    <a:pt x="3098" y="12334"/>
                  </a:cubicBezTo>
                  <a:lnTo>
                    <a:pt x="2220" y="12334"/>
                  </a:lnTo>
                  <a:cubicBezTo>
                    <a:pt x="1621" y="12257"/>
                    <a:pt x="1075" y="12681"/>
                    <a:pt x="998" y="13277"/>
                  </a:cubicBezTo>
                  <a:cubicBezTo>
                    <a:pt x="987" y="13362"/>
                    <a:pt x="987" y="13447"/>
                    <a:pt x="995" y="13533"/>
                  </a:cubicBezTo>
                  <a:lnTo>
                    <a:pt x="995" y="47135"/>
                  </a:lnTo>
                  <a:cubicBezTo>
                    <a:pt x="931" y="47734"/>
                    <a:pt x="1365" y="48272"/>
                    <a:pt x="1964" y="48336"/>
                  </a:cubicBezTo>
                  <a:cubicBezTo>
                    <a:pt x="2049" y="48344"/>
                    <a:pt x="2134" y="48344"/>
                    <a:pt x="2220" y="48333"/>
                  </a:cubicBezTo>
                  <a:moveTo>
                    <a:pt x="5575" y="27991"/>
                  </a:moveTo>
                  <a:lnTo>
                    <a:pt x="5575" y="21920"/>
                  </a:lnTo>
                  <a:cubicBezTo>
                    <a:pt x="5535" y="21180"/>
                    <a:pt x="5721" y="20447"/>
                    <a:pt x="6107" y="19816"/>
                  </a:cubicBezTo>
                  <a:cubicBezTo>
                    <a:pt x="7777" y="17228"/>
                    <a:pt x="10671" y="15695"/>
                    <a:pt x="13749" y="15769"/>
                  </a:cubicBezTo>
                  <a:cubicBezTo>
                    <a:pt x="18606" y="15958"/>
                    <a:pt x="22405" y="20019"/>
                    <a:pt x="22269" y="24875"/>
                  </a:cubicBezTo>
                  <a:cubicBezTo>
                    <a:pt x="22480" y="29799"/>
                    <a:pt x="18672" y="33965"/>
                    <a:pt x="13749" y="34195"/>
                  </a:cubicBezTo>
                  <a:cubicBezTo>
                    <a:pt x="10655" y="34285"/>
                    <a:pt x="7745" y="32722"/>
                    <a:pt x="6107" y="30094"/>
                  </a:cubicBezTo>
                  <a:cubicBezTo>
                    <a:pt x="5721" y="29463"/>
                    <a:pt x="5535" y="28731"/>
                    <a:pt x="5575" y="27991"/>
                  </a:cubicBezTo>
                  <a:moveTo>
                    <a:pt x="36967" y="-340"/>
                  </a:moveTo>
                  <a:lnTo>
                    <a:pt x="34837" y="-340"/>
                  </a:lnTo>
                  <a:cubicBezTo>
                    <a:pt x="34222" y="-401"/>
                    <a:pt x="33673" y="46"/>
                    <a:pt x="33612" y="662"/>
                  </a:cubicBezTo>
                  <a:cubicBezTo>
                    <a:pt x="33604" y="736"/>
                    <a:pt x="33604" y="811"/>
                    <a:pt x="33612" y="885"/>
                  </a:cubicBezTo>
                  <a:lnTo>
                    <a:pt x="33612" y="36431"/>
                  </a:lnTo>
                  <a:cubicBezTo>
                    <a:pt x="33548" y="37030"/>
                    <a:pt x="33982" y="37568"/>
                    <a:pt x="34581" y="37632"/>
                  </a:cubicBezTo>
                  <a:cubicBezTo>
                    <a:pt x="34666" y="37640"/>
                    <a:pt x="34752" y="37640"/>
                    <a:pt x="34837" y="37629"/>
                  </a:cubicBezTo>
                  <a:lnTo>
                    <a:pt x="36967" y="37629"/>
                  </a:lnTo>
                  <a:cubicBezTo>
                    <a:pt x="37566" y="37707"/>
                    <a:pt x="38112" y="37283"/>
                    <a:pt x="38189" y="36687"/>
                  </a:cubicBezTo>
                  <a:cubicBezTo>
                    <a:pt x="38200" y="36602"/>
                    <a:pt x="38200" y="36516"/>
                    <a:pt x="38192" y="36431"/>
                  </a:cubicBezTo>
                  <a:lnTo>
                    <a:pt x="38192" y="885"/>
                  </a:lnTo>
                  <a:cubicBezTo>
                    <a:pt x="38253" y="270"/>
                    <a:pt x="37806" y="-278"/>
                    <a:pt x="37191" y="-340"/>
                  </a:cubicBezTo>
                  <a:cubicBezTo>
                    <a:pt x="37116" y="-348"/>
                    <a:pt x="37041" y="-348"/>
                    <a:pt x="36967" y="-340"/>
                  </a:cubicBezTo>
                  <a:moveTo>
                    <a:pt x="44768" y="30680"/>
                  </a:moveTo>
                  <a:cubicBezTo>
                    <a:pt x="44840" y="34871"/>
                    <a:pt x="48294" y="38210"/>
                    <a:pt x="52485" y="38141"/>
                  </a:cubicBezTo>
                  <a:cubicBezTo>
                    <a:pt x="52674" y="38135"/>
                    <a:pt x="52860" y="38125"/>
                    <a:pt x="53049" y="38109"/>
                  </a:cubicBezTo>
                  <a:cubicBezTo>
                    <a:pt x="56154" y="38127"/>
                    <a:pt x="59192" y="37198"/>
                    <a:pt x="61756" y="35446"/>
                  </a:cubicBezTo>
                  <a:cubicBezTo>
                    <a:pt x="62821" y="34780"/>
                    <a:pt x="63646" y="35020"/>
                    <a:pt x="63992" y="36218"/>
                  </a:cubicBezTo>
                  <a:lnTo>
                    <a:pt x="64152" y="36724"/>
                  </a:lnTo>
                  <a:cubicBezTo>
                    <a:pt x="64275" y="37363"/>
                    <a:pt x="64863" y="37802"/>
                    <a:pt x="65510" y="37736"/>
                  </a:cubicBezTo>
                  <a:lnTo>
                    <a:pt x="66096" y="37736"/>
                  </a:lnTo>
                  <a:cubicBezTo>
                    <a:pt x="66695" y="37797"/>
                    <a:pt x="67233" y="37363"/>
                    <a:pt x="67294" y="36761"/>
                  </a:cubicBezTo>
                  <a:cubicBezTo>
                    <a:pt x="67302" y="36687"/>
                    <a:pt x="67302" y="36612"/>
                    <a:pt x="67294" y="36538"/>
                  </a:cubicBezTo>
                  <a:lnTo>
                    <a:pt x="67294" y="22905"/>
                  </a:lnTo>
                  <a:cubicBezTo>
                    <a:pt x="67294" y="15982"/>
                    <a:pt x="63353" y="11935"/>
                    <a:pt x="56644" y="11935"/>
                  </a:cubicBezTo>
                  <a:cubicBezTo>
                    <a:pt x="50892" y="11935"/>
                    <a:pt x="46872" y="14864"/>
                    <a:pt x="45993" y="19497"/>
                  </a:cubicBezTo>
                  <a:cubicBezTo>
                    <a:pt x="45839" y="20048"/>
                    <a:pt x="46161" y="20623"/>
                    <a:pt x="46712" y="20778"/>
                  </a:cubicBezTo>
                  <a:cubicBezTo>
                    <a:pt x="46858" y="20818"/>
                    <a:pt x="47013" y="20825"/>
                    <a:pt x="47165" y="20802"/>
                  </a:cubicBezTo>
                  <a:lnTo>
                    <a:pt x="49055" y="20802"/>
                  </a:lnTo>
                  <a:cubicBezTo>
                    <a:pt x="49702" y="20825"/>
                    <a:pt x="50269" y="20373"/>
                    <a:pt x="50386" y="19736"/>
                  </a:cubicBezTo>
                  <a:cubicBezTo>
                    <a:pt x="51305" y="17207"/>
                    <a:pt x="53835" y="15633"/>
                    <a:pt x="56510" y="15929"/>
                  </a:cubicBezTo>
                  <a:cubicBezTo>
                    <a:pt x="59628" y="15498"/>
                    <a:pt x="62504" y="17673"/>
                    <a:pt x="62938" y="20791"/>
                  </a:cubicBezTo>
                  <a:cubicBezTo>
                    <a:pt x="62989" y="21164"/>
                    <a:pt x="63005" y="21542"/>
                    <a:pt x="62981" y="21920"/>
                  </a:cubicBezTo>
                  <a:cubicBezTo>
                    <a:pt x="62981" y="22958"/>
                    <a:pt x="62368" y="23491"/>
                    <a:pt x="61277" y="23491"/>
                  </a:cubicBezTo>
                  <a:lnTo>
                    <a:pt x="55632" y="23491"/>
                  </a:lnTo>
                  <a:cubicBezTo>
                    <a:pt x="48975" y="23491"/>
                    <a:pt x="44981" y="26606"/>
                    <a:pt x="44981" y="30840"/>
                  </a:cubicBezTo>
                  <a:moveTo>
                    <a:pt x="49561" y="30840"/>
                  </a:moveTo>
                  <a:cubicBezTo>
                    <a:pt x="49561" y="28417"/>
                    <a:pt x="51638" y="27325"/>
                    <a:pt x="55792" y="27325"/>
                  </a:cubicBezTo>
                  <a:lnTo>
                    <a:pt x="61330" y="27325"/>
                  </a:lnTo>
                  <a:cubicBezTo>
                    <a:pt x="62177" y="27232"/>
                    <a:pt x="62941" y="27844"/>
                    <a:pt x="63034" y="28691"/>
                  </a:cubicBezTo>
                  <a:cubicBezTo>
                    <a:pt x="63047" y="28803"/>
                    <a:pt x="63047" y="28917"/>
                    <a:pt x="63034" y="29029"/>
                  </a:cubicBezTo>
                  <a:lnTo>
                    <a:pt x="63034" y="29535"/>
                  </a:lnTo>
                  <a:cubicBezTo>
                    <a:pt x="63071" y="30347"/>
                    <a:pt x="62688" y="31119"/>
                    <a:pt x="62022" y="31585"/>
                  </a:cubicBezTo>
                  <a:cubicBezTo>
                    <a:pt x="59767" y="33233"/>
                    <a:pt x="57067" y="34160"/>
                    <a:pt x="54274" y="34248"/>
                  </a:cubicBezTo>
                  <a:cubicBezTo>
                    <a:pt x="51611" y="34248"/>
                    <a:pt x="49561" y="33129"/>
                    <a:pt x="49561" y="30733"/>
                  </a:cubicBezTo>
                  <a:moveTo>
                    <a:pt x="76826" y="37789"/>
                  </a:moveTo>
                  <a:lnTo>
                    <a:pt x="78956" y="37789"/>
                  </a:lnTo>
                  <a:cubicBezTo>
                    <a:pt x="79555" y="37866"/>
                    <a:pt x="80101" y="37443"/>
                    <a:pt x="80179" y="36846"/>
                  </a:cubicBezTo>
                  <a:cubicBezTo>
                    <a:pt x="80189" y="36761"/>
                    <a:pt x="80189" y="36676"/>
                    <a:pt x="80181" y="36591"/>
                  </a:cubicBezTo>
                  <a:lnTo>
                    <a:pt x="80181" y="20988"/>
                  </a:lnTo>
                  <a:cubicBezTo>
                    <a:pt x="80123" y="20152"/>
                    <a:pt x="80562" y="19361"/>
                    <a:pt x="81299" y="18964"/>
                  </a:cubicBezTo>
                  <a:cubicBezTo>
                    <a:pt x="83752" y="17274"/>
                    <a:pt x="86609" y="16264"/>
                    <a:pt x="89580" y="16035"/>
                  </a:cubicBezTo>
                  <a:cubicBezTo>
                    <a:pt x="92392" y="15777"/>
                    <a:pt x="94881" y="17846"/>
                    <a:pt x="95140" y="20658"/>
                  </a:cubicBezTo>
                  <a:cubicBezTo>
                    <a:pt x="95174" y="21033"/>
                    <a:pt x="95166" y="21411"/>
                    <a:pt x="95118" y="21787"/>
                  </a:cubicBezTo>
                  <a:lnTo>
                    <a:pt x="95118" y="36591"/>
                  </a:lnTo>
                  <a:cubicBezTo>
                    <a:pt x="95054" y="37190"/>
                    <a:pt x="95489" y="37728"/>
                    <a:pt x="96088" y="37792"/>
                  </a:cubicBezTo>
                  <a:cubicBezTo>
                    <a:pt x="96173" y="37800"/>
                    <a:pt x="96258" y="37800"/>
                    <a:pt x="96343" y="37789"/>
                  </a:cubicBezTo>
                  <a:lnTo>
                    <a:pt x="98473" y="37789"/>
                  </a:lnTo>
                  <a:cubicBezTo>
                    <a:pt x="99072" y="37866"/>
                    <a:pt x="99618" y="37443"/>
                    <a:pt x="99696" y="36846"/>
                  </a:cubicBezTo>
                  <a:cubicBezTo>
                    <a:pt x="99706" y="36761"/>
                    <a:pt x="99706" y="36676"/>
                    <a:pt x="99698" y="36591"/>
                  </a:cubicBezTo>
                  <a:lnTo>
                    <a:pt x="99698" y="21574"/>
                  </a:lnTo>
                  <a:cubicBezTo>
                    <a:pt x="99698" y="15343"/>
                    <a:pt x="96397" y="11988"/>
                    <a:pt x="90885" y="11988"/>
                  </a:cubicBezTo>
                  <a:cubicBezTo>
                    <a:pt x="87495" y="11996"/>
                    <a:pt x="84178" y="12976"/>
                    <a:pt x="81326" y="14811"/>
                  </a:cubicBezTo>
                  <a:cubicBezTo>
                    <a:pt x="80261" y="15503"/>
                    <a:pt x="79436" y="15210"/>
                    <a:pt x="79143" y="13932"/>
                  </a:cubicBezTo>
                  <a:lnTo>
                    <a:pt x="79143" y="13559"/>
                  </a:lnTo>
                  <a:cubicBezTo>
                    <a:pt x="79023" y="12902"/>
                    <a:pt x="78424" y="12444"/>
                    <a:pt x="77758" y="12494"/>
                  </a:cubicBezTo>
                  <a:lnTo>
                    <a:pt x="76906" y="12494"/>
                  </a:lnTo>
                  <a:cubicBezTo>
                    <a:pt x="76307" y="12417"/>
                    <a:pt x="75761" y="12840"/>
                    <a:pt x="75684" y="13437"/>
                  </a:cubicBezTo>
                  <a:cubicBezTo>
                    <a:pt x="75673" y="13522"/>
                    <a:pt x="75673" y="13607"/>
                    <a:pt x="75681" y="13692"/>
                  </a:cubicBezTo>
                  <a:lnTo>
                    <a:pt x="75681" y="36591"/>
                  </a:lnTo>
                  <a:cubicBezTo>
                    <a:pt x="75617" y="37190"/>
                    <a:pt x="76051" y="37728"/>
                    <a:pt x="76651" y="37792"/>
                  </a:cubicBezTo>
                  <a:cubicBezTo>
                    <a:pt x="76736" y="37800"/>
                    <a:pt x="76821" y="37800"/>
                    <a:pt x="76906" y="37789"/>
                  </a:cubicBezTo>
                  <a:moveTo>
                    <a:pt x="106195" y="24982"/>
                  </a:moveTo>
                  <a:cubicBezTo>
                    <a:pt x="105870" y="32003"/>
                    <a:pt x="111299" y="37959"/>
                    <a:pt x="118323" y="38282"/>
                  </a:cubicBezTo>
                  <a:cubicBezTo>
                    <a:pt x="118565" y="38292"/>
                    <a:pt x="118810" y="38298"/>
                    <a:pt x="119055" y="38295"/>
                  </a:cubicBezTo>
                  <a:cubicBezTo>
                    <a:pt x="123824" y="38492"/>
                    <a:pt x="128193" y="35651"/>
                    <a:pt x="129945" y="31212"/>
                  </a:cubicBezTo>
                  <a:cubicBezTo>
                    <a:pt x="130238" y="30387"/>
                    <a:pt x="129706" y="29828"/>
                    <a:pt x="128880" y="29828"/>
                  </a:cubicBezTo>
                  <a:lnTo>
                    <a:pt x="127043" y="29828"/>
                  </a:lnTo>
                  <a:cubicBezTo>
                    <a:pt x="126409" y="29817"/>
                    <a:pt x="125840" y="30214"/>
                    <a:pt x="125632" y="30813"/>
                  </a:cubicBezTo>
                  <a:cubicBezTo>
                    <a:pt x="124357" y="33217"/>
                    <a:pt x="121766" y="34623"/>
                    <a:pt x="119055" y="34381"/>
                  </a:cubicBezTo>
                  <a:cubicBezTo>
                    <a:pt x="115256" y="34477"/>
                    <a:pt x="111914" y="31881"/>
                    <a:pt x="111068" y="28177"/>
                  </a:cubicBezTo>
                  <a:cubicBezTo>
                    <a:pt x="110775" y="27059"/>
                    <a:pt x="111467" y="26340"/>
                    <a:pt x="112638" y="26340"/>
                  </a:cubicBezTo>
                  <a:lnTo>
                    <a:pt x="129173" y="26340"/>
                  </a:lnTo>
                  <a:cubicBezTo>
                    <a:pt x="130025" y="26398"/>
                    <a:pt x="130763" y="25757"/>
                    <a:pt x="130821" y="24905"/>
                  </a:cubicBezTo>
                  <a:cubicBezTo>
                    <a:pt x="130824" y="24859"/>
                    <a:pt x="130824" y="24814"/>
                    <a:pt x="130824" y="24769"/>
                  </a:cubicBezTo>
                  <a:cubicBezTo>
                    <a:pt x="131194" y="18072"/>
                    <a:pt x="126069" y="12345"/>
                    <a:pt x="119372" y="11975"/>
                  </a:cubicBezTo>
                  <a:cubicBezTo>
                    <a:pt x="119266" y="11970"/>
                    <a:pt x="119162" y="11964"/>
                    <a:pt x="119055" y="11962"/>
                  </a:cubicBezTo>
                  <a:cubicBezTo>
                    <a:pt x="112071" y="11871"/>
                    <a:pt x="106336" y="17460"/>
                    <a:pt x="106245" y="24444"/>
                  </a:cubicBezTo>
                  <a:cubicBezTo>
                    <a:pt x="106243" y="24614"/>
                    <a:pt x="106243" y="24785"/>
                    <a:pt x="106248" y="24955"/>
                  </a:cubicBezTo>
                  <a:moveTo>
                    <a:pt x="111707" y="20535"/>
                  </a:moveTo>
                  <a:cubicBezTo>
                    <a:pt x="113006" y="17676"/>
                    <a:pt x="115860" y="15841"/>
                    <a:pt x="119002" y="15849"/>
                  </a:cubicBezTo>
                  <a:cubicBezTo>
                    <a:pt x="122038" y="15844"/>
                    <a:pt x="124751" y="17737"/>
                    <a:pt x="125792" y="20589"/>
                  </a:cubicBezTo>
                  <a:cubicBezTo>
                    <a:pt x="126218" y="21760"/>
                    <a:pt x="125526" y="22532"/>
                    <a:pt x="124327" y="22532"/>
                  </a:cubicBezTo>
                  <a:lnTo>
                    <a:pt x="113065" y="22532"/>
                  </a:lnTo>
                  <a:cubicBezTo>
                    <a:pt x="111786" y="22532"/>
                    <a:pt x="111121" y="21707"/>
                    <a:pt x="111707" y="20589"/>
                  </a:cubicBezTo>
                  <a:moveTo>
                    <a:pt x="135670" y="16408"/>
                  </a:moveTo>
                  <a:lnTo>
                    <a:pt x="137720" y="16408"/>
                  </a:lnTo>
                  <a:cubicBezTo>
                    <a:pt x="137971" y="16392"/>
                    <a:pt x="138184" y="16584"/>
                    <a:pt x="138200" y="16832"/>
                  </a:cubicBezTo>
                  <a:cubicBezTo>
                    <a:pt x="138200" y="16850"/>
                    <a:pt x="138200" y="16869"/>
                    <a:pt x="138200" y="16888"/>
                  </a:cubicBezTo>
                  <a:lnTo>
                    <a:pt x="138200" y="30414"/>
                  </a:lnTo>
                  <a:cubicBezTo>
                    <a:pt x="138200" y="36218"/>
                    <a:pt x="141475" y="38401"/>
                    <a:pt x="145495" y="38401"/>
                  </a:cubicBezTo>
                  <a:cubicBezTo>
                    <a:pt x="147564" y="38404"/>
                    <a:pt x="149622" y="38079"/>
                    <a:pt x="151592" y="37443"/>
                  </a:cubicBezTo>
                  <a:cubicBezTo>
                    <a:pt x="152090" y="37059"/>
                    <a:pt x="152239" y="36373"/>
                    <a:pt x="151939" y="35819"/>
                  </a:cubicBezTo>
                  <a:lnTo>
                    <a:pt x="151779" y="34354"/>
                  </a:lnTo>
                  <a:cubicBezTo>
                    <a:pt x="151779" y="33529"/>
                    <a:pt x="151140" y="33183"/>
                    <a:pt x="150314" y="33476"/>
                  </a:cubicBezTo>
                  <a:cubicBezTo>
                    <a:pt x="148837" y="33963"/>
                    <a:pt x="147292" y="34216"/>
                    <a:pt x="145735" y="34221"/>
                  </a:cubicBezTo>
                  <a:cubicBezTo>
                    <a:pt x="143472" y="34221"/>
                    <a:pt x="142247" y="32996"/>
                    <a:pt x="142247" y="30281"/>
                  </a:cubicBezTo>
                  <a:lnTo>
                    <a:pt x="142247" y="16834"/>
                  </a:lnTo>
                  <a:cubicBezTo>
                    <a:pt x="142231" y="16584"/>
                    <a:pt x="142423" y="16371"/>
                    <a:pt x="142670" y="16355"/>
                  </a:cubicBezTo>
                  <a:cubicBezTo>
                    <a:pt x="142689" y="16355"/>
                    <a:pt x="142707" y="16355"/>
                    <a:pt x="142726" y="16355"/>
                  </a:cubicBezTo>
                  <a:lnTo>
                    <a:pt x="150714" y="16355"/>
                  </a:lnTo>
                  <a:cubicBezTo>
                    <a:pt x="151329" y="16416"/>
                    <a:pt x="151877" y="15969"/>
                    <a:pt x="151939" y="15354"/>
                  </a:cubicBezTo>
                  <a:cubicBezTo>
                    <a:pt x="151947" y="15279"/>
                    <a:pt x="151947" y="15205"/>
                    <a:pt x="151939" y="15130"/>
                  </a:cubicBezTo>
                  <a:lnTo>
                    <a:pt x="151939" y="13666"/>
                  </a:lnTo>
                  <a:cubicBezTo>
                    <a:pt x="152003" y="13067"/>
                    <a:pt x="151569" y="12529"/>
                    <a:pt x="150969" y="12465"/>
                  </a:cubicBezTo>
                  <a:cubicBezTo>
                    <a:pt x="150884" y="12457"/>
                    <a:pt x="150799" y="12457"/>
                    <a:pt x="150714" y="12468"/>
                  </a:cubicBezTo>
                  <a:lnTo>
                    <a:pt x="142726" y="12468"/>
                  </a:lnTo>
                  <a:cubicBezTo>
                    <a:pt x="142462" y="12468"/>
                    <a:pt x="142247" y="12255"/>
                    <a:pt x="142247" y="11988"/>
                  </a:cubicBezTo>
                  <a:cubicBezTo>
                    <a:pt x="142247" y="11980"/>
                    <a:pt x="142247" y="11970"/>
                    <a:pt x="142247" y="11962"/>
                  </a:cubicBezTo>
                  <a:lnTo>
                    <a:pt x="142247" y="6636"/>
                  </a:lnTo>
                  <a:cubicBezTo>
                    <a:pt x="142247" y="5811"/>
                    <a:pt x="141767" y="5332"/>
                    <a:pt x="140889" y="5571"/>
                  </a:cubicBezTo>
                  <a:lnTo>
                    <a:pt x="138839" y="6104"/>
                  </a:lnTo>
                  <a:cubicBezTo>
                    <a:pt x="138200" y="6224"/>
                    <a:pt x="137760" y="6815"/>
                    <a:pt x="137827" y="7462"/>
                  </a:cubicBezTo>
                  <a:lnTo>
                    <a:pt x="137827" y="11855"/>
                  </a:lnTo>
                  <a:cubicBezTo>
                    <a:pt x="137843" y="12119"/>
                    <a:pt x="137640" y="12345"/>
                    <a:pt x="137377" y="12361"/>
                  </a:cubicBezTo>
                  <a:cubicBezTo>
                    <a:pt x="137358" y="12361"/>
                    <a:pt x="137340" y="12361"/>
                    <a:pt x="137321" y="12361"/>
                  </a:cubicBezTo>
                  <a:lnTo>
                    <a:pt x="135138" y="12361"/>
                  </a:lnTo>
                  <a:cubicBezTo>
                    <a:pt x="134539" y="12284"/>
                    <a:pt x="133993" y="12707"/>
                    <a:pt x="133915" y="13304"/>
                  </a:cubicBezTo>
                  <a:cubicBezTo>
                    <a:pt x="133905" y="13389"/>
                    <a:pt x="133905" y="13474"/>
                    <a:pt x="133913" y="13559"/>
                  </a:cubicBezTo>
                  <a:lnTo>
                    <a:pt x="133913" y="15024"/>
                  </a:lnTo>
                  <a:cubicBezTo>
                    <a:pt x="133851" y="15639"/>
                    <a:pt x="134299" y="16187"/>
                    <a:pt x="134914" y="16248"/>
                  </a:cubicBezTo>
                  <a:cubicBezTo>
                    <a:pt x="134988" y="16257"/>
                    <a:pt x="135063" y="16257"/>
                    <a:pt x="135138" y="16248"/>
                  </a:cubicBezTo>
                  <a:moveTo>
                    <a:pt x="168820" y="24023"/>
                  </a:moveTo>
                  <a:cubicBezTo>
                    <a:pt x="168758" y="24638"/>
                    <a:pt x="169206" y="25187"/>
                    <a:pt x="169821" y="25248"/>
                  </a:cubicBezTo>
                  <a:cubicBezTo>
                    <a:pt x="169895" y="25256"/>
                    <a:pt x="169970" y="25256"/>
                    <a:pt x="170044" y="25248"/>
                  </a:cubicBezTo>
                  <a:lnTo>
                    <a:pt x="175609" y="25248"/>
                  </a:lnTo>
                  <a:cubicBezTo>
                    <a:pt x="176134" y="25187"/>
                    <a:pt x="176613" y="25562"/>
                    <a:pt x="176674" y="26087"/>
                  </a:cubicBezTo>
                  <a:cubicBezTo>
                    <a:pt x="176682" y="26161"/>
                    <a:pt x="176682" y="26239"/>
                    <a:pt x="176674" y="26313"/>
                  </a:cubicBezTo>
                  <a:lnTo>
                    <a:pt x="176674" y="31772"/>
                  </a:lnTo>
                  <a:cubicBezTo>
                    <a:pt x="176581" y="32352"/>
                    <a:pt x="176975" y="32898"/>
                    <a:pt x="177556" y="32994"/>
                  </a:cubicBezTo>
                  <a:cubicBezTo>
                    <a:pt x="177659" y="33010"/>
                    <a:pt x="177769" y="33010"/>
                    <a:pt x="177872" y="32996"/>
                  </a:cubicBezTo>
                  <a:lnTo>
                    <a:pt x="179230" y="32996"/>
                  </a:lnTo>
                  <a:cubicBezTo>
                    <a:pt x="179846" y="33058"/>
                    <a:pt x="180394" y="32610"/>
                    <a:pt x="180455" y="31995"/>
                  </a:cubicBezTo>
                  <a:cubicBezTo>
                    <a:pt x="180463" y="31921"/>
                    <a:pt x="180463" y="31846"/>
                    <a:pt x="180455" y="31772"/>
                  </a:cubicBezTo>
                  <a:lnTo>
                    <a:pt x="180455" y="26313"/>
                  </a:lnTo>
                  <a:cubicBezTo>
                    <a:pt x="180410" y="25770"/>
                    <a:pt x="180812" y="25293"/>
                    <a:pt x="181353" y="25248"/>
                  </a:cubicBezTo>
                  <a:cubicBezTo>
                    <a:pt x="181408" y="25243"/>
                    <a:pt x="181464" y="25243"/>
                    <a:pt x="181520" y="25248"/>
                  </a:cubicBezTo>
                  <a:lnTo>
                    <a:pt x="186979" y="25248"/>
                  </a:lnTo>
                  <a:cubicBezTo>
                    <a:pt x="187594" y="25309"/>
                    <a:pt x="188142" y="24862"/>
                    <a:pt x="188203" y="24247"/>
                  </a:cubicBezTo>
                  <a:cubicBezTo>
                    <a:pt x="188211" y="24172"/>
                    <a:pt x="188211" y="24098"/>
                    <a:pt x="188203" y="24023"/>
                  </a:cubicBezTo>
                  <a:lnTo>
                    <a:pt x="188203" y="22665"/>
                  </a:lnTo>
                  <a:cubicBezTo>
                    <a:pt x="188267" y="22066"/>
                    <a:pt x="187833" y="21528"/>
                    <a:pt x="187234" y="21465"/>
                  </a:cubicBezTo>
                  <a:cubicBezTo>
                    <a:pt x="187149" y="21457"/>
                    <a:pt x="187064" y="21457"/>
                    <a:pt x="186979" y="21467"/>
                  </a:cubicBezTo>
                  <a:lnTo>
                    <a:pt x="181520" y="21467"/>
                  </a:lnTo>
                  <a:cubicBezTo>
                    <a:pt x="180977" y="21515"/>
                    <a:pt x="180500" y="21113"/>
                    <a:pt x="180453" y="20573"/>
                  </a:cubicBezTo>
                  <a:cubicBezTo>
                    <a:pt x="180447" y="20506"/>
                    <a:pt x="180447" y="20439"/>
                    <a:pt x="180455" y="20376"/>
                  </a:cubicBezTo>
                  <a:lnTo>
                    <a:pt x="180455" y="15050"/>
                  </a:lnTo>
                  <a:cubicBezTo>
                    <a:pt x="180535" y="14454"/>
                    <a:pt x="180114" y="13905"/>
                    <a:pt x="179515" y="13825"/>
                  </a:cubicBezTo>
                  <a:cubicBezTo>
                    <a:pt x="179422" y="13812"/>
                    <a:pt x="179326" y="13812"/>
                    <a:pt x="179230" y="13825"/>
                  </a:cubicBezTo>
                  <a:lnTo>
                    <a:pt x="177846" y="13825"/>
                  </a:lnTo>
                  <a:cubicBezTo>
                    <a:pt x="177266" y="13730"/>
                    <a:pt x="176717" y="14121"/>
                    <a:pt x="176621" y="14702"/>
                  </a:cubicBezTo>
                  <a:cubicBezTo>
                    <a:pt x="176602" y="14819"/>
                    <a:pt x="176602" y="14936"/>
                    <a:pt x="176621" y="15050"/>
                  </a:cubicBezTo>
                  <a:lnTo>
                    <a:pt x="176621" y="20376"/>
                  </a:lnTo>
                  <a:cubicBezTo>
                    <a:pt x="176698" y="20900"/>
                    <a:pt x="176336" y="21387"/>
                    <a:pt x="175814" y="21465"/>
                  </a:cubicBezTo>
                  <a:cubicBezTo>
                    <a:pt x="175729" y="21478"/>
                    <a:pt x="175641" y="21478"/>
                    <a:pt x="175556" y="21467"/>
                  </a:cubicBezTo>
                  <a:lnTo>
                    <a:pt x="170044" y="21467"/>
                  </a:lnTo>
                  <a:cubicBezTo>
                    <a:pt x="169445" y="21390"/>
                    <a:pt x="168899" y="21813"/>
                    <a:pt x="168822" y="22410"/>
                  </a:cubicBezTo>
                  <a:cubicBezTo>
                    <a:pt x="168812" y="22495"/>
                    <a:pt x="168812" y="22580"/>
                    <a:pt x="168820" y="22665"/>
                  </a:cubicBezTo>
                  <a:close/>
                  <a:moveTo>
                    <a:pt x="209185" y="48360"/>
                  </a:moveTo>
                  <a:lnTo>
                    <a:pt x="210995" y="48360"/>
                  </a:lnTo>
                  <a:cubicBezTo>
                    <a:pt x="211595" y="48421"/>
                    <a:pt x="212132" y="47987"/>
                    <a:pt x="212194" y="47385"/>
                  </a:cubicBezTo>
                  <a:cubicBezTo>
                    <a:pt x="212202" y="47311"/>
                    <a:pt x="212202" y="47236"/>
                    <a:pt x="212194" y="47161"/>
                  </a:cubicBezTo>
                  <a:lnTo>
                    <a:pt x="212194" y="37070"/>
                  </a:lnTo>
                  <a:cubicBezTo>
                    <a:pt x="212194" y="35659"/>
                    <a:pt x="212966" y="35366"/>
                    <a:pt x="214137" y="36192"/>
                  </a:cubicBezTo>
                  <a:cubicBezTo>
                    <a:pt x="216233" y="37528"/>
                    <a:pt x="218682" y="38207"/>
                    <a:pt x="221167" y="38135"/>
                  </a:cubicBezTo>
                  <a:cubicBezTo>
                    <a:pt x="228284" y="38066"/>
                    <a:pt x="233998" y="32240"/>
                    <a:pt x="233926" y="25123"/>
                  </a:cubicBezTo>
                  <a:cubicBezTo>
                    <a:pt x="233926" y="25022"/>
                    <a:pt x="233923" y="24923"/>
                    <a:pt x="233921" y="24822"/>
                  </a:cubicBezTo>
                  <a:cubicBezTo>
                    <a:pt x="234067" y="17766"/>
                    <a:pt x="228468" y="11924"/>
                    <a:pt x="221409" y="11778"/>
                  </a:cubicBezTo>
                  <a:cubicBezTo>
                    <a:pt x="221356" y="11775"/>
                    <a:pt x="221300" y="11775"/>
                    <a:pt x="221247" y="11775"/>
                  </a:cubicBezTo>
                  <a:cubicBezTo>
                    <a:pt x="218469" y="11695"/>
                    <a:pt x="215748" y="12558"/>
                    <a:pt x="213525" y="14225"/>
                  </a:cubicBezTo>
                  <a:cubicBezTo>
                    <a:pt x="212433" y="15050"/>
                    <a:pt x="211608" y="14864"/>
                    <a:pt x="211368" y="13479"/>
                  </a:cubicBezTo>
                  <a:lnTo>
                    <a:pt x="211368" y="13479"/>
                  </a:lnTo>
                  <a:cubicBezTo>
                    <a:pt x="211312" y="12814"/>
                    <a:pt x="210732" y="12316"/>
                    <a:pt x="210064" y="12361"/>
                  </a:cubicBezTo>
                  <a:lnTo>
                    <a:pt x="209185" y="12361"/>
                  </a:lnTo>
                  <a:cubicBezTo>
                    <a:pt x="208586" y="12284"/>
                    <a:pt x="208040" y="12707"/>
                    <a:pt x="207963" y="13304"/>
                  </a:cubicBezTo>
                  <a:cubicBezTo>
                    <a:pt x="207952" y="13389"/>
                    <a:pt x="207952" y="13474"/>
                    <a:pt x="207960" y="13559"/>
                  </a:cubicBezTo>
                  <a:lnTo>
                    <a:pt x="207960" y="47161"/>
                  </a:lnTo>
                  <a:cubicBezTo>
                    <a:pt x="207896" y="47760"/>
                    <a:pt x="208330" y="48298"/>
                    <a:pt x="208929" y="48362"/>
                  </a:cubicBezTo>
                  <a:cubicBezTo>
                    <a:pt x="209014" y="48370"/>
                    <a:pt x="209100" y="48370"/>
                    <a:pt x="209185" y="48360"/>
                  </a:cubicBezTo>
                  <a:moveTo>
                    <a:pt x="212540" y="28017"/>
                  </a:moveTo>
                  <a:lnTo>
                    <a:pt x="212540" y="21947"/>
                  </a:lnTo>
                  <a:cubicBezTo>
                    <a:pt x="212500" y="21206"/>
                    <a:pt x="212686" y="20474"/>
                    <a:pt x="213072" y="19843"/>
                  </a:cubicBezTo>
                  <a:cubicBezTo>
                    <a:pt x="214744" y="17260"/>
                    <a:pt x="217636" y="15727"/>
                    <a:pt x="220714" y="15796"/>
                  </a:cubicBezTo>
                  <a:cubicBezTo>
                    <a:pt x="225571" y="15985"/>
                    <a:pt x="229370" y="20045"/>
                    <a:pt x="229234" y="24902"/>
                  </a:cubicBezTo>
                  <a:cubicBezTo>
                    <a:pt x="229445" y="29825"/>
                    <a:pt x="225637" y="33992"/>
                    <a:pt x="220714" y="34221"/>
                  </a:cubicBezTo>
                  <a:cubicBezTo>
                    <a:pt x="217620" y="34304"/>
                    <a:pt x="214712" y="32746"/>
                    <a:pt x="213072" y="30121"/>
                  </a:cubicBezTo>
                  <a:cubicBezTo>
                    <a:pt x="212686" y="29490"/>
                    <a:pt x="212500" y="28757"/>
                    <a:pt x="212540" y="28017"/>
                  </a:cubicBezTo>
                  <a:moveTo>
                    <a:pt x="238740" y="24849"/>
                  </a:moveTo>
                  <a:cubicBezTo>
                    <a:pt x="238415" y="31870"/>
                    <a:pt x="243844" y="37826"/>
                    <a:pt x="250868" y="38148"/>
                  </a:cubicBezTo>
                  <a:cubicBezTo>
                    <a:pt x="251110" y="38159"/>
                    <a:pt x="251355" y="38165"/>
                    <a:pt x="251600" y="38162"/>
                  </a:cubicBezTo>
                  <a:cubicBezTo>
                    <a:pt x="256369" y="38359"/>
                    <a:pt x="260738" y="35518"/>
                    <a:pt x="262491" y="31079"/>
                  </a:cubicBezTo>
                  <a:cubicBezTo>
                    <a:pt x="262783" y="30254"/>
                    <a:pt x="262251" y="29695"/>
                    <a:pt x="261425" y="29695"/>
                  </a:cubicBezTo>
                  <a:lnTo>
                    <a:pt x="259588" y="29695"/>
                  </a:lnTo>
                  <a:cubicBezTo>
                    <a:pt x="258955" y="29684"/>
                    <a:pt x="258385" y="30081"/>
                    <a:pt x="258177" y="30680"/>
                  </a:cubicBezTo>
                  <a:cubicBezTo>
                    <a:pt x="256907" y="33090"/>
                    <a:pt x="254311" y="34498"/>
                    <a:pt x="251600" y="34248"/>
                  </a:cubicBezTo>
                  <a:cubicBezTo>
                    <a:pt x="247801" y="34344"/>
                    <a:pt x="244459" y="31748"/>
                    <a:pt x="243612" y="28044"/>
                  </a:cubicBezTo>
                  <a:cubicBezTo>
                    <a:pt x="243320" y="26926"/>
                    <a:pt x="244012" y="26207"/>
                    <a:pt x="245184" y="26207"/>
                  </a:cubicBezTo>
                  <a:lnTo>
                    <a:pt x="261718" y="26207"/>
                  </a:lnTo>
                  <a:cubicBezTo>
                    <a:pt x="262570" y="26265"/>
                    <a:pt x="263308" y="25624"/>
                    <a:pt x="263366" y="24774"/>
                  </a:cubicBezTo>
                  <a:cubicBezTo>
                    <a:pt x="263369" y="24726"/>
                    <a:pt x="263369" y="24681"/>
                    <a:pt x="263369" y="24636"/>
                  </a:cubicBezTo>
                  <a:cubicBezTo>
                    <a:pt x="263739" y="17939"/>
                    <a:pt x="258611" y="12212"/>
                    <a:pt x="251917" y="11842"/>
                  </a:cubicBezTo>
                  <a:cubicBezTo>
                    <a:pt x="251811" y="11837"/>
                    <a:pt x="251707" y="11831"/>
                    <a:pt x="251600" y="11829"/>
                  </a:cubicBezTo>
                  <a:cubicBezTo>
                    <a:pt x="244616" y="11738"/>
                    <a:pt x="238881" y="17327"/>
                    <a:pt x="238791" y="24311"/>
                  </a:cubicBezTo>
                  <a:cubicBezTo>
                    <a:pt x="238788" y="24481"/>
                    <a:pt x="238788" y="24652"/>
                    <a:pt x="238793" y="24822"/>
                  </a:cubicBezTo>
                  <a:moveTo>
                    <a:pt x="244118" y="20402"/>
                  </a:moveTo>
                  <a:cubicBezTo>
                    <a:pt x="245418" y="17542"/>
                    <a:pt x="248272" y="15708"/>
                    <a:pt x="251414" y="15716"/>
                  </a:cubicBezTo>
                  <a:cubicBezTo>
                    <a:pt x="254449" y="15711"/>
                    <a:pt x="257163" y="17604"/>
                    <a:pt x="258204" y="20455"/>
                  </a:cubicBezTo>
                  <a:cubicBezTo>
                    <a:pt x="258630" y="21627"/>
                    <a:pt x="257964" y="22399"/>
                    <a:pt x="256739" y="22399"/>
                  </a:cubicBezTo>
                  <a:lnTo>
                    <a:pt x="245476" y="22399"/>
                  </a:lnTo>
                  <a:cubicBezTo>
                    <a:pt x="244225" y="22399"/>
                    <a:pt x="243533" y="21574"/>
                    <a:pt x="244118" y="20455"/>
                  </a:cubicBezTo>
                  <a:moveTo>
                    <a:pt x="268082" y="24875"/>
                  </a:moveTo>
                  <a:cubicBezTo>
                    <a:pt x="267920" y="32064"/>
                    <a:pt x="273615" y="38026"/>
                    <a:pt x="280801" y="38188"/>
                  </a:cubicBezTo>
                  <a:cubicBezTo>
                    <a:pt x="281001" y="38194"/>
                    <a:pt x="281198" y="38194"/>
                    <a:pt x="281395" y="38188"/>
                  </a:cubicBezTo>
                  <a:cubicBezTo>
                    <a:pt x="288584" y="38351"/>
                    <a:pt x="294546" y="32658"/>
                    <a:pt x="294708" y="25469"/>
                  </a:cubicBezTo>
                  <a:cubicBezTo>
                    <a:pt x="294713" y="25269"/>
                    <a:pt x="294713" y="25072"/>
                    <a:pt x="294708" y="24875"/>
                  </a:cubicBezTo>
                  <a:cubicBezTo>
                    <a:pt x="294785" y="17774"/>
                    <a:pt x="289093" y="11954"/>
                    <a:pt x="281989" y="11874"/>
                  </a:cubicBezTo>
                  <a:cubicBezTo>
                    <a:pt x="281792" y="11871"/>
                    <a:pt x="281592" y="11874"/>
                    <a:pt x="281395" y="11882"/>
                  </a:cubicBezTo>
                  <a:cubicBezTo>
                    <a:pt x="274281" y="11647"/>
                    <a:pt x="268324" y="17223"/>
                    <a:pt x="268087" y="24335"/>
                  </a:cubicBezTo>
                  <a:cubicBezTo>
                    <a:pt x="268082" y="24516"/>
                    <a:pt x="268079" y="24694"/>
                    <a:pt x="268082" y="24875"/>
                  </a:cubicBezTo>
                  <a:moveTo>
                    <a:pt x="272662" y="25035"/>
                  </a:moveTo>
                  <a:cubicBezTo>
                    <a:pt x="272427" y="20189"/>
                    <a:pt x="276166" y="16067"/>
                    <a:pt x="281012" y="15833"/>
                  </a:cubicBezTo>
                  <a:cubicBezTo>
                    <a:pt x="281185" y="15825"/>
                    <a:pt x="281355" y="15820"/>
                    <a:pt x="281528" y="15822"/>
                  </a:cubicBezTo>
                  <a:cubicBezTo>
                    <a:pt x="286395" y="15817"/>
                    <a:pt x="290347" y="19760"/>
                    <a:pt x="290349" y="24628"/>
                  </a:cubicBezTo>
                  <a:cubicBezTo>
                    <a:pt x="290352" y="24764"/>
                    <a:pt x="290347" y="24899"/>
                    <a:pt x="290341" y="25035"/>
                  </a:cubicBezTo>
                  <a:cubicBezTo>
                    <a:pt x="290546" y="29913"/>
                    <a:pt x="286760" y="34035"/>
                    <a:pt x="281882" y="34240"/>
                  </a:cubicBezTo>
                  <a:cubicBezTo>
                    <a:pt x="281765" y="34245"/>
                    <a:pt x="281645" y="34248"/>
                    <a:pt x="281528" y="34248"/>
                  </a:cubicBezTo>
                  <a:cubicBezTo>
                    <a:pt x="276645" y="34266"/>
                    <a:pt x="272672" y="30326"/>
                    <a:pt x="272654" y="25442"/>
                  </a:cubicBezTo>
                  <a:cubicBezTo>
                    <a:pt x="272654" y="25307"/>
                    <a:pt x="272656" y="25171"/>
                    <a:pt x="272662" y="25035"/>
                  </a:cubicBezTo>
                  <a:moveTo>
                    <a:pt x="302749" y="48386"/>
                  </a:moveTo>
                  <a:lnTo>
                    <a:pt x="304533" y="48386"/>
                  </a:lnTo>
                  <a:cubicBezTo>
                    <a:pt x="305132" y="48463"/>
                    <a:pt x="305678" y="48040"/>
                    <a:pt x="305755" y="47444"/>
                  </a:cubicBezTo>
                  <a:cubicBezTo>
                    <a:pt x="305766" y="47359"/>
                    <a:pt x="305766" y="47273"/>
                    <a:pt x="305758" y="47188"/>
                  </a:cubicBezTo>
                  <a:lnTo>
                    <a:pt x="305758" y="37097"/>
                  </a:lnTo>
                  <a:cubicBezTo>
                    <a:pt x="305758" y="35686"/>
                    <a:pt x="306530" y="35393"/>
                    <a:pt x="307702" y="36218"/>
                  </a:cubicBezTo>
                  <a:cubicBezTo>
                    <a:pt x="309795" y="37560"/>
                    <a:pt x="312247" y="38236"/>
                    <a:pt x="314731" y="38162"/>
                  </a:cubicBezTo>
                  <a:cubicBezTo>
                    <a:pt x="321861" y="38077"/>
                    <a:pt x="327575" y="32227"/>
                    <a:pt x="327490" y="25096"/>
                  </a:cubicBezTo>
                  <a:cubicBezTo>
                    <a:pt x="327490" y="25014"/>
                    <a:pt x="327488" y="24931"/>
                    <a:pt x="327485" y="24849"/>
                  </a:cubicBezTo>
                  <a:cubicBezTo>
                    <a:pt x="327631" y="17793"/>
                    <a:pt x="322032" y="11951"/>
                    <a:pt x="314973" y="11805"/>
                  </a:cubicBezTo>
                  <a:cubicBezTo>
                    <a:pt x="314920" y="11802"/>
                    <a:pt x="314864" y="11802"/>
                    <a:pt x="314811" y="11802"/>
                  </a:cubicBezTo>
                  <a:cubicBezTo>
                    <a:pt x="312026" y="11725"/>
                    <a:pt x="309297" y="12587"/>
                    <a:pt x="307063" y="14252"/>
                  </a:cubicBezTo>
                  <a:cubicBezTo>
                    <a:pt x="305998" y="15077"/>
                    <a:pt x="305172" y="14891"/>
                    <a:pt x="304933" y="13506"/>
                  </a:cubicBezTo>
                  <a:lnTo>
                    <a:pt x="304933" y="13506"/>
                  </a:lnTo>
                  <a:cubicBezTo>
                    <a:pt x="304877" y="12840"/>
                    <a:pt x="304296" y="12342"/>
                    <a:pt x="303628" y="12388"/>
                  </a:cubicBezTo>
                  <a:lnTo>
                    <a:pt x="302749" y="12388"/>
                  </a:lnTo>
                  <a:cubicBezTo>
                    <a:pt x="302150" y="12310"/>
                    <a:pt x="301604" y="12734"/>
                    <a:pt x="301527" y="13330"/>
                  </a:cubicBezTo>
                  <a:cubicBezTo>
                    <a:pt x="301516" y="13415"/>
                    <a:pt x="301516" y="13501"/>
                    <a:pt x="301524" y="13586"/>
                  </a:cubicBezTo>
                  <a:lnTo>
                    <a:pt x="301524" y="47188"/>
                  </a:lnTo>
                  <a:cubicBezTo>
                    <a:pt x="301461" y="47787"/>
                    <a:pt x="301894" y="48325"/>
                    <a:pt x="302494" y="48389"/>
                  </a:cubicBezTo>
                  <a:cubicBezTo>
                    <a:pt x="302579" y="48397"/>
                    <a:pt x="302664" y="48397"/>
                    <a:pt x="302749" y="48386"/>
                  </a:cubicBezTo>
                  <a:moveTo>
                    <a:pt x="306104" y="28044"/>
                  </a:moveTo>
                  <a:lnTo>
                    <a:pt x="306104" y="21973"/>
                  </a:lnTo>
                  <a:cubicBezTo>
                    <a:pt x="306051" y="21233"/>
                    <a:pt x="306237" y="20495"/>
                    <a:pt x="306637" y="19870"/>
                  </a:cubicBezTo>
                  <a:cubicBezTo>
                    <a:pt x="308306" y="17282"/>
                    <a:pt x="311200" y="15748"/>
                    <a:pt x="314278" y="15822"/>
                  </a:cubicBezTo>
                  <a:cubicBezTo>
                    <a:pt x="319135" y="16012"/>
                    <a:pt x="322935" y="20072"/>
                    <a:pt x="322799" y="24929"/>
                  </a:cubicBezTo>
                  <a:cubicBezTo>
                    <a:pt x="323009" y="29852"/>
                    <a:pt x="319201" y="34019"/>
                    <a:pt x="314278" y="34248"/>
                  </a:cubicBezTo>
                  <a:cubicBezTo>
                    <a:pt x="311184" y="34338"/>
                    <a:pt x="308274" y="32775"/>
                    <a:pt x="306637" y="30147"/>
                  </a:cubicBezTo>
                  <a:cubicBezTo>
                    <a:pt x="306237" y="29522"/>
                    <a:pt x="306051" y="28784"/>
                    <a:pt x="306104" y="28044"/>
                  </a:cubicBezTo>
                  <a:moveTo>
                    <a:pt x="337496" y="-286"/>
                  </a:moveTo>
                  <a:lnTo>
                    <a:pt x="335366" y="-286"/>
                  </a:lnTo>
                  <a:cubicBezTo>
                    <a:pt x="334751" y="-348"/>
                    <a:pt x="334203" y="100"/>
                    <a:pt x="334141" y="715"/>
                  </a:cubicBezTo>
                  <a:cubicBezTo>
                    <a:pt x="334133" y="789"/>
                    <a:pt x="334133" y="864"/>
                    <a:pt x="334141" y="938"/>
                  </a:cubicBezTo>
                  <a:lnTo>
                    <a:pt x="334141" y="36484"/>
                  </a:lnTo>
                  <a:cubicBezTo>
                    <a:pt x="334078" y="37083"/>
                    <a:pt x="334511" y="37621"/>
                    <a:pt x="335111" y="37685"/>
                  </a:cubicBezTo>
                  <a:cubicBezTo>
                    <a:pt x="335196" y="37693"/>
                    <a:pt x="335281" y="37693"/>
                    <a:pt x="335366" y="37683"/>
                  </a:cubicBezTo>
                  <a:lnTo>
                    <a:pt x="337496" y="37683"/>
                  </a:lnTo>
                  <a:cubicBezTo>
                    <a:pt x="338095" y="37760"/>
                    <a:pt x="338641" y="37336"/>
                    <a:pt x="338718" y="36740"/>
                  </a:cubicBezTo>
                  <a:cubicBezTo>
                    <a:pt x="338729" y="36655"/>
                    <a:pt x="338729" y="36570"/>
                    <a:pt x="338721" y="36484"/>
                  </a:cubicBezTo>
                  <a:lnTo>
                    <a:pt x="338721" y="885"/>
                  </a:lnTo>
                  <a:cubicBezTo>
                    <a:pt x="338782" y="270"/>
                    <a:pt x="338335" y="-278"/>
                    <a:pt x="337720" y="-340"/>
                  </a:cubicBezTo>
                  <a:cubicBezTo>
                    <a:pt x="337645" y="-348"/>
                    <a:pt x="337571" y="-348"/>
                    <a:pt x="337496" y="-340"/>
                  </a:cubicBezTo>
                  <a:moveTo>
                    <a:pt x="345484" y="24822"/>
                  </a:moveTo>
                  <a:cubicBezTo>
                    <a:pt x="345159" y="31843"/>
                    <a:pt x="350588" y="37800"/>
                    <a:pt x="357612" y="38122"/>
                  </a:cubicBezTo>
                  <a:cubicBezTo>
                    <a:pt x="357855" y="38132"/>
                    <a:pt x="358100" y="38138"/>
                    <a:pt x="358345" y="38135"/>
                  </a:cubicBezTo>
                  <a:cubicBezTo>
                    <a:pt x="363113" y="38332"/>
                    <a:pt x="367483" y="35491"/>
                    <a:pt x="369235" y="31053"/>
                  </a:cubicBezTo>
                  <a:cubicBezTo>
                    <a:pt x="369528" y="30227"/>
                    <a:pt x="368995" y="29668"/>
                    <a:pt x="368170" y="29668"/>
                  </a:cubicBezTo>
                  <a:lnTo>
                    <a:pt x="366333" y="29668"/>
                  </a:lnTo>
                  <a:cubicBezTo>
                    <a:pt x="365699" y="29657"/>
                    <a:pt x="365129" y="30054"/>
                    <a:pt x="364921" y="30653"/>
                  </a:cubicBezTo>
                  <a:cubicBezTo>
                    <a:pt x="363651" y="33063"/>
                    <a:pt x="361058" y="34471"/>
                    <a:pt x="358345" y="34221"/>
                  </a:cubicBezTo>
                  <a:cubicBezTo>
                    <a:pt x="354561" y="34266"/>
                    <a:pt x="351249" y="31694"/>
                    <a:pt x="350357" y="28017"/>
                  </a:cubicBezTo>
                  <a:cubicBezTo>
                    <a:pt x="350064" y="26899"/>
                    <a:pt x="350756" y="26180"/>
                    <a:pt x="351928" y="26180"/>
                  </a:cubicBezTo>
                  <a:lnTo>
                    <a:pt x="368463" y="26180"/>
                  </a:lnTo>
                  <a:cubicBezTo>
                    <a:pt x="369315" y="26239"/>
                    <a:pt x="370052" y="25597"/>
                    <a:pt x="370111" y="24745"/>
                  </a:cubicBezTo>
                  <a:cubicBezTo>
                    <a:pt x="370113" y="24700"/>
                    <a:pt x="370113" y="24654"/>
                    <a:pt x="370113" y="24609"/>
                  </a:cubicBezTo>
                  <a:cubicBezTo>
                    <a:pt x="370483" y="17913"/>
                    <a:pt x="365358" y="12185"/>
                    <a:pt x="358661" y="11815"/>
                  </a:cubicBezTo>
                  <a:cubicBezTo>
                    <a:pt x="358566" y="11810"/>
                    <a:pt x="358467" y="11805"/>
                    <a:pt x="358371" y="11802"/>
                  </a:cubicBezTo>
                  <a:cubicBezTo>
                    <a:pt x="351371" y="11711"/>
                    <a:pt x="345625" y="17311"/>
                    <a:pt x="345535" y="24311"/>
                  </a:cubicBezTo>
                  <a:cubicBezTo>
                    <a:pt x="345532" y="24473"/>
                    <a:pt x="345532" y="24633"/>
                    <a:pt x="345538" y="24795"/>
                  </a:cubicBezTo>
                  <a:moveTo>
                    <a:pt x="350863" y="20376"/>
                  </a:moveTo>
                  <a:cubicBezTo>
                    <a:pt x="352165" y="17505"/>
                    <a:pt x="355032" y="15671"/>
                    <a:pt x="358185" y="15689"/>
                  </a:cubicBezTo>
                  <a:cubicBezTo>
                    <a:pt x="361215" y="15679"/>
                    <a:pt x="363923" y="17577"/>
                    <a:pt x="364948" y="20429"/>
                  </a:cubicBezTo>
                  <a:cubicBezTo>
                    <a:pt x="365401" y="21600"/>
                    <a:pt x="364708" y="22373"/>
                    <a:pt x="363484" y="22373"/>
                  </a:cubicBezTo>
                  <a:lnTo>
                    <a:pt x="352221" y="22373"/>
                  </a:lnTo>
                  <a:cubicBezTo>
                    <a:pt x="350969" y="22373"/>
                    <a:pt x="350277" y="21547"/>
                    <a:pt x="350863" y="20429"/>
                  </a:cubicBezTo>
                </a:path>
              </a:pathLst>
            </a:custGeom>
            <a:solidFill>
              <a:srgbClr val="FFFFFF"/>
            </a:solidFill>
            <a:ln w="2661" cap="flat">
              <a:noFill/>
              <a:prstDash val="solid"/>
              <a:miter/>
            </a:ln>
          </p:spPr>
          <p:txBody>
            <a:bodyPr rtlCol="0" anchor="ctr"/>
            <a:lstStyle/>
            <a:p>
              <a:endParaRPr lang="pl-PL"/>
            </a:p>
          </p:txBody>
        </p:sp>
        <p:sp>
          <p:nvSpPr>
            <p:cNvPr id="126" name="Freeform: Shape 125">
              <a:extLst>
                <a:ext uri="{FF2B5EF4-FFF2-40B4-BE49-F238E27FC236}">
                  <a16:creationId xmlns:a16="http://schemas.microsoft.com/office/drawing/2014/main" id="{E3CE9096-3F54-472F-A34A-FE00B12DDBEB}"/>
                </a:ext>
              </a:extLst>
            </p:cNvPr>
            <p:cNvSpPr/>
            <p:nvPr/>
          </p:nvSpPr>
          <p:spPr>
            <a:xfrm>
              <a:off x="11848503" y="6635533"/>
              <a:ext cx="6855" cy="8973"/>
            </a:xfrm>
            <a:custGeom>
              <a:avLst/>
              <a:gdLst>
                <a:gd name="connsiteX0" fmla="*/ 992 w 12147"/>
                <a:gd name="connsiteY0" fmla="*/ 1467 h 15900"/>
                <a:gd name="connsiteX1" fmla="*/ 992 w 12147"/>
                <a:gd name="connsiteY1" fmla="*/ 295 h 15900"/>
                <a:gd name="connsiteX2" fmla="*/ 1519 w 12147"/>
                <a:gd name="connsiteY2" fmla="*/ -344 h 15900"/>
                <a:gd name="connsiteX3" fmla="*/ 1631 w 12147"/>
                <a:gd name="connsiteY3" fmla="*/ -344 h 15900"/>
                <a:gd name="connsiteX4" fmla="*/ 12521 w 12147"/>
                <a:gd name="connsiteY4" fmla="*/ -344 h 15900"/>
                <a:gd name="connsiteX5" fmla="*/ 13136 w 12147"/>
                <a:gd name="connsiteY5" fmla="*/ 213 h 15900"/>
                <a:gd name="connsiteX6" fmla="*/ 13133 w 12147"/>
                <a:gd name="connsiteY6" fmla="*/ 295 h 15900"/>
                <a:gd name="connsiteX7" fmla="*/ 13133 w 12147"/>
                <a:gd name="connsiteY7" fmla="*/ 1467 h 15900"/>
                <a:gd name="connsiteX8" fmla="*/ 12603 w 12147"/>
                <a:gd name="connsiteY8" fmla="*/ 2103 h 15900"/>
                <a:gd name="connsiteX9" fmla="*/ 12521 w 12147"/>
                <a:gd name="connsiteY9" fmla="*/ 2106 h 15900"/>
                <a:gd name="connsiteX10" fmla="*/ 8926 w 12147"/>
                <a:gd name="connsiteY10" fmla="*/ 2106 h 15900"/>
                <a:gd name="connsiteX11" fmla="*/ 8447 w 12147"/>
                <a:gd name="connsiteY11" fmla="*/ 2471 h 15900"/>
                <a:gd name="connsiteX12" fmla="*/ 8447 w 12147"/>
                <a:gd name="connsiteY12" fmla="*/ 2585 h 15900"/>
                <a:gd name="connsiteX13" fmla="*/ 8447 w 12147"/>
                <a:gd name="connsiteY13" fmla="*/ 14940 h 15900"/>
                <a:gd name="connsiteX14" fmla="*/ 7890 w 12147"/>
                <a:gd name="connsiteY14" fmla="*/ 15555 h 15900"/>
                <a:gd name="connsiteX15" fmla="*/ 7808 w 12147"/>
                <a:gd name="connsiteY15" fmla="*/ 15552 h 15900"/>
                <a:gd name="connsiteX16" fmla="*/ 6184 w 12147"/>
                <a:gd name="connsiteY16" fmla="*/ 15552 h 15900"/>
                <a:gd name="connsiteX17" fmla="*/ 5547 w 12147"/>
                <a:gd name="connsiteY17" fmla="*/ 15022 h 15900"/>
                <a:gd name="connsiteX18" fmla="*/ 5545 w 12147"/>
                <a:gd name="connsiteY18" fmla="*/ 14940 h 15900"/>
                <a:gd name="connsiteX19" fmla="*/ 5545 w 12147"/>
                <a:gd name="connsiteY19" fmla="*/ 2585 h 15900"/>
                <a:gd name="connsiteX20" fmla="*/ 5180 w 12147"/>
                <a:gd name="connsiteY20" fmla="*/ 2106 h 15900"/>
                <a:gd name="connsiteX21" fmla="*/ 5065 w 12147"/>
                <a:gd name="connsiteY21" fmla="*/ 2106 h 15900"/>
                <a:gd name="connsiteX22" fmla="*/ 1631 w 12147"/>
                <a:gd name="connsiteY22" fmla="*/ 2106 h 15900"/>
                <a:gd name="connsiteX23" fmla="*/ 992 w 12147"/>
                <a:gd name="connsiteY23" fmla="*/ 1579 h 15900"/>
                <a:gd name="connsiteX24" fmla="*/ 992 w 12147"/>
                <a:gd name="connsiteY24" fmla="*/ 1467 h 1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147" h="15900">
                  <a:moveTo>
                    <a:pt x="992" y="1467"/>
                  </a:moveTo>
                  <a:lnTo>
                    <a:pt x="992" y="295"/>
                  </a:lnTo>
                  <a:cubicBezTo>
                    <a:pt x="960" y="-27"/>
                    <a:pt x="1197" y="-312"/>
                    <a:pt x="1519" y="-344"/>
                  </a:cubicBezTo>
                  <a:cubicBezTo>
                    <a:pt x="1556" y="-346"/>
                    <a:pt x="1593" y="-346"/>
                    <a:pt x="1631" y="-344"/>
                  </a:cubicBezTo>
                  <a:lnTo>
                    <a:pt x="12521" y="-344"/>
                  </a:lnTo>
                  <a:cubicBezTo>
                    <a:pt x="12843" y="-360"/>
                    <a:pt x="13120" y="-112"/>
                    <a:pt x="13136" y="213"/>
                  </a:cubicBezTo>
                  <a:cubicBezTo>
                    <a:pt x="13136" y="240"/>
                    <a:pt x="13136" y="269"/>
                    <a:pt x="13133" y="295"/>
                  </a:cubicBezTo>
                  <a:lnTo>
                    <a:pt x="13133" y="1467"/>
                  </a:lnTo>
                  <a:cubicBezTo>
                    <a:pt x="13163" y="1789"/>
                    <a:pt x="12925" y="2074"/>
                    <a:pt x="12603" y="2103"/>
                  </a:cubicBezTo>
                  <a:cubicBezTo>
                    <a:pt x="12577" y="2106"/>
                    <a:pt x="12547" y="2109"/>
                    <a:pt x="12521" y="2106"/>
                  </a:cubicBezTo>
                  <a:lnTo>
                    <a:pt x="8926" y="2106"/>
                  </a:lnTo>
                  <a:cubicBezTo>
                    <a:pt x="8692" y="2074"/>
                    <a:pt x="8479" y="2239"/>
                    <a:pt x="8447" y="2471"/>
                  </a:cubicBezTo>
                  <a:cubicBezTo>
                    <a:pt x="8442" y="2508"/>
                    <a:pt x="8442" y="2548"/>
                    <a:pt x="8447" y="2585"/>
                  </a:cubicBezTo>
                  <a:lnTo>
                    <a:pt x="8447" y="14940"/>
                  </a:lnTo>
                  <a:cubicBezTo>
                    <a:pt x="8463" y="15262"/>
                    <a:pt x="8215" y="15539"/>
                    <a:pt x="7890" y="15555"/>
                  </a:cubicBezTo>
                  <a:cubicBezTo>
                    <a:pt x="7864" y="15555"/>
                    <a:pt x="7835" y="15555"/>
                    <a:pt x="7808" y="15552"/>
                  </a:cubicBezTo>
                  <a:lnTo>
                    <a:pt x="6184" y="15552"/>
                  </a:lnTo>
                  <a:cubicBezTo>
                    <a:pt x="5862" y="15581"/>
                    <a:pt x="5577" y="15345"/>
                    <a:pt x="5547" y="15022"/>
                  </a:cubicBezTo>
                  <a:cubicBezTo>
                    <a:pt x="5545" y="14996"/>
                    <a:pt x="5545" y="14966"/>
                    <a:pt x="5545" y="14940"/>
                  </a:cubicBezTo>
                  <a:lnTo>
                    <a:pt x="5545" y="2585"/>
                  </a:lnTo>
                  <a:cubicBezTo>
                    <a:pt x="5577" y="2351"/>
                    <a:pt x="5412" y="2138"/>
                    <a:pt x="5180" y="2106"/>
                  </a:cubicBezTo>
                  <a:cubicBezTo>
                    <a:pt x="5143" y="2101"/>
                    <a:pt x="5103" y="2101"/>
                    <a:pt x="5065" y="2106"/>
                  </a:cubicBezTo>
                  <a:lnTo>
                    <a:pt x="1631" y="2106"/>
                  </a:lnTo>
                  <a:cubicBezTo>
                    <a:pt x="1308" y="2138"/>
                    <a:pt x="1024" y="1901"/>
                    <a:pt x="992" y="1579"/>
                  </a:cubicBezTo>
                  <a:cubicBezTo>
                    <a:pt x="989" y="1542"/>
                    <a:pt x="989" y="1504"/>
                    <a:pt x="992" y="1467"/>
                  </a:cubicBezTo>
                </a:path>
              </a:pathLst>
            </a:custGeom>
            <a:solidFill>
              <a:srgbClr val="FFFFFF"/>
            </a:solidFill>
            <a:ln w="2661" cap="flat">
              <a:noFill/>
              <a:prstDash val="solid"/>
              <a:miter/>
            </a:ln>
          </p:spPr>
          <p:txBody>
            <a:bodyPr rtlCol="0" anchor="ctr"/>
            <a:lstStyle/>
            <a:p>
              <a:endParaRPr lang="pl-PL"/>
            </a:p>
          </p:txBody>
        </p:sp>
        <p:sp>
          <p:nvSpPr>
            <p:cNvPr id="127" name="Freeform: Shape 126">
              <a:extLst>
                <a:ext uri="{FF2B5EF4-FFF2-40B4-BE49-F238E27FC236}">
                  <a16:creationId xmlns:a16="http://schemas.microsoft.com/office/drawing/2014/main" id="{4C1A9079-92E4-41D6-971F-228A09A50C5D}"/>
                </a:ext>
              </a:extLst>
            </p:cNvPr>
            <p:cNvSpPr/>
            <p:nvPr/>
          </p:nvSpPr>
          <p:spPr>
            <a:xfrm>
              <a:off x="11857776" y="6635662"/>
              <a:ext cx="8810" cy="8977"/>
            </a:xfrm>
            <a:custGeom>
              <a:avLst/>
              <a:gdLst>
                <a:gd name="connsiteX0" fmla="*/ 991 w 15611"/>
                <a:gd name="connsiteY0" fmla="*/ 14943 h 15907"/>
                <a:gd name="connsiteX1" fmla="*/ 991 w 15611"/>
                <a:gd name="connsiteY1" fmla="*/ 458 h 15907"/>
                <a:gd name="connsiteX2" fmla="*/ 1675 w 15611"/>
                <a:gd name="connsiteY2" fmla="*/ -343 h 15907"/>
                <a:gd name="connsiteX3" fmla="*/ 1816 w 15611"/>
                <a:gd name="connsiteY3" fmla="*/ -340 h 15907"/>
                <a:gd name="connsiteX4" fmla="*/ 2668 w 15611"/>
                <a:gd name="connsiteY4" fmla="*/ -340 h 15907"/>
                <a:gd name="connsiteX5" fmla="*/ 3627 w 15611"/>
                <a:gd name="connsiteY5" fmla="*/ 192 h 15907"/>
                <a:gd name="connsiteX6" fmla="*/ 8526 w 15611"/>
                <a:gd name="connsiteY6" fmla="*/ 7381 h 15907"/>
                <a:gd name="connsiteX7" fmla="*/ 8915 w 15611"/>
                <a:gd name="connsiteY7" fmla="*/ 7525 h 15907"/>
                <a:gd name="connsiteX8" fmla="*/ 9059 w 15611"/>
                <a:gd name="connsiteY8" fmla="*/ 7381 h 15907"/>
                <a:gd name="connsiteX9" fmla="*/ 14064 w 15611"/>
                <a:gd name="connsiteY9" fmla="*/ 166 h 15907"/>
                <a:gd name="connsiteX10" fmla="*/ 15050 w 15611"/>
                <a:gd name="connsiteY10" fmla="*/ -340 h 15907"/>
                <a:gd name="connsiteX11" fmla="*/ 15795 w 15611"/>
                <a:gd name="connsiteY11" fmla="*/ -340 h 15907"/>
                <a:gd name="connsiteX12" fmla="*/ 16594 w 15611"/>
                <a:gd name="connsiteY12" fmla="*/ 288 h 15907"/>
                <a:gd name="connsiteX13" fmla="*/ 16594 w 15611"/>
                <a:gd name="connsiteY13" fmla="*/ 458 h 15907"/>
                <a:gd name="connsiteX14" fmla="*/ 16594 w 15611"/>
                <a:gd name="connsiteY14" fmla="*/ 14943 h 15907"/>
                <a:gd name="connsiteX15" fmla="*/ 16035 w 15611"/>
                <a:gd name="connsiteY15" fmla="*/ 15556 h 15907"/>
                <a:gd name="connsiteX16" fmla="*/ 15982 w 15611"/>
                <a:gd name="connsiteY16" fmla="*/ 15556 h 15907"/>
                <a:gd name="connsiteX17" fmla="*/ 14677 w 15611"/>
                <a:gd name="connsiteY17" fmla="*/ 15556 h 15907"/>
                <a:gd name="connsiteX18" fmla="*/ 14064 w 15611"/>
                <a:gd name="connsiteY18" fmla="*/ 15055 h 15907"/>
                <a:gd name="connsiteX19" fmla="*/ 14064 w 15611"/>
                <a:gd name="connsiteY19" fmla="*/ 14943 h 15907"/>
                <a:gd name="connsiteX20" fmla="*/ 14064 w 15611"/>
                <a:gd name="connsiteY20" fmla="*/ 4878 h 15907"/>
                <a:gd name="connsiteX21" fmla="*/ 13585 w 15611"/>
                <a:gd name="connsiteY21" fmla="*/ 4745 h 15907"/>
                <a:gd name="connsiteX22" fmla="*/ 9804 w 15611"/>
                <a:gd name="connsiteY22" fmla="*/ 10284 h 15907"/>
                <a:gd name="connsiteX23" fmla="*/ 8846 w 15611"/>
                <a:gd name="connsiteY23" fmla="*/ 10789 h 15907"/>
                <a:gd name="connsiteX24" fmla="*/ 8846 w 15611"/>
                <a:gd name="connsiteY24" fmla="*/ 10789 h 15907"/>
                <a:gd name="connsiteX25" fmla="*/ 7914 w 15611"/>
                <a:gd name="connsiteY25" fmla="*/ 10284 h 15907"/>
                <a:gd name="connsiteX26" fmla="*/ 4133 w 15611"/>
                <a:gd name="connsiteY26" fmla="*/ 4745 h 15907"/>
                <a:gd name="connsiteX27" fmla="*/ 3654 w 15611"/>
                <a:gd name="connsiteY27" fmla="*/ 4905 h 15907"/>
                <a:gd name="connsiteX28" fmla="*/ 3654 w 15611"/>
                <a:gd name="connsiteY28" fmla="*/ 14943 h 15907"/>
                <a:gd name="connsiteX29" fmla="*/ 3097 w 15611"/>
                <a:gd name="connsiteY29" fmla="*/ 15558 h 15907"/>
                <a:gd name="connsiteX30" fmla="*/ 3015 w 15611"/>
                <a:gd name="connsiteY30" fmla="*/ 15556 h 15907"/>
                <a:gd name="connsiteX31" fmla="*/ 1736 w 15611"/>
                <a:gd name="connsiteY31" fmla="*/ 15556 h 15907"/>
                <a:gd name="connsiteX32" fmla="*/ 1100 w 15611"/>
                <a:gd name="connsiteY32" fmla="*/ 15087 h 15907"/>
                <a:gd name="connsiteX33" fmla="*/ 1097 w 15611"/>
                <a:gd name="connsiteY33" fmla="*/ 14943 h 15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611" h="15907">
                  <a:moveTo>
                    <a:pt x="991" y="14943"/>
                  </a:moveTo>
                  <a:lnTo>
                    <a:pt x="991" y="458"/>
                  </a:lnTo>
                  <a:cubicBezTo>
                    <a:pt x="959" y="48"/>
                    <a:pt x="1265" y="-311"/>
                    <a:pt x="1675" y="-343"/>
                  </a:cubicBezTo>
                  <a:cubicBezTo>
                    <a:pt x="1723" y="-346"/>
                    <a:pt x="1771" y="-346"/>
                    <a:pt x="1816" y="-340"/>
                  </a:cubicBezTo>
                  <a:lnTo>
                    <a:pt x="2668" y="-340"/>
                  </a:lnTo>
                  <a:cubicBezTo>
                    <a:pt x="3062" y="-359"/>
                    <a:pt x="3435" y="-154"/>
                    <a:pt x="3627" y="192"/>
                  </a:cubicBezTo>
                  <a:lnTo>
                    <a:pt x="8526" y="7381"/>
                  </a:lnTo>
                  <a:cubicBezTo>
                    <a:pt x="8593" y="7528"/>
                    <a:pt x="8768" y="7592"/>
                    <a:pt x="8915" y="7525"/>
                  </a:cubicBezTo>
                  <a:cubicBezTo>
                    <a:pt x="8979" y="7496"/>
                    <a:pt x="9029" y="7445"/>
                    <a:pt x="9059" y="7381"/>
                  </a:cubicBezTo>
                  <a:lnTo>
                    <a:pt x="14064" y="166"/>
                  </a:lnTo>
                  <a:cubicBezTo>
                    <a:pt x="14280" y="-165"/>
                    <a:pt x="14655" y="-356"/>
                    <a:pt x="15050" y="-340"/>
                  </a:cubicBezTo>
                  <a:lnTo>
                    <a:pt x="15795" y="-340"/>
                  </a:lnTo>
                  <a:cubicBezTo>
                    <a:pt x="16189" y="-388"/>
                    <a:pt x="16546" y="-106"/>
                    <a:pt x="16594" y="288"/>
                  </a:cubicBezTo>
                  <a:cubicBezTo>
                    <a:pt x="16602" y="344"/>
                    <a:pt x="16602" y="403"/>
                    <a:pt x="16594" y="458"/>
                  </a:cubicBezTo>
                  <a:lnTo>
                    <a:pt x="16594" y="14943"/>
                  </a:lnTo>
                  <a:cubicBezTo>
                    <a:pt x="16610" y="15265"/>
                    <a:pt x="16360" y="15540"/>
                    <a:pt x="16035" y="15556"/>
                  </a:cubicBezTo>
                  <a:cubicBezTo>
                    <a:pt x="16019" y="15556"/>
                    <a:pt x="16000" y="15556"/>
                    <a:pt x="15982" y="15556"/>
                  </a:cubicBezTo>
                  <a:lnTo>
                    <a:pt x="14677" y="15556"/>
                  </a:lnTo>
                  <a:cubicBezTo>
                    <a:pt x="14371" y="15587"/>
                    <a:pt x="14096" y="15364"/>
                    <a:pt x="14064" y="15055"/>
                  </a:cubicBezTo>
                  <a:cubicBezTo>
                    <a:pt x="14062" y="15018"/>
                    <a:pt x="14062" y="14980"/>
                    <a:pt x="14064" y="14943"/>
                  </a:cubicBezTo>
                  <a:lnTo>
                    <a:pt x="14064" y="4878"/>
                  </a:lnTo>
                  <a:cubicBezTo>
                    <a:pt x="14064" y="4506"/>
                    <a:pt x="13798" y="4399"/>
                    <a:pt x="13585" y="4745"/>
                  </a:cubicBezTo>
                  <a:lnTo>
                    <a:pt x="9804" y="10284"/>
                  </a:lnTo>
                  <a:cubicBezTo>
                    <a:pt x="9602" y="10614"/>
                    <a:pt x="9234" y="10808"/>
                    <a:pt x="8846" y="10789"/>
                  </a:cubicBezTo>
                  <a:lnTo>
                    <a:pt x="8846" y="10789"/>
                  </a:lnTo>
                  <a:cubicBezTo>
                    <a:pt x="8465" y="10803"/>
                    <a:pt x="8108" y="10611"/>
                    <a:pt x="7914" y="10284"/>
                  </a:cubicBezTo>
                  <a:lnTo>
                    <a:pt x="4133" y="4745"/>
                  </a:lnTo>
                  <a:cubicBezTo>
                    <a:pt x="3920" y="4452"/>
                    <a:pt x="3654" y="4532"/>
                    <a:pt x="3654" y="4905"/>
                  </a:cubicBezTo>
                  <a:lnTo>
                    <a:pt x="3654" y="14943"/>
                  </a:lnTo>
                  <a:cubicBezTo>
                    <a:pt x="3670" y="15265"/>
                    <a:pt x="3422" y="15542"/>
                    <a:pt x="3097" y="15558"/>
                  </a:cubicBezTo>
                  <a:cubicBezTo>
                    <a:pt x="3071" y="15558"/>
                    <a:pt x="3041" y="15558"/>
                    <a:pt x="3015" y="15556"/>
                  </a:cubicBezTo>
                  <a:lnTo>
                    <a:pt x="1736" y="15556"/>
                  </a:lnTo>
                  <a:cubicBezTo>
                    <a:pt x="1430" y="15601"/>
                    <a:pt x="1145" y="15390"/>
                    <a:pt x="1100" y="15087"/>
                  </a:cubicBezTo>
                  <a:cubicBezTo>
                    <a:pt x="1092" y="15039"/>
                    <a:pt x="1092" y="14991"/>
                    <a:pt x="1097" y="14943"/>
                  </a:cubicBezTo>
                </a:path>
              </a:pathLst>
            </a:custGeom>
            <a:solidFill>
              <a:srgbClr val="FFFFFF"/>
            </a:solidFill>
            <a:ln w="2661" cap="flat">
              <a:noFill/>
              <a:prstDash val="solid"/>
              <a:miter/>
            </a:ln>
          </p:spPr>
          <p:txBody>
            <a:bodyPr rtlCol="0" anchor="ctr"/>
            <a:lstStyle/>
            <a:p>
              <a:endParaRPr lang="pl-PL"/>
            </a:p>
          </p:txBody>
        </p:sp>
      </p:grpSp>
      <p:grpSp>
        <p:nvGrpSpPr>
          <p:cNvPr id="128" name="Group 127">
            <a:extLst>
              <a:ext uri="{FF2B5EF4-FFF2-40B4-BE49-F238E27FC236}">
                <a16:creationId xmlns:a16="http://schemas.microsoft.com/office/drawing/2014/main" id="{E3C96034-76B9-4B02-97E5-F4F24A19A41D}"/>
              </a:ext>
            </a:extLst>
          </p:cNvPr>
          <p:cNvGrpSpPr/>
          <p:nvPr userDrawn="1"/>
        </p:nvGrpSpPr>
        <p:grpSpPr>
          <a:xfrm>
            <a:off x="10855488" y="6628477"/>
            <a:ext cx="218951" cy="162658"/>
            <a:chOff x="10506075" y="6628477"/>
            <a:chExt cx="218951" cy="162658"/>
          </a:xfrm>
        </p:grpSpPr>
        <p:sp>
          <p:nvSpPr>
            <p:cNvPr id="129" name="Rectangle: Rounded Corners 128">
              <a:hlinkClick r:id="" action="ppaction://noaction"/>
              <a:extLst>
                <a:ext uri="{FF2B5EF4-FFF2-40B4-BE49-F238E27FC236}">
                  <a16:creationId xmlns:a16="http://schemas.microsoft.com/office/drawing/2014/main" id="{15F9C03F-A561-4787-86BD-EB2145EE57D9}"/>
                </a:ext>
              </a:extLst>
            </p:cNvPr>
            <p:cNvSpPr/>
            <p:nvPr userDrawn="1"/>
          </p:nvSpPr>
          <p:spPr>
            <a:xfrm>
              <a:off x="10506075" y="6628477"/>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30" name="Rectangle: Rounded Corners 129">
              <a:hlinkClick r:id="" action="ppaction://noaction"/>
              <a:extLst>
                <a:ext uri="{FF2B5EF4-FFF2-40B4-BE49-F238E27FC236}">
                  <a16:creationId xmlns:a16="http://schemas.microsoft.com/office/drawing/2014/main" id="{82B795A2-5F76-4214-9F52-8C89AFA110ED}"/>
                </a:ext>
              </a:extLst>
            </p:cNvPr>
            <p:cNvSpPr/>
            <p:nvPr userDrawn="1"/>
          </p:nvSpPr>
          <p:spPr>
            <a:xfrm>
              <a:off x="10506075" y="6691806"/>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31" name="Rectangle: Rounded Corners 130">
              <a:hlinkClick r:id="" action="ppaction://noaction"/>
              <a:extLst>
                <a:ext uri="{FF2B5EF4-FFF2-40B4-BE49-F238E27FC236}">
                  <a16:creationId xmlns:a16="http://schemas.microsoft.com/office/drawing/2014/main" id="{EAC059E7-52DF-4DD2-843A-C129B72FFF9C}"/>
                </a:ext>
              </a:extLst>
            </p:cNvPr>
            <p:cNvSpPr/>
            <p:nvPr userDrawn="1"/>
          </p:nvSpPr>
          <p:spPr>
            <a:xfrm>
              <a:off x="10506075" y="6755135"/>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grpSp>
      <p:sp>
        <p:nvSpPr>
          <p:cNvPr id="132" name="Rectangle 131">
            <a:hlinkClick r:id="" action="ppaction://noaction"/>
            <a:extLst>
              <a:ext uri="{FF2B5EF4-FFF2-40B4-BE49-F238E27FC236}">
                <a16:creationId xmlns:a16="http://schemas.microsoft.com/office/drawing/2014/main" id="{D19E258C-7C52-4DD4-8E7E-81141744D495}"/>
              </a:ext>
            </a:extLst>
          </p:cNvPr>
          <p:cNvSpPr/>
          <p:nvPr userDrawn="1"/>
        </p:nvSpPr>
        <p:spPr>
          <a:xfrm>
            <a:off x="10760869" y="6579908"/>
            <a:ext cx="406177" cy="273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cxnSp>
        <p:nvCxnSpPr>
          <p:cNvPr id="133" name="Straight Connector 132">
            <a:extLst>
              <a:ext uri="{FF2B5EF4-FFF2-40B4-BE49-F238E27FC236}">
                <a16:creationId xmlns:a16="http://schemas.microsoft.com/office/drawing/2014/main" id="{1E6AC391-FD41-4555-AE9A-AB5AE12A3E9E}"/>
              </a:ext>
            </a:extLst>
          </p:cNvPr>
          <p:cNvCxnSpPr/>
          <p:nvPr userDrawn="1"/>
        </p:nvCxnSpPr>
        <p:spPr>
          <a:xfrm>
            <a:off x="521472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34" name="Rectangle 133">
            <a:hlinkClick r:id="" action="ppaction://noaction"/>
            <a:hlinkHover r:id="" action="ppaction://noaction" highlightClick="1"/>
            <a:extLst>
              <a:ext uri="{FF2B5EF4-FFF2-40B4-BE49-F238E27FC236}">
                <a16:creationId xmlns:a16="http://schemas.microsoft.com/office/drawing/2014/main" id="{5FD54C87-4A57-4C4B-8BD0-09BE667317F1}"/>
              </a:ext>
            </a:extLst>
          </p:cNvPr>
          <p:cNvSpPr/>
          <p:nvPr userDrawn="1"/>
        </p:nvSpPr>
        <p:spPr>
          <a:xfrm>
            <a:off x="9539162" y="6570000"/>
            <a:ext cx="1200924"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GB" sz="800" b="0" noProof="0">
                <a:solidFill>
                  <a:schemeClr val="bg1">
                    <a:alpha val="50000"/>
                  </a:schemeClr>
                </a:solidFill>
                <a:latin typeface="Leelawadee" panose="020B0502040204020203" pitchFamily="34" charset="-34"/>
                <a:cs typeface="Leelawadee" panose="020B0502040204020203" pitchFamily="34" charset="-34"/>
              </a:rPr>
              <a:t>Additional </a:t>
            </a:r>
            <a:br>
              <a:rPr lang="en-GB" sz="800" b="0" noProof="0">
                <a:solidFill>
                  <a:schemeClr val="bg1">
                    <a:alpha val="50000"/>
                  </a:schemeClr>
                </a:solidFill>
                <a:latin typeface="Leelawadee" panose="020B0502040204020203" pitchFamily="34" charset="-34"/>
                <a:cs typeface="Leelawadee" panose="020B0502040204020203" pitchFamily="34" charset="-34"/>
              </a:rPr>
            </a:br>
            <a:r>
              <a:rPr lang="en-GB" sz="800" b="0" noProof="0">
                <a:solidFill>
                  <a:schemeClr val="bg1">
                    <a:alpha val="50000"/>
                  </a:schemeClr>
                </a:solidFill>
                <a:latin typeface="Leelawadee" panose="020B0502040204020203" pitchFamily="34" charset="-34"/>
                <a:cs typeface="Leelawadee" panose="020B0502040204020203" pitchFamily="34" charset="-34"/>
              </a:rPr>
              <a:t>Supporting content</a:t>
            </a:r>
          </a:p>
        </p:txBody>
      </p:sp>
      <p:cxnSp>
        <p:nvCxnSpPr>
          <p:cNvPr id="135" name="Straight Connector 134">
            <a:extLst>
              <a:ext uri="{FF2B5EF4-FFF2-40B4-BE49-F238E27FC236}">
                <a16:creationId xmlns:a16="http://schemas.microsoft.com/office/drawing/2014/main" id="{5442CDC0-BB38-4148-8AFA-AF609F4A9F27}"/>
              </a:ext>
            </a:extLst>
          </p:cNvPr>
          <p:cNvCxnSpPr/>
          <p:nvPr userDrawn="1"/>
        </p:nvCxnSpPr>
        <p:spPr>
          <a:xfrm>
            <a:off x="10737865"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36" name="TextBox 135">
            <a:extLst>
              <a:ext uri="{FF2B5EF4-FFF2-40B4-BE49-F238E27FC236}">
                <a16:creationId xmlns:a16="http://schemas.microsoft.com/office/drawing/2014/main" id="{13915862-3CD9-413D-B7CA-9E07EF47B4A9}"/>
              </a:ext>
            </a:extLst>
          </p:cNvPr>
          <p:cNvSpPr txBox="1"/>
          <p:nvPr userDrawn="1"/>
        </p:nvSpPr>
        <p:spPr>
          <a:xfrm>
            <a:off x="208348" y="6587078"/>
            <a:ext cx="428589" cy="261610"/>
          </a:xfrm>
          <a:prstGeom prst="rect">
            <a:avLst/>
          </a:prstGeom>
          <a:noFill/>
        </p:spPr>
        <p:txBody>
          <a:bodyPr wrap="square" rtlCol="0">
            <a:spAutoFit/>
          </a:bodyPr>
          <a:lstStyle/>
          <a:p>
            <a:fld id="{2AD15D81-AC1A-4BFA-95F9-38C1BF89B685}" type="slidenum">
              <a:rPr lang="pl-PL" sz="1050" smtClean="0">
                <a:solidFill>
                  <a:schemeClr val="bg1"/>
                </a:solidFill>
                <a:latin typeface="Leelawadee" panose="020B0502040204020203" pitchFamily="34" charset="-34"/>
                <a:cs typeface="Leelawadee" panose="020B0502040204020203" pitchFamily="34" charset="-34"/>
              </a:rPr>
              <a:t>‹#›</a:t>
            </a:fld>
            <a:endParaRPr lang="pl-PL" sz="1200">
              <a:solidFill>
                <a:schemeClr val="bg1"/>
              </a:solidFill>
              <a:latin typeface="Leelawadee" panose="020B0502040204020203" pitchFamily="34" charset="-34"/>
              <a:cs typeface="Leelawadee" panose="020B0502040204020203" pitchFamily="34" charset="-34"/>
            </a:endParaRPr>
          </a:p>
        </p:txBody>
      </p:sp>
    </p:spTree>
    <p:extLst>
      <p:ext uri="{BB962C8B-B14F-4D97-AF65-F5344CB8AC3E}">
        <p14:creationId xmlns:p14="http://schemas.microsoft.com/office/powerpoint/2010/main" val="166875766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19" name="object 2"/>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24" name="Title 23"/>
          <p:cNvSpPr>
            <a:spLocks noGrp="1"/>
          </p:cNvSpPr>
          <p:nvPr>
            <p:ph type="title"/>
          </p:nvPr>
        </p:nvSpPr>
        <p:spPr>
          <a:xfrm>
            <a:off x="609231" y="168381"/>
            <a:ext cx="10952147" cy="623222"/>
          </a:xfrm>
        </p:spPr>
        <p:txBody>
          <a:bodyPr anchor="ctr">
            <a:noAutofit/>
          </a:bodyPr>
          <a:lstStyle>
            <a:lvl1pPr>
              <a:lnSpc>
                <a:spcPct val="100000"/>
              </a:lnSpc>
              <a:defRPr lang="en-US" sz="3200" b="1" i="0" kern="1200" spc="-20" dirty="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14" name="Text Placeholder 2">
            <a:extLst>
              <a:ext uri="{FF2B5EF4-FFF2-40B4-BE49-F238E27FC236}">
                <a16:creationId xmlns:a16="http://schemas.microsoft.com/office/drawing/2014/main" id="{76D40EB1-E54E-3D43-82D2-2C0B316D02E5}"/>
              </a:ext>
            </a:extLst>
          </p:cNvPr>
          <p:cNvSpPr>
            <a:spLocks noGrp="1"/>
          </p:cNvSpPr>
          <p:nvPr>
            <p:ph type="body" sz="quarter" idx="14"/>
          </p:nvPr>
        </p:nvSpPr>
        <p:spPr>
          <a:xfrm>
            <a:off x="609231" y="1274778"/>
            <a:ext cx="10952148" cy="4810836"/>
          </a:xfrm>
        </p:spPr>
        <p:txBody>
          <a:bodyPr>
            <a:noAutofit/>
          </a:bodyPr>
          <a:lstStyle>
            <a:lvl1pPr marL="228600" indent="-228600">
              <a:lnSpc>
                <a:spcPct val="100000"/>
              </a:lnSpc>
              <a:spcBef>
                <a:spcPts val="1800"/>
              </a:spcBef>
              <a:tabLst/>
              <a:defRPr sz="2800" b="0" i="0">
                <a:solidFill>
                  <a:schemeClr val="accent5">
                    <a:lumMod val="75000"/>
                  </a:schemeClr>
                </a:solidFill>
                <a:latin typeface="Calibri" panose="020F0502020204030204" pitchFamily="34" charset="0"/>
                <a:cs typeface="Calibri" panose="020F0502020204030204" pitchFamily="34" charset="0"/>
              </a:defRPr>
            </a:lvl1pPr>
            <a:lvl2pPr marL="804863" indent="-347663">
              <a:lnSpc>
                <a:spcPct val="100000"/>
              </a:lnSpc>
              <a:spcBef>
                <a:spcPts val="1800"/>
              </a:spcBef>
              <a:buFont typeface="Courier New" panose="02070309020205020404" pitchFamily="49" charset="0"/>
              <a:buChar char="o"/>
              <a:tabLst/>
              <a:defRPr sz="2800" b="0" i="0">
                <a:solidFill>
                  <a:schemeClr val="accent5">
                    <a:lumMod val="75000"/>
                  </a:schemeClr>
                </a:solidFill>
                <a:latin typeface="Calibri" panose="020F0502020204030204" pitchFamily="34" charset="0"/>
                <a:cs typeface="Calibri" panose="020F0502020204030204" pitchFamily="34" charset="0"/>
              </a:defRPr>
            </a:lvl2pPr>
            <a:lvl3pPr marL="1090613" indent="-176213">
              <a:buFont typeface="Courier New" panose="02070309020205020404" pitchFamily="49" charset="0"/>
              <a:buChar char="o"/>
              <a:tabLst/>
              <a:defRPr sz="1500">
                <a:solidFill>
                  <a:schemeClr val="accent5">
                    <a:lumMod val="75000"/>
                  </a:schemeClr>
                </a:solidFill>
              </a:defRPr>
            </a:lvl3pPr>
            <a:lvl4pPr marL="1552575" indent="-180975">
              <a:buFont typeface="Courier New" panose="02070309020205020404" pitchFamily="49" charset="0"/>
              <a:buChar char="o"/>
              <a:tabLst/>
              <a:defRPr sz="1500">
                <a:solidFill>
                  <a:schemeClr val="accent5">
                    <a:lumMod val="75000"/>
                  </a:schemeClr>
                </a:solidFill>
              </a:defRPr>
            </a:lvl4pPr>
            <a:lvl5pPr marL="2003425" indent="-174625">
              <a:buFont typeface="Courier New" panose="02070309020205020404" pitchFamily="49" charset="0"/>
              <a:buChar char="o"/>
              <a:tabLst/>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79" name="Rectangle 78">
            <a:extLst>
              <a:ext uri="{FF2B5EF4-FFF2-40B4-BE49-F238E27FC236}">
                <a16:creationId xmlns:a16="http://schemas.microsoft.com/office/drawing/2014/main" id="{D3BB693A-037C-4786-AEDD-E6BE18F1390D}"/>
              </a:ext>
            </a:extLst>
          </p:cNvPr>
          <p:cNvSpPr/>
          <p:nvPr userDrawn="1"/>
        </p:nvSpPr>
        <p:spPr>
          <a:xfrm>
            <a:off x="0" y="6570000"/>
            <a:ext cx="12192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100" noProof="0"/>
          </a:p>
        </p:txBody>
      </p:sp>
      <p:cxnSp>
        <p:nvCxnSpPr>
          <p:cNvPr id="80" name="Straight Connector 79">
            <a:extLst>
              <a:ext uri="{FF2B5EF4-FFF2-40B4-BE49-F238E27FC236}">
                <a16:creationId xmlns:a16="http://schemas.microsoft.com/office/drawing/2014/main" id="{45601B59-FA67-4564-A3CA-CE624D18AAD5}"/>
              </a:ext>
            </a:extLst>
          </p:cNvPr>
          <p:cNvCxnSpPr/>
          <p:nvPr userDrawn="1"/>
        </p:nvCxnSpPr>
        <p:spPr>
          <a:xfrm>
            <a:off x="634587" y="6570000"/>
            <a:ext cx="0" cy="288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4AD636F4-7596-470F-BE98-B8259B654D0F}"/>
              </a:ext>
            </a:extLst>
          </p:cNvPr>
          <p:cNvSpPr txBox="1"/>
          <p:nvPr userDrawn="1"/>
        </p:nvSpPr>
        <p:spPr>
          <a:xfrm>
            <a:off x="806034" y="6650942"/>
            <a:ext cx="3896596" cy="123111"/>
          </a:xfrm>
          <a:prstGeom prst="rect">
            <a:avLst/>
          </a:prstGeom>
          <a:noFill/>
        </p:spPr>
        <p:txBody>
          <a:bodyPr wrap="square" lIns="0" tIns="0" rIns="0" bIns="0" rtlCol="0">
            <a:spAutoFit/>
          </a:bodyPr>
          <a:lstStyle/>
          <a:p>
            <a:pPr rtl="0"/>
            <a:r>
              <a:rPr lang="en-US" sz="800" spc="300" baseline="0" noProof="0">
                <a:solidFill>
                  <a:schemeClr val="bg1"/>
                </a:solidFill>
                <a:latin typeface="Leelawadee" panose="020B0502040204020203" pitchFamily="34" charset="-34"/>
                <a:cs typeface="Leelawadee" panose="020B0502040204020203" pitchFamily="34" charset="-34"/>
              </a:rPr>
              <a:t>CONFIDENTIAL &amp; PROPRIETARY</a:t>
            </a:r>
          </a:p>
        </p:txBody>
      </p:sp>
      <p:sp>
        <p:nvSpPr>
          <p:cNvPr id="82" name="Rectangle 81">
            <a:hlinkClick r:id="" action="ppaction://noaction"/>
            <a:extLst>
              <a:ext uri="{FF2B5EF4-FFF2-40B4-BE49-F238E27FC236}">
                <a16:creationId xmlns:a16="http://schemas.microsoft.com/office/drawing/2014/main" id="{B895AAFA-3330-49CF-89E2-42612A01687F}"/>
              </a:ext>
            </a:extLst>
          </p:cNvPr>
          <p:cNvSpPr/>
          <p:nvPr userDrawn="1"/>
        </p:nvSpPr>
        <p:spPr>
          <a:xfrm>
            <a:off x="5214721" y="6579908"/>
            <a:ext cx="1147937"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lnSpc>
                <a:spcPct val="90000"/>
              </a:lnSpc>
            </a:pPr>
            <a:r>
              <a:rPr lang="en-GB" sz="800" b="0">
                <a:solidFill>
                  <a:schemeClr val="bg1">
                    <a:alpha val="50000"/>
                  </a:schemeClr>
                </a:solidFill>
                <a:latin typeface="Leelawadee" panose="020B0502040204020203" pitchFamily="34" charset="-34"/>
                <a:cs typeface="Leelawadee" panose="020B0502040204020203" pitchFamily="34" charset="-34"/>
              </a:rPr>
              <a:t>Intro &amp; objectives</a:t>
            </a:r>
          </a:p>
        </p:txBody>
      </p:sp>
      <p:sp>
        <p:nvSpPr>
          <p:cNvPr id="83" name="Rectangle 82">
            <a:hlinkClick r:id="rId2" action="ppaction://hlinksldjump"/>
            <a:extLst>
              <a:ext uri="{FF2B5EF4-FFF2-40B4-BE49-F238E27FC236}">
                <a16:creationId xmlns:a16="http://schemas.microsoft.com/office/drawing/2014/main" id="{763B9017-10FD-454B-B55F-8B9575F196E0}"/>
              </a:ext>
            </a:extLst>
          </p:cNvPr>
          <p:cNvSpPr/>
          <p:nvPr userDrawn="1"/>
        </p:nvSpPr>
        <p:spPr>
          <a:xfrm>
            <a:off x="6367021" y="6579908"/>
            <a:ext cx="1126055"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US" sz="800" b="0" noProof="0">
                <a:solidFill>
                  <a:schemeClr val="bg1">
                    <a:alpha val="50000"/>
                  </a:schemeClr>
                </a:solidFill>
                <a:latin typeface="Leelawadee" panose="020B0502040204020203" pitchFamily="34" charset="-34"/>
                <a:cs typeface="Leelawadee" panose="020B0502040204020203" pitchFamily="34" charset="-34"/>
              </a:rPr>
              <a:t>Introducing pep+ </a:t>
            </a:r>
            <a:br>
              <a:rPr lang="en-US" sz="800" b="0" noProof="0">
                <a:solidFill>
                  <a:schemeClr val="bg1">
                    <a:alpha val="50000"/>
                  </a:schemeClr>
                </a:solidFill>
                <a:latin typeface="Leelawadee" panose="020B0502040204020203" pitchFamily="34" charset="-34"/>
                <a:cs typeface="Leelawadee" panose="020B0502040204020203" pitchFamily="34" charset="-34"/>
              </a:rPr>
            </a:br>
            <a:r>
              <a:rPr lang="en-US" sz="800" b="0" noProof="0">
                <a:solidFill>
                  <a:schemeClr val="bg1">
                    <a:alpha val="50000"/>
                  </a:schemeClr>
                </a:solidFill>
                <a:latin typeface="Leelawadee" panose="020B0502040204020203" pitchFamily="34" charset="-34"/>
                <a:cs typeface="Leelawadee" panose="020B0502040204020203" pitchFamily="34" charset="-34"/>
              </a:rPr>
              <a:t>to Customers</a:t>
            </a:r>
          </a:p>
        </p:txBody>
      </p:sp>
      <p:sp>
        <p:nvSpPr>
          <p:cNvPr id="84" name="Rectangle 83">
            <a:hlinkClick r:id="" action="ppaction://noaction"/>
            <a:extLst>
              <a:ext uri="{FF2B5EF4-FFF2-40B4-BE49-F238E27FC236}">
                <a16:creationId xmlns:a16="http://schemas.microsoft.com/office/drawing/2014/main" id="{63E6A0C9-5168-46F7-AC83-F740E81D8C18}"/>
              </a:ext>
            </a:extLst>
          </p:cNvPr>
          <p:cNvSpPr/>
          <p:nvPr userDrawn="1"/>
        </p:nvSpPr>
        <p:spPr>
          <a:xfrm>
            <a:off x="7510981" y="6579908"/>
            <a:ext cx="967705"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US" sz="800" b="0" noProof="0">
                <a:solidFill>
                  <a:schemeClr val="bg1">
                    <a:alpha val="50000"/>
                  </a:schemeClr>
                </a:solidFill>
                <a:latin typeface="Leelawadee" panose="020B0502040204020203" pitchFamily="34" charset="-34"/>
                <a:cs typeface="Leelawadee" panose="020B0502040204020203" pitchFamily="34" charset="-34"/>
              </a:rPr>
              <a:t>Exploring </a:t>
            </a:r>
            <a:br>
              <a:rPr lang="en-US" sz="800" b="0" noProof="0">
                <a:solidFill>
                  <a:schemeClr val="bg1">
                    <a:alpha val="50000"/>
                  </a:schemeClr>
                </a:solidFill>
                <a:latin typeface="Leelawadee" panose="020B0502040204020203" pitchFamily="34" charset="-34"/>
                <a:cs typeface="Leelawadee" panose="020B0502040204020203" pitchFamily="34" charset="-34"/>
              </a:rPr>
            </a:br>
            <a:r>
              <a:rPr lang="en-US" sz="800" b="0" noProof="0">
                <a:solidFill>
                  <a:schemeClr val="bg1">
                    <a:alpha val="50000"/>
                  </a:schemeClr>
                </a:solidFill>
                <a:latin typeface="Leelawadee" panose="020B0502040204020203" pitchFamily="34" charset="-34"/>
                <a:cs typeface="Leelawadee" panose="020B0502040204020203" pitchFamily="34" charset="-34"/>
              </a:rPr>
              <a:t>pep+ areas</a:t>
            </a:r>
          </a:p>
        </p:txBody>
      </p:sp>
      <p:sp>
        <p:nvSpPr>
          <p:cNvPr id="85" name="Rectangle 84">
            <a:hlinkClick r:id="" action="ppaction://noaction"/>
            <a:hlinkHover r:id="" action="ppaction://noaction" highlightClick="1"/>
            <a:extLst>
              <a:ext uri="{FF2B5EF4-FFF2-40B4-BE49-F238E27FC236}">
                <a16:creationId xmlns:a16="http://schemas.microsoft.com/office/drawing/2014/main" id="{F5C9E19A-0E7F-4235-85ED-90F91FAE84DB}"/>
              </a:ext>
            </a:extLst>
          </p:cNvPr>
          <p:cNvSpPr/>
          <p:nvPr userDrawn="1"/>
        </p:nvSpPr>
        <p:spPr>
          <a:xfrm>
            <a:off x="8544692" y="6579908"/>
            <a:ext cx="994577"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GB" sz="800" b="0" noProof="0">
                <a:solidFill>
                  <a:schemeClr val="bg1">
                    <a:alpha val="50000"/>
                  </a:schemeClr>
                </a:solidFill>
                <a:latin typeface="Leelawadee" panose="020B0502040204020203" pitchFamily="34" charset="-34"/>
                <a:cs typeface="Leelawadee" panose="020B0502040204020203" pitchFamily="34" charset="-34"/>
              </a:rPr>
              <a:t>pep+ Customer Engagement</a:t>
            </a:r>
          </a:p>
        </p:txBody>
      </p:sp>
      <p:cxnSp>
        <p:nvCxnSpPr>
          <p:cNvPr id="86" name="Straight Connector 85">
            <a:extLst>
              <a:ext uri="{FF2B5EF4-FFF2-40B4-BE49-F238E27FC236}">
                <a16:creationId xmlns:a16="http://schemas.microsoft.com/office/drawing/2014/main" id="{D73F6461-F104-43D3-8D50-62980E7D6B08}"/>
              </a:ext>
            </a:extLst>
          </p:cNvPr>
          <p:cNvCxnSpPr/>
          <p:nvPr userDrawn="1"/>
        </p:nvCxnSpPr>
        <p:spPr>
          <a:xfrm>
            <a:off x="9539270"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260487FC-A14F-4E67-A1CB-97FF4C09D601}"/>
              </a:ext>
            </a:extLst>
          </p:cNvPr>
          <p:cNvCxnSpPr/>
          <p:nvPr userDrawn="1"/>
        </p:nvCxnSpPr>
        <p:spPr>
          <a:xfrm>
            <a:off x="848143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0D68AB8D-ECBC-4A85-9BF4-7FF4BAE4C5D7}"/>
              </a:ext>
            </a:extLst>
          </p:cNvPr>
          <p:cNvCxnSpPr/>
          <p:nvPr userDrawn="1"/>
        </p:nvCxnSpPr>
        <p:spPr>
          <a:xfrm>
            <a:off x="7493596"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FC10A6A8-85EE-485D-B88C-ADAF07E68180}"/>
              </a:ext>
            </a:extLst>
          </p:cNvPr>
          <p:cNvCxnSpPr/>
          <p:nvPr userDrawn="1"/>
        </p:nvCxnSpPr>
        <p:spPr>
          <a:xfrm>
            <a:off x="636702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782ADED-2332-40AE-A6B6-66B206B3633D}"/>
              </a:ext>
            </a:extLst>
          </p:cNvPr>
          <p:cNvCxnSpPr/>
          <p:nvPr userDrawn="1"/>
        </p:nvCxnSpPr>
        <p:spPr>
          <a:xfrm>
            <a:off x="11186336"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56757AF0-B449-41E9-8F3E-78DB39B0C484}"/>
              </a:ext>
            </a:extLst>
          </p:cNvPr>
          <p:cNvGrpSpPr/>
          <p:nvPr userDrawn="1"/>
        </p:nvGrpSpPr>
        <p:grpSpPr>
          <a:xfrm>
            <a:off x="11393217" y="6628477"/>
            <a:ext cx="473369" cy="183554"/>
            <a:chOff x="11393217" y="6628477"/>
            <a:chExt cx="473369" cy="183554"/>
          </a:xfrm>
        </p:grpSpPr>
        <p:sp>
          <p:nvSpPr>
            <p:cNvPr id="92" name="Freeform: Shape 91">
              <a:extLst>
                <a:ext uri="{FF2B5EF4-FFF2-40B4-BE49-F238E27FC236}">
                  <a16:creationId xmlns:a16="http://schemas.microsoft.com/office/drawing/2014/main" id="{3BB3B013-1673-4342-ACD8-50C0E62A7324}"/>
                </a:ext>
              </a:extLst>
            </p:cNvPr>
            <p:cNvSpPr/>
            <p:nvPr/>
          </p:nvSpPr>
          <p:spPr>
            <a:xfrm>
              <a:off x="11432435" y="6628477"/>
              <a:ext cx="90651" cy="18332"/>
            </a:xfrm>
            <a:custGeom>
              <a:avLst/>
              <a:gdLst>
                <a:gd name="connsiteX0" fmla="*/ 11746 w 160635"/>
                <a:gd name="connsiteY0" fmla="*/ 19438 h 32484"/>
                <a:gd name="connsiteX1" fmla="*/ 53842 w 160635"/>
                <a:gd name="connsiteY1" fmla="*/ 32138 h 32484"/>
                <a:gd name="connsiteX2" fmla="*/ 96443 w 160635"/>
                <a:gd name="connsiteY2" fmla="*/ 19438 h 32484"/>
                <a:gd name="connsiteX3" fmla="*/ 138646 w 160635"/>
                <a:gd name="connsiteY3" fmla="*/ 32138 h 32484"/>
                <a:gd name="connsiteX4" fmla="*/ 161624 w 160635"/>
                <a:gd name="connsiteY4" fmla="*/ 25721 h 32484"/>
                <a:gd name="connsiteX5" fmla="*/ 78205 w 160635"/>
                <a:gd name="connsiteY5" fmla="*/ -345 h 32484"/>
                <a:gd name="connsiteX6" fmla="*/ 989 w 160635"/>
                <a:gd name="connsiteY6" fmla="*/ 21648 h 32484"/>
                <a:gd name="connsiteX7" fmla="*/ 11879 w 160635"/>
                <a:gd name="connsiteY7" fmla="*/ 19438 h 3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635" h="32484">
                  <a:moveTo>
                    <a:pt x="11746" y="19438"/>
                  </a:moveTo>
                  <a:cubicBezTo>
                    <a:pt x="29798" y="19438"/>
                    <a:pt x="34671" y="32138"/>
                    <a:pt x="53842" y="32138"/>
                  </a:cubicBezTo>
                  <a:cubicBezTo>
                    <a:pt x="73012" y="32138"/>
                    <a:pt x="77645" y="19438"/>
                    <a:pt x="96443" y="19438"/>
                  </a:cubicBezTo>
                  <a:cubicBezTo>
                    <a:pt x="113644" y="19438"/>
                    <a:pt x="120700" y="32138"/>
                    <a:pt x="138646" y="32138"/>
                  </a:cubicBezTo>
                  <a:cubicBezTo>
                    <a:pt x="146732" y="32029"/>
                    <a:pt x="154651" y="29819"/>
                    <a:pt x="161624" y="25721"/>
                  </a:cubicBezTo>
                  <a:cubicBezTo>
                    <a:pt x="137136" y="8707"/>
                    <a:pt x="108023" y="-388"/>
                    <a:pt x="78205" y="-345"/>
                  </a:cubicBezTo>
                  <a:cubicBezTo>
                    <a:pt x="50915" y="-377"/>
                    <a:pt x="24164" y="7240"/>
                    <a:pt x="989" y="21648"/>
                  </a:cubicBezTo>
                  <a:cubicBezTo>
                    <a:pt x="4440" y="20210"/>
                    <a:pt x="8140" y="19459"/>
                    <a:pt x="11879" y="19438"/>
                  </a:cubicBezTo>
                </a:path>
              </a:pathLst>
            </a:custGeom>
            <a:solidFill>
              <a:srgbClr val="4FE3F2"/>
            </a:solidFill>
            <a:ln w="2661" cap="flat">
              <a:noFill/>
              <a:prstDash val="solid"/>
              <a:miter/>
            </a:ln>
          </p:spPr>
          <p:txBody>
            <a:bodyPr rtlCol="0" anchor="ctr"/>
            <a:lstStyle/>
            <a:p>
              <a:endParaRPr lang="pl-PL"/>
            </a:p>
          </p:txBody>
        </p:sp>
        <p:sp>
          <p:nvSpPr>
            <p:cNvPr id="93" name="Freeform: Shape 92">
              <a:extLst>
                <a:ext uri="{FF2B5EF4-FFF2-40B4-BE49-F238E27FC236}">
                  <a16:creationId xmlns:a16="http://schemas.microsoft.com/office/drawing/2014/main" id="{B371A0BD-C728-469A-A4E9-E10CC8A7D5B5}"/>
                </a:ext>
              </a:extLst>
            </p:cNvPr>
            <p:cNvSpPr/>
            <p:nvPr/>
          </p:nvSpPr>
          <p:spPr>
            <a:xfrm>
              <a:off x="11432374" y="6628522"/>
              <a:ext cx="90726" cy="18332"/>
            </a:xfrm>
            <a:custGeom>
              <a:avLst/>
              <a:gdLst>
                <a:gd name="connsiteX0" fmla="*/ 78205 w 160768"/>
                <a:gd name="connsiteY0" fmla="*/ -345 h 32484"/>
                <a:gd name="connsiteX1" fmla="*/ 989 w 160768"/>
                <a:gd name="connsiteY1" fmla="*/ 21648 h 32484"/>
                <a:gd name="connsiteX2" fmla="*/ 11879 w 160768"/>
                <a:gd name="connsiteY2" fmla="*/ 19438 h 32484"/>
                <a:gd name="connsiteX3" fmla="*/ 53975 w 160768"/>
                <a:gd name="connsiteY3" fmla="*/ 32138 h 32484"/>
                <a:gd name="connsiteX4" fmla="*/ 96577 w 160768"/>
                <a:gd name="connsiteY4" fmla="*/ 19438 h 32484"/>
                <a:gd name="connsiteX5" fmla="*/ 138806 w 160768"/>
                <a:gd name="connsiteY5" fmla="*/ 32138 h 32484"/>
                <a:gd name="connsiteX6" fmla="*/ 161757 w 160768"/>
                <a:gd name="connsiteY6" fmla="*/ 25722 h 32484"/>
                <a:gd name="connsiteX7" fmla="*/ 78338 w 160768"/>
                <a:gd name="connsiteY7" fmla="*/ -345 h 3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8" h="32484">
                  <a:moveTo>
                    <a:pt x="78205" y="-345"/>
                  </a:moveTo>
                  <a:cubicBezTo>
                    <a:pt x="50915" y="-377"/>
                    <a:pt x="24164" y="7240"/>
                    <a:pt x="989" y="21648"/>
                  </a:cubicBezTo>
                  <a:cubicBezTo>
                    <a:pt x="4439" y="20210"/>
                    <a:pt x="8140" y="19459"/>
                    <a:pt x="11879" y="19438"/>
                  </a:cubicBezTo>
                  <a:cubicBezTo>
                    <a:pt x="29931" y="19438"/>
                    <a:pt x="34804" y="32138"/>
                    <a:pt x="53975" y="32138"/>
                  </a:cubicBezTo>
                  <a:cubicBezTo>
                    <a:pt x="73146" y="32138"/>
                    <a:pt x="77778" y="19438"/>
                    <a:pt x="96577" y="19438"/>
                  </a:cubicBezTo>
                  <a:cubicBezTo>
                    <a:pt x="113777" y="19438"/>
                    <a:pt x="120833" y="32138"/>
                    <a:pt x="138806" y="32138"/>
                  </a:cubicBezTo>
                  <a:cubicBezTo>
                    <a:pt x="146884" y="32027"/>
                    <a:pt x="154792" y="29814"/>
                    <a:pt x="161757" y="25722"/>
                  </a:cubicBezTo>
                  <a:cubicBezTo>
                    <a:pt x="137269" y="8707"/>
                    <a:pt x="108156" y="-388"/>
                    <a:pt x="78338" y="-345"/>
                  </a:cubicBezTo>
                </a:path>
              </a:pathLst>
            </a:custGeom>
            <a:solidFill>
              <a:srgbClr val="BAF2FA"/>
            </a:solidFill>
            <a:ln w="2661" cap="flat">
              <a:noFill/>
              <a:prstDash val="solid"/>
              <a:miter/>
            </a:ln>
          </p:spPr>
          <p:txBody>
            <a:bodyPr rtlCol="0" anchor="ctr"/>
            <a:lstStyle/>
            <a:p>
              <a:endParaRPr lang="pl-PL"/>
            </a:p>
          </p:txBody>
        </p:sp>
        <p:sp>
          <p:nvSpPr>
            <p:cNvPr id="94" name="Freeform: Shape 93">
              <a:extLst>
                <a:ext uri="{FF2B5EF4-FFF2-40B4-BE49-F238E27FC236}">
                  <a16:creationId xmlns:a16="http://schemas.microsoft.com/office/drawing/2014/main" id="{C4CEDCDE-0C27-4A88-9773-F8B28807DA00}"/>
                </a:ext>
              </a:extLst>
            </p:cNvPr>
            <p:cNvSpPr/>
            <p:nvPr/>
          </p:nvSpPr>
          <p:spPr>
            <a:xfrm>
              <a:off x="11427415" y="6639597"/>
              <a:ext cx="108562" cy="21802"/>
            </a:xfrm>
            <a:custGeom>
              <a:avLst/>
              <a:gdLst>
                <a:gd name="connsiteX0" fmla="*/ 105230 w 192373"/>
                <a:gd name="connsiteY0" fmla="*/ -266 h 38634"/>
                <a:gd name="connsiteX1" fmla="*/ 62628 w 192373"/>
                <a:gd name="connsiteY1" fmla="*/ 12435 h 38634"/>
                <a:gd name="connsiteX2" fmla="*/ 20532 w 192373"/>
                <a:gd name="connsiteY2" fmla="*/ -266 h 38634"/>
                <a:gd name="connsiteX3" fmla="*/ 9642 w 192373"/>
                <a:gd name="connsiteY3" fmla="*/ 1944 h 38634"/>
                <a:gd name="connsiteX4" fmla="*/ 989 w 192373"/>
                <a:gd name="connsiteY4" fmla="*/ 7775 h 38634"/>
                <a:gd name="connsiteX5" fmla="*/ 21171 w 192373"/>
                <a:gd name="connsiteY5" fmla="*/ 25615 h 38634"/>
                <a:gd name="connsiteX6" fmla="*/ 62628 w 192373"/>
                <a:gd name="connsiteY6" fmla="*/ 38289 h 38634"/>
                <a:gd name="connsiteX7" fmla="*/ 105230 w 192373"/>
                <a:gd name="connsiteY7" fmla="*/ 25588 h 38634"/>
                <a:gd name="connsiteX8" fmla="*/ 147459 w 192373"/>
                <a:gd name="connsiteY8" fmla="*/ 38289 h 38634"/>
                <a:gd name="connsiteX9" fmla="*/ 190700 w 192373"/>
                <a:gd name="connsiteY9" fmla="*/ 25588 h 38634"/>
                <a:gd name="connsiteX10" fmla="*/ 193363 w 192373"/>
                <a:gd name="connsiteY10" fmla="*/ 25588 h 38634"/>
                <a:gd name="connsiteX11" fmla="*/ 170438 w 192373"/>
                <a:gd name="connsiteY11" fmla="*/ 5938 h 38634"/>
                <a:gd name="connsiteX12" fmla="*/ 147486 w 192373"/>
                <a:gd name="connsiteY12" fmla="*/ 12355 h 38634"/>
                <a:gd name="connsiteX13" fmla="*/ 105257 w 192373"/>
                <a:gd name="connsiteY13" fmla="*/ -346 h 38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2373" h="38634">
                  <a:moveTo>
                    <a:pt x="105230" y="-266"/>
                  </a:moveTo>
                  <a:cubicBezTo>
                    <a:pt x="86592" y="-266"/>
                    <a:pt x="81799" y="12435"/>
                    <a:pt x="62628" y="12435"/>
                  </a:cubicBezTo>
                  <a:cubicBezTo>
                    <a:pt x="43457" y="12435"/>
                    <a:pt x="38665" y="-266"/>
                    <a:pt x="20532" y="-266"/>
                  </a:cubicBezTo>
                  <a:cubicBezTo>
                    <a:pt x="16794" y="-244"/>
                    <a:pt x="13093" y="506"/>
                    <a:pt x="9642" y="1944"/>
                  </a:cubicBezTo>
                  <a:cubicBezTo>
                    <a:pt x="6687" y="3781"/>
                    <a:pt x="3785" y="5725"/>
                    <a:pt x="989" y="7775"/>
                  </a:cubicBezTo>
                  <a:cubicBezTo>
                    <a:pt x="8031" y="13356"/>
                    <a:pt x="14768" y="19312"/>
                    <a:pt x="21171" y="25615"/>
                  </a:cubicBezTo>
                  <a:cubicBezTo>
                    <a:pt x="38691" y="25908"/>
                    <a:pt x="43697" y="38289"/>
                    <a:pt x="62628" y="38289"/>
                  </a:cubicBezTo>
                  <a:cubicBezTo>
                    <a:pt x="81559" y="38289"/>
                    <a:pt x="86432" y="25588"/>
                    <a:pt x="105230" y="25588"/>
                  </a:cubicBezTo>
                  <a:cubicBezTo>
                    <a:pt x="122431" y="25588"/>
                    <a:pt x="129487" y="38289"/>
                    <a:pt x="147459" y="38289"/>
                  </a:cubicBezTo>
                  <a:cubicBezTo>
                    <a:pt x="167456" y="38289"/>
                    <a:pt x="173872" y="25588"/>
                    <a:pt x="190700" y="25588"/>
                  </a:cubicBezTo>
                  <a:cubicBezTo>
                    <a:pt x="191632" y="25588"/>
                    <a:pt x="192484" y="25588"/>
                    <a:pt x="193363" y="25588"/>
                  </a:cubicBezTo>
                  <a:cubicBezTo>
                    <a:pt x="186416" y="18269"/>
                    <a:pt x="178734" y="11684"/>
                    <a:pt x="170438" y="5938"/>
                  </a:cubicBezTo>
                  <a:cubicBezTo>
                    <a:pt x="163472" y="10031"/>
                    <a:pt x="155564" y="12243"/>
                    <a:pt x="147486" y="12355"/>
                  </a:cubicBezTo>
                  <a:cubicBezTo>
                    <a:pt x="129513" y="12355"/>
                    <a:pt x="122457" y="-346"/>
                    <a:pt x="105257" y="-346"/>
                  </a:cubicBezTo>
                </a:path>
              </a:pathLst>
            </a:custGeom>
            <a:solidFill>
              <a:srgbClr val="4FE3F2"/>
            </a:solidFill>
            <a:ln w="2661" cap="flat">
              <a:noFill/>
              <a:prstDash val="solid"/>
              <a:miter/>
            </a:ln>
          </p:spPr>
          <p:txBody>
            <a:bodyPr rtlCol="0" anchor="ctr"/>
            <a:lstStyle/>
            <a:p>
              <a:endParaRPr lang="pl-PL"/>
            </a:p>
          </p:txBody>
        </p:sp>
        <p:sp>
          <p:nvSpPr>
            <p:cNvPr id="95" name="Freeform: Shape 94">
              <a:extLst>
                <a:ext uri="{FF2B5EF4-FFF2-40B4-BE49-F238E27FC236}">
                  <a16:creationId xmlns:a16="http://schemas.microsoft.com/office/drawing/2014/main" id="{9DFFB04A-BC03-4D87-9C37-068FE7AD39AD}"/>
                </a:ext>
              </a:extLst>
            </p:cNvPr>
            <p:cNvSpPr/>
            <p:nvPr/>
          </p:nvSpPr>
          <p:spPr>
            <a:xfrm>
              <a:off x="11438745" y="6654277"/>
              <a:ext cx="111537" cy="22389"/>
            </a:xfrm>
            <a:custGeom>
              <a:avLst/>
              <a:gdLst>
                <a:gd name="connsiteX0" fmla="*/ 127250 w 197645"/>
                <a:gd name="connsiteY0" fmla="*/ 12355 h 39673"/>
                <a:gd name="connsiteX1" fmla="*/ 85048 w 197645"/>
                <a:gd name="connsiteY1" fmla="*/ -346 h 39673"/>
                <a:gd name="connsiteX2" fmla="*/ 42446 w 197645"/>
                <a:gd name="connsiteY2" fmla="*/ 12355 h 39673"/>
                <a:gd name="connsiteX3" fmla="*/ 989 w 197645"/>
                <a:gd name="connsiteY3" fmla="*/ -319 h 39673"/>
                <a:gd name="connsiteX4" fmla="*/ 24233 w 197645"/>
                <a:gd name="connsiteY4" fmla="*/ 25881 h 39673"/>
                <a:gd name="connsiteX5" fmla="*/ 33100 w 197645"/>
                <a:gd name="connsiteY5" fmla="*/ 38209 h 39673"/>
                <a:gd name="connsiteX6" fmla="*/ 42446 w 197645"/>
                <a:gd name="connsiteY6" fmla="*/ 39327 h 39673"/>
                <a:gd name="connsiteX7" fmla="*/ 85048 w 197645"/>
                <a:gd name="connsiteY7" fmla="*/ 26627 h 39673"/>
                <a:gd name="connsiteX8" fmla="*/ 127250 w 197645"/>
                <a:gd name="connsiteY8" fmla="*/ 39327 h 39673"/>
                <a:gd name="connsiteX9" fmla="*/ 170517 w 197645"/>
                <a:gd name="connsiteY9" fmla="*/ 26627 h 39673"/>
                <a:gd name="connsiteX10" fmla="*/ 198635 w 197645"/>
                <a:gd name="connsiteY10" fmla="*/ 36478 h 39673"/>
                <a:gd name="connsiteX11" fmla="*/ 173153 w 197645"/>
                <a:gd name="connsiteY11" fmla="*/ -266 h 39673"/>
                <a:gd name="connsiteX12" fmla="*/ 170491 w 197645"/>
                <a:gd name="connsiteY12" fmla="*/ -266 h 39673"/>
                <a:gd name="connsiteX13" fmla="*/ 127223 w 197645"/>
                <a:gd name="connsiteY13" fmla="*/ 12435 h 39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7645" h="39673">
                  <a:moveTo>
                    <a:pt x="127250" y="12355"/>
                  </a:moveTo>
                  <a:cubicBezTo>
                    <a:pt x="109304" y="12355"/>
                    <a:pt x="102248" y="-346"/>
                    <a:pt x="85048" y="-346"/>
                  </a:cubicBezTo>
                  <a:cubicBezTo>
                    <a:pt x="66409" y="-346"/>
                    <a:pt x="61616" y="12355"/>
                    <a:pt x="42446" y="12355"/>
                  </a:cubicBezTo>
                  <a:cubicBezTo>
                    <a:pt x="23275" y="12355"/>
                    <a:pt x="18482" y="-26"/>
                    <a:pt x="989" y="-319"/>
                  </a:cubicBezTo>
                  <a:cubicBezTo>
                    <a:pt x="9333" y="7866"/>
                    <a:pt x="17100" y="16621"/>
                    <a:pt x="24233" y="25881"/>
                  </a:cubicBezTo>
                  <a:cubicBezTo>
                    <a:pt x="27295" y="29902"/>
                    <a:pt x="30277" y="34002"/>
                    <a:pt x="33100" y="38209"/>
                  </a:cubicBezTo>
                  <a:cubicBezTo>
                    <a:pt x="36157" y="38971"/>
                    <a:pt x="39296" y="39346"/>
                    <a:pt x="42446" y="39327"/>
                  </a:cubicBezTo>
                  <a:cubicBezTo>
                    <a:pt x="61510" y="39327"/>
                    <a:pt x="66249" y="26627"/>
                    <a:pt x="85048" y="26627"/>
                  </a:cubicBezTo>
                  <a:cubicBezTo>
                    <a:pt x="102248" y="26627"/>
                    <a:pt x="109304" y="39327"/>
                    <a:pt x="127250" y="39327"/>
                  </a:cubicBezTo>
                  <a:cubicBezTo>
                    <a:pt x="147273" y="39327"/>
                    <a:pt x="153690" y="26627"/>
                    <a:pt x="170517" y="26627"/>
                  </a:cubicBezTo>
                  <a:cubicBezTo>
                    <a:pt x="184283" y="26627"/>
                    <a:pt x="189635" y="32245"/>
                    <a:pt x="198635" y="36478"/>
                  </a:cubicBezTo>
                  <a:cubicBezTo>
                    <a:pt x="192063" y="23003"/>
                    <a:pt x="183471" y="10611"/>
                    <a:pt x="173153" y="-266"/>
                  </a:cubicBezTo>
                  <a:cubicBezTo>
                    <a:pt x="172301" y="-266"/>
                    <a:pt x="171449" y="-266"/>
                    <a:pt x="170491" y="-266"/>
                  </a:cubicBezTo>
                  <a:cubicBezTo>
                    <a:pt x="153663" y="-266"/>
                    <a:pt x="147246" y="12435"/>
                    <a:pt x="127223" y="12435"/>
                  </a:cubicBezTo>
                </a:path>
              </a:pathLst>
            </a:custGeom>
            <a:solidFill>
              <a:srgbClr val="0066E5"/>
            </a:solidFill>
            <a:ln w="2661" cap="flat">
              <a:noFill/>
              <a:prstDash val="solid"/>
              <a:miter/>
            </a:ln>
          </p:spPr>
          <p:txBody>
            <a:bodyPr rtlCol="0" anchor="ctr"/>
            <a:lstStyle/>
            <a:p>
              <a:endParaRPr lang="pl-PL"/>
            </a:p>
          </p:txBody>
        </p:sp>
        <p:sp>
          <p:nvSpPr>
            <p:cNvPr id="96" name="Freeform: Shape 95">
              <a:extLst>
                <a:ext uri="{FF2B5EF4-FFF2-40B4-BE49-F238E27FC236}">
                  <a16:creationId xmlns:a16="http://schemas.microsoft.com/office/drawing/2014/main" id="{00CE1082-E7C8-4624-AC8C-5792A4178253}"/>
                </a:ext>
              </a:extLst>
            </p:cNvPr>
            <p:cNvSpPr/>
            <p:nvPr/>
          </p:nvSpPr>
          <p:spPr>
            <a:xfrm>
              <a:off x="11456867" y="6669498"/>
              <a:ext cx="99186" cy="29390"/>
            </a:xfrm>
            <a:custGeom>
              <a:avLst/>
              <a:gdLst>
                <a:gd name="connsiteX0" fmla="*/ 95139 w 175759"/>
                <a:gd name="connsiteY0" fmla="*/ 12355 h 52080"/>
                <a:gd name="connsiteX1" fmla="*/ 52936 w 175759"/>
                <a:gd name="connsiteY1" fmla="*/ -346 h 52080"/>
                <a:gd name="connsiteX2" fmla="*/ 10335 w 175759"/>
                <a:gd name="connsiteY2" fmla="*/ 12355 h 52080"/>
                <a:gd name="connsiteX3" fmla="*/ 989 w 175759"/>
                <a:gd name="connsiteY3" fmla="*/ 11210 h 52080"/>
                <a:gd name="connsiteX4" fmla="*/ 23248 w 175759"/>
                <a:gd name="connsiteY4" fmla="*/ 51735 h 52080"/>
                <a:gd name="connsiteX5" fmla="*/ 22929 w 175759"/>
                <a:gd name="connsiteY5" fmla="*/ 50963 h 52080"/>
                <a:gd name="connsiteX6" fmla="*/ 110183 w 175759"/>
                <a:gd name="connsiteY6" fmla="*/ 22633 h 52080"/>
                <a:gd name="connsiteX7" fmla="*/ 176748 w 175759"/>
                <a:gd name="connsiteY7" fmla="*/ 38262 h 52080"/>
                <a:gd name="connsiteX8" fmla="*/ 166310 w 175759"/>
                <a:gd name="connsiteY8" fmla="*/ 9506 h 52080"/>
                <a:gd name="connsiteX9" fmla="*/ 138193 w 175759"/>
                <a:gd name="connsiteY9" fmla="*/ -346 h 52080"/>
                <a:gd name="connsiteX10" fmla="*/ 94926 w 175759"/>
                <a:gd name="connsiteY10" fmla="*/ 12355 h 52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5759" h="52080">
                  <a:moveTo>
                    <a:pt x="95139" y="12355"/>
                  </a:moveTo>
                  <a:cubicBezTo>
                    <a:pt x="77193" y="12355"/>
                    <a:pt x="70137" y="-346"/>
                    <a:pt x="52936" y="-346"/>
                  </a:cubicBezTo>
                  <a:cubicBezTo>
                    <a:pt x="34298" y="-346"/>
                    <a:pt x="29505" y="12355"/>
                    <a:pt x="10335" y="12355"/>
                  </a:cubicBezTo>
                  <a:cubicBezTo>
                    <a:pt x="7182" y="12379"/>
                    <a:pt x="4043" y="11993"/>
                    <a:pt x="989" y="11210"/>
                  </a:cubicBezTo>
                  <a:cubicBezTo>
                    <a:pt x="9634" y="24007"/>
                    <a:pt x="17087" y="37573"/>
                    <a:pt x="23248" y="51735"/>
                  </a:cubicBezTo>
                  <a:lnTo>
                    <a:pt x="22929" y="50963"/>
                  </a:lnTo>
                  <a:cubicBezTo>
                    <a:pt x="48205" y="32375"/>
                    <a:pt x="78806" y="22438"/>
                    <a:pt x="110183" y="22633"/>
                  </a:cubicBezTo>
                  <a:cubicBezTo>
                    <a:pt x="133286" y="22574"/>
                    <a:pt x="156083" y="27926"/>
                    <a:pt x="176748" y="38262"/>
                  </a:cubicBezTo>
                  <a:cubicBezTo>
                    <a:pt x="174298" y="28333"/>
                    <a:pt x="170800" y="18695"/>
                    <a:pt x="166310" y="9506"/>
                  </a:cubicBezTo>
                  <a:cubicBezTo>
                    <a:pt x="157311" y="5273"/>
                    <a:pt x="151959" y="-346"/>
                    <a:pt x="138193" y="-346"/>
                  </a:cubicBezTo>
                  <a:cubicBezTo>
                    <a:pt x="121365" y="-346"/>
                    <a:pt x="114949" y="12355"/>
                    <a:pt x="94926" y="12355"/>
                  </a:cubicBezTo>
                </a:path>
              </a:pathLst>
            </a:custGeom>
            <a:solidFill>
              <a:srgbClr val="143DCF"/>
            </a:solidFill>
            <a:ln w="2661" cap="flat">
              <a:noFill/>
              <a:prstDash val="solid"/>
              <a:miter/>
            </a:ln>
          </p:spPr>
          <p:txBody>
            <a:bodyPr rtlCol="0" anchor="ctr"/>
            <a:lstStyle/>
            <a:p>
              <a:endParaRPr lang="pl-PL"/>
            </a:p>
          </p:txBody>
        </p:sp>
        <p:sp>
          <p:nvSpPr>
            <p:cNvPr id="97" name="Freeform: Shape 96">
              <a:extLst>
                <a:ext uri="{FF2B5EF4-FFF2-40B4-BE49-F238E27FC236}">
                  <a16:creationId xmlns:a16="http://schemas.microsoft.com/office/drawing/2014/main" id="{E963DBFA-CD00-4959-AA37-F724A5BB0EEB}"/>
                </a:ext>
              </a:extLst>
            </p:cNvPr>
            <p:cNvSpPr/>
            <p:nvPr/>
          </p:nvSpPr>
          <p:spPr>
            <a:xfrm>
              <a:off x="11469428" y="6682464"/>
              <a:ext cx="88352" cy="28821"/>
            </a:xfrm>
            <a:custGeom>
              <a:avLst/>
              <a:gdLst>
                <a:gd name="connsiteX0" fmla="*/ 154808 w 156561"/>
                <a:gd name="connsiteY0" fmla="*/ 15287 h 51071"/>
                <a:gd name="connsiteX1" fmla="*/ 88243 w 156561"/>
                <a:gd name="connsiteY1" fmla="*/ -343 h 51071"/>
                <a:gd name="connsiteX2" fmla="*/ 989 w 156561"/>
                <a:gd name="connsiteY2" fmla="*/ 27987 h 51071"/>
                <a:gd name="connsiteX3" fmla="*/ 1308 w 156561"/>
                <a:gd name="connsiteY3" fmla="*/ 28760 h 51071"/>
                <a:gd name="connsiteX4" fmla="*/ 2533 w 156561"/>
                <a:gd name="connsiteY4" fmla="*/ 31635 h 51071"/>
                <a:gd name="connsiteX5" fmla="*/ 3172 w 156561"/>
                <a:gd name="connsiteY5" fmla="*/ 33153 h 51071"/>
                <a:gd name="connsiteX6" fmla="*/ 5568 w 156561"/>
                <a:gd name="connsiteY6" fmla="*/ 39170 h 51071"/>
                <a:gd name="connsiteX7" fmla="*/ 5888 w 156561"/>
                <a:gd name="connsiteY7" fmla="*/ 40049 h 51071"/>
                <a:gd name="connsiteX8" fmla="*/ 6740 w 156561"/>
                <a:gd name="connsiteY8" fmla="*/ 42339 h 51071"/>
                <a:gd name="connsiteX9" fmla="*/ 7619 w 156561"/>
                <a:gd name="connsiteY9" fmla="*/ 44709 h 51071"/>
                <a:gd name="connsiteX10" fmla="*/ 8364 w 156561"/>
                <a:gd name="connsiteY10" fmla="*/ 46892 h 51071"/>
                <a:gd name="connsiteX11" fmla="*/ 9269 w 156561"/>
                <a:gd name="connsiteY11" fmla="*/ 49555 h 51071"/>
                <a:gd name="connsiteX12" fmla="*/ 9669 w 156561"/>
                <a:gd name="connsiteY12" fmla="*/ 50726 h 51071"/>
                <a:gd name="connsiteX13" fmla="*/ 88243 w 156561"/>
                <a:gd name="connsiteY13" fmla="*/ 28360 h 51071"/>
                <a:gd name="connsiteX14" fmla="*/ 109544 w 156561"/>
                <a:gd name="connsiteY14" fmla="*/ 29825 h 51071"/>
                <a:gd name="connsiteX15" fmla="*/ 112606 w 156561"/>
                <a:gd name="connsiteY15" fmla="*/ 30038 h 51071"/>
                <a:gd name="connsiteX16" fmla="*/ 112925 w 156561"/>
                <a:gd name="connsiteY16" fmla="*/ 30038 h 51071"/>
                <a:gd name="connsiteX17" fmla="*/ 113378 w 156561"/>
                <a:gd name="connsiteY17" fmla="*/ 30038 h 51071"/>
                <a:gd name="connsiteX18" fmla="*/ 116040 w 156561"/>
                <a:gd name="connsiteY18" fmla="*/ 30677 h 51071"/>
                <a:gd name="connsiteX19" fmla="*/ 116040 w 156561"/>
                <a:gd name="connsiteY19" fmla="*/ 30677 h 51071"/>
                <a:gd name="connsiteX20" fmla="*/ 123256 w 156561"/>
                <a:gd name="connsiteY20" fmla="*/ 18722 h 51071"/>
                <a:gd name="connsiteX21" fmla="*/ 139232 w 156561"/>
                <a:gd name="connsiteY21" fmla="*/ 15873 h 51071"/>
                <a:gd name="connsiteX22" fmla="*/ 139232 w 156561"/>
                <a:gd name="connsiteY22" fmla="*/ 15873 h 51071"/>
                <a:gd name="connsiteX23" fmla="*/ 140536 w 156561"/>
                <a:gd name="connsiteY23" fmla="*/ 37520 h 51071"/>
                <a:gd name="connsiteX24" fmla="*/ 150015 w 156561"/>
                <a:gd name="connsiteY24" fmla="*/ 29691 h 51071"/>
                <a:gd name="connsiteX25" fmla="*/ 157550 w 156561"/>
                <a:gd name="connsiteY25" fmla="*/ 29212 h 51071"/>
                <a:gd name="connsiteX26" fmla="*/ 154888 w 156561"/>
                <a:gd name="connsiteY26" fmla="*/ 15180 h 5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6561" h="51071">
                  <a:moveTo>
                    <a:pt x="154808" y="15287"/>
                  </a:moveTo>
                  <a:cubicBezTo>
                    <a:pt x="134143" y="4950"/>
                    <a:pt x="111346" y="-401"/>
                    <a:pt x="88243" y="-343"/>
                  </a:cubicBezTo>
                  <a:cubicBezTo>
                    <a:pt x="56866" y="-537"/>
                    <a:pt x="26265" y="9400"/>
                    <a:pt x="989" y="27987"/>
                  </a:cubicBezTo>
                  <a:lnTo>
                    <a:pt x="1308" y="28760"/>
                  </a:lnTo>
                  <a:cubicBezTo>
                    <a:pt x="1734" y="29718"/>
                    <a:pt x="2134" y="30677"/>
                    <a:pt x="2533" y="31635"/>
                  </a:cubicBezTo>
                  <a:lnTo>
                    <a:pt x="3172" y="33153"/>
                  </a:lnTo>
                  <a:cubicBezTo>
                    <a:pt x="3997" y="35150"/>
                    <a:pt x="4796" y="37147"/>
                    <a:pt x="5568" y="39170"/>
                  </a:cubicBezTo>
                  <a:lnTo>
                    <a:pt x="5888" y="40049"/>
                  </a:lnTo>
                  <a:cubicBezTo>
                    <a:pt x="6181" y="40821"/>
                    <a:pt x="6474" y="41593"/>
                    <a:pt x="6740" y="42339"/>
                  </a:cubicBezTo>
                  <a:lnTo>
                    <a:pt x="7619" y="44709"/>
                  </a:lnTo>
                  <a:cubicBezTo>
                    <a:pt x="7858" y="45454"/>
                    <a:pt x="8124" y="46173"/>
                    <a:pt x="8364" y="46892"/>
                  </a:cubicBezTo>
                  <a:cubicBezTo>
                    <a:pt x="8604" y="47611"/>
                    <a:pt x="8977" y="48649"/>
                    <a:pt x="9269" y="49555"/>
                  </a:cubicBezTo>
                  <a:lnTo>
                    <a:pt x="9669" y="50726"/>
                  </a:lnTo>
                  <a:cubicBezTo>
                    <a:pt x="33212" y="35978"/>
                    <a:pt x="60461" y="28222"/>
                    <a:pt x="88243" y="28360"/>
                  </a:cubicBezTo>
                  <a:cubicBezTo>
                    <a:pt x="95368" y="28358"/>
                    <a:pt x="102485" y="28847"/>
                    <a:pt x="109544" y="29825"/>
                  </a:cubicBezTo>
                  <a:cubicBezTo>
                    <a:pt x="110569" y="29835"/>
                    <a:pt x="111591" y="29907"/>
                    <a:pt x="112606" y="30038"/>
                  </a:cubicBezTo>
                  <a:lnTo>
                    <a:pt x="112925" y="30038"/>
                  </a:lnTo>
                  <a:lnTo>
                    <a:pt x="113378" y="30038"/>
                  </a:lnTo>
                  <a:cubicBezTo>
                    <a:pt x="114278" y="30189"/>
                    <a:pt x="115170" y="30402"/>
                    <a:pt x="116040" y="30677"/>
                  </a:cubicBezTo>
                  <a:lnTo>
                    <a:pt x="116040" y="30677"/>
                  </a:lnTo>
                  <a:cubicBezTo>
                    <a:pt x="116123" y="25684"/>
                    <a:pt x="118879" y="21121"/>
                    <a:pt x="123256" y="18722"/>
                  </a:cubicBezTo>
                  <a:cubicBezTo>
                    <a:pt x="129460" y="14994"/>
                    <a:pt x="139232" y="15873"/>
                    <a:pt x="139232" y="15873"/>
                  </a:cubicBezTo>
                  <a:lnTo>
                    <a:pt x="139232" y="15873"/>
                  </a:lnTo>
                  <a:cubicBezTo>
                    <a:pt x="140068" y="23059"/>
                    <a:pt x="140504" y="30285"/>
                    <a:pt x="140536" y="37520"/>
                  </a:cubicBezTo>
                  <a:cubicBezTo>
                    <a:pt x="142291" y="33566"/>
                    <a:pt x="145800" y="30666"/>
                    <a:pt x="150015" y="29691"/>
                  </a:cubicBezTo>
                  <a:cubicBezTo>
                    <a:pt x="152483" y="29124"/>
                    <a:pt x="155029" y="28962"/>
                    <a:pt x="157550" y="29212"/>
                  </a:cubicBezTo>
                  <a:cubicBezTo>
                    <a:pt x="156858" y="24446"/>
                    <a:pt x="155953" y="19787"/>
                    <a:pt x="154888" y="15180"/>
                  </a:cubicBezTo>
                </a:path>
              </a:pathLst>
            </a:custGeom>
            <a:solidFill>
              <a:srgbClr val="00A652"/>
            </a:solidFill>
            <a:ln w="2661" cap="flat">
              <a:noFill/>
              <a:prstDash val="solid"/>
              <a:miter/>
            </a:ln>
          </p:spPr>
          <p:txBody>
            <a:bodyPr rtlCol="0" anchor="ctr"/>
            <a:lstStyle/>
            <a:p>
              <a:endParaRPr lang="pl-PL"/>
            </a:p>
          </p:txBody>
        </p:sp>
        <p:sp>
          <p:nvSpPr>
            <p:cNvPr id="98" name="Freeform: Shape 97">
              <a:extLst>
                <a:ext uri="{FF2B5EF4-FFF2-40B4-BE49-F238E27FC236}">
                  <a16:creationId xmlns:a16="http://schemas.microsoft.com/office/drawing/2014/main" id="{18DBF1A6-E87F-4DE1-B0FB-250C76A50016}"/>
                </a:ext>
              </a:extLst>
            </p:cNvPr>
            <p:cNvSpPr/>
            <p:nvPr/>
          </p:nvSpPr>
          <p:spPr>
            <a:xfrm>
              <a:off x="11474267" y="6698648"/>
              <a:ext cx="56271" cy="28174"/>
            </a:xfrm>
            <a:custGeom>
              <a:avLst/>
              <a:gdLst>
                <a:gd name="connsiteX0" fmla="*/ 79563 w 99714"/>
                <a:gd name="connsiteY0" fmla="*/ -344 h 49925"/>
                <a:gd name="connsiteX1" fmla="*/ 989 w 99714"/>
                <a:gd name="connsiteY1" fmla="*/ 22022 h 49925"/>
                <a:gd name="connsiteX2" fmla="*/ 1228 w 99714"/>
                <a:gd name="connsiteY2" fmla="*/ 22821 h 49925"/>
                <a:gd name="connsiteX3" fmla="*/ 2373 w 99714"/>
                <a:gd name="connsiteY3" fmla="*/ 26442 h 49925"/>
                <a:gd name="connsiteX4" fmla="*/ 2773 w 99714"/>
                <a:gd name="connsiteY4" fmla="*/ 27694 h 49925"/>
                <a:gd name="connsiteX5" fmla="*/ 4184 w 99714"/>
                <a:gd name="connsiteY5" fmla="*/ 32540 h 49925"/>
                <a:gd name="connsiteX6" fmla="*/ 4610 w 99714"/>
                <a:gd name="connsiteY6" fmla="*/ 34137 h 49925"/>
                <a:gd name="connsiteX7" fmla="*/ 5515 w 99714"/>
                <a:gd name="connsiteY7" fmla="*/ 37545 h 49925"/>
                <a:gd name="connsiteX8" fmla="*/ 6021 w 99714"/>
                <a:gd name="connsiteY8" fmla="*/ 39542 h 49925"/>
                <a:gd name="connsiteX9" fmla="*/ 6767 w 99714"/>
                <a:gd name="connsiteY9" fmla="*/ 42658 h 49925"/>
                <a:gd name="connsiteX10" fmla="*/ 7246 w 99714"/>
                <a:gd name="connsiteY10" fmla="*/ 44708 h 49925"/>
                <a:gd name="connsiteX11" fmla="*/ 8231 w 99714"/>
                <a:gd name="connsiteY11" fmla="*/ 49128 h 49925"/>
                <a:gd name="connsiteX12" fmla="*/ 8231 w 99714"/>
                <a:gd name="connsiteY12" fmla="*/ 49580 h 49925"/>
                <a:gd name="connsiteX13" fmla="*/ 61936 w 99714"/>
                <a:gd name="connsiteY13" fmla="*/ 32566 h 49925"/>
                <a:gd name="connsiteX14" fmla="*/ 65877 w 99714"/>
                <a:gd name="connsiteY14" fmla="*/ 29904 h 49925"/>
                <a:gd name="connsiteX15" fmla="*/ 78125 w 99714"/>
                <a:gd name="connsiteY15" fmla="*/ 28732 h 49925"/>
                <a:gd name="connsiteX16" fmla="*/ 81373 w 99714"/>
                <a:gd name="connsiteY16" fmla="*/ 29478 h 49925"/>
                <a:gd name="connsiteX17" fmla="*/ 82278 w 99714"/>
                <a:gd name="connsiteY17" fmla="*/ 24339 h 49925"/>
                <a:gd name="connsiteX18" fmla="*/ 88509 w 99714"/>
                <a:gd name="connsiteY18" fmla="*/ 6579 h 49925"/>
                <a:gd name="connsiteX19" fmla="*/ 100704 w 99714"/>
                <a:gd name="connsiteY19" fmla="*/ 1254 h 49925"/>
                <a:gd name="connsiteX20" fmla="*/ 79403 w 99714"/>
                <a:gd name="connsiteY20" fmla="*/ -211 h 49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9714" h="49925">
                  <a:moveTo>
                    <a:pt x="79563" y="-344"/>
                  </a:moveTo>
                  <a:cubicBezTo>
                    <a:pt x="51781" y="-482"/>
                    <a:pt x="24532" y="7274"/>
                    <a:pt x="989" y="22022"/>
                  </a:cubicBezTo>
                  <a:lnTo>
                    <a:pt x="1228" y="22821"/>
                  </a:lnTo>
                  <a:cubicBezTo>
                    <a:pt x="1628" y="24019"/>
                    <a:pt x="2001" y="25244"/>
                    <a:pt x="2373" y="26442"/>
                  </a:cubicBezTo>
                  <a:lnTo>
                    <a:pt x="2773" y="27694"/>
                  </a:lnTo>
                  <a:cubicBezTo>
                    <a:pt x="3252" y="29318"/>
                    <a:pt x="3731" y="30915"/>
                    <a:pt x="4184" y="32540"/>
                  </a:cubicBezTo>
                  <a:cubicBezTo>
                    <a:pt x="4317" y="33072"/>
                    <a:pt x="4450" y="33605"/>
                    <a:pt x="4610" y="34137"/>
                  </a:cubicBezTo>
                  <a:cubicBezTo>
                    <a:pt x="4903" y="35282"/>
                    <a:pt x="5222" y="36400"/>
                    <a:pt x="5515" y="37545"/>
                  </a:cubicBezTo>
                  <a:cubicBezTo>
                    <a:pt x="5675" y="38211"/>
                    <a:pt x="5861" y="38877"/>
                    <a:pt x="6021" y="39542"/>
                  </a:cubicBezTo>
                  <a:cubicBezTo>
                    <a:pt x="6181" y="40208"/>
                    <a:pt x="6527" y="41619"/>
                    <a:pt x="6767" y="42658"/>
                  </a:cubicBezTo>
                  <a:lnTo>
                    <a:pt x="7246" y="44708"/>
                  </a:lnTo>
                  <a:cubicBezTo>
                    <a:pt x="7592" y="46172"/>
                    <a:pt x="7912" y="47663"/>
                    <a:pt x="8231" y="49128"/>
                  </a:cubicBezTo>
                  <a:lnTo>
                    <a:pt x="8231" y="49580"/>
                  </a:lnTo>
                  <a:cubicBezTo>
                    <a:pt x="24862" y="40482"/>
                    <a:pt x="43101" y="34704"/>
                    <a:pt x="61936" y="32566"/>
                  </a:cubicBezTo>
                  <a:cubicBezTo>
                    <a:pt x="63078" y="31451"/>
                    <a:pt x="64415" y="30548"/>
                    <a:pt x="65877" y="29904"/>
                  </a:cubicBezTo>
                  <a:cubicBezTo>
                    <a:pt x="69748" y="28287"/>
                    <a:pt x="74016" y="27880"/>
                    <a:pt x="78125" y="28732"/>
                  </a:cubicBezTo>
                  <a:cubicBezTo>
                    <a:pt x="79227" y="28892"/>
                    <a:pt x="80313" y="29139"/>
                    <a:pt x="81373" y="29478"/>
                  </a:cubicBezTo>
                  <a:cubicBezTo>
                    <a:pt x="81719" y="27773"/>
                    <a:pt x="82012" y="26069"/>
                    <a:pt x="82278" y="24339"/>
                  </a:cubicBezTo>
                  <a:cubicBezTo>
                    <a:pt x="82278" y="24339"/>
                    <a:pt x="84355" y="11558"/>
                    <a:pt x="88509" y="6579"/>
                  </a:cubicBezTo>
                  <a:cubicBezTo>
                    <a:pt x="91555" y="3043"/>
                    <a:pt x="96042" y="1086"/>
                    <a:pt x="100704" y="1254"/>
                  </a:cubicBezTo>
                  <a:cubicBezTo>
                    <a:pt x="93645" y="277"/>
                    <a:pt x="86528" y="-213"/>
                    <a:pt x="79403" y="-211"/>
                  </a:cubicBezTo>
                </a:path>
              </a:pathLst>
            </a:custGeom>
            <a:solidFill>
              <a:srgbClr val="8FD942"/>
            </a:solidFill>
            <a:ln w="2661" cap="flat">
              <a:noFill/>
              <a:prstDash val="solid"/>
              <a:miter/>
            </a:ln>
          </p:spPr>
          <p:txBody>
            <a:bodyPr rtlCol="0" anchor="ctr"/>
            <a:lstStyle/>
            <a:p>
              <a:endParaRPr lang="pl-PL"/>
            </a:p>
          </p:txBody>
        </p:sp>
        <p:sp>
          <p:nvSpPr>
            <p:cNvPr id="99" name="Freeform: Shape 98">
              <a:extLst>
                <a:ext uri="{FF2B5EF4-FFF2-40B4-BE49-F238E27FC236}">
                  <a16:creationId xmlns:a16="http://schemas.microsoft.com/office/drawing/2014/main" id="{16BF5E99-3B1C-4A50-8C64-8FCEE926B04A}"/>
                </a:ext>
              </a:extLst>
            </p:cNvPr>
            <p:cNvSpPr/>
            <p:nvPr/>
          </p:nvSpPr>
          <p:spPr>
            <a:xfrm>
              <a:off x="11478444" y="6717190"/>
              <a:ext cx="30172" cy="26310"/>
            </a:xfrm>
            <a:custGeom>
              <a:avLst/>
              <a:gdLst>
                <a:gd name="connsiteX0" fmla="*/ 989 w 53465"/>
                <a:gd name="connsiteY0" fmla="*/ 16669 h 46622"/>
                <a:gd name="connsiteX1" fmla="*/ 1415 w 53465"/>
                <a:gd name="connsiteY1" fmla="*/ 18878 h 46622"/>
                <a:gd name="connsiteX2" fmla="*/ 1921 w 53465"/>
                <a:gd name="connsiteY2" fmla="*/ 21541 h 46622"/>
                <a:gd name="connsiteX3" fmla="*/ 2426 w 53465"/>
                <a:gd name="connsiteY3" fmla="*/ 24337 h 46622"/>
                <a:gd name="connsiteX4" fmla="*/ 2719 w 53465"/>
                <a:gd name="connsiteY4" fmla="*/ 26014 h 46622"/>
                <a:gd name="connsiteX5" fmla="*/ 2719 w 53465"/>
                <a:gd name="connsiteY5" fmla="*/ 26361 h 46622"/>
                <a:gd name="connsiteX6" fmla="*/ 2719 w 53465"/>
                <a:gd name="connsiteY6" fmla="*/ 26573 h 46622"/>
                <a:gd name="connsiteX7" fmla="*/ 3199 w 53465"/>
                <a:gd name="connsiteY7" fmla="*/ 29449 h 46622"/>
                <a:gd name="connsiteX8" fmla="*/ 3651 w 53465"/>
                <a:gd name="connsiteY8" fmla="*/ 32484 h 46622"/>
                <a:gd name="connsiteX9" fmla="*/ 3891 w 53465"/>
                <a:gd name="connsiteY9" fmla="*/ 34268 h 46622"/>
                <a:gd name="connsiteX10" fmla="*/ 4370 w 53465"/>
                <a:gd name="connsiteY10" fmla="*/ 38103 h 46622"/>
                <a:gd name="connsiteX11" fmla="*/ 4743 w 53465"/>
                <a:gd name="connsiteY11" fmla="*/ 41165 h 46622"/>
                <a:gd name="connsiteX12" fmla="*/ 4743 w 53465"/>
                <a:gd name="connsiteY12" fmla="*/ 41324 h 46622"/>
                <a:gd name="connsiteX13" fmla="*/ 4743 w 53465"/>
                <a:gd name="connsiteY13" fmla="*/ 41324 h 46622"/>
                <a:gd name="connsiteX14" fmla="*/ 4743 w 53465"/>
                <a:gd name="connsiteY14" fmla="*/ 41324 h 46622"/>
                <a:gd name="connsiteX15" fmla="*/ 4743 w 53465"/>
                <a:gd name="connsiteY15" fmla="*/ 41671 h 46622"/>
                <a:gd name="connsiteX16" fmla="*/ 4743 w 53465"/>
                <a:gd name="connsiteY16" fmla="*/ 42443 h 46622"/>
                <a:gd name="connsiteX17" fmla="*/ 4743 w 53465"/>
                <a:gd name="connsiteY17" fmla="*/ 42949 h 46622"/>
                <a:gd name="connsiteX18" fmla="*/ 5063 w 53465"/>
                <a:gd name="connsiteY18" fmla="*/ 46277 h 46622"/>
                <a:gd name="connsiteX19" fmla="*/ 5063 w 53465"/>
                <a:gd name="connsiteY19" fmla="*/ 46037 h 46622"/>
                <a:gd name="connsiteX20" fmla="*/ 24313 w 53465"/>
                <a:gd name="connsiteY20" fmla="*/ 38049 h 46622"/>
                <a:gd name="connsiteX21" fmla="*/ 36668 w 53465"/>
                <a:gd name="connsiteY21" fmla="*/ 34481 h 46622"/>
                <a:gd name="connsiteX22" fmla="*/ 44416 w 53465"/>
                <a:gd name="connsiteY22" fmla="*/ 21168 h 46622"/>
                <a:gd name="connsiteX23" fmla="*/ 50460 w 53465"/>
                <a:gd name="connsiteY23" fmla="*/ 6737 h 46622"/>
                <a:gd name="connsiteX24" fmla="*/ 50833 w 53465"/>
                <a:gd name="connsiteY24" fmla="*/ 5592 h 46622"/>
                <a:gd name="connsiteX25" fmla="*/ 54454 w 53465"/>
                <a:gd name="connsiteY25" fmla="*/ -346 h 46622"/>
                <a:gd name="connsiteX26" fmla="*/ 989 w 53465"/>
                <a:gd name="connsiteY26" fmla="*/ 16669 h 4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3465" h="46622">
                  <a:moveTo>
                    <a:pt x="989" y="16669"/>
                  </a:moveTo>
                  <a:cubicBezTo>
                    <a:pt x="1148" y="17414"/>
                    <a:pt x="1282" y="18160"/>
                    <a:pt x="1415" y="18878"/>
                  </a:cubicBezTo>
                  <a:cubicBezTo>
                    <a:pt x="1548" y="19597"/>
                    <a:pt x="1761" y="20609"/>
                    <a:pt x="1921" y="21541"/>
                  </a:cubicBezTo>
                  <a:cubicBezTo>
                    <a:pt x="2080" y="22473"/>
                    <a:pt x="2267" y="23405"/>
                    <a:pt x="2426" y="24337"/>
                  </a:cubicBezTo>
                  <a:cubicBezTo>
                    <a:pt x="2586" y="25269"/>
                    <a:pt x="2613" y="25455"/>
                    <a:pt x="2719" y="26014"/>
                  </a:cubicBezTo>
                  <a:cubicBezTo>
                    <a:pt x="2719" y="26147"/>
                    <a:pt x="2719" y="26254"/>
                    <a:pt x="2719" y="26361"/>
                  </a:cubicBezTo>
                  <a:lnTo>
                    <a:pt x="2719" y="26573"/>
                  </a:lnTo>
                  <a:lnTo>
                    <a:pt x="3199" y="29449"/>
                  </a:lnTo>
                  <a:cubicBezTo>
                    <a:pt x="3358" y="30461"/>
                    <a:pt x="3492" y="31473"/>
                    <a:pt x="3651" y="32484"/>
                  </a:cubicBezTo>
                  <a:lnTo>
                    <a:pt x="3891" y="34268"/>
                  </a:lnTo>
                  <a:cubicBezTo>
                    <a:pt x="4077" y="35546"/>
                    <a:pt x="4211" y="36931"/>
                    <a:pt x="4370" y="38103"/>
                  </a:cubicBezTo>
                  <a:cubicBezTo>
                    <a:pt x="4530" y="39274"/>
                    <a:pt x="4610" y="40153"/>
                    <a:pt x="4743" y="41165"/>
                  </a:cubicBezTo>
                  <a:lnTo>
                    <a:pt x="4743" y="41324"/>
                  </a:lnTo>
                  <a:lnTo>
                    <a:pt x="4743" y="41324"/>
                  </a:lnTo>
                  <a:lnTo>
                    <a:pt x="4743" y="41324"/>
                  </a:lnTo>
                  <a:cubicBezTo>
                    <a:pt x="4743" y="41324"/>
                    <a:pt x="4743" y="41564"/>
                    <a:pt x="4743" y="41671"/>
                  </a:cubicBezTo>
                  <a:lnTo>
                    <a:pt x="4743" y="42443"/>
                  </a:lnTo>
                  <a:cubicBezTo>
                    <a:pt x="4756" y="42610"/>
                    <a:pt x="4756" y="42781"/>
                    <a:pt x="4743" y="42949"/>
                  </a:cubicBezTo>
                  <a:cubicBezTo>
                    <a:pt x="4743" y="44067"/>
                    <a:pt x="4983" y="45185"/>
                    <a:pt x="5063" y="46277"/>
                  </a:cubicBezTo>
                  <a:lnTo>
                    <a:pt x="5063" y="46037"/>
                  </a:lnTo>
                  <a:cubicBezTo>
                    <a:pt x="11274" y="42906"/>
                    <a:pt x="17710" y="40235"/>
                    <a:pt x="24313" y="38049"/>
                  </a:cubicBezTo>
                  <a:cubicBezTo>
                    <a:pt x="28360" y="36691"/>
                    <a:pt x="32487" y="35387"/>
                    <a:pt x="36668" y="34481"/>
                  </a:cubicBezTo>
                  <a:cubicBezTo>
                    <a:pt x="39546" y="30224"/>
                    <a:pt x="42134" y="25775"/>
                    <a:pt x="44416" y="21168"/>
                  </a:cubicBezTo>
                  <a:cubicBezTo>
                    <a:pt x="46735" y="16493"/>
                    <a:pt x="48756" y="11671"/>
                    <a:pt x="50460" y="6737"/>
                  </a:cubicBezTo>
                  <a:cubicBezTo>
                    <a:pt x="50460" y="6338"/>
                    <a:pt x="50700" y="5965"/>
                    <a:pt x="50833" y="5592"/>
                  </a:cubicBezTo>
                  <a:cubicBezTo>
                    <a:pt x="51589" y="3371"/>
                    <a:pt x="52825" y="1343"/>
                    <a:pt x="54454" y="-346"/>
                  </a:cubicBezTo>
                  <a:cubicBezTo>
                    <a:pt x="35701" y="1822"/>
                    <a:pt x="17545" y="7600"/>
                    <a:pt x="989" y="16669"/>
                  </a:cubicBezTo>
                </a:path>
              </a:pathLst>
            </a:custGeom>
            <a:solidFill>
              <a:srgbClr val="00A652"/>
            </a:solidFill>
            <a:ln w="2661" cap="flat">
              <a:noFill/>
              <a:prstDash val="solid"/>
              <a:miter/>
            </a:ln>
          </p:spPr>
          <p:txBody>
            <a:bodyPr rtlCol="0" anchor="ctr"/>
            <a:lstStyle/>
            <a:p>
              <a:endParaRPr lang="pl-PL"/>
            </a:p>
          </p:txBody>
        </p:sp>
        <p:sp>
          <p:nvSpPr>
            <p:cNvPr id="100" name="Freeform: Shape 99">
              <a:extLst>
                <a:ext uri="{FF2B5EF4-FFF2-40B4-BE49-F238E27FC236}">
                  <a16:creationId xmlns:a16="http://schemas.microsoft.com/office/drawing/2014/main" id="{8C967151-75F9-42AC-A890-3A23BC415681}"/>
                </a:ext>
              </a:extLst>
            </p:cNvPr>
            <p:cNvSpPr/>
            <p:nvPr/>
          </p:nvSpPr>
          <p:spPr>
            <a:xfrm>
              <a:off x="11480833" y="6736694"/>
              <a:ext cx="17385" cy="17249"/>
            </a:xfrm>
            <a:custGeom>
              <a:avLst/>
              <a:gdLst>
                <a:gd name="connsiteX0" fmla="*/ 20239 w 30806"/>
                <a:gd name="connsiteY0" fmla="*/ 3409 h 30566"/>
                <a:gd name="connsiteX1" fmla="*/ 989 w 30806"/>
                <a:gd name="connsiteY1" fmla="*/ 11397 h 30566"/>
                <a:gd name="connsiteX2" fmla="*/ 989 w 30806"/>
                <a:gd name="connsiteY2" fmla="*/ 11636 h 30566"/>
                <a:gd name="connsiteX3" fmla="*/ 989 w 30806"/>
                <a:gd name="connsiteY3" fmla="*/ 13154 h 30566"/>
                <a:gd name="connsiteX4" fmla="*/ 989 w 30806"/>
                <a:gd name="connsiteY4" fmla="*/ 13314 h 30566"/>
                <a:gd name="connsiteX5" fmla="*/ 1122 w 30806"/>
                <a:gd name="connsiteY5" fmla="*/ 15550 h 30566"/>
                <a:gd name="connsiteX6" fmla="*/ 1122 w 30806"/>
                <a:gd name="connsiteY6" fmla="*/ 16029 h 30566"/>
                <a:gd name="connsiteX7" fmla="*/ 1122 w 30806"/>
                <a:gd name="connsiteY7" fmla="*/ 16029 h 30566"/>
                <a:gd name="connsiteX8" fmla="*/ 1122 w 30806"/>
                <a:gd name="connsiteY8" fmla="*/ 16269 h 30566"/>
                <a:gd name="connsiteX9" fmla="*/ 1122 w 30806"/>
                <a:gd name="connsiteY9" fmla="*/ 18186 h 30566"/>
                <a:gd name="connsiteX10" fmla="*/ 1122 w 30806"/>
                <a:gd name="connsiteY10" fmla="*/ 19731 h 30566"/>
                <a:gd name="connsiteX11" fmla="*/ 1122 w 30806"/>
                <a:gd name="connsiteY11" fmla="*/ 19917 h 30566"/>
                <a:gd name="connsiteX12" fmla="*/ 1122 w 30806"/>
                <a:gd name="connsiteY12" fmla="*/ 21674 h 30566"/>
                <a:gd name="connsiteX13" fmla="*/ 1122 w 30806"/>
                <a:gd name="connsiteY13" fmla="*/ 23219 h 30566"/>
                <a:gd name="connsiteX14" fmla="*/ 1122 w 30806"/>
                <a:gd name="connsiteY14" fmla="*/ 23538 h 30566"/>
                <a:gd name="connsiteX15" fmla="*/ 1122 w 30806"/>
                <a:gd name="connsiteY15" fmla="*/ 23538 h 30566"/>
                <a:gd name="connsiteX16" fmla="*/ 1122 w 30806"/>
                <a:gd name="connsiteY16" fmla="*/ 24710 h 30566"/>
                <a:gd name="connsiteX17" fmla="*/ 1122 w 30806"/>
                <a:gd name="connsiteY17" fmla="*/ 26174 h 30566"/>
                <a:gd name="connsiteX18" fmla="*/ 1122 w 30806"/>
                <a:gd name="connsiteY18" fmla="*/ 26174 h 30566"/>
                <a:gd name="connsiteX19" fmla="*/ 1122 w 30806"/>
                <a:gd name="connsiteY19" fmla="*/ 26307 h 30566"/>
                <a:gd name="connsiteX20" fmla="*/ 1122 w 30806"/>
                <a:gd name="connsiteY20" fmla="*/ 27266 h 30566"/>
                <a:gd name="connsiteX21" fmla="*/ 1122 w 30806"/>
                <a:gd name="connsiteY21" fmla="*/ 29023 h 30566"/>
                <a:gd name="connsiteX22" fmla="*/ 1122 w 30806"/>
                <a:gd name="connsiteY22" fmla="*/ 30221 h 30566"/>
                <a:gd name="connsiteX23" fmla="*/ 1122 w 30806"/>
                <a:gd name="connsiteY23" fmla="*/ 30221 h 30566"/>
                <a:gd name="connsiteX24" fmla="*/ 2852 w 30806"/>
                <a:gd name="connsiteY24" fmla="*/ 29050 h 30566"/>
                <a:gd name="connsiteX25" fmla="*/ 12172 w 30806"/>
                <a:gd name="connsiteY25" fmla="*/ 22020 h 30566"/>
                <a:gd name="connsiteX26" fmla="*/ 27988 w 30806"/>
                <a:gd name="connsiteY26" fmla="*/ 5060 h 30566"/>
                <a:gd name="connsiteX27" fmla="*/ 29345 w 30806"/>
                <a:gd name="connsiteY27" fmla="*/ 3222 h 30566"/>
                <a:gd name="connsiteX28" fmla="*/ 31795 w 30806"/>
                <a:gd name="connsiteY28" fmla="*/ -346 h 30566"/>
                <a:gd name="connsiteX29" fmla="*/ 19441 w 30806"/>
                <a:gd name="connsiteY29" fmla="*/ 3222 h 30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0806" h="30566">
                  <a:moveTo>
                    <a:pt x="20239" y="3409"/>
                  </a:moveTo>
                  <a:cubicBezTo>
                    <a:pt x="13636" y="5600"/>
                    <a:pt x="7203" y="8268"/>
                    <a:pt x="989" y="11397"/>
                  </a:cubicBezTo>
                  <a:lnTo>
                    <a:pt x="989" y="11636"/>
                  </a:lnTo>
                  <a:cubicBezTo>
                    <a:pt x="989" y="12142"/>
                    <a:pt x="989" y="12648"/>
                    <a:pt x="989" y="13154"/>
                  </a:cubicBezTo>
                  <a:lnTo>
                    <a:pt x="989" y="13314"/>
                  </a:lnTo>
                  <a:cubicBezTo>
                    <a:pt x="989" y="14059"/>
                    <a:pt x="989" y="14805"/>
                    <a:pt x="1122" y="15550"/>
                  </a:cubicBezTo>
                  <a:lnTo>
                    <a:pt x="1122" y="16029"/>
                  </a:lnTo>
                  <a:lnTo>
                    <a:pt x="1122" y="16029"/>
                  </a:lnTo>
                  <a:lnTo>
                    <a:pt x="1122" y="16269"/>
                  </a:lnTo>
                  <a:cubicBezTo>
                    <a:pt x="1122" y="16908"/>
                    <a:pt x="1122" y="17547"/>
                    <a:pt x="1122" y="18186"/>
                  </a:cubicBezTo>
                  <a:cubicBezTo>
                    <a:pt x="1122" y="18825"/>
                    <a:pt x="1122" y="19225"/>
                    <a:pt x="1122" y="19731"/>
                  </a:cubicBezTo>
                  <a:lnTo>
                    <a:pt x="1122" y="19917"/>
                  </a:lnTo>
                  <a:lnTo>
                    <a:pt x="1122" y="21674"/>
                  </a:lnTo>
                  <a:cubicBezTo>
                    <a:pt x="1122" y="22207"/>
                    <a:pt x="1122" y="22713"/>
                    <a:pt x="1122" y="23219"/>
                  </a:cubicBezTo>
                  <a:cubicBezTo>
                    <a:pt x="1135" y="23325"/>
                    <a:pt x="1135" y="23432"/>
                    <a:pt x="1122" y="23538"/>
                  </a:cubicBezTo>
                  <a:lnTo>
                    <a:pt x="1122" y="23538"/>
                  </a:lnTo>
                  <a:cubicBezTo>
                    <a:pt x="1122" y="23937"/>
                    <a:pt x="1122" y="24310"/>
                    <a:pt x="1122" y="24710"/>
                  </a:cubicBezTo>
                  <a:cubicBezTo>
                    <a:pt x="1122" y="25109"/>
                    <a:pt x="1122" y="25695"/>
                    <a:pt x="1122" y="26174"/>
                  </a:cubicBezTo>
                  <a:lnTo>
                    <a:pt x="1122" y="26174"/>
                  </a:lnTo>
                  <a:lnTo>
                    <a:pt x="1122" y="26307"/>
                  </a:lnTo>
                  <a:cubicBezTo>
                    <a:pt x="1122" y="26627"/>
                    <a:pt x="1122" y="26946"/>
                    <a:pt x="1122" y="27266"/>
                  </a:cubicBezTo>
                  <a:cubicBezTo>
                    <a:pt x="1122" y="27585"/>
                    <a:pt x="1122" y="28437"/>
                    <a:pt x="1122" y="29023"/>
                  </a:cubicBezTo>
                  <a:cubicBezTo>
                    <a:pt x="1122" y="29609"/>
                    <a:pt x="1122" y="29822"/>
                    <a:pt x="1122" y="30221"/>
                  </a:cubicBezTo>
                  <a:lnTo>
                    <a:pt x="1122" y="30221"/>
                  </a:lnTo>
                  <a:lnTo>
                    <a:pt x="2852" y="29050"/>
                  </a:lnTo>
                  <a:cubicBezTo>
                    <a:pt x="6090" y="26888"/>
                    <a:pt x="9203" y="24539"/>
                    <a:pt x="12172" y="22020"/>
                  </a:cubicBezTo>
                  <a:cubicBezTo>
                    <a:pt x="18035" y="16948"/>
                    <a:pt x="23336" y="11263"/>
                    <a:pt x="27988" y="5060"/>
                  </a:cubicBezTo>
                  <a:lnTo>
                    <a:pt x="29345" y="3222"/>
                  </a:lnTo>
                  <a:cubicBezTo>
                    <a:pt x="30198" y="2024"/>
                    <a:pt x="31023" y="853"/>
                    <a:pt x="31795" y="-346"/>
                  </a:cubicBezTo>
                  <a:cubicBezTo>
                    <a:pt x="27615" y="666"/>
                    <a:pt x="23488" y="1864"/>
                    <a:pt x="19441" y="3222"/>
                  </a:cubicBezTo>
                </a:path>
              </a:pathLst>
            </a:custGeom>
            <a:solidFill>
              <a:srgbClr val="8FD942"/>
            </a:solidFill>
            <a:ln w="2661" cap="flat">
              <a:noFill/>
              <a:prstDash val="solid"/>
              <a:miter/>
            </a:ln>
          </p:spPr>
          <p:txBody>
            <a:bodyPr rtlCol="0" anchor="ctr"/>
            <a:lstStyle/>
            <a:p>
              <a:endParaRPr lang="pl-PL"/>
            </a:p>
          </p:txBody>
        </p:sp>
        <p:sp>
          <p:nvSpPr>
            <p:cNvPr id="101" name="Freeform: Shape 100">
              <a:extLst>
                <a:ext uri="{FF2B5EF4-FFF2-40B4-BE49-F238E27FC236}">
                  <a16:creationId xmlns:a16="http://schemas.microsoft.com/office/drawing/2014/main" id="{E35A6A94-3516-4D52-BE97-3CF4ADE6BB00}"/>
                </a:ext>
              </a:extLst>
            </p:cNvPr>
            <p:cNvSpPr/>
            <p:nvPr/>
          </p:nvSpPr>
          <p:spPr>
            <a:xfrm>
              <a:off x="11402788" y="6644225"/>
              <a:ext cx="49180" cy="59563"/>
            </a:xfrm>
            <a:custGeom>
              <a:avLst/>
              <a:gdLst>
                <a:gd name="connsiteX0" fmla="*/ 64918 w 87147"/>
                <a:gd name="connsiteY0" fmla="*/ 17494 h 105546"/>
                <a:gd name="connsiteX1" fmla="*/ 44735 w 87147"/>
                <a:gd name="connsiteY1" fmla="*/ -346 h 105546"/>
                <a:gd name="connsiteX2" fmla="*/ 14302 w 87147"/>
                <a:gd name="connsiteY2" fmla="*/ 29263 h 105546"/>
                <a:gd name="connsiteX3" fmla="*/ 989 w 87147"/>
                <a:gd name="connsiteY3" fmla="*/ 50111 h 105546"/>
                <a:gd name="connsiteX4" fmla="*/ 2160 w 87147"/>
                <a:gd name="connsiteY4" fmla="*/ 51602 h 105546"/>
                <a:gd name="connsiteX5" fmla="*/ 36774 w 87147"/>
                <a:gd name="connsiteY5" fmla="*/ 105200 h 105546"/>
                <a:gd name="connsiteX6" fmla="*/ 80015 w 87147"/>
                <a:gd name="connsiteY6" fmla="*/ 49286 h 105546"/>
                <a:gd name="connsiteX7" fmla="*/ 80894 w 87147"/>
                <a:gd name="connsiteY7" fmla="*/ 48647 h 105546"/>
                <a:gd name="connsiteX8" fmla="*/ 88136 w 87147"/>
                <a:gd name="connsiteY8" fmla="*/ 43641 h 105546"/>
                <a:gd name="connsiteX9" fmla="*/ 64891 w 87147"/>
                <a:gd name="connsiteY9" fmla="*/ 17441 h 105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147" h="105546">
                  <a:moveTo>
                    <a:pt x="64918" y="17494"/>
                  </a:moveTo>
                  <a:cubicBezTo>
                    <a:pt x="58514" y="11192"/>
                    <a:pt x="51778" y="5235"/>
                    <a:pt x="44735" y="-346"/>
                  </a:cubicBezTo>
                  <a:cubicBezTo>
                    <a:pt x="33206" y="7994"/>
                    <a:pt x="22955" y="17968"/>
                    <a:pt x="14302" y="29263"/>
                  </a:cubicBezTo>
                  <a:cubicBezTo>
                    <a:pt x="9269" y="35815"/>
                    <a:pt x="4815" y="42791"/>
                    <a:pt x="989" y="50111"/>
                  </a:cubicBezTo>
                  <a:cubicBezTo>
                    <a:pt x="1388" y="50590"/>
                    <a:pt x="1761" y="51096"/>
                    <a:pt x="2160" y="51602"/>
                  </a:cubicBezTo>
                  <a:cubicBezTo>
                    <a:pt x="15061" y="68552"/>
                    <a:pt x="26632" y="86472"/>
                    <a:pt x="36774" y="105200"/>
                  </a:cubicBezTo>
                  <a:cubicBezTo>
                    <a:pt x="45936" y="83034"/>
                    <a:pt x="60868" y="63728"/>
                    <a:pt x="80015" y="49286"/>
                  </a:cubicBezTo>
                  <a:lnTo>
                    <a:pt x="80894" y="48647"/>
                  </a:lnTo>
                  <a:cubicBezTo>
                    <a:pt x="83263" y="46916"/>
                    <a:pt x="85660" y="45238"/>
                    <a:pt x="88136" y="43641"/>
                  </a:cubicBezTo>
                  <a:cubicBezTo>
                    <a:pt x="81003" y="34380"/>
                    <a:pt x="73236" y="25626"/>
                    <a:pt x="64891" y="17441"/>
                  </a:cubicBezTo>
                </a:path>
              </a:pathLst>
            </a:custGeom>
            <a:solidFill>
              <a:srgbClr val="FAC200"/>
            </a:solidFill>
            <a:ln w="2661" cap="flat">
              <a:noFill/>
              <a:prstDash val="solid"/>
              <a:miter/>
            </a:ln>
          </p:spPr>
          <p:txBody>
            <a:bodyPr rtlCol="0" anchor="ctr"/>
            <a:lstStyle/>
            <a:p>
              <a:endParaRPr lang="pl-PL"/>
            </a:p>
          </p:txBody>
        </p:sp>
        <p:sp>
          <p:nvSpPr>
            <p:cNvPr id="102" name="Freeform: Shape 101">
              <a:extLst>
                <a:ext uri="{FF2B5EF4-FFF2-40B4-BE49-F238E27FC236}">
                  <a16:creationId xmlns:a16="http://schemas.microsoft.com/office/drawing/2014/main" id="{40A3D1A6-D0A6-455D-A982-455CCA4D97A7}"/>
                </a:ext>
              </a:extLst>
            </p:cNvPr>
            <p:cNvSpPr/>
            <p:nvPr/>
          </p:nvSpPr>
          <p:spPr>
            <a:xfrm>
              <a:off x="11393217" y="6700272"/>
              <a:ext cx="51283" cy="56601"/>
            </a:xfrm>
            <a:custGeom>
              <a:avLst/>
              <a:gdLst>
                <a:gd name="connsiteX0" fmla="*/ 90133 w 90874"/>
                <a:gd name="connsiteY0" fmla="*/ 93882 h 100298"/>
                <a:gd name="connsiteX1" fmla="*/ 81613 w 90874"/>
                <a:gd name="connsiteY1" fmla="*/ 68055 h 100298"/>
                <a:gd name="connsiteX2" fmla="*/ 53762 w 90874"/>
                <a:gd name="connsiteY2" fmla="*/ 5909 h 100298"/>
                <a:gd name="connsiteX3" fmla="*/ 53762 w 90874"/>
                <a:gd name="connsiteY3" fmla="*/ 5909 h 100298"/>
                <a:gd name="connsiteX4" fmla="*/ 34165 w 90874"/>
                <a:gd name="connsiteY4" fmla="*/ 1276 h 100298"/>
                <a:gd name="connsiteX5" fmla="*/ 2213 w 90874"/>
                <a:gd name="connsiteY5" fmla="*/ 132 h 100298"/>
                <a:gd name="connsiteX6" fmla="*/ 989 w 90874"/>
                <a:gd name="connsiteY6" fmla="*/ 19089 h 100298"/>
                <a:gd name="connsiteX7" fmla="*/ 9376 w 90874"/>
                <a:gd name="connsiteY7" fmla="*/ 68081 h 100298"/>
                <a:gd name="connsiteX8" fmla="*/ 14888 w 90874"/>
                <a:gd name="connsiteY8" fmla="*/ 81395 h 100298"/>
                <a:gd name="connsiteX9" fmla="*/ 27854 w 90874"/>
                <a:gd name="connsiteY9" fmla="*/ 81182 h 100298"/>
                <a:gd name="connsiteX10" fmla="*/ 80388 w 90874"/>
                <a:gd name="connsiteY10" fmla="*/ 93829 h 100298"/>
                <a:gd name="connsiteX11" fmla="*/ 91864 w 90874"/>
                <a:gd name="connsiteY11" fmla="*/ 99953 h 100298"/>
                <a:gd name="connsiteX12" fmla="*/ 90080 w 90874"/>
                <a:gd name="connsiteY12" fmla="*/ 93829 h 10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874" h="100298">
                  <a:moveTo>
                    <a:pt x="90133" y="93882"/>
                  </a:moveTo>
                  <a:cubicBezTo>
                    <a:pt x="87470" y="85008"/>
                    <a:pt x="84629" y="76397"/>
                    <a:pt x="81613" y="68055"/>
                  </a:cubicBezTo>
                  <a:cubicBezTo>
                    <a:pt x="73918" y="46663"/>
                    <a:pt x="64607" y="25890"/>
                    <a:pt x="53762" y="5909"/>
                  </a:cubicBezTo>
                  <a:lnTo>
                    <a:pt x="53762" y="5909"/>
                  </a:lnTo>
                  <a:cubicBezTo>
                    <a:pt x="47353" y="3883"/>
                    <a:pt x="40803" y="2336"/>
                    <a:pt x="34165" y="1276"/>
                  </a:cubicBezTo>
                  <a:cubicBezTo>
                    <a:pt x="23600" y="-390"/>
                    <a:pt x="12872" y="-774"/>
                    <a:pt x="2213" y="132"/>
                  </a:cubicBezTo>
                  <a:cubicBezTo>
                    <a:pt x="1401" y="6418"/>
                    <a:pt x="991" y="12750"/>
                    <a:pt x="989" y="19089"/>
                  </a:cubicBezTo>
                  <a:cubicBezTo>
                    <a:pt x="973" y="35779"/>
                    <a:pt x="3808" y="52348"/>
                    <a:pt x="9376" y="68081"/>
                  </a:cubicBezTo>
                  <a:cubicBezTo>
                    <a:pt x="10992" y="72627"/>
                    <a:pt x="12829" y="77063"/>
                    <a:pt x="14888" y="81395"/>
                  </a:cubicBezTo>
                  <a:cubicBezTo>
                    <a:pt x="19174" y="81128"/>
                    <a:pt x="23488" y="81048"/>
                    <a:pt x="27854" y="81182"/>
                  </a:cubicBezTo>
                  <a:cubicBezTo>
                    <a:pt x="46046" y="81775"/>
                    <a:pt x="63920" y="86078"/>
                    <a:pt x="80388" y="93829"/>
                  </a:cubicBezTo>
                  <a:cubicBezTo>
                    <a:pt x="84329" y="95605"/>
                    <a:pt x="88155" y="97645"/>
                    <a:pt x="91864" y="99953"/>
                  </a:cubicBezTo>
                  <a:cubicBezTo>
                    <a:pt x="91278" y="97903"/>
                    <a:pt x="90692" y="95853"/>
                    <a:pt x="90080" y="93829"/>
                  </a:cubicBezTo>
                </a:path>
              </a:pathLst>
            </a:custGeom>
            <a:solidFill>
              <a:srgbClr val="FAC200"/>
            </a:solidFill>
            <a:ln w="2661" cap="flat">
              <a:noFill/>
              <a:prstDash val="solid"/>
              <a:miter/>
            </a:ln>
          </p:spPr>
          <p:txBody>
            <a:bodyPr rtlCol="0" anchor="ctr"/>
            <a:lstStyle/>
            <a:p>
              <a:endParaRPr lang="pl-PL"/>
            </a:p>
          </p:txBody>
        </p:sp>
        <p:sp>
          <p:nvSpPr>
            <p:cNvPr id="103" name="Freeform: Shape 102">
              <a:extLst>
                <a:ext uri="{FF2B5EF4-FFF2-40B4-BE49-F238E27FC236}">
                  <a16:creationId xmlns:a16="http://schemas.microsoft.com/office/drawing/2014/main" id="{66A37408-FF55-418C-A7F1-B6DC7D89532D}"/>
                </a:ext>
              </a:extLst>
            </p:cNvPr>
            <p:cNvSpPr/>
            <p:nvPr/>
          </p:nvSpPr>
          <p:spPr>
            <a:xfrm>
              <a:off x="11444530" y="6711466"/>
              <a:ext cx="36834" cy="78871"/>
            </a:xfrm>
            <a:custGeom>
              <a:avLst/>
              <a:gdLst>
                <a:gd name="connsiteX0" fmla="*/ 64785 w 65270"/>
                <a:gd name="connsiteY0" fmla="*/ 76205 h 139760"/>
                <a:gd name="connsiteX1" fmla="*/ 66249 w 65270"/>
                <a:gd name="connsiteY1" fmla="*/ 75246 h 139760"/>
                <a:gd name="connsiteX2" fmla="*/ 66249 w 65270"/>
                <a:gd name="connsiteY2" fmla="*/ 74048 h 139760"/>
                <a:gd name="connsiteX3" fmla="*/ 66249 w 65270"/>
                <a:gd name="connsiteY3" fmla="*/ 72291 h 139760"/>
                <a:gd name="connsiteX4" fmla="*/ 66249 w 65270"/>
                <a:gd name="connsiteY4" fmla="*/ 71332 h 139760"/>
                <a:gd name="connsiteX5" fmla="*/ 66249 w 65270"/>
                <a:gd name="connsiteY5" fmla="*/ 71199 h 139760"/>
                <a:gd name="connsiteX6" fmla="*/ 66249 w 65270"/>
                <a:gd name="connsiteY6" fmla="*/ 71199 h 139760"/>
                <a:gd name="connsiteX7" fmla="*/ 66249 w 65270"/>
                <a:gd name="connsiteY7" fmla="*/ 69734 h 139760"/>
                <a:gd name="connsiteX8" fmla="*/ 66249 w 65270"/>
                <a:gd name="connsiteY8" fmla="*/ 68563 h 139760"/>
                <a:gd name="connsiteX9" fmla="*/ 66249 w 65270"/>
                <a:gd name="connsiteY9" fmla="*/ 68563 h 139760"/>
                <a:gd name="connsiteX10" fmla="*/ 66249 w 65270"/>
                <a:gd name="connsiteY10" fmla="*/ 68243 h 139760"/>
                <a:gd name="connsiteX11" fmla="*/ 66249 w 65270"/>
                <a:gd name="connsiteY11" fmla="*/ 66699 h 139760"/>
                <a:gd name="connsiteX12" fmla="*/ 66249 w 65270"/>
                <a:gd name="connsiteY12" fmla="*/ 64942 h 139760"/>
                <a:gd name="connsiteX13" fmla="*/ 66249 w 65270"/>
                <a:gd name="connsiteY13" fmla="*/ 64755 h 139760"/>
                <a:gd name="connsiteX14" fmla="*/ 66249 w 65270"/>
                <a:gd name="connsiteY14" fmla="*/ 63211 h 139760"/>
                <a:gd name="connsiteX15" fmla="*/ 66249 w 65270"/>
                <a:gd name="connsiteY15" fmla="*/ 61294 h 139760"/>
                <a:gd name="connsiteX16" fmla="*/ 66249 w 65270"/>
                <a:gd name="connsiteY16" fmla="*/ 61054 h 139760"/>
                <a:gd name="connsiteX17" fmla="*/ 66249 w 65270"/>
                <a:gd name="connsiteY17" fmla="*/ 61054 h 139760"/>
                <a:gd name="connsiteX18" fmla="*/ 66249 w 65270"/>
                <a:gd name="connsiteY18" fmla="*/ 60575 h 139760"/>
                <a:gd name="connsiteX19" fmla="*/ 66116 w 65270"/>
                <a:gd name="connsiteY19" fmla="*/ 58338 h 139760"/>
                <a:gd name="connsiteX20" fmla="*/ 66116 w 65270"/>
                <a:gd name="connsiteY20" fmla="*/ 58179 h 139760"/>
                <a:gd name="connsiteX21" fmla="*/ 66116 w 65270"/>
                <a:gd name="connsiteY21" fmla="*/ 56661 h 139760"/>
                <a:gd name="connsiteX22" fmla="*/ 65797 w 65270"/>
                <a:gd name="connsiteY22" fmla="*/ 53333 h 139760"/>
                <a:gd name="connsiteX23" fmla="*/ 65797 w 65270"/>
                <a:gd name="connsiteY23" fmla="*/ 52827 h 139760"/>
                <a:gd name="connsiteX24" fmla="*/ 65797 w 65270"/>
                <a:gd name="connsiteY24" fmla="*/ 51868 h 139760"/>
                <a:gd name="connsiteX25" fmla="*/ 65797 w 65270"/>
                <a:gd name="connsiteY25" fmla="*/ 51442 h 139760"/>
                <a:gd name="connsiteX26" fmla="*/ 65424 w 65270"/>
                <a:gd name="connsiteY26" fmla="*/ 48380 h 139760"/>
                <a:gd name="connsiteX27" fmla="*/ 64971 w 65270"/>
                <a:gd name="connsiteY27" fmla="*/ 44546 h 139760"/>
                <a:gd name="connsiteX28" fmla="*/ 64705 w 65270"/>
                <a:gd name="connsiteY28" fmla="*/ 42762 h 139760"/>
                <a:gd name="connsiteX29" fmla="*/ 64705 w 65270"/>
                <a:gd name="connsiteY29" fmla="*/ 41830 h 139760"/>
                <a:gd name="connsiteX30" fmla="*/ 64386 w 65270"/>
                <a:gd name="connsiteY30" fmla="*/ 39753 h 139760"/>
                <a:gd name="connsiteX31" fmla="*/ 64386 w 65270"/>
                <a:gd name="connsiteY31" fmla="*/ 39753 h 139760"/>
                <a:gd name="connsiteX32" fmla="*/ 63906 w 65270"/>
                <a:gd name="connsiteY32" fmla="*/ 36878 h 139760"/>
                <a:gd name="connsiteX33" fmla="*/ 63906 w 65270"/>
                <a:gd name="connsiteY33" fmla="*/ 36665 h 139760"/>
                <a:gd name="connsiteX34" fmla="*/ 63640 w 65270"/>
                <a:gd name="connsiteY34" fmla="*/ 35094 h 139760"/>
                <a:gd name="connsiteX35" fmla="*/ 63640 w 65270"/>
                <a:gd name="connsiteY35" fmla="*/ 34641 h 139760"/>
                <a:gd name="connsiteX36" fmla="*/ 63640 w 65270"/>
                <a:gd name="connsiteY36" fmla="*/ 33816 h 139760"/>
                <a:gd name="connsiteX37" fmla="*/ 63294 w 65270"/>
                <a:gd name="connsiteY37" fmla="*/ 31979 h 139760"/>
                <a:gd name="connsiteX38" fmla="*/ 63294 w 65270"/>
                <a:gd name="connsiteY38" fmla="*/ 31845 h 139760"/>
                <a:gd name="connsiteX39" fmla="*/ 62815 w 65270"/>
                <a:gd name="connsiteY39" fmla="*/ 29183 h 139760"/>
                <a:gd name="connsiteX40" fmla="*/ 62362 w 65270"/>
                <a:gd name="connsiteY40" fmla="*/ 26973 h 139760"/>
                <a:gd name="connsiteX41" fmla="*/ 62362 w 65270"/>
                <a:gd name="connsiteY41" fmla="*/ 26520 h 139760"/>
                <a:gd name="connsiteX42" fmla="*/ 61377 w 65270"/>
                <a:gd name="connsiteY42" fmla="*/ 22100 h 139760"/>
                <a:gd name="connsiteX43" fmla="*/ 61377 w 65270"/>
                <a:gd name="connsiteY43" fmla="*/ 22100 h 139760"/>
                <a:gd name="connsiteX44" fmla="*/ 60951 w 65270"/>
                <a:gd name="connsiteY44" fmla="*/ 20316 h 139760"/>
                <a:gd name="connsiteX45" fmla="*/ 60951 w 65270"/>
                <a:gd name="connsiteY45" fmla="*/ 20130 h 139760"/>
                <a:gd name="connsiteX46" fmla="*/ 60205 w 65270"/>
                <a:gd name="connsiteY46" fmla="*/ 17015 h 139760"/>
                <a:gd name="connsiteX47" fmla="*/ 60205 w 65270"/>
                <a:gd name="connsiteY47" fmla="*/ 17015 h 139760"/>
                <a:gd name="connsiteX48" fmla="*/ 59753 w 65270"/>
                <a:gd name="connsiteY48" fmla="*/ 15177 h 139760"/>
                <a:gd name="connsiteX49" fmla="*/ 59753 w 65270"/>
                <a:gd name="connsiteY49" fmla="*/ 15177 h 139760"/>
                <a:gd name="connsiteX50" fmla="*/ 58847 w 65270"/>
                <a:gd name="connsiteY50" fmla="*/ 11769 h 139760"/>
                <a:gd name="connsiteX51" fmla="*/ 58421 w 65270"/>
                <a:gd name="connsiteY51" fmla="*/ 10172 h 139760"/>
                <a:gd name="connsiteX52" fmla="*/ 57010 w 65270"/>
                <a:gd name="connsiteY52" fmla="*/ 5326 h 139760"/>
                <a:gd name="connsiteX53" fmla="*/ 57010 w 65270"/>
                <a:gd name="connsiteY53" fmla="*/ 5166 h 139760"/>
                <a:gd name="connsiteX54" fmla="*/ 56691 w 65270"/>
                <a:gd name="connsiteY54" fmla="*/ 4208 h 139760"/>
                <a:gd name="connsiteX55" fmla="*/ 56691 w 65270"/>
                <a:gd name="connsiteY55" fmla="*/ 4074 h 139760"/>
                <a:gd name="connsiteX56" fmla="*/ 55546 w 65270"/>
                <a:gd name="connsiteY56" fmla="*/ 453 h 139760"/>
                <a:gd name="connsiteX57" fmla="*/ 55306 w 65270"/>
                <a:gd name="connsiteY57" fmla="*/ -346 h 139760"/>
                <a:gd name="connsiteX58" fmla="*/ 55306 w 65270"/>
                <a:gd name="connsiteY58" fmla="*/ -346 h 139760"/>
                <a:gd name="connsiteX59" fmla="*/ 32141 w 65270"/>
                <a:gd name="connsiteY59" fmla="*/ 19597 h 139760"/>
                <a:gd name="connsiteX60" fmla="*/ 11293 w 65270"/>
                <a:gd name="connsiteY60" fmla="*/ 48114 h 139760"/>
                <a:gd name="connsiteX61" fmla="*/ 2320 w 65270"/>
                <a:gd name="connsiteY61" fmla="*/ 73941 h 139760"/>
                <a:gd name="connsiteX62" fmla="*/ 989 w 65270"/>
                <a:gd name="connsiteY62" fmla="*/ 80065 h 139760"/>
                <a:gd name="connsiteX63" fmla="*/ 5355 w 65270"/>
                <a:gd name="connsiteY63" fmla="*/ 96467 h 139760"/>
                <a:gd name="connsiteX64" fmla="*/ 6447 w 65270"/>
                <a:gd name="connsiteY64" fmla="*/ 100940 h 139760"/>
                <a:gd name="connsiteX65" fmla="*/ 14142 w 65270"/>
                <a:gd name="connsiteY65" fmla="*/ 139415 h 139760"/>
                <a:gd name="connsiteX66" fmla="*/ 35443 w 65270"/>
                <a:gd name="connsiteY66" fmla="*/ 100940 h 139760"/>
                <a:gd name="connsiteX67" fmla="*/ 64732 w 65270"/>
                <a:gd name="connsiteY67" fmla="*/ 76098 h 13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5270" h="139760">
                  <a:moveTo>
                    <a:pt x="64785" y="76205"/>
                  </a:moveTo>
                  <a:lnTo>
                    <a:pt x="66249" y="75246"/>
                  </a:lnTo>
                  <a:cubicBezTo>
                    <a:pt x="66249" y="74847"/>
                    <a:pt x="66249" y="74447"/>
                    <a:pt x="66249" y="74048"/>
                  </a:cubicBezTo>
                  <a:cubicBezTo>
                    <a:pt x="66249" y="73648"/>
                    <a:pt x="66249" y="72876"/>
                    <a:pt x="66249" y="72291"/>
                  </a:cubicBezTo>
                  <a:cubicBezTo>
                    <a:pt x="66249" y="71705"/>
                    <a:pt x="66249" y="71652"/>
                    <a:pt x="66249" y="71332"/>
                  </a:cubicBezTo>
                  <a:lnTo>
                    <a:pt x="66249" y="71199"/>
                  </a:lnTo>
                  <a:lnTo>
                    <a:pt x="66249" y="71199"/>
                  </a:lnTo>
                  <a:cubicBezTo>
                    <a:pt x="66249" y="70720"/>
                    <a:pt x="66249" y="70214"/>
                    <a:pt x="66249" y="69734"/>
                  </a:cubicBezTo>
                  <a:cubicBezTo>
                    <a:pt x="66249" y="69255"/>
                    <a:pt x="66249" y="68962"/>
                    <a:pt x="66249" y="68563"/>
                  </a:cubicBezTo>
                  <a:lnTo>
                    <a:pt x="66249" y="68563"/>
                  </a:lnTo>
                  <a:cubicBezTo>
                    <a:pt x="66263" y="68456"/>
                    <a:pt x="66263" y="68350"/>
                    <a:pt x="66249" y="68243"/>
                  </a:cubicBezTo>
                  <a:cubicBezTo>
                    <a:pt x="66249" y="67737"/>
                    <a:pt x="66249" y="67232"/>
                    <a:pt x="66249" y="66699"/>
                  </a:cubicBezTo>
                  <a:lnTo>
                    <a:pt x="66249" y="64942"/>
                  </a:lnTo>
                  <a:lnTo>
                    <a:pt x="66249" y="64755"/>
                  </a:lnTo>
                  <a:cubicBezTo>
                    <a:pt x="66249" y="64249"/>
                    <a:pt x="66249" y="63744"/>
                    <a:pt x="66249" y="63211"/>
                  </a:cubicBezTo>
                  <a:cubicBezTo>
                    <a:pt x="66249" y="62679"/>
                    <a:pt x="66249" y="61933"/>
                    <a:pt x="66249" y="61294"/>
                  </a:cubicBezTo>
                  <a:lnTo>
                    <a:pt x="66249" y="61054"/>
                  </a:lnTo>
                  <a:lnTo>
                    <a:pt x="66249" y="61054"/>
                  </a:lnTo>
                  <a:lnTo>
                    <a:pt x="66249" y="60575"/>
                  </a:lnTo>
                  <a:cubicBezTo>
                    <a:pt x="66249" y="59830"/>
                    <a:pt x="66249" y="59084"/>
                    <a:pt x="66116" y="58338"/>
                  </a:cubicBezTo>
                  <a:lnTo>
                    <a:pt x="66116" y="58179"/>
                  </a:lnTo>
                  <a:cubicBezTo>
                    <a:pt x="66116" y="57673"/>
                    <a:pt x="66116" y="57167"/>
                    <a:pt x="66116" y="56661"/>
                  </a:cubicBezTo>
                  <a:cubicBezTo>
                    <a:pt x="66116" y="55543"/>
                    <a:pt x="65930" y="54451"/>
                    <a:pt x="65797" y="53333"/>
                  </a:cubicBezTo>
                  <a:cubicBezTo>
                    <a:pt x="65797" y="53146"/>
                    <a:pt x="65797" y="52987"/>
                    <a:pt x="65797" y="52827"/>
                  </a:cubicBezTo>
                  <a:cubicBezTo>
                    <a:pt x="65797" y="52667"/>
                    <a:pt x="65797" y="52188"/>
                    <a:pt x="65797" y="51868"/>
                  </a:cubicBezTo>
                  <a:lnTo>
                    <a:pt x="65797" y="51442"/>
                  </a:lnTo>
                  <a:cubicBezTo>
                    <a:pt x="65797" y="50430"/>
                    <a:pt x="65557" y="49392"/>
                    <a:pt x="65424" y="48380"/>
                  </a:cubicBezTo>
                  <a:cubicBezTo>
                    <a:pt x="65291" y="47368"/>
                    <a:pt x="65131" y="45718"/>
                    <a:pt x="64971" y="44546"/>
                  </a:cubicBezTo>
                  <a:cubicBezTo>
                    <a:pt x="64971" y="43960"/>
                    <a:pt x="64785" y="43348"/>
                    <a:pt x="64705" y="42762"/>
                  </a:cubicBezTo>
                  <a:cubicBezTo>
                    <a:pt x="64625" y="42176"/>
                    <a:pt x="64705" y="42150"/>
                    <a:pt x="64705" y="41830"/>
                  </a:cubicBezTo>
                  <a:lnTo>
                    <a:pt x="64386" y="39753"/>
                  </a:lnTo>
                  <a:lnTo>
                    <a:pt x="64386" y="39753"/>
                  </a:lnTo>
                  <a:lnTo>
                    <a:pt x="63906" y="36878"/>
                  </a:lnTo>
                  <a:lnTo>
                    <a:pt x="63906" y="36665"/>
                  </a:lnTo>
                  <a:cubicBezTo>
                    <a:pt x="63906" y="36132"/>
                    <a:pt x="63720" y="35600"/>
                    <a:pt x="63640" y="35094"/>
                  </a:cubicBezTo>
                  <a:lnTo>
                    <a:pt x="63640" y="34641"/>
                  </a:lnTo>
                  <a:cubicBezTo>
                    <a:pt x="63640" y="34348"/>
                    <a:pt x="63640" y="34082"/>
                    <a:pt x="63640" y="33816"/>
                  </a:cubicBezTo>
                  <a:cubicBezTo>
                    <a:pt x="63640" y="33550"/>
                    <a:pt x="63400" y="32591"/>
                    <a:pt x="63294" y="31979"/>
                  </a:cubicBezTo>
                  <a:lnTo>
                    <a:pt x="63294" y="31845"/>
                  </a:lnTo>
                  <a:lnTo>
                    <a:pt x="62815" y="29183"/>
                  </a:lnTo>
                  <a:cubicBezTo>
                    <a:pt x="62655" y="28437"/>
                    <a:pt x="62522" y="27718"/>
                    <a:pt x="62362" y="26973"/>
                  </a:cubicBezTo>
                  <a:lnTo>
                    <a:pt x="62362" y="26520"/>
                  </a:lnTo>
                  <a:cubicBezTo>
                    <a:pt x="62042" y="25056"/>
                    <a:pt x="61723" y="23565"/>
                    <a:pt x="61377" y="22100"/>
                  </a:cubicBezTo>
                  <a:lnTo>
                    <a:pt x="61377" y="22100"/>
                  </a:lnTo>
                  <a:cubicBezTo>
                    <a:pt x="61244" y="21515"/>
                    <a:pt x="61084" y="20902"/>
                    <a:pt x="60951" y="20316"/>
                  </a:cubicBezTo>
                  <a:lnTo>
                    <a:pt x="60951" y="20130"/>
                  </a:lnTo>
                  <a:cubicBezTo>
                    <a:pt x="60711" y="19092"/>
                    <a:pt x="60472" y="18053"/>
                    <a:pt x="60205" y="17015"/>
                  </a:cubicBezTo>
                  <a:lnTo>
                    <a:pt x="60205" y="17015"/>
                  </a:lnTo>
                  <a:cubicBezTo>
                    <a:pt x="60046" y="16402"/>
                    <a:pt x="59912" y="15790"/>
                    <a:pt x="59753" y="15177"/>
                  </a:cubicBezTo>
                  <a:lnTo>
                    <a:pt x="59753" y="15177"/>
                  </a:lnTo>
                  <a:cubicBezTo>
                    <a:pt x="59460" y="14033"/>
                    <a:pt x="59140" y="12914"/>
                    <a:pt x="58847" y="11769"/>
                  </a:cubicBezTo>
                  <a:cubicBezTo>
                    <a:pt x="58688" y="11237"/>
                    <a:pt x="58554" y="10704"/>
                    <a:pt x="58421" y="10172"/>
                  </a:cubicBezTo>
                  <a:cubicBezTo>
                    <a:pt x="57969" y="8548"/>
                    <a:pt x="57489" y="6950"/>
                    <a:pt x="57010" y="5326"/>
                  </a:cubicBezTo>
                  <a:lnTo>
                    <a:pt x="57010" y="5166"/>
                  </a:lnTo>
                  <a:lnTo>
                    <a:pt x="56691" y="4208"/>
                  </a:lnTo>
                  <a:lnTo>
                    <a:pt x="56691" y="4074"/>
                  </a:lnTo>
                  <a:cubicBezTo>
                    <a:pt x="56318" y="2876"/>
                    <a:pt x="55945" y="1651"/>
                    <a:pt x="55546" y="453"/>
                  </a:cubicBezTo>
                  <a:lnTo>
                    <a:pt x="55306" y="-346"/>
                  </a:lnTo>
                  <a:lnTo>
                    <a:pt x="55306" y="-346"/>
                  </a:lnTo>
                  <a:cubicBezTo>
                    <a:pt x="46772" y="5297"/>
                    <a:pt x="38990" y="11998"/>
                    <a:pt x="32141" y="19597"/>
                  </a:cubicBezTo>
                  <a:cubicBezTo>
                    <a:pt x="23791" y="27995"/>
                    <a:pt x="16762" y="37610"/>
                    <a:pt x="11293" y="48114"/>
                  </a:cubicBezTo>
                  <a:cubicBezTo>
                    <a:pt x="7430" y="56395"/>
                    <a:pt x="4423" y="65048"/>
                    <a:pt x="2320" y="73941"/>
                  </a:cubicBezTo>
                  <a:cubicBezTo>
                    <a:pt x="1814" y="76071"/>
                    <a:pt x="1362" y="78122"/>
                    <a:pt x="989" y="80065"/>
                  </a:cubicBezTo>
                  <a:cubicBezTo>
                    <a:pt x="2533" y="85391"/>
                    <a:pt x="3971" y="90876"/>
                    <a:pt x="5355" y="96467"/>
                  </a:cubicBezTo>
                  <a:cubicBezTo>
                    <a:pt x="5728" y="97932"/>
                    <a:pt x="6101" y="99449"/>
                    <a:pt x="6447" y="100940"/>
                  </a:cubicBezTo>
                  <a:cubicBezTo>
                    <a:pt x="9376" y="113215"/>
                    <a:pt x="11985" y="126022"/>
                    <a:pt x="14142" y="139415"/>
                  </a:cubicBezTo>
                  <a:cubicBezTo>
                    <a:pt x="18559" y="125279"/>
                    <a:pt x="25807" y="112187"/>
                    <a:pt x="35443" y="100940"/>
                  </a:cubicBezTo>
                  <a:cubicBezTo>
                    <a:pt x="44062" y="91398"/>
                    <a:pt x="53911" y="83045"/>
                    <a:pt x="64732" y="76098"/>
                  </a:cubicBezTo>
                </a:path>
              </a:pathLst>
            </a:custGeom>
            <a:solidFill>
              <a:srgbClr val="FAC200"/>
            </a:solidFill>
            <a:ln w="2661" cap="flat">
              <a:noFill/>
              <a:prstDash val="solid"/>
              <a:miter/>
            </a:ln>
          </p:spPr>
          <p:txBody>
            <a:bodyPr rtlCol="0" anchor="ctr"/>
            <a:lstStyle/>
            <a:p>
              <a:endParaRPr lang="pl-PL"/>
            </a:p>
          </p:txBody>
        </p:sp>
        <p:sp>
          <p:nvSpPr>
            <p:cNvPr id="104" name="Freeform: Shape 103">
              <a:extLst>
                <a:ext uri="{FF2B5EF4-FFF2-40B4-BE49-F238E27FC236}">
                  <a16:creationId xmlns:a16="http://schemas.microsoft.com/office/drawing/2014/main" id="{92DA6AED-C999-4248-8F31-5D2B17612B1F}"/>
                </a:ext>
              </a:extLst>
            </p:cNvPr>
            <p:cNvSpPr/>
            <p:nvPr/>
          </p:nvSpPr>
          <p:spPr>
            <a:xfrm>
              <a:off x="11422998" y="6669063"/>
              <a:ext cx="51268" cy="87781"/>
            </a:xfrm>
            <a:custGeom>
              <a:avLst/>
              <a:gdLst>
                <a:gd name="connsiteX0" fmla="*/ 91837 w 90848"/>
                <a:gd name="connsiteY0" fmla="*/ 74447 h 155549"/>
                <a:gd name="connsiteX1" fmla="*/ 91438 w 90848"/>
                <a:gd name="connsiteY1" fmla="*/ 73276 h 155549"/>
                <a:gd name="connsiteX2" fmla="*/ 90532 w 90848"/>
                <a:gd name="connsiteY2" fmla="*/ 70613 h 155549"/>
                <a:gd name="connsiteX3" fmla="*/ 89787 w 90848"/>
                <a:gd name="connsiteY3" fmla="*/ 68430 h 155549"/>
                <a:gd name="connsiteX4" fmla="*/ 88908 w 90848"/>
                <a:gd name="connsiteY4" fmla="*/ 66060 h 155549"/>
                <a:gd name="connsiteX5" fmla="*/ 88056 w 90848"/>
                <a:gd name="connsiteY5" fmla="*/ 63770 h 155549"/>
                <a:gd name="connsiteX6" fmla="*/ 87737 w 90848"/>
                <a:gd name="connsiteY6" fmla="*/ 62892 h 155549"/>
                <a:gd name="connsiteX7" fmla="*/ 85341 w 90848"/>
                <a:gd name="connsiteY7" fmla="*/ 56874 h 155549"/>
                <a:gd name="connsiteX8" fmla="*/ 84701 w 90848"/>
                <a:gd name="connsiteY8" fmla="*/ 55356 h 155549"/>
                <a:gd name="connsiteX9" fmla="*/ 83477 w 90848"/>
                <a:gd name="connsiteY9" fmla="*/ 52481 h 155549"/>
                <a:gd name="connsiteX10" fmla="*/ 61217 w 90848"/>
                <a:gd name="connsiteY10" fmla="*/ 11956 h 155549"/>
                <a:gd name="connsiteX11" fmla="*/ 52351 w 90848"/>
                <a:gd name="connsiteY11" fmla="*/ -346 h 155549"/>
                <a:gd name="connsiteX12" fmla="*/ 45108 w 90848"/>
                <a:gd name="connsiteY12" fmla="*/ 4660 h 155549"/>
                <a:gd name="connsiteX13" fmla="*/ 44230 w 90848"/>
                <a:gd name="connsiteY13" fmla="*/ 5299 h 155549"/>
                <a:gd name="connsiteX14" fmla="*/ 989 w 90848"/>
                <a:gd name="connsiteY14" fmla="*/ 61214 h 155549"/>
                <a:gd name="connsiteX15" fmla="*/ 989 w 90848"/>
                <a:gd name="connsiteY15" fmla="*/ 61214 h 155549"/>
                <a:gd name="connsiteX16" fmla="*/ 28840 w 90848"/>
                <a:gd name="connsiteY16" fmla="*/ 123253 h 155549"/>
                <a:gd name="connsiteX17" fmla="*/ 37360 w 90848"/>
                <a:gd name="connsiteY17" fmla="*/ 149080 h 155549"/>
                <a:gd name="connsiteX18" fmla="*/ 39144 w 90848"/>
                <a:gd name="connsiteY18" fmla="*/ 155204 h 155549"/>
                <a:gd name="connsiteX19" fmla="*/ 40475 w 90848"/>
                <a:gd name="connsiteY19" fmla="*/ 149080 h 155549"/>
                <a:gd name="connsiteX20" fmla="*/ 49448 w 90848"/>
                <a:gd name="connsiteY20" fmla="*/ 123253 h 155549"/>
                <a:gd name="connsiteX21" fmla="*/ 68646 w 90848"/>
                <a:gd name="connsiteY21" fmla="*/ 94284 h 155549"/>
                <a:gd name="connsiteX22" fmla="*/ 91811 w 90848"/>
                <a:gd name="connsiteY22" fmla="*/ 74341 h 155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0848" h="155549">
                  <a:moveTo>
                    <a:pt x="91837" y="74447"/>
                  </a:moveTo>
                  <a:lnTo>
                    <a:pt x="91438" y="73276"/>
                  </a:lnTo>
                  <a:cubicBezTo>
                    <a:pt x="91145" y="72397"/>
                    <a:pt x="90852" y="71518"/>
                    <a:pt x="90532" y="70613"/>
                  </a:cubicBezTo>
                  <a:lnTo>
                    <a:pt x="89787" y="68430"/>
                  </a:lnTo>
                  <a:lnTo>
                    <a:pt x="88908" y="66060"/>
                  </a:lnTo>
                  <a:cubicBezTo>
                    <a:pt x="88642" y="65288"/>
                    <a:pt x="88349" y="64516"/>
                    <a:pt x="88056" y="63770"/>
                  </a:cubicBezTo>
                  <a:lnTo>
                    <a:pt x="87737" y="62892"/>
                  </a:lnTo>
                  <a:cubicBezTo>
                    <a:pt x="86965" y="60868"/>
                    <a:pt x="86166" y="58871"/>
                    <a:pt x="85341" y="56874"/>
                  </a:cubicBezTo>
                  <a:lnTo>
                    <a:pt x="84701" y="55356"/>
                  </a:lnTo>
                  <a:cubicBezTo>
                    <a:pt x="84302" y="54398"/>
                    <a:pt x="83903" y="53439"/>
                    <a:pt x="83477" y="52481"/>
                  </a:cubicBezTo>
                  <a:cubicBezTo>
                    <a:pt x="77315" y="38318"/>
                    <a:pt x="69863" y="24752"/>
                    <a:pt x="61217" y="11956"/>
                  </a:cubicBezTo>
                  <a:cubicBezTo>
                    <a:pt x="58395" y="7775"/>
                    <a:pt x="55413" y="3675"/>
                    <a:pt x="52351" y="-346"/>
                  </a:cubicBezTo>
                  <a:cubicBezTo>
                    <a:pt x="49874" y="1252"/>
                    <a:pt x="47478" y="2929"/>
                    <a:pt x="45108" y="4660"/>
                  </a:cubicBezTo>
                  <a:lnTo>
                    <a:pt x="44230" y="5299"/>
                  </a:lnTo>
                  <a:cubicBezTo>
                    <a:pt x="25083" y="19741"/>
                    <a:pt x="10151" y="39048"/>
                    <a:pt x="989" y="61214"/>
                  </a:cubicBezTo>
                  <a:lnTo>
                    <a:pt x="989" y="61214"/>
                  </a:lnTo>
                  <a:cubicBezTo>
                    <a:pt x="11823" y="81162"/>
                    <a:pt x="21134" y="101901"/>
                    <a:pt x="28840" y="123253"/>
                  </a:cubicBezTo>
                  <a:cubicBezTo>
                    <a:pt x="31822" y="131534"/>
                    <a:pt x="34698" y="140134"/>
                    <a:pt x="37360" y="149080"/>
                  </a:cubicBezTo>
                  <a:cubicBezTo>
                    <a:pt x="37972" y="151104"/>
                    <a:pt x="38558" y="153154"/>
                    <a:pt x="39144" y="155204"/>
                  </a:cubicBezTo>
                  <a:cubicBezTo>
                    <a:pt x="39517" y="153261"/>
                    <a:pt x="39969" y="151210"/>
                    <a:pt x="40475" y="149080"/>
                  </a:cubicBezTo>
                  <a:cubicBezTo>
                    <a:pt x="42579" y="140187"/>
                    <a:pt x="45585" y="131534"/>
                    <a:pt x="49448" y="123253"/>
                  </a:cubicBezTo>
                  <a:cubicBezTo>
                    <a:pt x="54372" y="112696"/>
                    <a:pt x="60842" y="102932"/>
                    <a:pt x="68646" y="94284"/>
                  </a:cubicBezTo>
                  <a:cubicBezTo>
                    <a:pt x="75494" y="86685"/>
                    <a:pt x="83277" y="79983"/>
                    <a:pt x="91811" y="74341"/>
                  </a:cubicBezTo>
                  <a:close/>
                </a:path>
              </a:pathLst>
            </a:custGeom>
            <a:solidFill>
              <a:srgbClr val="E09C00"/>
            </a:solidFill>
            <a:ln w="2661" cap="flat">
              <a:noFill/>
              <a:prstDash val="solid"/>
              <a:miter/>
            </a:ln>
          </p:spPr>
          <p:txBody>
            <a:bodyPr rtlCol="0" anchor="ctr"/>
            <a:lstStyle/>
            <a:p>
              <a:endParaRPr lang="pl-PL"/>
            </a:p>
          </p:txBody>
        </p:sp>
        <p:sp>
          <p:nvSpPr>
            <p:cNvPr id="105" name="Freeform: Shape 104">
              <a:extLst>
                <a:ext uri="{FF2B5EF4-FFF2-40B4-BE49-F238E27FC236}">
                  <a16:creationId xmlns:a16="http://schemas.microsoft.com/office/drawing/2014/main" id="{44F2DBD2-B65A-4E60-9D9E-EE9A09162169}"/>
                </a:ext>
              </a:extLst>
            </p:cNvPr>
            <p:cNvSpPr/>
            <p:nvPr/>
          </p:nvSpPr>
          <p:spPr>
            <a:xfrm>
              <a:off x="11393940" y="6672699"/>
              <a:ext cx="29090" cy="31088"/>
            </a:xfrm>
            <a:custGeom>
              <a:avLst/>
              <a:gdLst>
                <a:gd name="connsiteX0" fmla="*/ 17790 w 51548"/>
                <a:gd name="connsiteY0" fmla="*/ 1145 h 55089"/>
                <a:gd name="connsiteX1" fmla="*/ 16618 w 51548"/>
                <a:gd name="connsiteY1" fmla="*/ -346 h 55089"/>
                <a:gd name="connsiteX2" fmla="*/ 16272 w 51548"/>
                <a:gd name="connsiteY2" fmla="*/ 293 h 55089"/>
                <a:gd name="connsiteX3" fmla="*/ 989 w 51548"/>
                <a:gd name="connsiteY3" fmla="*/ 48939 h 55089"/>
                <a:gd name="connsiteX4" fmla="*/ 32940 w 51548"/>
                <a:gd name="connsiteY4" fmla="*/ 50111 h 55089"/>
                <a:gd name="connsiteX5" fmla="*/ 52537 w 51548"/>
                <a:gd name="connsiteY5" fmla="*/ 54744 h 55089"/>
                <a:gd name="connsiteX6" fmla="*/ 17923 w 51548"/>
                <a:gd name="connsiteY6" fmla="*/ 1145 h 55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48" h="55089">
                  <a:moveTo>
                    <a:pt x="17790" y="1145"/>
                  </a:moveTo>
                  <a:cubicBezTo>
                    <a:pt x="17390" y="640"/>
                    <a:pt x="17018" y="134"/>
                    <a:pt x="16618" y="-346"/>
                  </a:cubicBezTo>
                  <a:cubicBezTo>
                    <a:pt x="16618" y="-133"/>
                    <a:pt x="16405" y="80"/>
                    <a:pt x="16272" y="293"/>
                  </a:cubicBezTo>
                  <a:cubicBezTo>
                    <a:pt x="8353" y="15484"/>
                    <a:pt x="3180" y="31952"/>
                    <a:pt x="989" y="48939"/>
                  </a:cubicBezTo>
                  <a:cubicBezTo>
                    <a:pt x="11647" y="48055"/>
                    <a:pt x="22375" y="48449"/>
                    <a:pt x="32940" y="50111"/>
                  </a:cubicBezTo>
                  <a:cubicBezTo>
                    <a:pt x="39578" y="51171"/>
                    <a:pt x="46128" y="52718"/>
                    <a:pt x="52537" y="54744"/>
                  </a:cubicBezTo>
                  <a:cubicBezTo>
                    <a:pt x="42395" y="36015"/>
                    <a:pt x="30823" y="18096"/>
                    <a:pt x="17923" y="1145"/>
                  </a:cubicBezTo>
                </a:path>
              </a:pathLst>
            </a:custGeom>
            <a:solidFill>
              <a:srgbClr val="E09C00"/>
            </a:solidFill>
            <a:ln w="2661" cap="flat">
              <a:noFill/>
              <a:prstDash val="solid"/>
              <a:miter/>
            </a:ln>
          </p:spPr>
          <p:txBody>
            <a:bodyPr rtlCol="0" anchor="ctr"/>
            <a:lstStyle/>
            <a:p>
              <a:endParaRPr lang="pl-PL"/>
            </a:p>
          </p:txBody>
        </p:sp>
        <p:sp>
          <p:nvSpPr>
            <p:cNvPr id="106" name="Freeform: Shape 105">
              <a:extLst>
                <a:ext uri="{FF2B5EF4-FFF2-40B4-BE49-F238E27FC236}">
                  <a16:creationId xmlns:a16="http://schemas.microsoft.com/office/drawing/2014/main" id="{500E94FD-5D0A-4ED8-8D5B-A9A0E4792F96}"/>
                </a:ext>
              </a:extLst>
            </p:cNvPr>
            <p:cNvSpPr/>
            <p:nvPr/>
          </p:nvSpPr>
          <p:spPr>
            <a:xfrm>
              <a:off x="11401092" y="6746296"/>
              <a:ext cx="50862" cy="44116"/>
            </a:xfrm>
            <a:custGeom>
              <a:avLst/>
              <a:gdLst>
                <a:gd name="connsiteX0" fmla="*/ 83423 w 90129"/>
                <a:gd name="connsiteY0" fmla="*/ 39327 h 78174"/>
                <a:gd name="connsiteX1" fmla="*/ 82332 w 90129"/>
                <a:gd name="connsiteY1" fmla="*/ 34854 h 78174"/>
                <a:gd name="connsiteX2" fmla="*/ 77965 w 90129"/>
                <a:gd name="connsiteY2" fmla="*/ 18453 h 78174"/>
                <a:gd name="connsiteX3" fmla="*/ 66489 w 90129"/>
                <a:gd name="connsiteY3" fmla="*/ 12328 h 78174"/>
                <a:gd name="connsiteX4" fmla="*/ 13956 w 90129"/>
                <a:gd name="connsiteY4" fmla="*/ -292 h 78174"/>
                <a:gd name="connsiteX5" fmla="*/ 989 w 90129"/>
                <a:gd name="connsiteY5" fmla="*/ -79 h 78174"/>
                <a:gd name="connsiteX6" fmla="*/ 7619 w 90129"/>
                <a:gd name="connsiteY6" fmla="*/ 12355 h 78174"/>
                <a:gd name="connsiteX7" fmla="*/ 28227 w 90129"/>
                <a:gd name="connsiteY7" fmla="*/ 39354 h 78174"/>
                <a:gd name="connsiteX8" fmla="*/ 91118 w 90129"/>
                <a:gd name="connsiteY8" fmla="*/ 77829 h 78174"/>
                <a:gd name="connsiteX9" fmla="*/ 83423 w 90129"/>
                <a:gd name="connsiteY9" fmla="*/ 39354 h 78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129" h="78174">
                  <a:moveTo>
                    <a:pt x="83423" y="39327"/>
                  </a:moveTo>
                  <a:cubicBezTo>
                    <a:pt x="83077" y="37836"/>
                    <a:pt x="82704" y="36319"/>
                    <a:pt x="82332" y="34854"/>
                  </a:cubicBezTo>
                  <a:cubicBezTo>
                    <a:pt x="80947" y="29263"/>
                    <a:pt x="79509" y="23804"/>
                    <a:pt x="77965" y="18453"/>
                  </a:cubicBezTo>
                  <a:cubicBezTo>
                    <a:pt x="74272" y="16235"/>
                    <a:pt x="70448" y="14192"/>
                    <a:pt x="66489" y="12328"/>
                  </a:cubicBezTo>
                  <a:cubicBezTo>
                    <a:pt x="50021" y="4588"/>
                    <a:pt x="32144" y="293"/>
                    <a:pt x="13956" y="-292"/>
                  </a:cubicBezTo>
                  <a:cubicBezTo>
                    <a:pt x="9589" y="-425"/>
                    <a:pt x="5275" y="-292"/>
                    <a:pt x="989" y="-79"/>
                  </a:cubicBezTo>
                  <a:cubicBezTo>
                    <a:pt x="3012" y="4181"/>
                    <a:pt x="5222" y="8327"/>
                    <a:pt x="7619" y="12355"/>
                  </a:cubicBezTo>
                  <a:cubicBezTo>
                    <a:pt x="13418" y="22122"/>
                    <a:pt x="20335" y="31182"/>
                    <a:pt x="28227" y="39354"/>
                  </a:cubicBezTo>
                  <a:cubicBezTo>
                    <a:pt x="45566" y="57332"/>
                    <a:pt x="67216" y="70576"/>
                    <a:pt x="91118" y="77829"/>
                  </a:cubicBezTo>
                  <a:cubicBezTo>
                    <a:pt x="88961" y="64516"/>
                    <a:pt x="86352" y="51629"/>
                    <a:pt x="83423" y="39354"/>
                  </a:cubicBezTo>
                </a:path>
              </a:pathLst>
            </a:custGeom>
            <a:solidFill>
              <a:srgbClr val="E09C00"/>
            </a:solidFill>
            <a:ln w="2661" cap="flat">
              <a:noFill/>
              <a:prstDash val="solid"/>
              <a:miter/>
            </a:ln>
          </p:spPr>
          <p:txBody>
            <a:bodyPr rtlCol="0" anchor="ctr"/>
            <a:lstStyle/>
            <a:p>
              <a:endParaRPr lang="pl-PL"/>
            </a:p>
          </p:txBody>
        </p:sp>
        <p:sp>
          <p:nvSpPr>
            <p:cNvPr id="107" name="Freeform: Shape 106">
              <a:extLst>
                <a:ext uri="{FF2B5EF4-FFF2-40B4-BE49-F238E27FC236}">
                  <a16:creationId xmlns:a16="http://schemas.microsoft.com/office/drawing/2014/main" id="{08B7380E-42F7-4A58-9ACF-0FA1B9C48AD8}"/>
                </a:ext>
              </a:extLst>
            </p:cNvPr>
            <p:cNvSpPr/>
            <p:nvPr/>
          </p:nvSpPr>
          <p:spPr>
            <a:xfrm>
              <a:off x="11451983" y="6691629"/>
              <a:ext cx="106699" cy="102254"/>
            </a:xfrm>
            <a:custGeom>
              <a:avLst/>
              <a:gdLst>
                <a:gd name="connsiteX0" fmla="*/ 189954 w 189072"/>
                <a:gd name="connsiteY0" fmla="*/ 30014 h 181196"/>
                <a:gd name="connsiteX1" fmla="*/ 188463 w 189072"/>
                <a:gd name="connsiteY1" fmla="*/ 13159 h 181196"/>
                <a:gd name="connsiteX2" fmla="*/ 180928 w 189072"/>
                <a:gd name="connsiteY2" fmla="*/ 13639 h 181196"/>
                <a:gd name="connsiteX3" fmla="*/ 171449 w 189072"/>
                <a:gd name="connsiteY3" fmla="*/ 21467 h 181196"/>
                <a:gd name="connsiteX4" fmla="*/ 171449 w 189072"/>
                <a:gd name="connsiteY4" fmla="*/ 21467 h 181196"/>
                <a:gd name="connsiteX5" fmla="*/ 171449 w 189072"/>
                <a:gd name="connsiteY5" fmla="*/ 21467 h 181196"/>
                <a:gd name="connsiteX6" fmla="*/ 169080 w 189072"/>
                <a:gd name="connsiteY6" fmla="*/ 52513 h 181196"/>
                <a:gd name="connsiteX7" fmla="*/ 162370 w 189072"/>
                <a:gd name="connsiteY7" fmla="*/ 81988 h 181196"/>
                <a:gd name="connsiteX8" fmla="*/ 161944 w 189072"/>
                <a:gd name="connsiteY8" fmla="*/ 83373 h 181196"/>
                <a:gd name="connsiteX9" fmla="*/ 151773 w 189072"/>
                <a:gd name="connsiteY9" fmla="*/ 109200 h 181196"/>
                <a:gd name="connsiteX10" fmla="*/ 145169 w 189072"/>
                <a:gd name="connsiteY10" fmla="*/ 120649 h 181196"/>
                <a:gd name="connsiteX11" fmla="*/ 143785 w 189072"/>
                <a:gd name="connsiteY11" fmla="*/ 121395 h 181196"/>
                <a:gd name="connsiteX12" fmla="*/ 142853 w 189072"/>
                <a:gd name="connsiteY12" fmla="*/ 121102 h 181196"/>
                <a:gd name="connsiteX13" fmla="*/ 142400 w 189072"/>
                <a:gd name="connsiteY13" fmla="*/ 118785 h 181196"/>
                <a:gd name="connsiteX14" fmla="*/ 147992 w 189072"/>
                <a:gd name="connsiteY14" fmla="*/ 109200 h 181196"/>
                <a:gd name="connsiteX15" fmla="*/ 158323 w 189072"/>
                <a:gd name="connsiteY15" fmla="*/ 83373 h 181196"/>
                <a:gd name="connsiteX16" fmla="*/ 159042 w 189072"/>
                <a:gd name="connsiteY16" fmla="*/ 81030 h 181196"/>
                <a:gd name="connsiteX17" fmla="*/ 165725 w 189072"/>
                <a:gd name="connsiteY17" fmla="*/ 51315 h 181196"/>
                <a:gd name="connsiteX18" fmla="*/ 168121 w 189072"/>
                <a:gd name="connsiteY18" fmla="*/ 20215 h 181196"/>
                <a:gd name="connsiteX19" fmla="*/ 166763 w 189072"/>
                <a:gd name="connsiteY19" fmla="*/ -340 h 181196"/>
                <a:gd name="connsiteX20" fmla="*/ 166763 w 189072"/>
                <a:gd name="connsiteY20" fmla="*/ -340 h 181196"/>
                <a:gd name="connsiteX21" fmla="*/ 166763 w 189072"/>
                <a:gd name="connsiteY21" fmla="*/ -340 h 181196"/>
                <a:gd name="connsiteX22" fmla="*/ 154062 w 189072"/>
                <a:gd name="connsiteY22" fmla="*/ 2589 h 181196"/>
                <a:gd name="connsiteX23" fmla="*/ 146847 w 189072"/>
                <a:gd name="connsiteY23" fmla="*/ 14544 h 181196"/>
                <a:gd name="connsiteX24" fmla="*/ 146847 w 189072"/>
                <a:gd name="connsiteY24" fmla="*/ 14544 h 181196"/>
                <a:gd name="connsiteX25" fmla="*/ 144371 w 189072"/>
                <a:gd name="connsiteY25" fmla="*/ 46016 h 181196"/>
                <a:gd name="connsiteX26" fmla="*/ 137181 w 189072"/>
                <a:gd name="connsiteY26" fmla="*/ 76636 h 181196"/>
                <a:gd name="connsiteX27" fmla="*/ 134972 w 189072"/>
                <a:gd name="connsiteY27" fmla="*/ 83293 h 181196"/>
                <a:gd name="connsiteX28" fmla="*/ 123070 w 189072"/>
                <a:gd name="connsiteY28" fmla="*/ 109120 h 181196"/>
                <a:gd name="connsiteX29" fmla="*/ 120167 w 189072"/>
                <a:gd name="connsiteY29" fmla="*/ 113700 h 181196"/>
                <a:gd name="connsiteX30" fmla="*/ 118783 w 189072"/>
                <a:gd name="connsiteY30" fmla="*/ 114445 h 181196"/>
                <a:gd name="connsiteX31" fmla="*/ 117851 w 189072"/>
                <a:gd name="connsiteY31" fmla="*/ 114152 h 181196"/>
                <a:gd name="connsiteX32" fmla="*/ 117409 w 189072"/>
                <a:gd name="connsiteY32" fmla="*/ 111860 h 181196"/>
                <a:gd name="connsiteX33" fmla="*/ 117425 w 189072"/>
                <a:gd name="connsiteY33" fmla="*/ 111836 h 181196"/>
                <a:gd name="connsiteX34" fmla="*/ 119156 w 189072"/>
                <a:gd name="connsiteY34" fmla="*/ 109173 h 181196"/>
                <a:gd name="connsiteX35" fmla="*/ 131430 w 189072"/>
                <a:gd name="connsiteY35" fmla="*/ 83346 h 181196"/>
                <a:gd name="connsiteX36" fmla="*/ 133827 w 189072"/>
                <a:gd name="connsiteY36" fmla="*/ 76343 h 181196"/>
                <a:gd name="connsiteX37" fmla="*/ 141069 w 189072"/>
                <a:gd name="connsiteY37" fmla="*/ 45590 h 181196"/>
                <a:gd name="connsiteX38" fmla="*/ 143465 w 189072"/>
                <a:gd name="connsiteY38" fmla="*/ 14038 h 181196"/>
                <a:gd name="connsiteX39" fmla="*/ 143465 w 189072"/>
                <a:gd name="connsiteY39" fmla="*/ 13798 h 181196"/>
                <a:gd name="connsiteX40" fmla="*/ 143465 w 189072"/>
                <a:gd name="connsiteY40" fmla="*/ 13798 h 181196"/>
                <a:gd name="connsiteX41" fmla="*/ 140403 w 189072"/>
                <a:gd name="connsiteY41" fmla="*/ 13585 h 181196"/>
                <a:gd name="connsiteX42" fmla="*/ 128208 w 189072"/>
                <a:gd name="connsiteY42" fmla="*/ 18911 h 181196"/>
                <a:gd name="connsiteX43" fmla="*/ 121978 w 189072"/>
                <a:gd name="connsiteY43" fmla="*/ 36670 h 181196"/>
                <a:gd name="connsiteX44" fmla="*/ 121073 w 189072"/>
                <a:gd name="connsiteY44" fmla="*/ 41809 h 181196"/>
                <a:gd name="connsiteX45" fmla="*/ 120673 w 189072"/>
                <a:gd name="connsiteY45" fmla="*/ 43993 h 181196"/>
                <a:gd name="connsiteX46" fmla="*/ 110901 w 189072"/>
                <a:gd name="connsiteY46" fmla="*/ 75944 h 181196"/>
                <a:gd name="connsiteX47" fmla="*/ 107546 w 189072"/>
                <a:gd name="connsiteY47" fmla="*/ 83453 h 181196"/>
                <a:gd name="connsiteX48" fmla="*/ 93807 w 189072"/>
                <a:gd name="connsiteY48" fmla="*/ 106218 h 181196"/>
                <a:gd name="connsiteX49" fmla="*/ 92476 w 189072"/>
                <a:gd name="connsiteY49" fmla="*/ 106883 h 181196"/>
                <a:gd name="connsiteX50" fmla="*/ 91464 w 189072"/>
                <a:gd name="connsiteY50" fmla="*/ 106564 h 181196"/>
                <a:gd name="connsiteX51" fmla="*/ 91118 w 189072"/>
                <a:gd name="connsiteY51" fmla="*/ 104221 h 181196"/>
                <a:gd name="connsiteX52" fmla="*/ 103792 w 189072"/>
                <a:gd name="connsiteY52" fmla="*/ 83266 h 181196"/>
                <a:gd name="connsiteX53" fmla="*/ 107147 w 189072"/>
                <a:gd name="connsiteY53" fmla="*/ 76024 h 181196"/>
                <a:gd name="connsiteX54" fmla="*/ 117105 w 189072"/>
                <a:gd name="connsiteY54" fmla="*/ 44019 h 181196"/>
                <a:gd name="connsiteX55" fmla="*/ 117691 w 189072"/>
                <a:gd name="connsiteY55" fmla="*/ 41064 h 181196"/>
                <a:gd name="connsiteX56" fmla="*/ 105470 w 189072"/>
                <a:gd name="connsiteY56" fmla="*/ 42235 h 181196"/>
                <a:gd name="connsiteX57" fmla="*/ 101502 w 189072"/>
                <a:gd name="connsiteY57" fmla="*/ 44898 h 181196"/>
                <a:gd name="connsiteX58" fmla="*/ 97881 w 189072"/>
                <a:gd name="connsiteY58" fmla="*/ 50835 h 181196"/>
                <a:gd name="connsiteX59" fmla="*/ 97509 w 189072"/>
                <a:gd name="connsiteY59" fmla="*/ 51980 h 181196"/>
                <a:gd name="connsiteX60" fmla="*/ 91491 w 189072"/>
                <a:gd name="connsiteY60" fmla="*/ 66412 h 181196"/>
                <a:gd name="connsiteX61" fmla="*/ 83716 w 189072"/>
                <a:gd name="connsiteY61" fmla="*/ 79725 h 181196"/>
                <a:gd name="connsiteX62" fmla="*/ 81266 w 189072"/>
                <a:gd name="connsiteY62" fmla="*/ 83293 h 181196"/>
                <a:gd name="connsiteX63" fmla="*/ 79909 w 189072"/>
                <a:gd name="connsiteY63" fmla="*/ 85130 h 181196"/>
                <a:gd name="connsiteX64" fmla="*/ 64093 w 189072"/>
                <a:gd name="connsiteY64" fmla="*/ 102091 h 181196"/>
                <a:gd name="connsiteX65" fmla="*/ 54774 w 189072"/>
                <a:gd name="connsiteY65" fmla="*/ 109120 h 181196"/>
                <a:gd name="connsiteX66" fmla="*/ 53043 w 189072"/>
                <a:gd name="connsiteY66" fmla="*/ 110292 h 181196"/>
                <a:gd name="connsiteX67" fmla="*/ 53043 w 189072"/>
                <a:gd name="connsiteY67" fmla="*/ 110292 h 181196"/>
                <a:gd name="connsiteX68" fmla="*/ 51578 w 189072"/>
                <a:gd name="connsiteY68" fmla="*/ 111250 h 181196"/>
                <a:gd name="connsiteX69" fmla="*/ 22290 w 189072"/>
                <a:gd name="connsiteY69" fmla="*/ 136092 h 181196"/>
                <a:gd name="connsiteX70" fmla="*/ 989 w 189072"/>
                <a:gd name="connsiteY70" fmla="*/ 174567 h 181196"/>
                <a:gd name="connsiteX71" fmla="*/ 1468 w 189072"/>
                <a:gd name="connsiteY71" fmla="*/ 174700 h 181196"/>
                <a:gd name="connsiteX72" fmla="*/ 21065 w 189072"/>
                <a:gd name="connsiteY72" fmla="*/ 179120 h 181196"/>
                <a:gd name="connsiteX73" fmla="*/ 43511 w 189072"/>
                <a:gd name="connsiteY73" fmla="*/ 180851 h 181196"/>
                <a:gd name="connsiteX74" fmla="*/ 43910 w 189072"/>
                <a:gd name="connsiteY74" fmla="*/ 180851 h 181196"/>
                <a:gd name="connsiteX75" fmla="*/ 148924 w 189072"/>
                <a:gd name="connsiteY75" fmla="*/ 136119 h 181196"/>
                <a:gd name="connsiteX76" fmla="*/ 169559 w 189072"/>
                <a:gd name="connsiteY76" fmla="*/ 109120 h 181196"/>
                <a:gd name="connsiteX77" fmla="*/ 179783 w 189072"/>
                <a:gd name="connsiteY77" fmla="*/ 88325 h 181196"/>
                <a:gd name="connsiteX78" fmla="*/ 181674 w 189072"/>
                <a:gd name="connsiteY78" fmla="*/ 83293 h 181196"/>
                <a:gd name="connsiteX79" fmla="*/ 187718 w 189072"/>
                <a:gd name="connsiteY79" fmla="*/ 60527 h 181196"/>
                <a:gd name="connsiteX80" fmla="*/ 190061 w 189072"/>
                <a:gd name="connsiteY80" fmla="*/ 34301 h 181196"/>
                <a:gd name="connsiteX81" fmla="*/ 190061 w 189072"/>
                <a:gd name="connsiteY81" fmla="*/ 29854 h 181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89072" h="181196">
                  <a:moveTo>
                    <a:pt x="189954" y="30014"/>
                  </a:moveTo>
                  <a:cubicBezTo>
                    <a:pt x="189784" y="24372"/>
                    <a:pt x="189286" y="18743"/>
                    <a:pt x="188463" y="13159"/>
                  </a:cubicBezTo>
                  <a:cubicBezTo>
                    <a:pt x="185942" y="12909"/>
                    <a:pt x="183396" y="13072"/>
                    <a:pt x="180928" y="13639"/>
                  </a:cubicBezTo>
                  <a:cubicBezTo>
                    <a:pt x="176713" y="14613"/>
                    <a:pt x="173204" y="17513"/>
                    <a:pt x="171449" y="21467"/>
                  </a:cubicBezTo>
                  <a:lnTo>
                    <a:pt x="171449" y="21467"/>
                  </a:lnTo>
                  <a:lnTo>
                    <a:pt x="171449" y="21467"/>
                  </a:lnTo>
                  <a:cubicBezTo>
                    <a:pt x="171487" y="31862"/>
                    <a:pt x="170693" y="42243"/>
                    <a:pt x="169080" y="52513"/>
                  </a:cubicBezTo>
                  <a:cubicBezTo>
                    <a:pt x="167522" y="62479"/>
                    <a:pt x="165280" y="72328"/>
                    <a:pt x="162370" y="81988"/>
                  </a:cubicBezTo>
                  <a:cubicBezTo>
                    <a:pt x="162210" y="82441"/>
                    <a:pt x="162077" y="82893"/>
                    <a:pt x="161944" y="83373"/>
                  </a:cubicBezTo>
                  <a:cubicBezTo>
                    <a:pt x="159260" y="92244"/>
                    <a:pt x="155860" y="100882"/>
                    <a:pt x="151773" y="109200"/>
                  </a:cubicBezTo>
                  <a:cubicBezTo>
                    <a:pt x="149821" y="113154"/>
                    <a:pt x="147614" y="116980"/>
                    <a:pt x="145169" y="120649"/>
                  </a:cubicBezTo>
                  <a:cubicBezTo>
                    <a:pt x="144860" y="121112"/>
                    <a:pt x="144341" y="121392"/>
                    <a:pt x="143785" y="121395"/>
                  </a:cubicBezTo>
                  <a:cubicBezTo>
                    <a:pt x="143452" y="121387"/>
                    <a:pt x="143130" y="121286"/>
                    <a:pt x="142853" y="121102"/>
                  </a:cubicBezTo>
                  <a:cubicBezTo>
                    <a:pt x="142091" y="120585"/>
                    <a:pt x="141892" y="119552"/>
                    <a:pt x="142400" y="118785"/>
                  </a:cubicBezTo>
                  <a:cubicBezTo>
                    <a:pt x="144458" y="115707"/>
                    <a:pt x="146325" y="112507"/>
                    <a:pt x="147992" y="109200"/>
                  </a:cubicBezTo>
                  <a:cubicBezTo>
                    <a:pt x="152161" y="100898"/>
                    <a:pt x="155617" y="92258"/>
                    <a:pt x="158323" y="83373"/>
                  </a:cubicBezTo>
                  <a:lnTo>
                    <a:pt x="159042" y="81030"/>
                  </a:lnTo>
                  <a:cubicBezTo>
                    <a:pt x="161944" y="71290"/>
                    <a:pt x="164178" y="61361"/>
                    <a:pt x="165725" y="51315"/>
                  </a:cubicBezTo>
                  <a:cubicBezTo>
                    <a:pt x="167306" y="41024"/>
                    <a:pt x="168108" y="30626"/>
                    <a:pt x="168121" y="20215"/>
                  </a:cubicBezTo>
                  <a:cubicBezTo>
                    <a:pt x="168116" y="13341"/>
                    <a:pt x="167663" y="6474"/>
                    <a:pt x="166763" y="-340"/>
                  </a:cubicBezTo>
                  <a:lnTo>
                    <a:pt x="166763" y="-340"/>
                  </a:lnTo>
                  <a:lnTo>
                    <a:pt x="166763" y="-340"/>
                  </a:lnTo>
                  <a:cubicBezTo>
                    <a:pt x="162351" y="-431"/>
                    <a:pt x="157987" y="576"/>
                    <a:pt x="154062" y="2589"/>
                  </a:cubicBezTo>
                  <a:cubicBezTo>
                    <a:pt x="149685" y="4988"/>
                    <a:pt x="146929" y="9552"/>
                    <a:pt x="146847" y="14544"/>
                  </a:cubicBezTo>
                  <a:lnTo>
                    <a:pt x="146847" y="14544"/>
                  </a:lnTo>
                  <a:cubicBezTo>
                    <a:pt x="146868" y="25085"/>
                    <a:pt x="146040" y="35608"/>
                    <a:pt x="144371" y="46016"/>
                  </a:cubicBezTo>
                  <a:cubicBezTo>
                    <a:pt x="142752" y="56390"/>
                    <a:pt x="140347" y="66625"/>
                    <a:pt x="137181" y="76636"/>
                  </a:cubicBezTo>
                  <a:cubicBezTo>
                    <a:pt x="136489" y="78899"/>
                    <a:pt x="135744" y="81109"/>
                    <a:pt x="134972" y="83293"/>
                  </a:cubicBezTo>
                  <a:cubicBezTo>
                    <a:pt x="131840" y="92263"/>
                    <a:pt x="127854" y="100911"/>
                    <a:pt x="123070" y="109120"/>
                  </a:cubicBezTo>
                  <a:cubicBezTo>
                    <a:pt x="122111" y="110744"/>
                    <a:pt x="121153" y="112262"/>
                    <a:pt x="120167" y="113700"/>
                  </a:cubicBezTo>
                  <a:cubicBezTo>
                    <a:pt x="119861" y="114166"/>
                    <a:pt x="119342" y="114448"/>
                    <a:pt x="118783" y="114445"/>
                  </a:cubicBezTo>
                  <a:cubicBezTo>
                    <a:pt x="118450" y="114437"/>
                    <a:pt x="118128" y="114336"/>
                    <a:pt x="117851" y="114152"/>
                  </a:cubicBezTo>
                  <a:cubicBezTo>
                    <a:pt x="117095" y="113641"/>
                    <a:pt x="116898" y="112616"/>
                    <a:pt x="117409" y="111860"/>
                  </a:cubicBezTo>
                  <a:cubicBezTo>
                    <a:pt x="117414" y="111852"/>
                    <a:pt x="117419" y="111844"/>
                    <a:pt x="117425" y="111836"/>
                  </a:cubicBezTo>
                  <a:cubicBezTo>
                    <a:pt x="118011" y="110957"/>
                    <a:pt x="118570" y="110052"/>
                    <a:pt x="119156" y="109173"/>
                  </a:cubicBezTo>
                  <a:cubicBezTo>
                    <a:pt x="124127" y="101010"/>
                    <a:pt x="128240" y="92356"/>
                    <a:pt x="131430" y="83346"/>
                  </a:cubicBezTo>
                  <a:cubicBezTo>
                    <a:pt x="132256" y="81056"/>
                    <a:pt x="133054" y="78713"/>
                    <a:pt x="133827" y="76343"/>
                  </a:cubicBezTo>
                  <a:cubicBezTo>
                    <a:pt x="137027" y="66292"/>
                    <a:pt x="139447" y="56012"/>
                    <a:pt x="141069" y="45590"/>
                  </a:cubicBezTo>
                  <a:cubicBezTo>
                    <a:pt x="142738" y="35158"/>
                    <a:pt x="143540" y="24603"/>
                    <a:pt x="143465" y="14038"/>
                  </a:cubicBezTo>
                  <a:lnTo>
                    <a:pt x="143465" y="13798"/>
                  </a:lnTo>
                  <a:lnTo>
                    <a:pt x="143465" y="13798"/>
                  </a:lnTo>
                  <a:cubicBezTo>
                    <a:pt x="142451" y="13655"/>
                    <a:pt x="141428" y="13583"/>
                    <a:pt x="140403" y="13585"/>
                  </a:cubicBezTo>
                  <a:cubicBezTo>
                    <a:pt x="135741" y="13418"/>
                    <a:pt x="131255" y="15375"/>
                    <a:pt x="128208" y="18911"/>
                  </a:cubicBezTo>
                  <a:cubicBezTo>
                    <a:pt x="124055" y="23890"/>
                    <a:pt x="121978" y="36670"/>
                    <a:pt x="121978" y="36670"/>
                  </a:cubicBezTo>
                  <a:cubicBezTo>
                    <a:pt x="121712" y="38401"/>
                    <a:pt x="121419" y="40105"/>
                    <a:pt x="121073" y="41809"/>
                  </a:cubicBezTo>
                  <a:cubicBezTo>
                    <a:pt x="121073" y="41809"/>
                    <a:pt x="121073" y="42608"/>
                    <a:pt x="120673" y="43993"/>
                  </a:cubicBezTo>
                  <a:cubicBezTo>
                    <a:pt x="118469" y="54936"/>
                    <a:pt x="115196" y="65640"/>
                    <a:pt x="110901" y="75944"/>
                  </a:cubicBezTo>
                  <a:cubicBezTo>
                    <a:pt x="109871" y="78394"/>
                    <a:pt x="108753" y="80896"/>
                    <a:pt x="107546" y="83453"/>
                  </a:cubicBezTo>
                  <a:cubicBezTo>
                    <a:pt x="103744" y="91483"/>
                    <a:pt x="99141" y="99111"/>
                    <a:pt x="93807" y="106218"/>
                  </a:cubicBezTo>
                  <a:cubicBezTo>
                    <a:pt x="93488" y="106633"/>
                    <a:pt x="92998" y="106878"/>
                    <a:pt x="92476" y="106883"/>
                  </a:cubicBezTo>
                  <a:cubicBezTo>
                    <a:pt x="92114" y="106886"/>
                    <a:pt x="91760" y="106774"/>
                    <a:pt x="91464" y="106564"/>
                  </a:cubicBezTo>
                  <a:cubicBezTo>
                    <a:pt x="90724" y="106013"/>
                    <a:pt x="90567" y="104964"/>
                    <a:pt x="91118" y="104221"/>
                  </a:cubicBezTo>
                  <a:cubicBezTo>
                    <a:pt x="95956" y="97626"/>
                    <a:pt x="100198" y="90615"/>
                    <a:pt x="103792" y="83266"/>
                  </a:cubicBezTo>
                  <a:cubicBezTo>
                    <a:pt x="104964" y="80896"/>
                    <a:pt x="106082" y="78473"/>
                    <a:pt x="107147" y="76024"/>
                  </a:cubicBezTo>
                  <a:cubicBezTo>
                    <a:pt x="111572" y="65733"/>
                    <a:pt x="114911" y="55005"/>
                    <a:pt x="117105" y="44019"/>
                  </a:cubicBezTo>
                  <a:cubicBezTo>
                    <a:pt x="117318" y="43034"/>
                    <a:pt x="117505" y="42049"/>
                    <a:pt x="117691" y="41064"/>
                  </a:cubicBezTo>
                  <a:cubicBezTo>
                    <a:pt x="113593" y="40212"/>
                    <a:pt x="109333" y="40619"/>
                    <a:pt x="105470" y="42235"/>
                  </a:cubicBezTo>
                  <a:cubicBezTo>
                    <a:pt x="103995" y="42872"/>
                    <a:pt x="102650" y="43774"/>
                    <a:pt x="101502" y="44898"/>
                  </a:cubicBezTo>
                  <a:cubicBezTo>
                    <a:pt x="99868" y="46583"/>
                    <a:pt x="98632" y="48612"/>
                    <a:pt x="97881" y="50835"/>
                  </a:cubicBezTo>
                  <a:cubicBezTo>
                    <a:pt x="97881" y="51208"/>
                    <a:pt x="97615" y="51581"/>
                    <a:pt x="97509" y="51980"/>
                  </a:cubicBezTo>
                  <a:cubicBezTo>
                    <a:pt x="95812" y="56914"/>
                    <a:pt x="93802" y="61734"/>
                    <a:pt x="91491" y="66412"/>
                  </a:cubicBezTo>
                  <a:cubicBezTo>
                    <a:pt x="89190" y="71013"/>
                    <a:pt x="86594" y="75459"/>
                    <a:pt x="83716" y="79725"/>
                  </a:cubicBezTo>
                  <a:cubicBezTo>
                    <a:pt x="82944" y="80923"/>
                    <a:pt x="82119" y="82095"/>
                    <a:pt x="81266" y="83293"/>
                  </a:cubicBezTo>
                  <a:lnTo>
                    <a:pt x="79909" y="85130"/>
                  </a:lnTo>
                  <a:cubicBezTo>
                    <a:pt x="75257" y="91334"/>
                    <a:pt x="69956" y="97019"/>
                    <a:pt x="64093" y="102091"/>
                  </a:cubicBezTo>
                  <a:cubicBezTo>
                    <a:pt x="61124" y="104610"/>
                    <a:pt x="58011" y="106958"/>
                    <a:pt x="54774" y="109120"/>
                  </a:cubicBezTo>
                  <a:lnTo>
                    <a:pt x="53043" y="110292"/>
                  </a:lnTo>
                  <a:lnTo>
                    <a:pt x="53043" y="110292"/>
                  </a:lnTo>
                  <a:lnTo>
                    <a:pt x="51578" y="111250"/>
                  </a:lnTo>
                  <a:cubicBezTo>
                    <a:pt x="40757" y="118197"/>
                    <a:pt x="30909" y="126550"/>
                    <a:pt x="22290" y="136092"/>
                  </a:cubicBezTo>
                  <a:cubicBezTo>
                    <a:pt x="12654" y="147339"/>
                    <a:pt x="5406" y="160429"/>
                    <a:pt x="989" y="174567"/>
                  </a:cubicBezTo>
                  <a:lnTo>
                    <a:pt x="1468" y="174700"/>
                  </a:lnTo>
                  <a:cubicBezTo>
                    <a:pt x="7888" y="176636"/>
                    <a:pt x="14435" y="178114"/>
                    <a:pt x="21065" y="179120"/>
                  </a:cubicBezTo>
                  <a:cubicBezTo>
                    <a:pt x="28491" y="180278"/>
                    <a:pt x="35994" y="180856"/>
                    <a:pt x="43511" y="180851"/>
                  </a:cubicBezTo>
                  <a:lnTo>
                    <a:pt x="43910" y="180851"/>
                  </a:lnTo>
                  <a:cubicBezTo>
                    <a:pt x="83532" y="180798"/>
                    <a:pt x="121432" y="164652"/>
                    <a:pt x="148924" y="136119"/>
                  </a:cubicBezTo>
                  <a:cubicBezTo>
                    <a:pt x="156824" y="127947"/>
                    <a:pt x="163749" y="118889"/>
                    <a:pt x="169559" y="109120"/>
                  </a:cubicBezTo>
                  <a:cubicBezTo>
                    <a:pt x="173507" y="102466"/>
                    <a:pt x="176926" y="95514"/>
                    <a:pt x="179783" y="88325"/>
                  </a:cubicBezTo>
                  <a:cubicBezTo>
                    <a:pt x="180449" y="86674"/>
                    <a:pt x="181088" y="84970"/>
                    <a:pt x="181674" y="83293"/>
                  </a:cubicBezTo>
                  <a:cubicBezTo>
                    <a:pt x="184304" y="75880"/>
                    <a:pt x="186325" y="68268"/>
                    <a:pt x="187718" y="60527"/>
                  </a:cubicBezTo>
                  <a:cubicBezTo>
                    <a:pt x="189283" y="51874"/>
                    <a:pt x="190066" y="43095"/>
                    <a:pt x="190061" y="34301"/>
                  </a:cubicBezTo>
                  <a:cubicBezTo>
                    <a:pt x="190061" y="32810"/>
                    <a:pt x="190061" y="31318"/>
                    <a:pt x="190061" y="29854"/>
                  </a:cubicBezTo>
                </a:path>
              </a:pathLst>
            </a:custGeom>
            <a:solidFill>
              <a:srgbClr val="143DCF"/>
            </a:solidFill>
            <a:ln w="2661" cap="flat">
              <a:noFill/>
              <a:prstDash val="solid"/>
              <a:miter/>
            </a:ln>
          </p:spPr>
          <p:txBody>
            <a:bodyPr rtlCol="0" anchor="ctr"/>
            <a:lstStyle/>
            <a:p>
              <a:endParaRPr lang="pl-PL"/>
            </a:p>
          </p:txBody>
        </p:sp>
        <p:sp>
          <p:nvSpPr>
            <p:cNvPr id="108" name="Freeform: Shape 107">
              <a:extLst>
                <a:ext uri="{FF2B5EF4-FFF2-40B4-BE49-F238E27FC236}">
                  <a16:creationId xmlns:a16="http://schemas.microsoft.com/office/drawing/2014/main" id="{E56E40D6-71C7-4699-B4EA-42451388A1F9}"/>
                </a:ext>
              </a:extLst>
            </p:cNvPr>
            <p:cNvSpPr/>
            <p:nvPr/>
          </p:nvSpPr>
          <p:spPr>
            <a:xfrm>
              <a:off x="11502581" y="6714997"/>
              <a:ext cx="17090" cy="37099"/>
            </a:xfrm>
            <a:custGeom>
              <a:avLst/>
              <a:gdLst>
                <a:gd name="connsiteX0" fmla="*/ 31273 w 30283"/>
                <a:gd name="connsiteY0" fmla="*/ 400 h 65740"/>
                <a:gd name="connsiteX1" fmla="*/ 28024 w 30283"/>
                <a:gd name="connsiteY1" fmla="*/ -346 h 65740"/>
                <a:gd name="connsiteX2" fmla="*/ 27438 w 30283"/>
                <a:gd name="connsiteY2" fmla="*/ 2610 h 65740"/>
                <a:gd name="connsiteX3" fmla="*/ 17374 w 30283"/>
                <a:gd name="connsiteY3" fmla="*/ 34721 h 65740"/>
                <a:gd name="connsiteX4" fmla="*/ 13992 w 30283"/>
                <a:gd name="connsiteY4" fmla="*/ 41963 h 65740"/>
                <a:gd name="connsiteX5" fmla="*/ 1318 w 30283"/>
                <a:gd name="connsiteY5" fmla="*/ 62732 h 65740"/>
                <a:gd name="connsiteX6" fmla="*/ 1664 w 30283"/>
                <a:gd name="connsiteY6" fmla="*/ 65075 h 65740"/>
                <a:gd name="connsiteX7" fmla="*/ 2650 w 30283"/>
                <a:gd name="connsiteY7" fmla="*/ 65394 h 65740"/>
                <a:gd name="connsiteX8" fmla="*/ 4007 w 30283"/>
                <a:gd name="connsiteY8" fmla="*/ 64729 h 65740"/>
                <a:gd name="connsiteX9" fmla="*/ 17747 w 30283"/>
                <a:gd name="connsiteY9" fmla="*/ 41963 h 65740"/>
                <a:gd name="connsiteX10" fmla="*/ 21101 w 30283"/>
                <a:gd name="connsiteY10" fmla="*/ 34481 h 65740"/>
                <a:gd name="connsiteX11" fmla="*/ 30873 w 30283"/>
                <a:gd name="connsiteY11" fmla="*/ 2530 h 65740"/>
                <a:gd name="connsiteX12" fmla="*/ 31273 w 30283"/>
                <a:gd name="connsiteY12" fmla="*/ 347 h 6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283" h="65740">
                  <a:moveTo>
                    <a:pt x="31273" y="400"/>
                  </a:moveTo>
                  <a:cubicBezTo>
                    <a:pt x="30213" y="62"/>
                    <a:pt x="29126" y="-186"/>
                    <a:pt x="28024" y="-346"/>
                  </a:cubicBezTo>
                  <a:cubicBezTo>
                    <a:pt x="27838" y="640"/>
                    <a:pt x="27652" y="1625"/>
                    <a:pt x="27438" y="2610"/>
                  </a:cubicBezTo>
                  <a:cubicBezTo>
                    <a:pt x="25218" y="13636"/>
                    <a:pt x="21844" y="24398"/>
                    <a:pt x="17374" y="34721"/>
                  </a:cubicBezTo>
                  <a:cubicBezTo>
                    <a:pt x="16309" y="37171"/>
                    <a:pt x="15190" y="39594"/>
                    <a:pt x="13992" y="41963"/>
                  </a:cubicBezTo>
                  <a:cubicBezTo>
                    <a:pt x="10400" y="49254"/>
                    <a:pt x="6159" y="56203"/>
                    <a:pt x="1318" y="62732"/>
                  </a:cubicBezTo>
                  <a:cubicBezTo>
                    <a:pt x="767" y="63475"/>
                    <a:pt x="924" y="64524"/>
                    <a:pt x="1664" y="65075"/>
                  </a:cubicBezTo>
                  <a:cubicBezTo>
                    <a:pt x="1952" y="65283"/>
                    <a:pt x="2295" y="65394"/>
                    <a:pt x="2650" y="65394"/>
                  </a:cubicBezTo>
                  <a:cubicBezTo>
                    <a:pt x="3182" y="65405"/>
                    <a:pt x="3688" y="65157"/>
                    <a:pt x="4007" y="64729"/>
                  </a:cubicBezTo>
                  <a:cubicBezTo>
                    <a:pt x="9341" y="57622"/>
                    <a:pt x="13944" y="49994"/>
                    <a:pt x="17747" y="41963"/>
                  </a:cubicBezTo>
                  <a:cubicBezTo>
                    <a:pt x="18945" y="39301"/>
                    <a:pt x="20063" y="36931"/>
                    <a:pt x="21101" y="34481"/>
                  </a:cubicBezTo>
                  <a:cubicBezTo>
                    <a:pt x="25380" y="24172"/>
                    <a:pt x="28653" y="13471"/>
                    <a:pt x="30873" y="2530"/>
                  </a:cubicBezTo>
                  <a:cubicBezTo>
                    <a:pt x="31140" y="1145"/>
                    <a:pt x="31273" y="347"/>
                    <a:pt x="31273" y="347"/>
                  </a:cubicBezTo>
                </a:path>
              </a:pathLst>
            </a:custGeom>
            <a:solidFill>
              <a:srgbClr val="8FD942"/>
            </a:solidFill>
            <a:ln w="2661" cap="flat">
              <a:noFill/>
              <a:prstDash val="solid"/>
              <a:miter/>
            </a:ln>
          </p:spPr>
          <p:txBody>
            <a:bodyPr rtlCol="0" anchor="ctr"/>
            <a:lstStyle/>
            <a:p>
              <a:endParaRPr lang="pl-PL"/>
            </a:p>
          </p:txBody>
        </p:sp>
        <p:sp>
          <p:nvSpPr>
            <p:cNvPr id="109" name="Freeform: Shape 108">
              <a:extLst>
                <a:ext uri="{FF2B5EF4-FFF2-40B4-BE49-F238E27FC236}">
                  <a16:creationId xmlns:a16="http://schemas.microsoft.com/office/drawing/2014/main" id="{2E99F311-B54F-4C38-8562-F8A0412D5A05}"/>
                </a:ext>
              </a:extLst>
            </p:cNvPr>
            <p:cNvSpPr/>
            <p:nvPr/>
          </p:nvSpPr>
          <p:spPr>
            <a:xfrm>
              <a:off x="11517500" y="6699685"/>
              <a:ext cx="16773" cy="56738"/>
            </a:xfrm>
            <a:custGeom>
              <a:avLst/>
              <a:gdLst>
                <a:gd name="connsiteX0" fmla="*/ 27995 w 29722"/>
                <a:gd name="connsiteY0" fmla="*/ -239 h 100540"/>
                <a:gd name="connsiteX1" fmla="*/ 27542 w 29722"/>
                <a:gd name="connsiteY1" fmla="*/ -239 h 100540"/>
                <a:gd name="connsiteX2" fmla="*/ 27356 w 29722"/>
                <a:gd name="connsiteY2" fmla="*/ -239 h 100540"/>
                <a:gd name="connsiteX3" fmla="*/ 27356 w 29722"/>
                <a:gd name="connsiteY3" fmla="*/ -239 h 100540"/>
                <a:gd name="connsiteX4" fmla="*/ 24959 w 29722"/>
                <a:gd name="connsiteY4" fmla="*/ 31313 h 100540"/>
                <a:gd name="connsiteX5" fmla="*/ 17691 w 29722"/>
                <a:gd name="connsiteY5" fmla="*/ 62093 h 100540"/>
                <a:gd name="connsiteX6" fmla="*/ 15294 w 29722"/>
                <a:gd name="connsiteY6" fmla="*/ 69095 h 100540"/>
                <a:gd name="connsiteX7" fmla="*/ 3020 w 29722"/>
                <a:gd name="connsiteY7" fmla="*/ 94923 h 100540"/>
                <a:gd name="connsiteX8" fmla="*/ 1289 w 29722"/>
                <a:gd name="connsiteY8" fmla="*/ 97585 h 100540"/>
                <a:gd name="connsiteX9" fmla="*/ 1691 w 29722"/>
                <a:gd name="connsiteY9" fmla="*/ 99886 h 100540"/>
                <a:gd name="connsiteX10" fmla="*/ 1715 w 29722"/>
                <a:gd name="connsiteY10" fmla="*/ 99902 h 100540"/>
                <a:gd name="connsiteX11" fmla="*/ 2647 w 29722"/>
                <a:gd name="connsiteY11" fmla="*/ 100195 h 100540"/>
                <a:gd name="connsiteX12" fmla="*/ 4031 w 29722"/>
                <a:gd name="connsiteY12" fmla="*/ 99449 h 100540"/>
                <a:gd name="connsiteX13" fmla="*/ 6933 w 29722"/>
                <a:gd name="connsiteY13" fmla="*/ 94870 h 100540"/>
                <a:gd name="connsiteX14" fmla="*/ 18835 w 29722"/>
                <a:gd name="connsiteY14" fmla="*/ 69042 h 100540"/>
                <a:gd name="connsiteX15" fmla="*/ 21045 w 29722"/>
                <a:gd name="connsiteY15" fmla="*/ 62386 h 100540"/>
                <a:gd name="connsiteX16" fmla="*/ 28234 w 29722"/>
                <a:gd name="connsiteY16" fmla="*/ 31766 h 100540"/>
                <a:gd name="connsiteX17" fmla="*/ 30711 w 29722"/>
                <a:gd name="connsiteY17" fmla="*/ 293 h 100540"/>
                <a:gd name="connsiteX18" fmla="*/ 30711 w 29722"/>
                <a:gd name="connsiteY18" fmla="*/ 293 h 100540"/>
                <a:gd name="connsiteX19" fmla="*/ 30711 w 29722"/>
                <a:gd name="connsiteY19" fmla="*/ 293 h 100540"/>
                <a:gd name="connsiteX20" fmla="*/ 28048 w 29722"/>
                <a:gd name="connsiteY20" fmla="*/ -346 h 100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722" h="100540">
                  <a:moveTo>
                    <a:pt x="27995" y="-239"/>
                  </a:moveTo>
                  <a:lnTo>
                    <a:pt x="27542" y="-239"/>
                  </a:lnTo>
                  <a:lnTo>
                    <a:pt x="27356" y="-239"/>
                  </a:lnTo>
                  <a:lnTo>
                    <a:pt x="27356" y="-239"/>
                  </a:lnTo>
                  <a:cubicBezTo>
                    <a:pt x="27430" y="10326"/>
                    <a:pt x="26629" y="20881"/>
                    <a:pt x="24959" y="31313"/>
                  </a:cubicBezTo>
                  <a:cubicBezTo>
                    <a:pt x="23330" y="41745"/>
                    <a:pt x="20899" y="52033"/>
                    <a:pt x="17691" y="62093"/>
                  </a:cubicBezTo>
                  <a:cubicBezTo>
                    <a:pt x="16918" y="64462"/>
                    <a:pt x="16120" y="66806"/>
                    <a:pt x="15294" y="69095"/>
                  </a:cubicBezTo>
                  <a:cubicBezTo>
                    <a:pt x="12104" y="78106"/>
                    <a:pt x="7991" y="86759"/>
                    <a:pt x="3020" y="94923"/>
                  </a:cubicBezTo>
                  <a:cubicBezTo>
                    <a:pt x="2434" y="95855"/>
                    <a:pt x="1875" y="96760"/>
                    <a:pt x="1289" y="97585"/>
                  </a:cubicBezTo>
                  <a:cubicBezTo>
                    <a:pt x="764" y="98331"/>
                    <a:pt x="945" y="99361"/>
                    <a:pt x="1691" y="99886"/>
                  </a:cubicBezTo>
                  <a:cubicBezTo>
                    <a:pt x="1699" y="99891"/>
                    <a:pt x="1707" y="99897"/>
                    <a:pt x="1715" y="99902"/>
                  </a:cubicBezTo>
                  <a:cubicBezTo>
                    <a:pt x="1992" y="100086"/>
                    <a:pt x="2314" y="100187"/>
                    <a:pt x="2647" y="100195"/>
                  </a:cubicBezTo>
                  <a:cubicBezTo>
                    <a:pt x="3203" y="100195"/>
                    <a:pt x="3725" y="99915"/>
                    <a:pt x="4031" y="99449"/>
                  </a:cubicBezTo>
                  <a:cubicBezTo>
                    <a:pt x="5016" y="98011"/>
                    <a:pt x="5975" y="96494"/>
                    <a:pt x="6933" y="94870"/>
                  </a:cubicBezTo>
                  <a:cubicBezTo>
                    <a:pt x="11718" y="86661"/>
                    <a:pt x="15704" y="78013"/>
                    <a:pt x="18835" y="69042"/>
                  </a:cubicBezTo>
                  <a:cubicBezTo>
                    <a:pt x="19608" y="66859"/>
                    <a:pt x="20327" y="64649"/>
                    <a:pt x="21045" y="62386"/>
                  </a:cubicBezTo>
                  <a:cubicBezTo>
                    <a:pt x="24211" y="52374"/>
                    <a:pt x="26616" y="42139"/>
                    <a:pt x="28234" y="31766"/>
                  </a:cubicBezTo>
                  <a:cubicBezTo>
                    <a:pt x="29904" y="21357"/>
                    <a:pt x="30732" y="10835"/>
                    <a:pt x="30711" y="293"/>
                  </a:cubicBezTo>
                  <a:lnTo>
                    <a:pt x="30711" y="293"/>
                  </a:lnTo>
                  <a:lnTo>
                    <a:pt x="30711" y="293"/>
                  </a:lnTo>
                  <a:cubicBezTo>
                    <a:pt x="29840" y="19"/>
                    <a:pt x="28948" y="-194"/>
                    <a:pt x="28048" y="-346"/>
                  </a:cubicBezTo>
                </a:path>
              </a:pathLst>
            </a:custGeom>
            <a:solidFill>
              <a:srgbClr val="8FD942"/>
            </a:solidFill>
            <a:ln w="2661" cap="flat">
              <a:noFill/>
              <a:prstDash val="solid"/>
              <a:miter/>
            </a:ln>
          </p:spPr>
          <p:txBody>
            <a:bodyPr rtlCol="0" anchor="ctr"/>
            <a:lstStyle/>
            <a:p>
              <a:endParaRPr lang="pl-PL"/>
            </a:p>
          </p:txBody>
        </p:sp>
        <p:sp>
          <p:nvSpPr>
            <p:cNvPr id="110" name="Freeform: Shape 109">
              <a:extLst>
                <a:ext uri="{FF2B5EF4-FFF2-40B4-BE49-F238E27FC236}">
                  <a16:creationId xmlns:a16="http://schemas.microsoft.com/office/drawing/2014/main" id="{2A06CA52-6C50-471B-8623-820E6A29FBA0}"/>
                </a:ext>
              </a:extLst>
            </p:cNvPr>
            <p:cNvSpPr/>
            <p:nvPr/>
          </p:nvSpPr>
          <p:spPr>
            <a:xfrm>
              <a:off x="11531661" y="6691648"/>
              <a:ext cx="16507" cy="68726"/>
            </a:xfrm>
            <a:custGeom>
              <a:avLst/>
              <a:gdLst>
                <a:gd name="connsiteX0" fmla="*/ 30239 w 29251"/>
                <a:gd name="connsiteY0" fmla="*/ 21351 h 121784"/>
                <a:gd name="connsiteX1" fmla="*/ 28934 w 29251"/>
                <a:gd name="connsiteY1" fmla="*/ -296 h 121784"/>
                <a:gd name="connsiteX2" fmla="*/ 25526 w 29251"/>
                <a:gd name="connsiteY2" fmla="*/ -296 h 121784"/>
                <a:gd name="connsiteX3" fmla="*/ 26911 w 29251"/>
                <a:gd name="connsiteY3" fmla="*/ 20313 h 121784"/>
                <a:gd name="connsiteX4" fmla="*/ 24514 w 29251"/>
                <a:gd name="connsiteY4" fmla="*/ 51412 h 121784"/>
                <a:gd name="connsiteX5" fmla="*/ 17911 w 29251"/>
                <a:gd name="connsiteY5" fmla="*/ 81074 h 121784"/>
                <a:gd name="connsiteX6" fmla="*/ 17192 w 29251"/>
                <a:gd name="connsiteY6" fmla="*/ 83417 h 121784"/>
                <a:gd name="connsiteX7" fmla="*/ 6861 w 29251"/>
                <a:gd name="connsiteY7" fmla="*/ 109244 h 121784"/>
                <a:gd name="connsiteX8" fmla="*/ 1270 w 29251"/>
                <a:gd name="connsiteY8" fmla="*/ 118830 h 121784"/>
                <a:gd name="connsiteX9" fmla="*/ 1722 w 29251"/>
                <a:gd name="connsiteY9" fmla="*/ 121146 h 121784"/>
                <a:gd name="connsiteX10" fmla="*/ 2654 w 29251"/>
                <a:gd name="connsiteY10" fmla="*/ 121439 h 121784"/>
                <a:gd name="connsiteX11" fmla="*/ 4039 w 29251"/>
                <a:gd name="connsiteY11" fmla="*/ 120694 h 121784"/>
                <a:gd name="connsiteX12" fmla="*/ 10642 w 29251"/>
                <a:gd name="connsiteY12" fmla="*/ 109244 h 121784"/>
                <a:gd name="connsiteX13" fmla="*/ 20813 w 29251"/>
                <a:gd name="connsiteY13" fmla="*/ 83417 h 121784"/>
                <a:gd name="connsiteX14" fmla="*/ 21239 w 29251"/>
                <a:gd name="connsiteY14" fmla="*/ 82032 h 121784"/>
                <a:gd name="connsiteX15" fmla="*/ 27869 w 29251"/>
                <a:gd name="connsiteY15" fmla="*/ 52557 h 121784"/>
                <a:gd name="connsiteX16" fmla="*/ 30239 w 29251"/>
                <a:gd name="connsiteY16" fmla="*/ 21511 h 121784"/>
                <a:gd name="connsiteX17" fmla="*/ 30239 w 29251"/>
                <a:gd name="connsiteY17" fmla="*/ 21511 h 121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251" h="121784">
                  <a:moveTo>
                    <a:pt x="30239" y="21351"/>
                  </a:moveTo>
                  <a:cubicBezTo>
                    <a:pt x="30207" y="14117"/>
                    <a:pt x="29770" y="6891"/>
                    <a:pt x="28934" y="-296"/>
                  </a:cubicBezTo>
                  <a:cubicBezTo>
                    <a:pt x="27800" y="-362"/>
                    <a:pt x="26660" y="-362"/>
                    <a:pt x="25526" y="-296"/>
                  </a:cubicBezTo>
                  <a:cubicBezTo>
                    <a:pt x="26448" y="6534"/>
                    <a:pt x="26911" y="13419"/>
                    <a:pt x="26911" y="20313"/>
                  </a:cubicBezTo>
                  <a:cubicBezTo>
                    <a:pt x="26898" y="30724"/>
                    <a:pt x="26096" y="41121"/>
                    <a:pt x="24514" y="51412"/>
                  </a:cubicBezTo>
                  <a:cubicBezTo>
                    <a:pt x="22991" y="61437"/>
                    <a:pt x="20784" y="71347"/>
                    <a:pt x="17911" y="81074"/>
                  </a:cubicBezTo>
                  <a:lnTo>
                    <a:pt x="17192" y="83417"/>
                  </a:lnTo>
                  <a:cubicBezTo>
                    <a:pt x="14487" y="92302"/>
                    <a:pt x="11031" y="100942"/>
                    <a:pt x="6861" y="109244"/>
                  </a:cubicBezTo>
                  <a:cubicBezTo>
                    <a:pt x="5189" y="112549"/>
                    <a:pt x="3323" y="115749"/>
                    <a:pt x="1270" y="118830"/>
                  </a:cubicBezTo>
                  <a:cubicBezTo>
                    <a:pt x="761" y="119596"/>
                    <a:pt x="961" y="120630"/>
                    <a:pt x="1722" y="121146"/>
                  </a:cubicBezTo>
                  <a:cubicBezTo>
                    <a:pt x="1999" y="121330"/>
                    <a:pt x="2321" y="121431"/>
                    <a:pt x="2654" y="121439"/>
                  </a:cubicBezTo>
                  <a:cubicBezTo>
                    <a:pt x="3211" y="121436"/>
                    <a:pt x="3730" y="121157"/>
                    <a:pt x="4039" y="120694"/>
                  </a:cubicBezTo>
                  <a:cubicBezTo>
                    <a:pt x="6483" y="117024"/>
                    <a:pt x="8691" y="113198"/>
                    <a:pt x="10642" y="109244"/>
                  </a:cubicBezTo>
                  <a:cubicBezTo>
                    <a:pt x="14729" y="100926"/>
                    <a:pt x="18129" y="92289"/>
                    <a:pt x="20813" y="83417"/>
                  </a:cubicBezTo>
                  <a:cubicBezTo>
                    <a:pt x="20813" y="82938"/>
                    <a:pt x="21080" y="82485"/>
                    <a:pt x="21239" y="82032"/>
                  </a:cubicBezTo>
                  <a:cubicBezTo>
                    <a:pt x="24123" y="72370"/>
                    <a:pt x="26338" y="62523"/>
                    <a:pt x="27869" y="52557"/>
                  </a:cubicBezTo>
                  <a:cubicBezTo>
                    <a:pt x="29483" y="42287"/>
                    <a:pt x="30276" y="31906"/>
                    <a:pt x="30239" y="21511"/>
                  </a:cubicBezTo>
                  <a:lnTo>
                    <a:pt x="30239" y="21511"/>
                  </a:lnTo>
                  <a:close/>
                </a:path>
              </a:pathLst>
            </a:custGeom>
            <a:solidFill>
              <a:srgbClr val="8FD942"/>
            </a:solidFill>
            <a:ln w="2661" cap="flat">
              <a:noFill/>
              <a:prstDash val="solid"/>
              <a:miter/>
            </a:ln>
          </p:spPr>
          <p:txBody>
            <a:bodyPr rtlCol="0" anchor="ctr"/>
            <a:lstStyle/>
            <a:p>
              <a:endParaRPr lang="pl-PL"/>
            </a:p>
          </p:txBody>
        </p:sp>
        <p:sp>
          <p:nvSpPr>
            <p:cNvPr id="111" name="Freeform: Shape 110">
              <a:extLst>
                <a:ext uri="{FF2B5EF4-FFF2-40B4-BE49-F238E27FC236}">
                  <a16:creationId xmlns:a16="http://schemas.microsoft.com/office/drawing/2014/main" id="{741042DA-6116-4840-9FAC-BF04130DD0C7}"/>
                </a:ext>
              </a:extLst>
            </p:cNvPr>
            <p:cNvSpPr/>
            <p:nvPr/>
          </p:nvSpPr>
          <p:spPr>
            <a:xfrm>
              <a:off x="11646242" y="6644465"/>
              <a:ext cx="64654" cy="65032"/>
            </a:xfrm>
            <a:custGeom>
              <a:avLst/>
              <a:gdLst>
                <a:gd name="connsiteX0" fmla="*/ 989 w 114568"/>
                <a:gd name="connsiteY0" fmla="*/ 56475 h 115237"/>
                <a:gd name="connsiteX1" fmla="*/ 60738 w 114568"/>
                <a:gd name="connsiteY1" fmla="*/ 114892 h 115237"/>
                <a:gd name="connsiteX2" fmla="*/ 112233 w 114568"/>
                <a:gd name="connsiteY2" fmla="*/ 83340 h 115237"/>
                <a:gd name="connsiteX3" fmla="*/ 105550 w 114568"/>
                <a:gd name="connsiteY3" fmla="*/ 75219 h 115237"/>
                <a:gd name="connsiteX4" fmla="*/ 87870 w 114568"/>
                <a:gd name="connsiteY4" fmla="*/ 75219 h 115237"/>
                <a:gd name="connsiteX5" fmla="*/ 79057 w 114568"/>
                <a:gd name="connsiteY5" fmla="*/ 80545 h 115237"/>
                <a:gd name="connsiteX6" fmla="*/ 59833 w 114568"/>
                <a:gd name="connsiteY6" fmla="*/ 87361 h 115237"/>
                <a:gd name="connsiteX7" fmla="*/ 37440 w 114568"/>
                <a:gd name="connsiteY7" fmla="*/ 72850 h 115237"/>
                <a:gd name="connsiteX8" fmla="*/ 35523 w 114568"/>
                <a:gd name="connsiteY8" fmla="*/ 66646 h 115237"/>
                <a:gd name="connsiteX9" fmla="*/ 109011 w 114568"/>
                <a:gd name="connsiteY9" fmla="*/ 66646 h 115237"/>
                <a:gd name="connsiteX10" fmla="*/ 115447 w 114568"/>
                <a:gd name="connsiteY10" fmla="*/ 61488 h 115237"/>
                <a:gd name="connsiteX11" fmla="*/ 115481 w 114568"/>
                <a:gd name="connsiteY11" fmla="*/ 60895 h 115237"/>
                <a:gd name="connsiteX12" fmla="*/ 60685 w 114568"/>
                <a:gd name="connsiteY12" fmla="*/ -346 h 115237"/>
                <a:gd name="connsiteX13" fmla="*/ 989 w 114568"/>
                <a:gd name="connsiteY13" fmla="*/ 56368 h 115237"/>
                <a:gd name="connsiteX14" fmla="*/ 59380 w 114568"/>
                <a:gd name="connsiteY14" fmla="*/ 26946 h 115237"/>
                <a:gd name="connsiteX15" fmla="*/ 81533 w 114568"/>
                <a:gd name="connsiteY15" fmla="*/ 46303 h 115237"/>
                <a:gd name="connsiteX16" fmla="*/ 42605 w 114568"/>
                <a:gd name="connsiteY16" fmla="*/ 46303 h 115237"/>
                <a:gd name="connsiteX17" fmla="*/ 35683 w 114568"/>
                <a:gd name="connsiteY17" fmla="*/ 46303 h 115237"/>
                <a:gd name="connsiteX18" fmla="*/ 59380 w 114568"/>
                <a:gd name="connsiteY18" fmla="*/ 26973 h 11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4568" h="115237">
                  <a:moveTo>
                    <a:pt x="989" y="56475"/>
                  </a:moveTo>
                  <a:cubicBezTo>
                    <a:pt x="989" y="91089"/>
                    <a:pt x="27322" y="114892"/>
                    <a:pt x="60738" y="114892"/>
                  </a:cubicBezTo>
                  <a:cubicBezTo>
                    <a:pt x="87364" y="114892"/>
                    <a:pt x="105789" y="101446"/>
                    <a:pt x="112233" y="83340"/>
                  </a:cubicBezTo>
                  <a:cubicBezTo>
                    <a:pt x="113963" y="78415"/>
                    <a:pt x="110742" y="75219"/>
                    <a:pt x="105550" y="75219"/>
                  </a:cubicBezTo>
                  <a:lnTo>
                    <a:pt x="87870" y="75219"/>
                  </a:lnTo>
                  <a:cubicBezTo>
                    <a:pt x="83796" y="75219"/>
                    <a:pt x="81639" y="77350"/>
                    <a:pt x="79057" y="80545"/>
                  </a:cubicBezTo>
                  <a:cubicBezTo>
                    <a:pt x="75808" y="84379"/>
                    <a:pt x="69098" y="87361"/>
                    <a:pt x="59833" y="87361"/>
                  </a:cubicBezTo>
                  <a:cubicBezTo>
                    <a:pt x="50034" y="87806"/>
                    <a:pt x="41037" y="81975"/>
                    <a:pt x="37440" y="72850"/>
                  </a:cubicBezTo>
                  <a:cubicBezTo>
                    <a:pt x="36641" y="70834"/>
                    <a:pt x="35999" y="68760"/>
                    <a:pt x="35523" y="66646"/>
                  </a:cubicBezTo>
                  <a:lnTo>
                    <a:pt x="109011" y="66646"/>
                  </a:lnTo>
                  <a:cubicBezTo>
                    <a:pt x="112212" y="67000"/>
                    <a:pt x="115092" y="64689"/>
                    <a:pt x="115447" y="61488"/>
                  </a:cubicBezTo>
                  <a:cubicBezTo>
                    <a:pt x="115468" y="61291"/>
                    <a:pt x="115479" y="61094"/>
                    <a:pt x="115481" y="60895"/>
                  </a:cubicBezTo>
                  <a:cubicBezTo>
                    <a:pt x="117185" y="22926"/>
                    <a:pt x="89787" y="-346"/>
                    <a:pt x="60685" y="-346"/>
                  </a:cubicBezTo>
                  <a:cubicBezTo>
                    <a:pt x="26070" y="-346"/>
                    <a:pt x="989" y="22233"/>
                    <a:pt x="989" y="56368"/>
                  </a:cubicBezTo>
                  <a:moveTo>
                    <a:pt x="59380" y="26946"/>
                  </a:moveTo>
                  <a:cubicBezTo>
                    <a:pt x="79616" y="26946"/>
                    <a:pt x="81533" y="46303"/>
                    <a:pt x="81533" y="46303"/>
                  </a:cubicBezTo>
                  <a:lnTo>
                    <a:pt x="42605" y="46303"/>
                  </a:lnTo>
                  <a:lnTo>
                    <a:pt x="35683" y="46303"/>
                  </a:lnTo>
                  <a:cubicBezTo>
                    <a:pt x="35683" y="46303"/>
                    <a:pt x="39171" y="26973"/>
                    <a:pt x="59380" y="26973"/>
                  </a:cubicBezTo>
                </a:path>
              </a:pathLst>
            </a:custGeom>
            <a:solidFill>
              <a:srgbClr val="FFFFFF"/>
            </a:solidFill>
            <a:ln w="2661" cap="flat">
              <a:noFill/>
              <a:prstDash val="solid"/>
              <a:miter/>
            </a:ln>
          </p:spPr>
          <p:txBody>
            <a:bodyPr rtlCol="0" anchor="ctr"/>
            <a:lstStyle/>
            <a:p>
              <a:endParaRPr lang="pl-PL"/>
            </a:p>
          </p:txBody>
        </p:sp>
        <p:sp>
          <p:nvSpPr>
            <p:cNvPr id="112" name="Freeform: Shape 111">
              <a:extLst>
                <a:ext uri="{FF2B5EF4-FFF2-40B4-BE49-F238E27FC236}">
                  <a16:creationId xmlns:a16="http://schemas.microsoft.com/office/drawing/2014/main" id="{38DC6092-1698-4552-BBC6-FA49EB7ADF8A}"/>
                </a:ext>
              </a:extLst>
            </p:cNvPr>
            <p:cNvSpPr/>
            <p:nvPr/>
          </p:nvSpPr>
          <p:spPr>
            <a:xfrm>
              <a:off x="11719462" y="6644495"/>
              <a:ext cx="64897" cy="89810"/>
            </a:xfrm>
            <a:custGeom>
              <a:avLst/>
              <a:gdLst>
                <a:gd name="connsiteX0" fmla="*/ 115987 w 114998"/>
                <a:gd name="connsiteY0" fmla="*/ 57140 h 159144"/>
                <a:gd name="connsiteX1" fmla="*/ 58501 w 114998"/>
                <a:gd name="connsiteY1" fmla="*/ -346 h 159144"/>
                <a:gd name="connsiteX2" fmla="*/ 58475 w 114998"/>
                <a:gd name="connsiteY2" fmla="*/ -346 h 159144"/>
                <a:gd name="connsiteX3" fmla="*/ 29958 w 114998"/>
                <a:gd name="connsiteY3" fmla="*/ 7269 h 159144"/>
                <a:gd name="connsiteX4" fmla="*/ 23142 w 114998"/>
                <a:gd name="connsiteY4" fmla="*/ 1784 h 159144"/>
                <a:gd name="connsiteX5" fmla="*/ 8178 w 114998"/>
                <a:gd name="connsiteY5" fmla="*/ 1784 h 159144"/>
                <a:gd name="connsiteX6" fmla="*/ 989 w 114998"/>
                <a:gd name="connsiteY6" fmla="*/ 8947 h 159144"/>
                <a:gd name="connsiteX7" fmla="*/ 989 w 114998"/>
                <a:gd name="connsiteY7" fmla="*/ 57114 h 159144"/>
                <a:gd name="connsiteX8" fmla="*/ 989 w 114998"/>
                <a:gd name="connsiteY8" fmla="*/ 57114 h 159144"/>
                <a:gd name="connsiteX9" fmla="*/ 989 w 114998"/>
                <a:gd name="connsiteY9" fmla="*/ 151610 h 159144"/>
                <a:gd name="connsiteX10" fmla="*/ 8178 w 114998"/>
                <a:gd name="connsiteY10" fmla="*/ 158799 h 159144"/>
                <a:gd name="connsiteX11" fmla="*/ 23142 w 114998"/>
                <a:gd name="connsiteY11" fmla="*/ 158799 h 159144"/>
                <a:gd name="connsiteX12" fmla="*/ 30304 w 114998"/>
                <a:gd name="connsiteY12" fmla="*/ 151610 h 159144"/>
                <a:gd name="connsiteX13" fmla="*/ 30304 w 114998"/>
                <a:gd name="connsiteY13" fmla="*/ 107197 h 159144"/>
                <a:gd name="connsiteX14" fmla="*/ 58475 w 114998"/>
                <a:gd name="connsiteY14" fmla="*/ 114599 h 159144"/>
                <a:gd name="connsiteX15" fmla="*/ 115934 w 114998"/>
                <a:gd name="connsiteY15" fmla="*/ 57140 h 159144"/>
                <a:gd name="connsiteX16" fmla="*/ 86432 w 114998"/>
                <a:gd name="connsiteY16" fmla="*/ 57140 h 159144"/>
                <a:gd name="connsiteX17" fmla="*/ 58475 w 114998"/>
                <a:gd name="connsiteY17" fmla="*/ 85098 h 159144"/>
                <a:gd name="connsiteX18" fmla="*/ 30491 w 114998"/>
                <a:gd name="connsiteY18" fmla="*/ 57140 h 159144"/>
                <a:gd name="connsiteX19" fmla="*/ 58475 w 114998"/>
                <a:gd name="connsiteY19" fmla="*/ 29156 h 159144"/>
                <a:gd name="connsiteX20" fmla="*/ 86432 w 114998"/>
                <a:gd name="connsiteY20" fmla="*/ 57140 h 159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998" h="159144">
                  <a:moveTo>
                    <a:pt x="115987" y="57140"/>
                  </a:moveTo>
                  <a:cubicBezTo>
                    <a:pt x="115987" y="25391"/>
                    <a:pt x="90250" y="-346"/>
                    <a:pt x="58501" y="-346"/>
                  </a:cubicBezTo>
                  <a:cubicBezTo>
                    <a:pt x="58493" y="-346"/>
                    <a:pt x="58483" y="-346"/>
                    <a:pt x="58475" y="-346"/>
                  </a:cubicBezTo>
                  <a:cubicBezTo>
                    <a:pt x="48466" y="-346"/>
                    <a:pt x="38633" y="2280"/>
                    <a:pt x="29958" y="7269"/>
                  </a:cubicBezTo>
                  <a:cubicBezTo>
                    <a:pt x="29220" y="4088"/>
                    <a:pt x="26406" y="1824"/>
                    <a:pt x="23142" y="1784"/>
                  </a:cubicBezTo>
                  <a:lnTo>
                    <a:pt x="8178" y="1784"/>
                  </a:lnTo>
                  <a:cubicBezTo>
                    <a:pt x="4224" y="1798"/>
                    <a:pt x="1018" y="4993"/>
                    <a:pt x="989" y="8947"/>
                  </a:cubicBezTo>
                  <a:lnTo>
                    <a:pt x="989" y="57114"/>
                  </a:lnTo>
                  <a:lnTo>
                    <a:pt x="989" y="57114"/>
                  </a:lnTo>
                  <a:lnTo>
                    <a:pt x="989" y="151610"/>
                  </a:lnTo>
                  <a:cubicBezTo>
                    <a:pt x="1002" y="155574"/>
                    <a:pt x="4213" y="158786"/>
                    <a:pt x="8178" y="158799"/>
                  </a:cubicBezTo>
                  <a:lnTo>
                    <a:pt x="23142" y="158799"/>
                  </a:lnTo>
                  <a:cubicBezTo>
                    <a:pt x="27096" y="158770"/>
                    <a:pt x="30291" y="155564"/>
                    <a:pt x="30304" y="151610"/>
                  </a:cubicBezTo>
                  <a:lnTo>
                    <a:pt x="30304" y="107197"/>
                  </a:lnTo>
                  <a:cubicBezTo>
                    <a:pt x="38899" y="112051"/>
                    <a:pt x="48604" y="114602"/>
                    <a:pt x="58475" y="114599"/>
                  </a:cubicBezTo>
                  <a:cubicBezTo>
                    <a:pt x="90208" y="114599"/>
                    <a:pt x="115934" y="88873"/>
                    <a:pt x="115934" y="57140"/>
                  </a:cubicBezTo>
                  <a:moveTo>
                    <a:pt x="86432" y="57140"/>
                  </a:moveTo>
                  <a:cubicBezTo>
                    <a:pt x="86432" y="72581"/>
                    <a:pt x="73915" y="85098"/>
                    <a:pt x="58475" y="85098"/>
                  </a:cubicBezTo>
                  <a:cubicBezTo>
                    <a:pt x="43029" y="85098"/>
                    <a:pt x="30506" y="72586"/>
                    <a:pt x="30491" y="57140"/>
                  </a:cubicBezTo>
                  <a:cubicBezTo>
                    <a:pt x="30504" y="41692"/>
                    <a:pt x="43026" y="29172"/>
                    <a:pt x="58475" y="29156"/>
                  </a:cubicBezTo>
                  <a:cubicBezTo>
                    <a:pt x="73921" y="29172"/>
                    <a:pt x="86432" y="41694"/>
                    <a:pt x="86432" y="57140"/>
                  </a:cubicBezTo>
                </a:path>
              </a:pathLst>
            </a:custGeom>
            <a:solidFill>
              <a:srgbClr val="FFFFFF"/>
            </a:solidFill>
            <a:ln w="2661" cap="flat">
              <a:noFill/>
              <a:prstDash val="solid"/>
              <a:miter/>
            </a:ln>
          </p:spPr>
          <p:txBody>
            <a:bodyPr rtlCol="0" anchor="ctr"/>
            <a:lstStyle/>
            <a:p>
              <a:endParaRPr lang="pl-PL"/>
            </a:p>
          </p:txBody>
        </p:sp>
        <p:sp>
          <p:nvSpPr>
            <p:cNvPr id="113" name="Freeform: Shape 112">
              <a:extLst>
                <a:ext uri="{FF2B5EF4-FFF2-40B4-BE49-F238E27FC236}">
                  <a16:creationId xmlns:a16="http://schemas.microsoft.com/office/drawing/2014/main" id="{B63C94D3-329C-479D-8D78-27EA5793CAC6}"/>
                </a:ext>
              </a:extLst>
            </p:cNvPr>
            <p:cNvSpPr/>
            <p:nvPr/>
          </p:nvSpPr>
          <p:spPr>
            <a:xfrm>
              <a:off x="11792669" y="6644495"/>
              <a:ext cx="64867" cy="64867"/>
            </a:xfrm>
            <a:custGeom>
              <a:avLst/>
              <a:gdLst>
                <a:gd name="connsiteX0" fmla="*/ 115934 w 114945"/>
                <a:gd name="connsiteY0" fmla="*/ 64596 h 114945"/>
                <a:gd name="connsiteX1" fmla="*/ 115934 w 114945"/>
                <a:gd name="connsiteY1" fmla="*/ 49632 h 114945"/>
                <a:gd name="connsiteX2" fmla="*/ 108745 w 114945"/>
                <a:gd name="connsiteY2" fmla="*/ 42443 h 114945"/>
                <a:gd name="connsiteX3" fmla="*/ 73119 w 114945"/>
                <a:gd name="connsiteY3" fmla="*/ 42443 h 114945"/>
                <a:gd name="connsiteX4" fmla="*/ 73119 w 114945"/>
                <a:gd name="connsiteY4" fmla="*/ 6843 h 114945"/>
                <a:gd name="connsiteX5" fmla="*/ 65930 w 114945"/>
                <a:gd name="connsiteY5" fmla="*/ -346 h 114945"/>
                <a:gd name="connsiteX6" fmla="*/ 50993 w 114945"/>
                <a:gd name="connsiteY6" fmla="*/ -346 h 114945"/>
                <a:gd name="connsiteX7" fmla="*/ 43804 w 114945"/>
                <a:gd name="connsiteY7" fmla="*/ 6843 h 114945"/>
                <a:gd name="connsiteX8" fmla="*/ 43804 w 114945"/>
                <a:gd name="connsiteY8" fmla="*/ 42469 h 114945"/>
                <a:gd name="connsiteX9" fmla="*/ 8178 w 114945"/>
                <a:gd name="connsiteY9" fmla="*/ 42469 h 114945"/>
                <a:gd name="connsiteX10" fmla="*/ 989 w 114945"/>
                <a:gd name="connsiteY10" fmla="*/ 49658 h 114945"/>
                <a:gd name="connsiteX11" fmla="*/ 989 w 114945"/>
                <a:gd name="connsiteY11" fmla="*/ 64596 h 114945"/>
                <a:gd name="connsiteX12" fmla="*/ 8178 w 114945"/>
                <a:gd name="connsiteY12" fmla="*/ 71785 h 114945"/>
                <a:gd name="connsiteX13" fmla="*/ 43804 w 114945"/>
                <a:gd name="connsiteY13" fmla="*/ 71785 h 114945"/>
                <a:gd name="connsiteX14" fmla="*/ 43804 w 114945"/>
                <a:gd name="connsiteY14" fmla="*/ 107410 h 114945"/>
                <a:gd name="connsiteX15" fmla="*/ 50993 w 114945"/>
                <a:gd name="connsiteY15" fmla="*/ 114599 h 114945"/>
                <a:gd name="connsiteX16" fmla="*/ 65930 w 114945"/>
                <a:gd name="connsiteY16" fmla="*/ 114599 h 114945"/>
                <a:gd name="connsiteX17" fmla="*/ 73119 w 114945"/>
                <a:gd name="connsiteY17" fmla="*/ 107410 h 114945"/>
                <a:gd name="connsiteX18" fmla="*/ 73119 w 114945"/>
                <a:gd name="connsiteY18" fmla="*/ 71785 h 114945"/>
                <a:gd name="connsiteX19" fmla="*/ 108745 w 114945"/>
                <a:gd name="connsiteY19" fmla="*/ 71785 h 114945"/>
                <a:gd name="connsiteX20" fmla="*/ 115934 w 114945"/>
                <a:gd name="connsiteY20" fmla="*/ 64596 h 114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945" h="114945">
                  <a:moveTo>
                    <a:pt x="115934" y="64596"/>
                  </a:moveTo>
                  <a:lnTo>
                    <a:pt x="115934" y="49632"/>
                  </a:lnTo>
                  <a:cubicBezTo>
                    <a:pt x="115918" y="45667"/>
                    <a:pt x="112709" y="42456"/>
                    <a:pt x="108745" y="42443"/>
                  </a:cubicBezTo>
                  <a:lnTo>
                    <a:pt x="73119" y="42443"/>
                  </a:lnTo>
                  <a:lnTo>
                    <a:pt x="73119" y="6843"/>
                  </a:lnTo>
                  <a:cubicBezTo>
                    <a:pt x="73103" y="2879"/>
                    <a:pt x="69894" y="-332"/>
                    <a:pt x="65930" y="-346"/>
                  </a:cubicBezTo>
                  <a:lnTo>
                    <a:pt x="50993" y="-346"/>
                  </a:lnTo>
                  <a:cubicBezTo>
                    <a:pt x="47028" y="-330"/>
                    <a:pt x="43817" y="2879"/>
                    <a:pt x="43804" y="6843"/>
                  </a:cubicBezTo>
                  <a:lnTo>
                    <a:pt x="43804" y="42469"/>
                  </a:lnTo>
                  <a:lnTo>
                    <a:pt x="8178" y="42469"/>
                  </a:lnTo>
                  <a:cubicBezTo>
                    <a:pt x="4213" y="42483"/>
                    <a:pt x="1002" y="45694"/>
                    <a:pt x="989" y="49658"/>
                  </a:cubicBezTo>
                  <a:lnTo>
                    <a:pt x="989" y="64596"/>
                  </a:lnTo>
                  <a:cubicBezTo>
                    <a:pt x="1002" y="68560"/>
                    <a:pt x="4213" y="71771"/>
                    <a:pt x="8178" y="71785"/>
                  </a:cubicBezTo>
                  <a:lnTo>
                    <a:pt x="43804" y="71785"/>
                  </a:lnTo>
                  <a:lnTo>
                    <a:pt x="43804" y="107410"/>
                  </a:lnTo>
                  <a:cubicBezTo>
                    <a:pt x="43820" y="111375"/>
                    <a:pt x="47028" y="114586"/>
                    <a:pt x="50993" y="114599"/>
                  </a:cubicBezTo>
                  <a:lnTo>
                    <a:pt x="65930" y="114599"/>
                  </a:lnTo>
                  <a:cubicBezTo>
                    <a:pt x="69900" y="114599"/>
                    <a:pt x="73119" y="111380"/>
                    <a:pt x="73119" y="107410"/>
                  </a:cubicBezTo>
                  <a:lnTo>
                    <a:pt x="73119" y="71785"/>
                  </a:lnTo>
                  <a:lnTo>
                    <a:pt x="108745" y="71785"/>
                  </a:lnTo>
                  <a:cubicBezTo>
                    <a:pt x="112709" y="71771"/>
                    <a:pt x="115918" y="68560"/>
                    <a:pt x="115934" y="64596"/>
                  </a:cubicBezTo>
                </a:path>
              </a:pathLst>
            </a:custGeom>
            <a:solidFill>
              <a:srgbClr val="8FDB42"/>
            </a:solidFill>
            <a:ln w="2661" cap="flat">
              <a:noFill/>
              <a:prstDash val="solid"/>
              <a:miter/>
            </a:ln>
          </p:spPr>
          <p:txBody>
            <a:bodyPr rtlCol="0" anchor="ctr"/>
            <a:lstStyle/>
            <a:p>
              <a:endParaRPr lang="pl-PL"/>
            </a:p>
          </p:txBody>
        </p:sp>
        <p:sp>
          <p:nvSpPr>
            <p:cNvPr id="114" name="Freeform: Shape 113">
              <a:extLst>
                <a:ext uri="{FF2B5EF4-FFF2-40B4-BE49-F238E27FC236}">
                  <a16:creationId xmlns:a16="http://schemas.microsoft.com/office/drawing/2014/main" id="{9F03DFE1-F1E9-42B5-BAEB-C3409F35943F}"/>
                </a:ext>
              </a:extLst>
            </p:cNvPr>
            <p:cNvSpPr/>
            <p:nvPr/>
          </p:nvSpPr>
          <p:spPr>
            <a:xfrm>
              <a:off x="11574954" y="6644781"/>
              <a:ext cx="64867" cy="89524"/>
            </a:xfrm>
            <a:custGeom>
              <a:avLst/>
              <a:gdLst>
                <a:gd name="connsiteX0" fmla="*/ 115934 w 114945"/>
                <a:gd name="connsiteY0" fmla="*/ 57114 h 158638"/>
                <a:gd name="connsiteX1" fmla="*/ 58475 w 114945"/>
                <a:gd name="connsiteY1" fmla="*/ -346 h 158638"/>
                <a:gd name="connsiteX2" fmla="*/ 29905 w 114945"/>
                <a:gd name="connsiteY2" fmla="*/ 7296 h 158638"/>
                <a:gd name="connsiteX3" fmla="*/ 23115 w 114945"/>
                <a:gd name="connsiteY3" fmla="*/ 2131 h 158638"/>
                <a:gd name="connsiteX4" fmla="*/ 8178 w 114945"/>
                <a:gd name="connsiteY4" fmla="*/ 2131 h 158638"/>
                <a:gd name="connsiteX5" fmla="*/ 989 w 114945"/>
                <a:gd name="connsiteY5" fmla="*/ 9320 h 158638"/>
                <a:gd name="connsiteX6" fmla="*/ 989 w 114945"/>
                <a:gd name="connsiteY6" fmla="*/ 57114 h 158638"/>
                <a:gd name="connsiteX7" fmla="*/ 989 w 114945"/>
                <a:gd name="connsiteY7" fmla="*/ 57114 h 158638"/>
                <a:gd name="connsiteX8" fmla="*/ 989 w 114945"/>
                <a:gd name="connsiteY8" fmla="*/ 151104 h 158638"/>
                <a:gd name="connsiteX9" fmla="*/ 8178 w 114945"/>
                <a:gd name="connsiteY9" fmla="*/ 158293 h 158638"/>
                <a:gd name="connsiteX10" fmla="*/ 23115 w 114945"/>
                <a:gd name="connsiteY10" fmla="*/ 158293 h 158638"/>
                <a:gd name="connsiteX11" fmla="*/ 30304 w 114945"/>
                <a:gd name="connsiteY11" fmla="*/ 151104 h 158638"/>
                <a:gd name="connsiteX12" fmla="*/ 30304 w 114945"/>
                <a:gd name="connsiteY12" fmla="*/ 107171 h 158638"/>
                <a:gd name="connsiteX13" fmla="*/ 58475 w 114945"/>
                <a:gd name="connsiteY13" fmla="*/ 114573 h 158638"/>
                <a:gd name="connsiteX14" fmla="*/ 115934 w 114945"/>
                <a:gd name="connsiteY14" fmla="*/ 57114 h 158638"/>
                <a:gd name="connsiteX15" fmla="*/ 86432 w 114945"/>
                <a:gd name="connsiteY15" fmla="*/ 57114 h 158638"/>
                <a:gd name="connsiteX16" fmla="*/ 58475 w 114945"/>
                <a:gd name="connsiteY16" fmla="*/ 85098 h 158638"/>
                <a:gd name="connsiteX17" fmla="*/ 30491 w 114945"/>
                <a:gd name="connsiteY17" fmla="*/ 57114 h 158638"/>
                <a:gd name="connsiteX18" fmla="*/ 58475 w 114945"/>
                <a:gd name="connsiteY18" fmla="*/ 29156 h 158638"/>
                <a:gd name="connsiteX19" fmla="*/ 86432 w 114945"/>
                <a:gd name="connsiteY19" fmla="*/ 57114 h 158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4945" h="158638">
                  <a:moveTo>
                    <a:pt x="115934" y="57114"/>
                  </a:moveTo>
                  <a:cubicBezTo>
                    <a:pt x="115934" y="25381"/>
                    <a:pt x="90208" y="-346"/>
                    <a:pt x="58475" y="-346"/>
                  </a:cubicBezTo>
                  <a:cubicBezTo>
                    <a:pt x="48447" y="-340"/>
                    <a:pt x="38596" y="2293"/>
                    <a:pt x="29905" y="7296"/>
                  </a:cubicBezTo>
                  <a:cubicBezTo>
                    <a:pt x="29034" y="4261"/>
                    <a:pt x="26273" y="2160"/>
                    <a:pt x="23115" y="2131"/>
                  </a:cubicBezTo>
                  <a:lnTo>
                    <a:pt x="8178" y="2131"/>
                  </a:lnTo>
                  <a:cubicBezTo>
                    <a:pt x="4213" y="2144"/>
                    <a:pt x="1002" y="5355"/>
                    <a:pt x="989" y="9320"/>
                  </a:cubicBezTo>
                  <a:lnTo>
                    <a:pt x="989" y="57114"/>
                  </a:lnTo>
                  <a:lnTo>
                    <a:pt x="989" y="57114"/>
                  </a:lnTo>
                  <a:lnTo>
                    <a:pt x="989" y="151104"/>
                  </a:lnTo>
                  <a:cubicBezTo>
                    <a:pt x="1002" y="155069"/>
                    <a:pt x="4213" y="158280"/>
                    <a:pt x="8178" y="158293"/>
                  </a:cubicBezTo>
                  <a:lnTo>
                    <a:pt x="23115" y="158293"/>
                  </a:lnTo>
                  <a:cubicBezTo>
                    <a:pt x="27080" y="158280"/>
                    <a:pt x="30291" y="155069"/>
                    <a:pt x="30304" y="151104"/>
                  </a:cubicBezTo>
                  <a:lnTo>
                    <a:pt x="30304" y="107171"/>
                  </a:lnTo>
                  <a:cubicBezTo>
                    <a:pt x="38899" y="112025"/>
                    <a:pt x="48604" y="114575"/>
                    <a:pt x="58475" y="114573"/>
                  </a:cubicBezTo>
                  <a:cubicBezTo>
                    <a:pt x="90202" y="114557"/>
                    <a:pt x="115918" y="88841"/>
                    <a:pt x="115934" y="57114"/>
                  </a:cubicBezTo>
                  <a:moveTo>
                    <a:pt x="86432" y="57114"/>
                  </a:moveTo>
                  <a:cubicBezTo>
                    <a:pt x="86432" y="72559"/>
                    <a:pt x="73920" y="85082"/>
                    <a:pt x="58475" y="85098"/>
                  </a:cubicBezTo>
                  <a:cubicBezTo>
                    <a:pt x="43026" y="85082"/>
                    <a:pt x="30506" y="72562"/>
                    <a:pt x="30491" y="57114"/>
                  </a:cubicBezTo>
                  <a:cubicBezTo>
                    <a:pt x="30506" y="41668"/>
                    <a:pt x="43029" y="29156"/>
                    <a:pt x="58475" y="29156"/>
                  </a:cubicBezTo>
                  <a:cubicBezTo>
                    <a:pt x="73915" y="29156"/>
                    <a:pt x="86432" y="41673"/>
                    <a:pt x="86432" y="57114"/>
                  </a:cubicBezTo>
                </a:path>
              </a:pathLst>
            </a:custGeom>
            <a:solidFill>
              <a:srgbClr val="FFFFFF"/>
            </a:solidFill>
            <a:ln w="2661" cap="flat">
              <a:noFill/>
              <a:prstDash val="solid"/>
              <a:miter/>
            </a:ln>
          </p:spPr>
          <p:txBody>
            <a:bodyPr rtlCol="0" anchor="ctr"/>
            <a:lstStyle/>
            <a:p>
              <a:endParaRPr lang="pl-PL"/>
            </a:p>
          </p:txBody>
        </p:sp>
        <p:sp>
          <p:nvSpPr>
            <p:cNvPr id="115" name="Freeform: Shape 114">
              <a:extLst>
                <a:ext uri="{FF2B5EF4-FFF2-40B4-BE49-F238E27FC236}">
                  <a16:creationId xmlns:a16="http://schemas.microsoft.com/office/drawing/2014/main" id="{A0B4F0C8-3611-4333-B8C1-152559C3CE89}"/>
                </a:ext>
              </a:extLst>
            </p:cNvPr>
            <p:cNvSpPr/>
            <p:nvPr/>
          </p:nvSpPr>
          <p:spPr>
            <a:xfrm>
              <a:off x="11574969" y="6750860"/>
              <a:ext cx="19691" cy="26558"/>
            </a:xfrm>
            <a:custGeom>
              <a:avLst/>
              <a:gdLst>
                <a:gd name="connsiteX0" fmla="*/ 1103 w 34893"/>
                <a:gd name="connsiteY0" fmla="*/ 44632 h 47062"/>
                <a:gd name="connsiteX1" fmla="*/ 1103 w 34893"/>
                <a:gd name="connsiteY1" fmla="*/ 2270 h 47062"/>
                <a:gd name="connsiteX2" fmla="*/ 2765 w 34893"/>
                <a:gd name="connsiteY2" fmla="*/ 273 h 47062"/>
                <a:gd name="connsiteX3" fmla="*/ 3100 w 34893"/>
                <a:gd name="connsiteY3" fmla="*/ 273 h 47062"/>
                <a:gd name="connsiteX4" fmla="*/ 5124 w 34893"/>
                <a:gd name="connsiteY4" fmla="*/ 273 h 47062"/>
                <a:gd name="connsiteX5" fmla="*/ 7387 w 34893"/>
                <a:gd name="connsiteY5" fmla="*/ 1897 h 47062"/>
                <a:gd name="connsiteX6" fmla="*/ 9704 w 34893"/>
                <a:gd name="connsiteY6" fmla="*/ 2589 h 47062"/>
                <a:gd name="connsiteX7" fmla="*/ 19316 w 34893"/>
                <a:gd name="connsiteY7" fmla="*/ -339 h 47062"/>
                <a:gd name="connsiteX8" fmla="*/ 35880 w 34893"/>
                <a:gd name="connsiteY8" fmla="*/ 16060 h 47062"/>
                <a:gd name="connsiteX9" fmla="*/ 35877 w 34893"/>
                <a:gd name="connsiteY9" fmla="*/ 16462 h 47062"/>
                <a:gd name="connsiteX10" fmla="*/ 19667 w 34893"/>
                <a:gd name="connsiteY10" fmla="*/ 33524 h 47062"/>
                <a:gd name="connsiteX11" fmla="*/ 19182 w 34893"/>
                <a:gd name="connsiteY11" fmla="*/ 33529 h 47062"/>
                <a:gd name="connsiteX12" fmla="*/ 11195 w 34893"/>
                <a:gd name="connsiteY12" fmla="*/ 31585 h 47062"/>
                <a:gd name="connsiteX13" fmla="*/ 9118 w 34893"/>
                <a:gd name="connsiteY13" fmla="*/ 32597 h 47062"/>
                <a:gd name="connsiteX14" fmla="*/ 9118 w 34893"/>
                <a:gd name="connsiteY14" fmla="*/ 44712 h 47062"/>
                <a:gd name="connsiteX15" fmla="*/ 7456 w 34893"/>
                <a:gd name="connsiteY15" fmla="*/ 46709 h 47062"/>
                <a:gd name="connsiteX16" fmla="*/ 7121 w 34893"/>
                <a:gd name="connsiteY16" fmla="*/ 46709 h 47062"/>
                <a:gd name="connsiteX17" fmla="*/ 2994 w 34893"/>
                <a:gd name="connsiteY17" fmla="*/ 46709 h 47062"/>
                <a:gd name="connsiteX18" fmla="*/ 997 w 34893"/>
                <a:gd name="connsiteY18" fmla="*/ 45048 h 47062"/>
                <a:gd name="connsiteX19" fmla="*/ 997 w 34893"/>
                <a:gd name="connsiteY19" fmla="*/ 44712 h 47062"/>
                <a:gd name="connsiteX20" fmla="*/ 10236 w 34893"/>
                <a:gd name="connsiteY20" fmla="*/ 22106 h 47062"/>
                <a:gd name="connsiteX21" fmla="*/ 18224 w 34893"/>
                <a:gd name="connsiteY21" fmla="*/ 26127 h 47062"/>
                <a:gd name="connsiteX22" fmla="*/ 26968 w 34893"/>
                <a:gd name="connsiteY22" fmla="*/ 16571 h 47062"/>
                <a:gd name="connsiteX23" fmla="*/ 26957 w 34893"/>
                <a:gd name="connsiteY23" fmla="*/ 16382 h 47062"/>
                <a:gd name="connsiteX24" fmla="*/ 18250 w 34893"/>
                <a:gd name="connsiteY24" fmla="*/ 6983 h 47062"/>
                <a:gd name="connsiteX25" fmla="*/ 10263 w 34893"/>
                <a:gd name="connsiteY25" fmla="*/ 10977 h 47062"/>
                <a:gd name="connsiteX26" fmla="*/ 9677 w 34893"/>
                <a:gd name="connsiteY26" fmla="*/ 13133 h 47062"/>
                <a:gd name="connsiteX27" fmla="*/ 9677 w 34893"/>
                <a:gd name="connsiteY27" fmla="*/ 19896 h 47062"/>
                <a:gd name="connsiteX28" fmla="*/ 10263 w 34893"/>
                <a:gd name="connsiteY28" fmla="*/ 22027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893" h="47062">
                  <a:moveTo>
                    <a:pt x="1103" y="44632"/>
                  </a:moveTo>
                  <a:lnTo>
                    <a:pt x="1103" y="2270"/>
                  </a:lnTo>
                  <a:cubicBezTo>
                    <a:pt x="1010" y="1261"/>
                    <a:pt x="1756" y="366"/>
                    <a:pt x="2765" y="273"/>
                  </a:cubicBezTo>
                  <a:cubicBezTo>
                    <a:pt x="2877" y="262"/>
                    <a:pt x="2988" y="262"/>
                    <a:pt x="3100" y="273"/>
                  </a:cubicBezTo>
                  <a:lnTo>
                    <a:pt x="5124" y="273"/>
                  </a:lnTo>
                  <a:cubicBezTo>
                    <a:pt x="6170" y="201"/>
                    <a:pt x="7121" y="883"/>
                    <a:pt x="7387" y="1897"/>
                  </a:cubicBezTo>
                  <a:cubicBezTo>
                    <a:pt x="7707" y="3228"/>
                    <a:pt x="8638" y="3415"/>
                    <a:pt x="9704" y="2589"/>
                  </a:cubicBezTo>
                  <a:cubicBezTo>
                    <a:pt x="12502" y="592"/>
                    <a:pt x="15878" y="-435"/>
                    <a:pt x="19316" y="-339"/>
                  </a:cubicBezTo>
                  <a:cubicBezTo>
                    <a:pt x="28419" y="-385"/>
                    <a:pt x="35834" y="6956"/>
                    <a:pt x="35880" y="16060"/>
                  </a:cubicBezTo>
                  <a:cubicBezTo>
                    <a:pt x="35880" y="16193"/>
                    <a:pt x="35880" y="16329"/>
                    <a:pt x="35877" y="16462"/>
                  </a:cubicBezTo>
                  <a:cubicBezTo>
                    <a:pt x="36111" y="25650"/>
                    <a:pt x="28856" y="33289"/>
                    <a:pt x="19667" y="33524"/>
                  </a:cubicBezTo>
                  <a:cubicBezTo>
                    <a:pt x="19505" y="33529"/>
                    <a:pt x="19345" y="33529"/>
                    <a:pt x="19182" y="33529"/>
                  </a:cubicBezTo>
                  <a:cubicBezTo>
                    <a:pt x="16397" y="33582"/>
                    <a:pt x="13644" y="32914"/>
                    <a:pt x="11195" y="31585"/>
                  </a:cubicBezTo>
                  <a:cubicBezTo>
                    <a:pt x="9943" y="30840"/>
                    <a:pt x="9118" y="31213"/>
                    <a:pt x="9118" y="32597"/>
                  </a:cubicBezTo>
                  <a:lnTo>
                    <a:pt x="9118" y="44712"/>
                  </a:lnTo>
                  <a:cubicBezTo>
                    <a:pt x="9211" y="45721"/>
                    <a:pt x="8465" y="46616"/>
                    <a:pt x="7456" y="46709"/>
                  </a:cubicBezTo>
                  <a:cubicBezTo>
                    <a:pt x="7344" y="46720"/>
                    <a:pt x="7233" y="46720"/>
                    <a:pt x="7121" y="46709"/>
                  </a:cubicBezTo>
                  <a:lnTo>
                    <a:pt x="2994" y="46709"/>
                  </a:lnTo>
                  <a:cubicBezTo>
                    <a:pt x="1982" y="46802"/>
                    <a:pt x="1090" y="46057"/>
                    <a:pt x="997" y="45048"/>
                  </a:cubicBezTo>
                  <a:cubicBezTo>
                    <a:pt x="986" y="44936"/>
                    <a:pt x="986" y="44824"/>
                    <a:pt x="997" y="44712"/>
                  </a:cubicBezTo>
                  <a:moveTo>
                    <a:pt x="10236" y="22106"/>
                  </a:moveTo>
                  <a:cubicBezTo>
                    <a:pt x="12039" y="24721"/>
                    <a:pt x="15050" y="26236"/>
                    <a:pt x="18224" y="26127"/>
                  </a:cubicBezTo>
                  <a:cubicBezTo>
                    <a:pt x="23277" y="25903"/>
                    <a:pt x="27192" y="21625"/>
                    <a:pt x="26968" y="16571"/>
                  </a:cubicBezTo>
                  <a:cubicBezTo>
                    <a:pt x="26965" y="16507"/>
                    <a:pt x="26963" y="16446"/>
                    <a:pt x="26957" y="16382"/>
                  </a:cubicBezTo>
                  <a:cubicBezTo>
                    <a:pt x="27122" y="11392"/>
                    <a:pt x="23238" y="7198"/>
                    <a:pt x="18250" y="6983"/>
                  </a:cubicBezTo>
                  <a:cubicBezTo>
                    <a:pt x="15085" y="6884"/>
                    <a:pt x="12081" y="8386"/>
                    <a:pt x="10263" y="10977"/>
                  </a:cubicBezTo>
                  <a:cubicBezTo>
                    <a:pt x="9837" y="11613"/>
                    <a:pt x="9632" y="12369"/>
                    <a:pt x="9677" y="13133"/>
                  </a:cubicBezTo>
                  <a:lnTo>
                    <a:pt x="9677" y="19896"/>
                  </a:lnTo>
                  <a:cubicBezTo>
                    <a:pt x="9650" y="20650"/>
                    <a:pt x="9855" y="21393"/>
                    <a:pt x="10263" y="22027"/>
                  </a:cubicBezTo>
                </a:path>
              </a:pathLst>
            </a:custGeom>
            <a:solidFill>
              <a:srgbClr val="FFFFFF"/>
            </a:solidFill>
            <a:ln w="2661" cap="flat">
              <a:noFill/>
              <a:prstDash val="solid"/>
              <a:miter/>
            </a:ln>
          </p:spPr>
          <p:txBody>
            <a:bodyPr rtlCol="0" anchor="ctr"/>
            <a:lstStyle/>
            <a:p>
              <a:endParaRPr lang="pl-PL"/>
            </a:p>
          </p:txBody>
        </p:sp>
        <p:sp>
          <p:nvSpPr>
            <p:cNvPr id="116" name="Freeform: Shape 115">
              <a:extLst>
                <a:ext uri="{FF2B5EF4-FFF2-40B4-BE49-F238E27FC236}">
                  <a16:creationId xmlns:a16="http://schemas.microsoft.com/office/drawing/2014/main" id="{58CD382E-402D-40CA-BC81-AC717CE56762}"/>
                </a:ext>
              </a:extLst>
            </p:cNvPr>
            <p:cNvSpPr/>
            <p:nvPr/>
          </p:nvSpPr>
          <p:spPr>
            <a:xfrm>
              <a:off x="11597252" y="6750822"/>
              <a:ext cx="18514" cy="19157"/>
            </a:xfrm>
            <a:custGeom>
              <a:avLst/>
              <a:gdLst>
                <a:gd name="connsiteX0" fmla="*/ 18038 w 32808"/>
                <a:gd name="connsiteY0" fmla="*/ -324 h 33946"/>
                <a:gd name="connsiteX1" fmla="*/ 33795 w 32808"/>
                <a:gd name="connsiteY1" fmla="*/ 15867 h 33946"/>
                <a:gd name="connsiteX2" fmla="*/ 33721 w 32808"/>
                <a:gd name="connsiteY2" fmla="*/ 17196 h 33946"/>
                <a:gd name="connsiteX3" fmla="*/ 31915 w 32808"/>
                <a:gd name="connsiteY3" fmla="*/ 19012 h 33946"/>
                <a:gd name="connsiteX4" fmla="*/ 31777 w 32808"/>
                <a:gd name="connsiteY4" fmla="*/ 19006 h 33946"/>
                <a:gd name="connsiteX5" fmla="*/ 11568 w 32808"/>
                <a:gd name="connsiteY5" fmla="*/ 19006 h 33946"/>
                <a:gd name="connsiteX6" fmla="*/ 10130 w 32808"/>
                <a:gd name="connsiteY6" fmla="*/ 20950 h 33946"/>
                <a:gd name="connsiteX7" fmla="*/ 18118 w 32808"/>
                <a:gd name="connsiteY7" fmla="*/ 26488 h 33946"/>
                <a:gd name="connsiteX8" fmla="*/ 24455 w 32808"/>
                <a:gd name="connsiteY8" fmla="*/ 23613 h 33946"/>
                <a:gd name="connsiteX9" fmla="*/ 26771 w 32808"/>
                <a:gd name="connsiteY9" fmla="*/ 22148 h 33946"/>
                <a:gd name="connsiteX10" fmla="*/ 31058 w 32808"/>
                <a:gd name="connsiteY10" fmla="*/ 22148 h 33946"/>
                <a:gd name="connsiteX11" fmla="*/ 32815 w 32808"/>
                <a:gd name="connsiteY11" fmla="*/ 24358 h 33946"/>
                <a:gd name="connsiteX12" fmla="*/ 18118 w 32808"/>
                <a:gd name="connsiteY12" fmla="*/ 33571 h 33946"/>
                <a:gd name="connsiteX13" fmla="*/ 994 w 32808"/>
                <a:gd name="connsiteY13" fmla="*/ 17371 h 33946"/>
                <a:gd name="connsiteX14" fmla="*/ 997 w 32808"/>
                <a:gd name="connsiteY14" fmla="*/ 16370 h 33946"/>
                <a:gd name="connsiteX15" fmla="*/ 16866 w 32808"/>
                <a:gd name="connsiteY15" fmla="*/ -340 h 33946"/>
                <a:gd name="connsiteX16" fmla="*/ 18118 w 32808"/>
                <a:gd name="connsiteY16" fmla="*/ -324 h 33946"/>
                <a:gd name="connsiteX17" fmla="*/ 12020 w 32808"/>
                <a:gd name="connsiteY17" fmla="*/ 13362 h 33946"/>
                <a:gd name="connsiteX18" fmla="*/ 23257 w 32808"/>
                <a:gd name="connsiteY18" fmla="*/ 13362 h 33946"/>
                <a:gd name="connsiteX19" fmla="*/ 24774 w 32808"/>
                <a:gd name="connsiteY19" fmla="*/ 11365 h 33946"/>
                <a:gd name="connsiteX20" fmla="*/ 17985 w 32808"/>
                <a:gd name="connsiteY20" fmla="*/ 6705 h 33946"/>
                <a:gd name="connsiteX21" fmla="*/ 10582 w 32808"/>
                <a:gd name="connsiteY21" fmla="*/ 11285 h 33946"/>
                <a:gd name="connsiteX22" fmla="*/ 12020 w 32808"/>
                <a:gd name="connsiteY22" fmla="*/ 13362 h 3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808" h="33946">
                  <a:moveTo>
                    <a:pt x="18038" y="-324"/>
                  </a:moveTo>
                  <a:cubicBezTo>
                    <a:pt x="26859" y="-204"/>
                    <a:pt x="33915" y="7046"/>
                    <a:pt x="33795" y="15867"/>
                  </a:cubicBezTo>
                  <a:cubicBezTo>
                    <a:pt x="33787" y="16312"/>
                    <a:pt x="33763" y="16754"/>
                    <a:pt x="33721" y="17196"/>
                  </a:cubicBezTo>
                  <a:cubicBezTo>
                    <a:pt x="33723" y="18197"/>
                    <a:pt x="32914" y="19009"/>
                    <a:pt x="31915" y="19012"/>
                  </a:cubicBezTo>
                  <a:cubicBezTo>
                    <a:pt x="31870" y="19012"/>
                    <a:pt x="31822" y="19009"/>
                    <a:pt x="31777" y="19006"/>
                  </a:cubicBezTo>
                  <a:lnTo>
                    <a:pt x="11568" y="19006"/>
                  </a:lnTo>
                  <a:cubicBezTo>
                    <a:pt x="10396" y="19006"/>
                    <a:pt x="9624" y="19778"/>
                    <a:pt x="10130" y="20950"/>
                  </a:cubicBezTo>
                  <a:cubicBezTo>
                    <a:pt x="11272" y="24361"/>
                    <a:pt x="14523" y="26616"/>
                    <a:pt x="18118" y="26488"/>
                  </a:cubicBezTo>
                  <a:cubicBezTo>
                    <a:pt x="20589" y="26709"/>
                    <a:pt x="22996" y="25618"/>
                    <a:pt x="24455" y="23613"/>
                  </a:cubicBezTo>
                  <a:cubicBezTo>
                    <a:pt x="24897" y="22734"/>
                    <a:pt x="25789" y="22172"/>
                    <a:pt x="26771" y="22148"/>
                  </a:cubicBezTo>
                  <a:lnTo>
                    <a:pt x="31058" y="22148"/>
                  </a:lnTo>
                  <a:cubicBezTo>
                    <a:pt x="32443" y="22148"/>
                    <a:pt x="33295" y="23027"/>
                    <a:pt x="32815" y="24358"/>
                  </a:cubicBezTo>
                  <a:cubicBezTo>
                    <a:pt x="30403" y="30267"/>
                    <a:pt x="24487" y="33975"/>
                    <a:pt x="18118" y="33571"/>
                  </a:cubicBezTo>
                  <a:cubicBezTo>
                    <a:pt x="8916" y="33826"/>
                    <a:pt x="1250" y="26573"/>
                    <a:pt x="994" y="17371"/>
                  </a:cubicBezTo>
                  <a:cubicBezTo>
                    <a:pt x="986" y="17036"/>
                    <a:pt x="986" y="16703"/>
                    <a:pt x="997" y="16370"/>
                  </a:cubicBezTo>
                  <a:cubicBezTo>
                    <a:pt x="765" y="7373"/>
                    <a:pt x="7869" y="-109"/>
                    <a:pt x="16866" y="-340"/>
                  </a:cubicBezTo>
                  <a:cubicBezTo>
                    <a:pt x="17284" y="-351"/>
                    <a:pt x="17702" y="-346"/>
                    <a:pt x="18118" y="-324"/>
                  </a:cubicBezTo>
                  <a:moveTo>
                    <a:pt x="12020" y="13362"/>
                  </a:moveTo>
                  <a:lnTo>
                    <a:pt x="23257" y="13362"/>
                  </a:lnTo>
                  <a:cubicBezTo>
                    <a:pt x="24508" y="13362"/>
                    <a:pt x="25280" y="12616"/>
                    <a:pt x="24774" y="11365"/>
                  </a:cubicBezTo>
                  <a:cubicBezTo>
                    <a:pt x="23707" y="8545"/>
                    <a:pt x="20999" y="6686"/>
                    <a:pt x="17985" y="6705"/>
                  </a:cubicBezTo>
                  <a:cubicBezTo>
                    <a:pt x="14859" y="6737"/>
                    <a:pt x="12007" y="8502"/>
                    <a:pt x="10582" y="11285"/>
                  </a:cubicBezTo>
                  <a:cubicBezTo>
                    <a:pt x="10023" y="12483"/>
                    <a:pt x="10716" y="13362"/>
                    <a:pt x="12020" y="13362"/>
                  </a:cubicBezTo>
                </a:path>
              </a:pathLst>
            </a:custGeom>
            <a:solidFill>
              <a:srgbClr val="FFFFFF"/>
            </a:solidFill>
            <a:ln w="2661" cap="flat">
              <a:noFill/>
              <a:prstDash val="solid"/>
              <a:miter/>
            </a:ln>
          </p:spPr>
          <p:txBody>
            <a:bodyPr rtlCol="0" anchor="ctr"/>
            <a:lstStyle/>
            <a:p>
              <a:endParaRPr lang="pl-PL"/>
            </a:p>
          </p:txBody>
        </p:sp>
        <p:sp>
          <p:nvSpPr>
            <p:cNvPr id="117" name="Freeform: Shape 116">
              <a:extLst>
                <a:ext uri="{FF2B5EF4-FFF2-40B4-BE49-F238E27FC236}">
                  <a16:creationId xmlns:a16="http://schemas.microsoft.com/office/drawing/2014/main" id="{BC6292F8-B3B1-4FAB-93EF-B0A8F712C9DE}"/>
                </a:ext>
              </a:extLst>
            </p:cNvPr>
            <p:cNvSpPr/>
            <p:nvPr/>
          </p:nvSpPr>
          <p:spPr>
            <a:xfrm>
              <a:off x="11619475" y="6750860"/>
              <a:ext cx="19631" cy="26558"/>
            </a:xfrm>
            <a:custGeom>
              <a:avLst/>
              <a:gdLst>
                <a:gd name="connsiteX0" fmla="*/ 997 w 34787"/>
                <a:gd name="connsiteY0" fmla="*/ 44632 h 47062"/>
                <a:gd name="connsiteX1" fmla="*/ 997 w 34787"/>
                <a:gd name="connsiteY1" fmla="*/ 2270 h 47062"/>
                <a:gd name="connsiteX2" fmla="*/ 2658 w 34787"/>
                <a:gd name="connsiteY2" fmla="*/ 273 h 47062"/>
                <a:gd name="connsiteX3" fmla="*/ 2994 w 34787"/>
                <a:gd name="connsiteY3" fmla="*/ 273 h 47062"/>
                <a:gd name="connsiteX4" fmla="*/ 5017 w 34787"/>
                <a:gd name="connsiteY4" fmla="*/ 273 h 47062"/>
                <a:gd name="connsiteX5" fmla="*/ 7280 w 34787"/>
                <a:gd name="connsiteY5" fmla="*/ 1897 h 47062"/>
                <a:gd name="connsiteX6" fmla="*/ 9597 w 34787"/>
                <a:gd name="connsiteY6" fmla="*/ 2589 h 47062"/>
                <a:gd name="connsiteX7" fmla="*/ 19209 w 34787"/>
                <a:gd name="connsiteY7" fmla="*/ -339 h 47062"/>
                <a:gd name="connsiteX8" fmla="*/ 35773 w 34787"/>
                <a:gd name="connsiteY8" fmla="*/ 16060 h 47062"/>
                <a:gd name="connsiteX9" fmla="*/ 35770 w 34787"/>
                <a:gd name="connsiteY9" fmla="*/ 16462 h 47062"/>
                <a:gd name="connsiteX10" fmla="*/ 19560 w 34787"/>
                <a:gd name="connsiteY10" fmla="*/ 33524 h 47062"/>
                <a:gd name="connsiteX11" fmla="*/ 19076 w 34787"/>
                <a:gd name="connsiteY11" fmla="*/ 33529 h 47062"/>
                <a:gd name="connsiteX12" fmla="*/ 11088 w 34787"/>
                <a:gd name="connsiteY12" fmla="*/ 31585 h 47062"/>
                <a:gd name="connsiteX13" fmla="*/ 9011 w 34787"/>
                <a:gd name="connsiteY13" fmla="*/ 32597 h 47062"/>
                <a:gd name="connsiteX14" fmla="*/ 9011 w 34787"/>
                <a:gd name="connsiteY14" fmla="*/ 44712 h 47062"/>
                <a:gd name="connsiteX15" fmla="*/ 7350 w 34787"/>
                <a:gd name="connsiteY15" fmla="*/ 46709 h 47062"/>
                <a:gd name="connsiteX16" fmla="*/ 7014 w 34787"/>
                <a:gd name="connsiteY16" fmla="*/ 46709 h 47062"/>
                <a:gd name="connsiteX17" fmla="*/ 3100 w 34787"/>
                <a:gd name="connsiteY17" fmla="*/ 46709 h 47062"/>
                <a:gd name="connsiteX18" fmla="*/ 1103 w 34787"/>
                <a:gd name="connsiteY18" fmla="*/ 45048 h 47062"/>
                <a:gd name="connsiteX19" fmla="*/ 1103 w 34787"/>
                <a:gd name="connsiteY19" fmla="*/ 44712 h 47062"/>
                <a:gd name="connsiteX20" fmla="*/ 10342 w 34787"/>
                <a:gd name="connsiteY20" fmla="*/ 22106 h 47062"/>
                <a:gd name="connsiteX21" fmla="*/ 18330 w 34787"/>
                <a:gd name="connsiteY21" fmla="*/ 26127 h 47062"/>
                <a:gd name="connsiteX22" fmla="*/ 27042 w 34787"/>
                <a:gd name="connsiteY22" fmla="*/ 16539 h 47062"/>
                <a:gd name="connsiteX23" fmla="*/ 27037 w 34787"/>
                <a:gd name="connsiteY23" fmla="*/ 16462 h 47062"/>
                <a:gd name="connsiteX24" fmla="*/ 18330 w 34787"/>
                <a:gd name="connsiteY24" fmla="*/ 7063 h 47062"/>
                <a:gd name="connsiteX25" fmla="*/ 10342 w 34787"/>
                <a:gd name="connsiteY25" fmla="*/ 11057 h 47062"/>
                <a:gd name="connsiteX26" fmla="*/ 9757 w 34787"/>
                <a:gd name="connsiteY26" fmla="*/ 13213 h 47062"/>
                <a:gd name="connsiteX27" fmla="*/ 9757 w 34787"/>
                <a:gd name="connsiteY27" fmla="*/ 19976 h 47062"/>
                <a:gd name="connsiteX28" fmla="*/ 10342 w 34787"/>
                <a:gd name="connsiteY28" fmla="*/ 22106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787" h="47062">
                  <a:moveTo>
                    <a:pt x="997" y="44632"/>
                  </a:moveTo>
                  <a:lnTo>
                    <a:pt x="997" y="2270"/>
                  </a:lnTo>
                  <a:cubicBezTo>
                    <a:pt x="903" y="1261"/>
                    <a:pt x="1649" y="366"/>
                    <a:pt x="2658" y="273"/>
                  </a:cubicBezTo>
                  <a:cubicBezTo>
                    <a:pt x="2770" y="262"/>
                    <a:pt x="2882" y="262"/>
                    <a:pt x="2994" y="273"/>
                  </a:cubicBezTo>
                  <a:lnTo>
                    <a:pt x="5017" y="273"/>
                  </a:lnTo>
                  <a:cubicBezTo>
                    <a:pt x="6064" y="201"/>
                    <a:pt x="7014" y="883"/>
                    <a:pt x="7280" y="1897"/>
                  </a:cubicBezTo>
                  <a:cubicBezTo>
                    <a:pt x="7600" y="3228"/>
                    <a:pt x="8532" y="3415"/>
                    <a:pt x="9597" y="2589"/>
                  </a:cubicBezTo>
                  <a:cubicBezTo>
                    <a:pt x="12395" y="592"/>
                    <a:pt x="15771" y="-435"/>
                    <a:pt x="19209" y="-339"/>
                  </a:cubicBezTo>
                  <a:cubicBezTo>
                    <a:pt x="28312" y="-385"/>
                    <a:pt x="35728" y="6956"/>
                    <a:pt x="35773" y="16060"/>
                  </a:cubicBezTo>
                  <a:cubicBezTo>
                    <a:pt x="35773" y="16193"/>
                    <a:pt x="35773" y="16329"/>
                    <a:pt x="35770" y="16462"/>
                  </a:cubicBezTo>
                  <a:cubicBezTo>
                    <a:pt x="36005" y="25650"/>
                    <a:pt x="28749" y="33289"/>
                    <a:pt x="19560" y="33524"/>
                  </a:cubicBezTo>
                  <a:cubicBezTo>
                    <a:pt x="19398" y="33529"/>
                    <a:pt x="19238" y="33529"/>
                    <a:pt x="19076" y="33529"/>
                  </a:cubicBezTo>
                  <a:cubicBezTo>
                    <a:pt x="16291" y="33582"/>
                    <a:pt x="13538" y="32914"/>
                    <a:pt x="11088" y="31585"/>
                  </a:cubicBezTo>
                  <a:cubicBezTo>
                    <a:pt x="9836" y="30840"/>
                    <a:pt x="9011" y="31213"/>
                    <a:pt x="9011" y="32597"/>
                  </a:cubicBezTo>
                  <a:lnTo>
                    <a:pt x="9011" y="44712"/>
                  </a:lnTo>
                  <a:cubicBezTo>
                    <a:pt x="9104" y="45721"/>
                    <a:pt x="8359" y="46616"/>
                    <a:pt x="7350" y="46709"/>
                  </a:cubicBezTo>
                  <a:cubicBezTo>
                    <a:pt x="7238" y="46720"/>
                    <a:pt x="7126" y="46720"/>
                    <a:pt x="7014" y="46709"/>
                  </a:cubicBezTo>
                  <a:lnTo>
                    <a:pt x="3100" y="46709"/>
                  </a:lnTo>
                  <a:cubicBezTo>
                    <a:pt x="2088" y="46802"/>
                    <a:pt x="1196" y="46057"/>
                    <a:pt x="1103" y="45048"/>
                  </a:cubicBezTo>
                  <a:cubicBezTo>
                    <a:pt x="1092" y="44936"/>
                    <a:pt x="1092" y="44824"/>
                    <a:pt x="1103" y="44712"/>
                  </a:cubicBezTo>
                  <a:moveTo>
                    <a:pt x="10342" y="22106"/>
                  </a:moveTo>
                  <a:cubicBezTo>
                    <a:pt x="12145" y="24721"/>
                    <a:pt x="15156" y="26236"/>
                    <a:pt x="18330" y="26127"/>
                  </a:cubicBezTo>
                  <a:cubicBezTo>
                    <a:pt x="23384" y="25885"/>
                    <a:pt x="27282" y="21592"/>
                    <a:pt x="27042" y="16539"/>
                  </a:cubicBezTo>
                  <a:cubicBezTo>
                    <a:pt x="27040" y="16515"/>
                    <a:pt x="27040" y="16488"/>
                    <a:pt x="27037" y="16462"/>
                  </a:cubicBezTo>
                  <a:cubicBezTo>
                    <a:pt x="27202" y="11472"/>
                    <a:pt x="23317" y="7278"/>
                    <a:pt x="18330" y="7063"/>
                  </a:cubicBezTo>
                  <a:cubicBezTo>
                    <a:pt x="15164" y="6964"/>
                    <a:pt x="12161" y="8466"/>
                    <a:pt x="10342" y="11057"/>
                  </a:cubicBezTo>
                  <a:cubicBezTo>
                    <a:pt x="9919" y="11693"/>
                    <a:pt x="9711" y="12449"/>
                    <a:pt x="9757" y="13213"/>
                  </a:cubicBezTo>
                  <a:lnTo>
                    <a:pt x="9757" y="19976"/>
                  </a:lnTo>
                  <a:cubicBezTo>
                    <a:pt x="9730" y="20730"/>
                    <a:pt x="9935" y="21473"/>
                    <a:pt x="10342" y="22106"/>
                  </a:cubicBezTo>
                </a:path>
              </a:pathLst>
            </a:custGeom>
            <a:solidFill>
              <a:srgbClr val="FFFFFF"/>
            </a:solidFill>
            <a:ln w="2661" cap="flat">
              <a:noFill/>
              <a:prstDash val="solid"/>
              <a:miter/>
            </a:ln>
          </p:spPr>
          <p:txBody>
            <a:bodyPr rtlCol="0" anchor="ctr"/>
            <a:lstStyle/>
            <a:p>
              <a:endParaRPr lang="pl-PL"/>
            </a:p>
          </p:txBody>
        </p:sp>
        <p:sp>
          <p:nvSpPr>
            <p:cNvPr id="118" name="Freeform: Shape 117">
              <a:extLst>
                <a:ext uri="{FF2B5EF4-FFF2-40B4-BE49-F238E27FC236}">
                  <a16:creationId xmlns:a16="http://schemas.microsoft.com/office/drawing/2014/main" id="{3BBBCA80-3EBD-468D-84BB-A379DF1B17B0}"/>
                </a:ext>
              </a:extLst>
            </p:cNvPr>
            <p:cNvSpPr/>
            <p:nvPr/>
          </p:nvSpPr>
          <p:spPr>
            <a:xfrm>
              <a:off x="11641544" y="6750833"/>
              <a:ext cx="16868" cy="19128"/>
            </a:xfrm>
            <a:custGeom>
              <a:avLst/>
              <a:gdLst>
                <a:gd name="connsiteX0" fmla="*/ 16181 w 29890"/>
                <a:gd name="connsiteY0" fmla="*/ -346 h 33895"/>
                <a:gd name="connsiteX1" fmla="*/ 30186 w 29890"/>
                <a:gd name="connsiteY1" fmla="*/ 9400 h 33895"/>
                <a:gd name="connsiteX2" fmla="*/ 28296 w 29890"/>
                <a:gd name="connsiteY2" fmla="*/ 11476 h 33895"/>
                <a:gd name="connsiteX3" fmla="*/ 24275 w 29890"/>
                <a:gd name="connsiteY3" fmla="*/ 11476 h 33895"/>
                <a:gd name="connsiteX4" fmla="*/ 22092 w 29890"/>
                <a:gd name="connsiteY4" fmla="*/ 9719 h 33895"/>
                <a:gd name="connsiteX5" fmla="*/ 16048 w 29890"/>
                <a:gd name="connsiteY5" fmla="*/ 6444 h 33895"/>
                <a:gd name="connsiteX6" fmla="*/ 10723 w 29890"/>
                <a:gd name="connsiteY6" fmla="*/ 9266 h 33895"/>
                <a:gd name="connsiteX7" fmla="*/ 30879 w 29890"/>
                <a:gd name="connsiteY7" fmla="*/ 23591 h 33895"/>
                <a:gd name="connsiteX8" fmla="*/ 16687 w 29890"/>
                <a:gd name="connsiteY8" fmla="*/ 33550 h 33895"/>
                <a:gd name="connsiteX9" fmla="*/ 1057 w 29890"/>
                <a:gd name="connsiteY9" fmla="*/ 23511 h 33895"/>
                <a:gd name="connsiteX10" fmla="*/ 2895 w 29890"/>
                <a:gd name="connsiteY10" fmla="*/ 21381 h 33895"/>
                <a:gd name="connsiteX11" fmla="*/ 7155 w 29890"/>
                <a:gd name="connsiteY11" fmla="*/ 21381 h 33895"/>
                <a:gd name="connsiteX12" fmla="*/ 9338 w 29890"/>
                <a:gd name="connsiteY12" fmla="*/ 23006 h 33895"/>
                <a:gd name="connsiteX13" fmla="*/ 16873 w 29890"/>
                <a:gd name="connsiteY13" fmla="*/ 26786 h 33895"/>
                <a:gd name="connsiteX14" fmla="*/ 22411 w 29890"/>
                <a:gd name="connsiteY14" fmla="*/ 23645 h 33895"/>
                <a:gd name="connsiteX15" fmla="*/ 2256 w 29890"/>
                <a:gd name="connsiteY15" fmla="*/ 9453 h 33895"/>
                <a:gd name="connsiteX16" fmla="*/ 16128 w 29890"/>
                <a:gd name="connsiteY16" fmla="*/ -346 h 3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890" h="33895">
                  <a:moveTo>
                    <a:pt x="16181" y="-346"/>
                  </a:moveTo>
                  <a:cubicBezTo>
                    <a:pt x="24169" y="-346"/>
                    <a:pt x="28855" y="3622"/>
                    <a:pt x="30186" y="9400"/>
                  </a:cubicBezTo>
                  <a:cubicBezTo>
                    <a:pt x="30479" y="10704"/>
                    <a:pt x="29681" y="11476"/>
                    <a:pt x="28296" y="11476"/>
                  </a:cubicBezTo>
                  <a:lnTo>
                    <a:pt x="24275" y="11476"/>
                  </a:lnTo>
                  <a:cubicBezTo>
                    <a:pt x="23077" y="11476"/>
                    <a:pt x="22518" y="10837"/>
                    <a:pt x="22092" y="9719"/>
                  </a:cubicBezTo>
                  <a:cubicBezTo>
                    <a:pt x="21320" y="7642"/>
                    <a:pt x="19429" y="6444"/>
                    <a:pt x="16048" y="6444"/>
                  </a:cubicBezTo>
                  <a:cubicBezTo>
                    <a:pt x="12666" y="6444"/>
                    <a:pt x="10723" y="7562"/>
                    <a:pt x="10723" y="9266"/>
                  </a:cubicBezTo>
                  <a:cubicBezTo>
                    <a:pt x="10723" y="15364"/>
                    <a:pt x="30879" y="10971"/>
                    <a:pt x="30879" y="23591"/>
                  </a:cubicBezTo>
                  <a:cubicBezTo>
                    <a:pt x="30879" y="29982"/>
                    <a:pt x="25048" y="33550"/>
                    <a:pt x="16687" y="33550"/>
                  </a:cubicBezTo>
                  <a:cubicBezTo>
                    <a:pt x="8326" y="33550"/>
                    <a:pt x="2389" y="29928"/>
                    <a:pt x="1057" y="23511"/>
                  </a:cubicBezTo>
                  <a:cubicBezTo>
                    <a:pt x="738" y="22127"/>
                    <a:pt x="1563" y="21381"/>
                    <a:pt x="2895" y="21381"/>
                  </a:cubicBezTo>
                  <a:lnTo>
                    <a:pt x="7155" y="21381"/>
                  </a:lnTo>
                  <a:cubicBezTo>
                    <a:pt x="8172" y="21347"/>
                    <a:pt x="9077" y="22020"/>
                    <a:pt x="9338" y="23006"/>
                  </a:cubicBezTo>
                  <a:cubicBezTo>
                    <a:pt x="10858" y="25668"/>
                    <a:pt x="13830" y="27159"/>
                    <a:pt x="16873" y="26786"/>
                  </a:cubicBezTo>
                  <a:cubicBezTo>
                    <a:pt x="20281" y="26786"/>
                    <a:pt x="22411" y="25721"/>
                    <a:pt x="22411" y="23645"/>
                  </a:cubicBezTo>
                  <a:cubicBezTo>
                    <a:pt x="22411" y="17494"/>
                    <a:pt x="2256" y="22127"/>
                    <a:pt x="2256" y="9453"/>
                  </a:cubicBezTo>
                  <a:cubicBezTo>
                    <a:pt x="2256" y="3808"/>
                    <a:pt x="7101" y="-346"/>
                    <a:pt x="16128" y="-346"/>
                  </a:cubicBezTo>
                </a:path>
              </a:pathLst>
            </a:custGeom>
            <a:solidFill>
              <a:srgbClr val="FFFFFF"/>
            </a:solidFill>
            <a:ln w="2661" cap="flat">
              <a:noFill/>
              <a:prstDash val="solid"/>
              <a:miter/>
            </a:ln>
          </p:spPr>
          <p:txBody>
            <a:bodyPr rtlCol="0" anchor="ctr"/>
            <a:lstStyle/>
            <a:p>
              <a:endParaRPr lang="pl-PL"/>
            </a:p>
          </p:txBody>
        </p:sp>
        <p:sp>
          <p:nvSpPr>
            <p:cNvPr id="119" name="Freeform: Shape 118">
              <a:extLst>
                <a:ext uri="{FF2B5EF4-FFF2-40B4-BE49-F238E27FC236}">
                  <a16:creationId xmlns:a16="http://schemas.microsoft.com/office/drawing/2014/main" id="{D5AB0BE8-10F4-4FCB-BAF9-6F3D39A8446E}"/>
                </a:ext>
              </a:extLst>
            </p:cNvPr>
            <p:cNvSpPr/>
            <p:nvPr/>
          </p:nvSpPr>
          <p:spPr>
            <a:xfrm>
              <a:off x="11661657" y="6742209"/>
              <a:ext cx="6551" cy="27381"/>
            </a:xfrm>
            <a:custGeom>
              <a:avLst/>
              <a:gdLst>
                <a:gd name="connsiteX0" fmla="*/ 989 w 11609"/>
                <a:gd name="connsiteY0" fmla="*/ 5352 h 48520"/>
                <a:gd name="connsiteX1" fmla="*/ 6687 w 11609"/>
                <a:gd name="connsiteY1" fmla="*/ -346 h 48520"/>
                <a:gd name="connsiteX2" fmla="*/ 6767 w 11609"/>
                <a:gd name="connsiteY2" fmla="*/ -346 h 48520"/>
                <a:gd name="connsiteX3" fmla="*/ 12598 w 11609"/>
                <a:gd name="connsiteY3" fmla="*/ 5352 h 48520"/>
                <a:gd name="connsiteX4" fmla="*/ 6767 w 11609"/>
                <a:gd name="connsiteY4" fmla="*/ 11263 h 48520"/>
                <a:gd name="connsiteX5" fmla="*/ 989 w 11609"/>
                <a:gd name="connsiteY5" fmla="*/ 5432 h 48520"/>
                <a:gd name="connsiteX6" fmla="*/ 989 w 11609"/>
                <a:gd name="connsiteY6" fmla="*/ 5352 h 48520"/>
                <a:gd name="connsiteX7" fmla="*/ 10734 w 11609"/>
                <a:gd name="connsiteY7" fmla="*/ 17521 h 48520"/>
                <a:gd name="connsiteX8" fmla="*/ 10734 w 11609"/>
                <a:gd name="connsiteY8" fmla="*/ 46144 h 48520"/>
                <a:gd name="connsiteX9" fmla="*/ 9046 w 11609"/>
                <a:gd name="connsiteY9" fmla="*/ 48167 h 48520"/>
                <a:gd name="connsiteX10" fmla="*/ 8710 w 11609"/>
                <a:gd name="connsiteY10" fmla="*/ 48167 h 48520"/>
                <a:gd name="connsiteX11" fmla="*/ 3998 w 11609"/>
                <a:gd name="connsiteY11" fmla="*/ 48167 h 48520"/>
                <a:gd name="connsiteX12" fmla="*/ 1998 w 11609"/>
                <a:gd name="connsiteY12" fmla="*/ 46450 h 48520"/>
                <a:gd name="connsiteX13" fmla="*/ 2001 w 11609"/>
                <a:gd name="connsiteY13" fmla="*/ 46144 h 48520"/>
                <a:gd name="connsiteX14" fmla="*/ 2001 w 11609"/>
                <a:gd name="connsiteY14" fmla="*/ 17600 h 48520"/>
                <a:gd name="connsiteX15" fmla="*/ 3662 w 11609"/>
                <a:gd name="connsiteY15" fmla="*/ 15603 h 48520"/>
                <a:gd name="connsiteX16" fmla="*/ 3998 w 11609"/>
                <a:gd name="connsiteY16" fmla="*/ 15603 h 48520"/>
                <a:gd name="connsiteX17" fmla="*/ 8710 w 11609"/>
                <a:gd name="connsiteY17" fmla="*/ 15603 h 48520"/>
                <a:gd name="connsiteX18" fmla="*/ 10731 w 11609"/>
                <a:gd name="connsiteY18" fmla="*/ 17294 h 48520"/>
                <a:gd name="connsiteX19" fmla="*/ 10734 w 11609"/>
                <a:gd name="connsiteY19" fmla="*/ 17600 h 48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09" h="48520">
                  <a:moveTo>
                    <a:pt x="989" y="5352"/>
                  </a:moveTo>
                  <a:cubicBezTo>
                    <a:pt x="989" y="2205"/>
                    <a:pt x="3540" y="-346"/>
                    <a:pt x="6687" y="-346"/>
                  </a:cubicBezTo>
                  <a:cubicBezTo>
                    <a:pt x="6713" y="-346"/>
                    <a:pt x="6740" y="-346"/>
                    <a:pt x="6767" y="-346"/>
                  </a:cubicBezTo>
                  <a:cubicBezTo>
                    <a:pt x="9935" y="-346"/>
                    <a:pt x="12526" y="2184"/>
                    <a:pt x="12598" y="5352"/>
                  </a:cubicBezTo>
                  <a:cubicBezTo>
                    <a:pt x="12598" y="8585"/>
                    <a:pt x="9999" y="11221"/>
                    <a:pt x="6767" y="11263"/>
                  </a:cubicBezTo>
                  <a:cubicBezTo>
                    <a:pt x="3561" y="11250"/>
                    <a:pt x="973" y="8638"/>
                    <a:pt x="989" y="5432"/>
                  </a:cubicBezTo>
                  <a:cubicBezTo>
                    <a:pt x="989" y="5406"/>
                    <a:pt x="989" y="5379"/>
                    <a:pt x="989" y="5352"/>
                  </a:cubicBezTo>
                  <a:moveTo>
                    <a:pt x="10734" y="17521"/>
                  </a:moveTo>
                  <a:lnTo>
                    <a:pt x="10734" y="46144"/>
                  </a:lnTo>
                  <a:cubicBezTo>
                    <a:pt x="10827" y="47169"/>
                    <a:pt x="10071" y="48074"/>
                    <a:pt x="9046" y="48167"/>
                  </a:cubicBezTo>
                  <a:cubicBezTo>
                    <a:pt x="8934" y="48178"/>
                    <a:pt x="8822" y="48178"/>
                    <a:pt x="8710" y="48167"/>
                  </a:cubicBezTo>
                  <a:lnTo>
                    <a:pt x="3998" y="48167"/>
                  </a:lnTo>
                  <a:cubicBezTo>
                    <a:pt x="2972" y="48244"/>
                    <a:pt x="2075" y="47475"/>
                    <a:pt x="1998" y="46450"/>
                  </a:cubicBezTo>
                  <a:cubicBezTo>
                    <a:pt x="1990" y="46349"/>
                    <a:pt x="1993" y="46245"/>
                    <a:pt x="2001" y="46144"/>
                  </a:cubicBezTo>
                  <a:lnTo>
                    <a:pt x="2001" y="17600"/>
                  </a:lnTo>
                  <a:cubicBezTo>
                    <a:pt x="1907" y="16591"/>
                    <a:pt x="2653" y="15697"/>
                    <a:pt x="3662" y="15603"/>
                  </a:cubicBezTo>
                  <a:cubicBezTo>
                    <a:pt x="3774" y="15593"/>
                    <a:pt x="3886" y="15593"/>
                    <a:pt x="3998" y="15603"/>
                  </a:cubicBezTo>
                  <a:lnTo>
                    <a:pt x="8710" y="15603"/>
                  </a:lnTo>
                  <a:cubicBezTo>
                    <a:pt x="9735" y="15513"/>
                    <a:pt x="10641" y="16269"/>
                    <a:pt x="10731" y="17294"/>
                  </a:cubicBezTo>
                  <a:cubicBezTo>
                    <a:pt x="10742" y="17395"/>
                    <a:pt x="10742" y="17499"/>
                    <a:pt x="10734" y="17600"/>
                  </a:cubicBezTo>
                </a:path>
              </a:pathLst>
            </a:custGeom>
            <a:solidFill>
              <a:srgbClr val="FFFFFF"/>
            </a:solidFill>
            <a:ln w="2661" cap="flat">
              <a:noFill/>
              <a:prstDash val="solid"/>
              <a:miter/>
            </a:ln>
          </p:spPr>
          <p:txBody>
            <a:bodyPr rtlCol="0" anchor="ctr"/>
            <a:lstStyle/>
            <a:p>
              <a:endParaRPr lang="pl-PL"/>
            </a:p>
          </p:txBody>
        </p:sp>
        <p:sp>
          <p:nvSpPr>
            <p:cNvPr id="120" name="Freeform: Shape 119">
              <a:extLst>
                <a:ext uri="{FF2B5EF4-FFF2-40B4-BE49-F238E27FC236}">
                  <a16:creationId xmlns:a16="http://schemas.microsoft.com/office/drawing/2014/main" id="{C758D3CD-3BAA-499A-BA1E-DCB5BA8EA8BB}"/>
                </a:ext>
              </a:extLst>
            </p:cNvPr>
            <p:cNvSpPr/>
            <p:nvPr/>
          </p:nvSpPr>
          <p:spPr>
            <a:xfrm>
              <a:off x="11670912" y="6750850"/>
              <a:ext cx="18928" cy="19154"/>
            </a:xfrm>
            <a:custGeom>
              <a:avLst/>
              <a:gdLst>
                <a:gd name="connsiteX0" fmla="*/ 25781 w 33540"/>
                <a:gd name="connsiteY0" fmla="*/ 11128 h 33942"/>
                <a:gd name="connsiteX1" fmla="*/ 18672 w 33540"/>
                <a:gd name="connsiteY1" fmla="*/ 7001 h 33942"/>
                <a:gd name="connsiteX2" fmla="*/ 9850 w 33540"/>
                <a:gd name="connsiteY2" fmla="*/ 15699 h 33942"/>
                <a:gd name="connsiteX3" fmla="*/ 9885 w 33540"/>
                <a:gd name="connsiteY3" fmla="*/ 16533 h 33942"/>
                <a:gd name="connsiteX4" fmla="*/ 17838 w 33540"/>
                <a:gd name="connsiteY4" fmla="*/ 26030 h 33942"/>
                <a:gd name="connsiteX5" fmla="*/ 18618 w 33540"/>
                <a:gd name="connsiteY5" fmla="*/ 26065 h 33942"/>
                <a:gd name="connsiteX6" fmla="*/ 25514 w 33540"/>
                <a:gd name="connsiteY6" fmla="*/ 22364 h 33942"/>
                <a:gd name="connsiteX7" fmla="*/ 27778 w 33540"/>
                <a:gd name="connsiteY7" fmla="*/ 20793 h 33942"/>
                <a:gd name="connsiteX8" fmla="*/ 32411 w 33540"/>
                <a:gd name="connsiteY8" fmla="*/ 20793 h 33942"/>
                <a:gd name="connsiteX9" fmla="*/ 34301 w 33540"/>
                <a:gd name="connsiteY9" fmla="*/ 22923 h 33942"/>
                <a:gd name="connsiteX10" fmla="*/ 18805 w 33540"/>
                <a:gd name="connsiteY10" fmla="*/ 33573 h 33942"/>
                <a:gd name="connsiteX11" fmla="*/ 1013 w 33540"/>
                <a:gd name="connsiteY11" fmla="*/ 17545 h 33942"/>
                <a:gd name="connsiteX12" fmla="*/ 992 w 33540"/>
                <a:gd name="connsiteY12" fmla="*/ 16373 h 33942"/>
                <a:gd name="connsiteX13" fmla="*/ 17503 w 33540"/>
                <a:gd name="connsiteY13" fmla="*/ -346 h 33942"/>
                <a:gd name="connsiteX14" fmla="*/ 18485 w 33540"/>
                <a:gd name="connsiteY14" fmla="*/ -322 h 33942"/>
                <a:gd name="connsiteX15" fmla="*/ 34461 w 33540"/>
                <a:gd name="connsiteY15" fmla="*/ 10728 h 33942"/>
                <a:gd name="connsiteX16" fmla="*/ 33324 w 33540"/>
                <a:gd name="connsiteY16" fmla="*/ 12810 h 33942"/>
                <a:gd name="connsiteX17" fmla="*/ 32597 w 33540"/>
                <a:gd name="connsiteY17" fmla="*/ 12858 h 33942"/>
                <a:gd name="connsiteX18" fmla="*/ 28124 w 33540"/>
                <a:gd name="connsiteY18" fmla="*/ 12858 h 33942"/>
                <a:gd name="connsiteX19" fmla="*/ 25887 w 33540"/>
                <a:gd name="connsiteY19" fmla="*/ 11234 h 33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3540" h="33942">
                  <a:moveTo>
                    <a:pt x="25781" y="11128"/>
                  </a:moveTo>
                  <a:cubicBezTo>
                    <a:pt x="24463" y="8441"/>
                    <a:pt x="21656" y="6814"/>
                    <a:pt x="18672" y="7001"/>
                  </a:cubicBezTo>
                  <a:cubicBezTo>
                    <a:pt x="13834" y="6966"/>
                    <a:pt x="9885" y="10861"/>
                    <a:pt x="9850" y="15699"/>
                  </a:cubicBezTo>
                  <a:cubicBezTo>
                    <a:pt x="9850" y="15979"/>
                    <a:pt x="9861" y="16256"/>
                    <a:pt x="9885" y="16533"/>
                  </a:cubicBezTo>
                  <a:cubicBezTo>
                    <a:pt x="9459" y="21352"/>
                    <a:pt x="13019" y="25604"/>
                    <a:pt x="17838" y="26030"/>
                  </a:cubicBezTo>
                  <a:cubicBezTo>
                    <a:pt x="18099" y="26054"/>
                    <a:pt x="18357" y="26065"/>
                    <a:pt x="18618" y="26065"/>
                  </a:cubicBezTo>
                  <a:cubicBezTo>
                    <a:pt x="21441" y="26281"/>
                    <a:pt x="24133" y="24835"/>
                    <a:pt x="25514" y="22364"/>
                  </a:cubicBezTo>
                  <a:cubicBezTo>
                    <a:pt x="25869" y="21421"/>
                    <a:pt x="26771" y="20796"/>
                    <a:pt x="27778" y="20793"/>
                  </a:cubicBezTo>
                  <a:lnTo>
                    <a:pt x="32411" y="20793"/>
                  </a:lnTo>
                  <a:cubicBezTo>
                    <a:pt x="33742" y="20793"/>
                    <a:pt x="34621" y="21618"/>
                    <a:pt x="34301" y="22923"/>
                  </a:cubicBezTo>
                  <a:cubicBezTo>
                    <a:pt x="32810" y="29340"/>
                    <a:pt x="26313" y="33573"/>
                    <a:pt x="18805" y="33573"/>
                  </a:cubicBezTo>
                  <a:cubicBezTo>
                    <a:pt x="9464" y="34061"/>
                    <a:pt x="1498" y="26882"/>
                    <a:pt x="1013" y="17545"/>
                  </a:cubicBezTo>
                  <a:cubicBezTo>
                    <a:pt x="992" y="17153"/>
                    <a:pt x="984" y="16764"/>
                    <a:pt x="992" y="16373"/>
                  </a:cubicBezTo>
                  <a:cubicBezTo>
                    <a:pt x="936" y="7198"/>
                    <a:pt x="8327" y="-287"/>
                    <a:pt x="17503" y="-346"/>
                  </a:cubicBezTo>
                  <a:cubicBezTo>
                    <a:pt x="17830" y="-346"/>
                    <a:pt x="18158" y="-340"/>
                    <a:pt x="18485" y="-322"/>
                  </a:cubicBezTo>
                  <a:cubicBezTo>
                    <a:pt x="27724" y="-322"/>
                    <a:pt x="32996" y="4578"/>
                    <a:pt x="34461" y="10728"/>
                  </a:cubicBezTo>
                  <a:cubicBezTo>
                    <a:pt x="34722" y="11618"/>
                    <a:pt x="34213" y="12549"/>
                    <a:pt x="33324" y="12810"/>
                  </a:cubicBezTo>
                  <a:cubicBezTo>
                    <a:pt x="33087" y="12880"/>
                    <a:pt x="32839" y="12896"/>
                    <a:pt x="32597" y="12858"/>
                  </a:cubicBezTo>
                  <a:lnTo>
                    <a:pt x="28124" y="12858"/>
                  </a:lnTo>
                  <a:cubicBezTo>
                    <a:pt x="27006" y="12858"/>
                    <a:pt x="26446" y="12299"/>
                    <a:pt x="25887" y="11234"/>
                  </a:cubicBezTo>
                </a:path>
              </a:pathLst>
            </a:custGeom>
            <a:solidFill>
              <a:srgbClr val="FFFFFF"/>
            </a:solidFill>
            <a:ln w="2661" cap="flat">
              <a:noFill/>
              <a:prstDash val="solid"/>
              <a:miter/>
            </a:ln>
          </p:spPr>
          <p:txBody>
            <a:bodyPr rtlCol="0" anchor="ctr"/>
            <a:lstStyle/>
            <a:p>
              <a:endParaRPr lang="pl-PL"/>
            </a:p>
          </p:txBody>
        </p:sp>
        <p:sp>
          <p:nvSpPr>
            <p:cNvPr id="121" name="Freeform: Shape 120">
              <a:extLst>
                <a:ext uri="{FF2B5EF4-FFF2-40B4-BE49-F238E27FC236}">
                  <a16:creationId xmlns:a16="http://schemas.microsoft.com/office/drawing/2014/main" id="{7DB5E7B2-809E-4444-AF0F-ABA805F52A24}"/>
                </a:ext>
              </a:extLst>
            </p:cNvPr>
            <p:cNvSpPr/>
            <p:nvPr/>
          </p:nvSpPr>
          <p:spPr>
            <a:xfrm>
              <a:off x="11692340" y="6750833"/>
              <a:ext cx="20150" cy="19139"/>
            </a:xfrm>
            <a:custGeom>
              <a:avLst/>
              <a:gdLst>
                <a:gd name="connsiteX0" fmla="*/ 18856 w 35707"/>
                <a:gd name="connsiteY0" fmla="*/ -346 h 33914"/>
                <a:gd name="connsiteX1" fmla="*/ 36695 w 35707"/>
                <a:gd name="connsiteY1" fmla="*/ 16349 h 33914"/>
                <a:gd name="connsiteX2" fmla="*/ 19833 w 35707"/>
                <a:gd name="connsiteY2" fmla="*/ 33568 h 33914"/>
                <a:gd name="connsiteX3" fmla="*/ 18856 w 35707"/>
                <a:gd name="connsiteY3" fmla="*/ 33550 h 33914"/>
                <a:gd name="connsiteX4" fmla="*/ 1008 w 35707"/>
                <a:gd name="connsiteY4" fmla="*/ 17300 h 33914"/>
                <a:gd name="connsiteX5" fmla="*/ 989 w 35707"/>
                <a:gd name="connsiteY5" fmla="*/ 16349 h 33914"/>
                <a:gd name="connsiteX6" fmla="*/ 18856 w 35707"/>
                <a:gd name="connsiteY6" fmla="*/ -346 h 33914"/>
                <a:gd name="connsiteX7" fmla="*/ 18856 w 35707"/>
                <a:gd name="connsiteY7" fmla="*/ 26147 h 33914"/>
                <a:gd name="connsiteX8" fmla="*/ 28028 w 35707"/>
                <a:gd name="connsiteY8" fmla="*/ 17214 h 33914"/>
                <a:gd name="connsiteX9" fmla="*/ 28015 w 35707"/>
                <a:gd name="connsiteY9" fmla="*/ 16615 h 33914"/>
                <a:gd name="connsiteX10" fmla="*/ 19455 w 35707"/>
                <a:gd name="connsiteY10" fmla="*/ 7096 h 33914"/>
                <a:gd name="connsiteX11" fmla="*/ 18856 w 35707"/>
                <a:gd name="connsiteY11" fmla="*/ 7083 h 33914"/>
                <a:gd name="connsiteX12" fmla="*/ 9683 w 35707"/>
                <a:gd name="connsiteY12" fmla="*/ 15960 h 33914"/>
                <a:gd name="connsiteX13" fmla="*/ 9696 w 35707"/>
                <a:gd name="connsiteY13" fmla="*/ 16615 h 33914"/>
                <a:gd name="connsiteX14" fmla="*/ 18200 w 35707"/>
                <a:gd name="connsiteY14" fmla="*/ 26134 h 33914"/>
                <a:gd name="connsiteX15" fmla="*/ 18856 w 35707"/>
                <a:gd name="connsiteY15" fmla="*/ 26147 h 33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07" h="33914">
                  <a:moveTo>
                    <a:pt x="18856" y="-346"/>
                  </a:moveTo>
                  <a:cubicBezTo>
                    <a:pt x="29346" y="-346"/>
                    <a:pt x="36695" y="7003"/>
                    <a:pt x="36695" y="16349"/>
                  </a:cubicBezTo>
                  <a:cubicBezTo>
                    <a:pt x="36794" y="25759"/>
                    <a:pt x="29245" y="33470"/>
                    <a:pt x="19833" y="33568"/>
                  </a:cubicBezTo>
                  <a:cubicBezTo>
                    <a:pt x="19508" y="33571"/>
                    <a:pt x="19180" y="33565"/>
                    <a:pt x="18856" y="33550"/>
                  </a:cubicBezTo>
                  <a:cubicBezTo>
                    <a:pt x="9440" y="33991"/>
                    <a:pt x="1450" y="26717"/>
                    <a:pt x="1008" y="17300"/>
                  </a:cubicBezTo>
                  <a:cubicBezTo>
                    <a:pt x="992" y="16983"/>
                    <a:pt x="987" y="16666"/>
                    <a:pt x="989" y="16349"/>
                  </a:cubicBezTo>
                  <a:cubicBezTo>
                    <a:pt x="989" y="7003"/>
                    <a:pt x="8391" y="-346"/>
                    <a:pt x="18856" y="-346"/>
                  </a:cubicBezTo>
                  <a:moveTo>
                    <a:pt x="18856" y="26147"/>
                  </a:moveTo>
                  <a:cubicBezTo>
                    <a:pt x="23856" y="26214"/>
                    <a:pt x="27962" y="22215"/>
                    <a:pt x="28028" y="17214"/>
                  </a:cubicBezTo>
                  <a:cubicBezTo>
                    <a:pt x="28031" y="17015"/>
                    <a:pt x="28026" y="16815"/>
                    <a:pt x="28015" y="16615"/>
                  </a:cubicBezTo>
                  <a:cubicBezTo>
                    <a:pt x="28281" y="11623"/>
                    <a:pt x="24447" y="7360"/>
                    <a:pt x="19455" y="7096"/>
                  </a:cubicBezTo>
                  <a:cubicBezTo>
                    <a:pt x="19255" y="7086"/>
                    <a:pt x="19055" y="7080"/>
                    <a:pt x="18856" y="7083"/>
                  </a:cubicBezTo>
                  <a:cubicBezTo>
                    <a:pt x="13871" y="7001"/>
                    <a:pt x="9765" y="10976"/>
                    <a:pt x="9683" y="15960"/>
                  </a:cubicBezTo>
                  <a:cubicBezTo>
                    <a:pt x="9680" y="16179"/>
                    <a:pt x="9683" y="16397"/>
                    <a:pt x="9696" y="16615"/>
                  </a:cubicBezTo>
                  <a:cubicBezTo>
                    <a:pt x="9417" y="21592"/>
                    <a:pt x="13224" y="25855"/>
                    <a:pt x="18200" y="26134"/>
                  </a:cubicBezTo>
                  <a:cubicBezTo>
                    <a:pt x="18419" y="26147"/>
                    <a:pt x="18637" y="26150"/>
                    <a:pt x="18856" y="26147"/>
                  </a:cubicBezTo>
                </a:path>
              </a:pathLst>
            </a:custGeom>
            <a:solidFill>
              <a:srgbClr val="FFFFFF"/>
            </a:solidFill>
            <a:ln w="2661" cap="flat">
              <a:noFill/>
              <a:prstDash val="solid"/>
              <a:miter/>
            </a:ln>
          </p:spPr>
          <p:txBody>
            <a:bodyPr rtlCol="0" anchor="ctr"/>
            <a:lstStyle/>
            <a:p>
              <a:endParaRPr lang="pl-PL"/>
            </a:p>
          </p:txBody>
        </p:sp>
        <p:sp>
          <p:nvSpPr>
            <p:cNvPr id="122" name="Freeform: Shape 121">
              <a:extLst>
                <a:ext uri="{FF2B5EF4-FFF2-40B4-BE49-F238E27FC236}">
                  <a16:creationId xmlns:a16="http://schemas.microsoft.com/office/drawing/2014/main" id="{58524F90-94F7-4E48-B31A-E89809404DD7}"/>
                </a:ext>
              </a:extLst>
            </p:cNvPr>
            <p:cNvSpPr/>
            <p:nvPr/>
          </p:nvSpPr>
          <p:spPr>
            <a:xfrm>
              <a:off x="11719549" y="6750860"/>
              <a:ext cx="19630" cy="26558"/>
            </a:xfrm>
            <a:custGeom>
              <a:avLst/>
              <a:gdLst>
                <a:gd name="connsiteX0" fmla="*/ 994 w 34784"/>
                <a:gd name="connsiteY0" fmla="*/ 44632 h 47062"/>
                <a:gd name="connsiteX1" fmla="*/ 994 w 34784"/>
                <a:gd name="connsiteY1" fmla="*/ 2270 h 47062"/>
                <a:gd name="connsiteX2" fmla="*/ 2711 w 34784"/>
                <a:gd name="connsiteY2" fmla="*/ 270 h 47062"/>
                <a:gd name="connsiteX3" fmla="*/ 3018 w 34784"/>
                <a:gd name="connsiteY3" fmla="*/ 273 h 47062"/>
                <a:gd name="connsiteX4" fmla="*/ 5015 w 34784"/>
                <a:gd name="connsiteY4" fmla="*/ 273 h 47062"/>
                <a:gd name="connsiteX5" fmla="*/ 7278 w 34784"/>
                <a:gd name="connsiteY5" fmla="*/ 1897 h 47062"/>
                <a:gd name="connsiteX6" fmla="*/ 9594 w 34784"/>
                <a:gd name="connsiteY6" fmla="*/ 2589 h 47062"/>
                <a:gd name="connsiteX7" fmla="*/ 19206 w 34784"/>
                <a:gd name="connsiteY7" fmla="*/ -339 h 47062"/>
                <a:gd name="connsiteX8" fmla="*/ 35771 w 34784"/>
                <a:gd name="connsiteY8" fmla="*/ 16060 h 47062"/>
                <a:gd name="connsiteX9" fmla="*/ 35768 w 34784"/>
                <a:gd name="connsiteY9" fmla="*/ 16462 h 47062"/>
                <a:gd name="connsiteX10" fmla="*/ 19558 w 34784"/>
                <a:gd name="connsiteY10" fmla="*/ 33524 h 47062"/>
                <a:gd name="connsiteX11" fmla="*/ 19073 w 34784"/>
                <a:gd name="connsiteY11" fmla="*/ 33529 h 47062"/>
                <a:gd name="connsiteX12" fmla="*/ 11085 w 34784"/>
                <a:gd name="connsiteY12" fmla="*/ 31585 h 47062"/>
                <a:gd name="connsiteX13" fmla="*/ 9009 w 34784"/>
                <a:gd name="connsiteY13" fmla="*/ 32597 h 47062"/>
                <a:gd name="connsiteX14" fmla="*/ 9009 w 34784"/>
                <a:gd name="connsiteY14" fmla="*/ 44712 h 47062"/>
                <a:gd name="connsiteX15" fmla="*/ 7347 w 34784"/>
                <a:gd name="connsiteY15" fmla="*/ 46709 h 47062"/>
                <a:gd name="connsiteX16" fmla="*/ 7012 w 34784"/>
                <a:gd name="connsiteY16" fmla="*/ 46709 h 47062"/>
                <a:gd name="connsiteX17" fmla="*/ 3124 w 34784"/>
                <a:gd name="connsiteY17" fmla="*/ 46709 h 47062"/>
                <a:gd name="connsiteX18" fmla="*/ 1103 w 34784"/>
                <a:gd name="connsiteY18" fmla="*/ 45018 h 47062"/>
                <a:gd name="connsiteX19" fmla="*/ 1101 w 34784"/>
                <a:gd name="connsiteY19" fmla="*/ 44712 h 47062"/>
                <a:gd name="connsiteX20" fmla="*/ 10340 w 34784"/>
                <a:gd name="connsiteY20" fmla="*/ 22106 h 47062"/>
                <a:gd name="connsiteX21" fmla="*/ 18328 w 34784"/>
                <a:gd name="connsiteY21" fmla="*/ 26127 h 47062"/>
                <a:gd name="connsiteX22" fmla="*/ 27064 w 34784"/>
                <a:gd name="connsiteY22" fmla="*/ 16512 h 47062"/>
                <a:gd name="connsiteX23" fmla="*/ 27061 w 34784"/>
                <a:gd name="connsiteY23" fmla="*/ 16462 h 47062"/>
                <a:gd name="connsiteX24" fmla="*/ 18328 w 34784"/>
                <a:gd name="connsiteY24" fmla="*/ 7063 h 47062"/>
                <a:gd name="connsiteX25" fmla="*/ 10340 w 34784"/>
                <a:gd name="connsiteY25" fmla="*/ 11057 h 47062"/>
                <a:gd name="connsiteX26" fmla="*/ 9781 w 34784"/>
                <a:gd name="connsiteY26" fmla="*/ 13213 h 47062"/>
                <a:gd name="connsiteX27" fmla="*/ 9781 w 34784"/>
                <a:gd name="connsiteY27" fmla="*/ 19976 h 47062"/>
                <a:gd name="connsiteX28" fmla="*/ 10340 w 34784"/>
                <a:gd name="connsiteY28" fmla="*/ 22106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784" h="47062">
                  <a:moveTo>
                    <a:pt x="994" y="44632"/>
                  </a:moveTo>
                  <a:lnTo>
                    <a:pt x="994" y="2270"/>
                  </a:lnTo>
                  <a:cubicBezTo>
                    <a:pt x="917" y="1245"/>
                    <a:pt x="1686" y="348"/>
                    <a:pt x="2711" y="270"/>
                  </a:cubicBezTo>
                  <a:cubicBezTo>
                    <a:pt x="2813" y="262"/>
                    <a:pt x="2917" y="265"/>
                    <a:pt x="3018" y="273"/>
                  </a:cubicBezTo>
                  <a:lnTo>
                    <a:pt x="5015" y="273"/>
                  </a:lnTo>
                  <a:cubicBezTo>
                    <a:pt x="6064" y="190"/>
                    <a:pt x="7022" y="875"/>
                    <a:pt x="7278" y="1897"/>
                  </a:cubicBezTo>
                  <a:cubicBezTo>
                    <a:pt x="7597" y="3228"/>
                    <a:pt x="8529" y="3415"/>
                    <a:pt x="9594" y="2589"/>
                  </a:cubicBezTo>
                  <a:cubicBezTo>
                    <a:pt x="12393" y="592"/>
                    <a:pt x="15769" y="-435"/>
                    <a:pt x="19206" y="-339"/>
                  </a:cubicBezTo>
                  <a:cubicBezTo>
                    <a:pt x="28310" y="-385"/>
                    <a:pt x="35725" y="6956"/>
                    <a:pt x="35771" y="16060"/>
                  </a:cubicBezTo>
                  <a:cubicBezTo>
                    <a:pt x="35771" y="16193"/>
                    <a:pt x="35771" y="16329"/>
                    <a:pt x="35768" y="16462"/>
                  </a:cubicBezTo>
                  <a:cubicBezTo>
                    <a:pt x="36002" y="25650"/>
                    <a:pt x="28747" y="33289"/>
                    <a:pt x="19558" y="33524"/>
                  </a:cubicBezTo>
                  <a:cubicBezTo>
                    <a:pt x="19395" y="33529"/>
                    <a:pt x="19236" y="33529"/>
                    <a:pt x="19073" y="33529"/>
                  </a:cubicBezTo>
                  <a:cubicBezTo>
                    <a:pt x="16288" y="33580"/>
                    <a:pt x="13538" y="32909"/>
                    <a:pt x="11085" y="31585"/>
                  </a:cubicBezTo>
                  <a:cubicBezTo>
                    <a:pt x="9834" y="30840"/>
                    <a:pt x="9009" y="31213"/>
                    <a:pt x="9009" y="32597"/>
                  </a:cubicBezTo>
                  <a:lnTo>
                    <a:pt x="9009" y="44712"/>
                  </a:lnTo>
                  <a:cubicBezTo>
                    <a:pt x="9102" y="45721"/>
                    <a:pt x="8356" y="46616"/>
                    <a:pt x="7347" y="46709"/>
                  </a:cubicBezTo>
                  <a:cubicBezTo>
                    <a:pt x="7235" y="46720"/>
                    <a:pt x="7123" y="46720"/>
                    <a:pt x="7012" y="46709"/>
                  </a:cubicBezTo>
                  <a:lnTo>
                    <a:pt x="3124" y="46709"/>
                  </a:lnTo>
                  <a:cubicBezTo>
                    <a:pt x="2099" y="46799"/>
                    <a:pt x="1194" y="46043"/>
                    <a:pt x="1103" y="45018"/>
                  </a:cubicBezTo>
                  <a:cubicBezTo>
                    <a:pt x="1093" y="44917"/>
                    <a:pt x="1093" y="44813"/>
                    <a:pt x="1101" y="44712"/>
                  </a:cubicBezTo>
                  <a:moveTo>
                    <a:pt x="10340" y="22106"/>
                  </a:moveTo>
                  <a:cubicBezTo>
                    <a:pt x="12148" y="24716"/>
                    <a:pt x="15154" y="26231"/>
                    <a:pt x="18328" y="26127"/>
                  </a:cubicBezTo>
                  <a:cubicBezTo>
                    <a:pt x="23395" y="25885"/>
                    <a:pt x="27306" y="21579"/>
                    <a:pt x="27064" y="16512"/>
                  </a:cubicBezTo>
                  <a:cubicBezTo>
                    <a:pt x="27064" y="16496"/>
                    <a:pt x="27061" y="16478"/>
                    <a:pt x="27061" y="16462"/>
                  </a:cubicBezTo>
                  <a:cubicBezTo>
                    <a:pt x="27210" y="11467"/>
                    <a:pt x="23320" y="7278"/>
                    <a:pt x="18328" y="7063"/>
                  </a:cubicBezTo>
                  <a:cubicBezTo>
                    <a:pt x="15165" y="6972"/>
                    <a:pt x="12166" y="8471"/>
                    <a:pt x="10340" y="11057"/>
                  </a:cubicBezTo>
                  <a:cubicBezTo>
                    <a:pt x="9924" y="11696"/>
                    <a:pt x="9727" y="12452"/>
                    <a:pt x="9781" y="13213"/>
                  </a:cubicBezTo>
                  <a:lnTo>
                    <a:pt x="9781" y="19976"/>
                  </a:lnTo>
                  <a:cubicBezTo>
                    <a:pt x="9746" y="20727"/>
                    <a:pt x="9941" y="21470"/>
                    <a:pt x="10340" y="22106"/>
                  </a:cubicBezTo>
                </a:path>
              </a:pathLst>
            </a:custGeom>
            <a:solidFill>
              <a:srgbClr val="8FDB42"/>
            </a:solidFill>
            <a:ln w="2661" cap="flat">
              <a:noFill/>
              <a:prstDash val="solid"/>
              <a:miter/>
            </a:ln>
          </p:spPr>
          <p:txBody>
            <a:bodyPr rtlCol="0" anchor="ctr"/>
            <a:lstStyle/>
            <a:p>
              <a:endParaRPr lang="pl-PL"/>
            </a:p>
          </p:txBody>
        </p:sp>
        <p:sp>
          <p:nvSpPr>
            <p:cNvPr id="123" name="Freeform: Shape 122">
              <a:extLst>
                <a:ext uri="{FF2B5EF4-FFF2-40B4-BE49-F238E27FC236}">
                  <a16:creationId xmlns:a16="http://schemas.microsoft.com/office/drawing/2014/main" id="{7A05756F-26BF-465C-9779-10B19061A88C}"/>
                </a:ext>
              </a:extLst>
            </p:cNvPr>
            <p:cNvSpPr/>
            <p:nvPr/>
          </p:nvSpPr>
          <p:spPr>
            <a:xfrm>
              <a:off x="11741806" y="6750833"/>
              <a:ext cx="20150" cy="19139"/>
            </a:xfrm>
            <a:custGeom>
              <a:avLst/>
              <a:gdLst>
                <a:gd name="connsiteX0" fmla="*/ 18882 w 35707"/>
                <a:gd name="connsiteY0" fmla="*/ -346 h 33914"/>
                <a:gd name="connsiteX1" fmla="*/ 36695 w 35707"/>
                <a:gd name="connsiteY1" fmla="*/ 16349 h 33914"/>
                <a:gd name="connsiteX2" fmla="*/ 19833 w 35707"/>
                <a:gd name="connsiteY2" fmla="*/ 33565 h 33914"/>
                <a:gd name="connsiteX3" fmla="*/ 18882 w 35707"/>
                <a:gd name="connsiteY3" fmla="*/ 33550 h 33914"/>
                <a:gd name="connsiteX4" fmla="*/ 1008 w 35707"/>
                <a:gd name="connsiteY4" fmla="*/ 17273 h 33914"/>
                <a:gd name="connsiteX5" fmla="*/ 989 w 35707"/>
                <a:gd name="connsiteY5" fmla="*/ 16349 h 33914"/>
                <a:gd name="connsiteX6" fmla="*/ 18882 w 35707"/>
                <a:gd name="connsiteY6" fmla="*/ -346 h 33914"/>
                <a:gd name="connsiteX7" fmla="*/ 18882 w 35707"/>
                <a:gd name="connsiteY7" fmla="*/ 26147 h 33914"/>
                <a:gd name="connsiteX8" fmla="*/ 28052 w 35707"/>
                <a:gd name="connsiteY8" fmla="*/ 17158 h 33914"/>
                <a:gd name="connsiteX9" fmla="*/ 28041 w 35707"/>
                <a:gd name="connsiteY9" fmla="*/ 16615 h 33914"/>
                <a:gd name="connsiteX10" fmla="*/ 19425 w 35707"/>
                <a:gd name="connsiteY10" fmla="*/ 7094 h 33914"/>
                <a:gd name="connsiteX11" fmla="*/ 18882 w 35707"/>
                <a:gd name="connsiteY11" fmla="*/ 7083 h 33914"/>
                <a:gd name="connsiteX12" fmla="*/ 9709 w 35707"/>
                <a:gd name="connsiteY12" fmla="*/ 15960 h 33914"/>
                <a:gd name="connsiteX13" fmla="*/ 9723 w 35707"/>
                <a:gd name="connsiteY13" fmla="*/ 16615 h 33914"/>
                <a:gd name="connsiteX14" fmla="*/ 18227 w 35707"/>
                <a:gd name="connsiteY14" fmla="*/ 26134 h 33914"/>
                <a:gd name="connsiteX15" fmla="*/ 18882 w 35707"/>
                <a:gd name="connsiteY15" fmla="*/ 26147 h 33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07" h="33914">
                  <a:moveTo>
                    <a:pt x="18882" y="-346"/>
                  </a:moveTo>
                  <a:cubicBezTo>
                    <a:pt x="29346" y="-346"/>
                    <a:pt x="36695" y="7003"/>
                    <a:pt x="36695" y="16349"/>
                  </a:cubicBezTo>
                  <a:cubicBezTo>
                    <a:pt x="36793" y="25759"/>
                    <a:pt x="29242" y="33467"/>
                    <a:pt x="19833" y="33565"/>
                  </a:cubicBezTo>
                  <a:cubicBezTo>
                    <a:pt x="19516" y="33568"/>
                    <a:pt x="19199" y="33563"/>
                    <a:pt x="18882" y="33550"/>
                  </a:cubicBezTo>
                  <a:cubicBezTo>
                    <a:pt x="9451" y="33991"/>
                    <a:pt x="1450" y="26704"/>
                    <a:pt x="1008" y="17273"/>
                  </a:cubicBezTo>
                  <a:cubicBezTo>
                    <a:pt x="992" y="16967"/>
                    <a:pt x="987" y="16658"/>
                    <a:pt x="989" y="16349"/>
                  </a:cubicBezTo>
                  <a:cubicBezTo>
                    <a:pt x="989" y="7003"/>
                    <a:pt x="8391" y="-346"/>
                    <a:pt x="18882" y="-346"/>
                  </a:cubicBezTo>
                  <a:moveTo>
                    <a:pt x="18882" y="26147"/>
                  </a:moveTo>
                  <a:cubicBezTo>
                    <a:pt x="23896" y="26198"/>
                    <a:pt x="28002" y="22175"/>
                    <a:pt x="28052" y="17158"/>
                  </a:cubicBezTo>
                  <a:cubicBezTo>
                    <a:pt x="28055" y="16977"/>
                    <a:pt x="28049" y="16796"/>
                    <a:pt x="28041" y="16615"/>
                  </a:cubicBezTo>
                  <a:cubicBezTo>
                    <a:pt x="28292" y="11607"/>
                    <a:pt x="24434" y="7344"/>
                    <a:pt x="19425" y="7094"/>
                  </a:cubicBezTo>
                  <a:cubicBezTo>
                    <a:pt x="19244" y="7086"/>
                    <a:pt x="19063" y="7080"/>
                    <a:pt x="18882" y="7083"/>
                  </a:cubicBezTo>
                  <a:cubicBezTo>
                    <a:pt x="13898" y="7001"/>
                    <a:pt x="9792" y="10976"/>
                    <a:pt x="9709" y="15960"/>
                  </a:cubicBezTo>
                  <a:cubicBezTo>
                    <a:pt x="9707" y="16179"/>
                    <a:pt x="9709" y="16397"/>
                    <a:pt x="9723" y="16615"/>
                  </a:cubicBezTo>
                  <a:cubicBezTo>
                    <a:pt x="9443" y="21592"/>
                    <a:pt x="13251" y="25855"/>
                    <a:pt x="18227" y="26134"/>
                  </a:cubicBezTo>
                  <a:cubicBezTo>
                    <a:pt x="18445" y="26147"/>
                    <a:pt x="18664" y="26150"/>
                    <a:pt x="18882" y="26147"/>
                  </a:cubicBezTo>
                </a:path>
              </a:pathLst>
            </a:custGeom>
            <a:solidFill>
              <a:srgbClr val="8FDB42"/>
            </a:solidFill>
            <a:ln w="2661" cap="flat">
              <a:noFill/>
              <a:prstDash val="solid"/>
              <a:miter/>
            </a:ln>
          </p:spPr>
          <p:txBody>
            <a:bodyPr rtlCol="0" anchor="ctr"/>
            <a:lstStyle/>
            <a:p>
              <a:endParaRPr lang="pl-PL"/>
            </a:p>
          </p:txBody>
        </p:sp>
        <p:sp>
          <p:nvSpPr>
            <p:cNvPr id="124" name="Freeform: Shape 123">
              <a:extLst>
                <a:ext uri="{FF2B5EF4-FFF2-40B4-BE49-F238E27FC236}">
                  <a16:creationId xmlns:a16="http://schemas.microsoft.com/office/drawing/2014/main" id="{F0192C2B-70B0-491B-9DA2-EC345D56E59C}"/>
                </a:ext>
              </a:extLst>
            </p:cNvPr>
            <p:cNvSpPr/>
            <p:nvPr/>
          </p:nvSpPr>
          <p:spPr>
            <a:xfrm>
              <a:off x="11764305" y="6750833"/>
              <a:ext cx="16853" cy="19128"/>
            </a:xfrm>
            <a:custGeom>
              <a:avLst/>
              <a:gdLst>
                <a:gd name="connsiteX0" fmla="*/ 16288 w 29863"/>
                <a:gd name="connsiteY0" fmla="*/ -346 h 33895"/>
                <a:gd name="connsiteX1" fmla="*/ 30266 w 29863"/>
                <a:gd name="connsiteY1" fmla="*/ 9400 h 33895"/>
                <a:gd name="connsiteX2" fmla="*/ 28376 w 29863"/>
                <a:gd name="connsiteY2" fmla="*/ 11476 h 33895"/>
                <a:gd name="connsiteX3" fmla="*/ 24275 w 29863"/>
                <a:gd name="connsiteY3" fmla="*/ 11476 h 33895"/>
                <a:gd name="connsiteX4" fmla="*/ 22065 w 29863"/>
                <a:gd name="connsiteY4" fmla="*/ 9719 h 33895"/>
                <a:gd name="connsiteX5" fmla="*/ 16048 w 29863"/>
                <a:gd name="connsiteY5" fmla="*/ 6444 h 33895"/>
                <a:gd name="connsiteX6" fmla="*/ 10723 w 29863"/>
                <a:gd name="connsiteY6" fmla="*/ 9266 h 33895"/>
                <a:gd name="connsiteX7" fmla="*/ 30852 w 29863"/>
                <a:gd name="connsiteY7" fmla="*/ 23591 h 33895"/>
                <a:gd name="connsiteX8" fmla="*/ 16687 w 29863"/>
                <a:gd name="connsiteY8" fmla="*/ 33550 h 33895"/>
                <a:gd name="connsiteX9" fmla="*/ 1058 w 29863"/>
                <a:gd name="connsiteY9" fmla="*/ 23511 h 33895"/>
                <a:gd name="connsiteX10" fmla="*/ 2868 w 29863"/>
                <a:gd name="connsiteY10" fmla="*/ 21381 h 33895"/>
                <a:gd name="connsiteX11" fmla="*/ 7128 w 29863"/>
                <a:gd name="connsiteY11" fmla="*/ 21381 h 33895"/>
                <a:gd name="connsiteX12" fmla="*/ 9338 w 29863"/>
                <a:gd name="connsiteY12" fmla="*/ 23006 h 33895"/>
                <a:gd name="connsiteX13" fmla="*/ 16873 w 29863"/>
                <a:gd name="connsiteY13" fmla="*/ 26786 h 33895"/>
                <a:gd name="connsiteX14" fmla="*/ 22385 w 29863"/>
                <a:gd name="connsiteY14" fmla="*/ 23645 h 33895"/>
                <a:gd name="connsiteX15" fmla="*/ 2256 w 29863"/>
                <a:gd name="connsiteY15" fmla="*/ 9453 h 33895"/>
                <a:gd name="connsiteX16" fmla="*/ 16128 w 29863"/>
                <a:gd name="connsiteY16" fmla="*/ -346 h 3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863" h="33895">
                  <a:moveTo>
                    <a:pt x="16288" y="-346"/>
                  </a:moveTo>
                  <a:cubicBezTo>
                    <a:pt x="24275" y="-346"/>
                    <a:pt x="28962" y="3622"/>
                    <a:pt x="30266" y="9400"/>
                  </a:cubicBezTo>
                  <a:cubicBezTo>
                    <a:pt x="30586" y="10704"/>
                    <a:pt x="29760" y="11476"/>
                    <a:pt x="28376" y="11476"/>
                  </a:cubicBezTo>
                  <a:lnTo>
                    <a:pt x="24275" y="11476"/>
                  </a:lnTo>
                  <a:cubicBezTo>
                    <a:pt x="23077" y="11476"/>
                    <a:pt x="22518" y="10837"/>
                    <a:pt x="22065" y="9719"/>
                  </a:cubicBezTo>
                  <a:cubicBezTo>
                    <a:pt x="21320" y="7642"/>
                    <a:pt x="19403" y="6444"/>
                    <a:pt x="16048" y="6444"/>
                  </a:cubicBezTo>
                  <a:cubicBezTo>
                    <a:pt x="12693" y="6444"/>
                    <a:pt x="10723" y="7562"/>
                    <a:pt x="10723" y="9266"/>
                  </a:cubicBezTo>
                  <a:cubicBezTo>
                    <a:pt x="10723" y="15364"/>
                    <a:pt x="30852" y="10971"/>
                    <a:pt x="30852" y="23591"/>
                  </a:cubicBezTo>
                  <a:cubicBezTo>
                    <a:pt x="30852" y="29982"/>
                    <a:pt x="25021" y="33550"/>
                    <a:pt x="16687" y="33550"/>
                  </a:cubicBezTo>
                  <a:cubicBezTo>
                    <a:pt x="8353" y="33550"/>
                    <a:pt x="2362" y="29928"/>
                    <a:pt x="1058" y="23511"/>
                  </a:cubicBezTo>
                  <a:cubicBezTo>
                    <a:pt x="738" y="22127"/>
                    <a:pt x="1563" y="21381"/>
                    <a:pt x="2868" y="21381"/>
                  </a:cubicBezTo>
                  <a:lnTo>
                    <a:pt x="7128" y="21381"/>
                  </a:lnTo>
                  <a:cubicBezTo>
                    <a:pt x="8153" y="21344"/>
                    <a:pt x="9067" y="22018"/>
                    <a:pt x="9338" y="23006"/>
                  </a:cubicBezTo>
                  <a:cubicBezTo>
                    <a:pt x="10853" y="25673"/>
                    <a:pt x="13827" y="27165"/>
                    <a:pt x="16873" y="26786"/>
                  </a:cubicBezTo>
                  <a:cubicBezTo>
                    <a:pt x="20255" y="26786"/>
                    <a:pt x="22385" y="25721"/>
                    <a:pt x="22385" y="23645"/>
                  </a:cubicBezTo>
                  <a:cubicBezTo>
                    <a:pt x="22385" y="17494"/>
                    <a:pt x="2256" y="22127"/>
                    <a:pt x="2256" y="9453"/>
                  </a:cubicBezTo>
                  <a:cubicBezTo>
                    <a:pt x="2256" y="3808"/>
                    <a:pt x="7075" y="-346"/>
                    <a:pt x="16128" y="-346"/>
                  </a:cubicBezTo>
                </a:path>
              </a:pathLst>
            </a:custGeom>
            <a:solidFill>
              <a:srgbClr val="8FDB42"/>
            </a:solidFill>
            <a:ln w="2661" cap="flat">
              <a:noFill/>
              <a:prstDash val="solid"/>
              <a:miter/>
            </a:ln>
          </p:spPr>
          <p:txBody>
            <a:bodyPr rtlCol="0" anchor="ctr"/>
            <a:lstStyle/>
            <a:p>
              <a:endParaRPr lang="pl-PL"/>
            </a:p>
          </p:txBody>
        </p:sp>
        <p:sp>
          <p:nvSpPr>
            <p:cNvPr id="125" name="Freeform: Shape 124">
              <a:extLst>
                <a:ext uri="{FF2B5EF4-FFF2-40B4-BE49-F238E27FC236}">
                  <a16:creationId xmlns:a16="http://schemas.microsoft.com/office/drawing/2014/main" id="{D4D8A00E-175D-436E-A73A-90159574A592}"/>
                </a:ext>
              </a:extLst>
            </p:cNvPr>
            <p:cNvSpPr/>
            <p:nvPr/>
          </p:nvSpPr>
          <p:spPr>
            <a:xfrm>
              <a:off x="11784416" y="6742209"/>
              <a:ext cx="6552" cy="27380"/>
            </a:xfrm>
            <a:custGeom>
              <a:avLst/>
              <a:gdLst>
                <a:gd name="connsiteX0" fmla="*/ 1098 w 11611"/>
                <a:gd name="connsiteY0" fmla="*/ 5352 h 48518"/>
                <a:gd name="connsiteX1" fmla="*/ 6796 w 11611"/>
                <a:gd name="connsiteY1" fmla="*/ -346 h 48518"/>
                <a:gd name="connsiteX2" fmla="*/ 6876 w 11611"/>
                <a:gd name="connsiteY2" fmla="*/ -346 h 48518"/>
                <a:gd name="connsiteX3" fmla="*/ 12600 w 11611"/>
                <a:gd name="connsiteY3" fmla="*/ 5352 h 48518"/>
                <a:gd name="connsiteX4" fmla="*/ 6769 w 11611"/>
                <a:gd name="connsiteY4" fmla="*/ 11263 h 48518"/>
                <a:gd name="connsiteX5" fmla="*/ 989 w 11611"/>
                <a:gd name="connsiteY5" fmla="*/ 5488 h 48518"/>
                <a:gd name="connsiteX6" fmla="*/ 991 w 11611"/>
                <a:gd name="connsiteY6" fmla="*/ 5352 h 48518"/>
                <a:gd name="connsiteX7" fmla="*/ 10710 w 11611"/>
                <a:gd name="connsiteY7" fmla="*/ 17521 h 48518"/>
                <a:gd name="connsiteX8" fmla="*/ 10710 w 11611"/>
                <a:gd name="connsiteY8" fmla="*/ 46144 h 48518"/>
                <a:gd name="connsiteX9" fmla="*/ 9019 w 11611"/>
                <a:gd name="connsiteY9" fmla="*/ 48165 h 48518"/>
                <a:gd name="connsiteX10" fmla="*/ 8713 w 11611"/>
                <a:gd name="connsiteY10" fmla="*/ 48167 h 48518"/>
                <a:gd name="connsiteX11" fmla="*/ 4000 w 11611"/>
                <a:gd name="connsiteY11" fmla="*/ 48167 h 48518"/>
                <a:gd name="connsiteX12" fmla="*/ 2001 w 11611"/>
                <a:gd name="connsiteY12" fmla="*/ 46450 h 48518"/>
                <a:gd name="connsiteX13" fmla="*/ 2003 w 11611"/>
                <a:gd name="connsiteY13" fmla="*/ 46144 h 48518"/>
                <a:gd name="connsiteX14" fmla="*/ 2003 w 11611"/>
                <a:gd name="connsiteY14" fmla="*/ 17600 h 48518"/>
                <a:gd name="connsiteX15" fmla="*/ 3665 w 11611"/>
                <a:gd name="connsiteY15" fmla="*/ 15603 h 48518"/>
                <a:gd name="connsiteX16" fmla="*/ 4000 w 11611"/>
                <a:gd name="connsiteY16" fmla="*/ 15603 h 48518"/>
                <a:gd name="connsiteX17" fmla="*/ 8713 w 11611"/>
                <a:gd name="connsiteY17" fmla="*/ 15603 h 48518"/>
                <a:gd name="connsiteX18" fmla="*/ 10710 w 11611"/>
                <a:gd name="connsiteY18" fmla="*/ 17265 h 48518"/>
                <a:gd name="connsiteX19" fmla="*/ 10710 w 11611"/>
                <a:gd name="connsiteY19" fmla="*/ 17600 h 48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11" h="48518">
                  <a:moveTo>
                    <a:pt x="1098" y="5352"/>
                  </a:moveTo>
                  <a:cubicBezTo>
                    <a:pt x="1098" y="2205"/>
                    <a:pt x="3649" y="-346"/>
                    <a:pt x="6796" y="-346"/>
                  </a:cubicBezTo>
                  <a:cubicBezTo>
                    <a:pt x="6823" y="-346"/>
                    <a:pt x="6849" y="-346"/>
                    <a:pt x="6876" y="-346"/>
                  </a:cubicBezTo>
                  <a:cubicBezTo>
                    <a:pt x="10004" y="-290"/>
                    <a:pt x="12529" y="2224"/>
                    <a:pt x="12600" y="5352"/>
                  </a:cubicBezTo>
                  <a:cubicBezTo>
                    <a:pt x="12600" y="8585"/>
                    <a:pt x="10002" y="11221"/>
                    <a:pt x="6769" y="11263"/>
                  </a:cubicBezTo>
                  <a:cubicBezTo>
                    <a:pt x="3579" y="11263"/>
                    <a:pt x="991" y="8678"/>
                    <a:pt x="989" y="5488"/>
                  </a:cubicBezTo>
                  <a:cubicBezTo>
                    <a:pt x="989" y="5443"/>
                    <a:pt x="991" y="5398"/>
                    <a:pt x="991" y="5352"/>
                  </a:cubicBezTo>
                  <a:moveTo>
                    <a:pt x="10710" y="17521"/>
                  </a:moveTo>
                  <a:lnTo>
                    <a:pt x="10710" y="46144"/>
                  </a:lnTo>
                  <a:cubicBezTo>
                    <a:pt x="10800" y="47169"/>
                    <a:pt x="10044" y="48074"/>
                    <a:pt x="9019" y="48165"/>
                  </a:cubicBezTo>
                  <a:cubicBezTo>
                    <a:pt x="8918" y="48175"/>
                    <a:pt x="8814" y="48175"/>
                    <a:pt x="8713" y="48167"/>
                  </a:cubicBezTo>
                  <a:lnTo>
                    <a:pt x="4000" y="48167"/>
                  </a:lnTo>
                  <a:cubicBezTo>
                    <a:pt x="2975" y="48244"/>
                    <a:pt x="2078" y="47475"/>
                    <a:pt x="2001" y="46450"/>
                  </a:cubicBezTo>
                  <a:cubicBezTo>
                    <a:pt x="1993" y="46349"/>
                    <a:pt x="1995" y="46245"/>
                    <a:pt x="2003" y="46144"/>
                  </a:cubicBezTo>
                  <a:lnTo>
                    <a:pt x="2003" y="17600"/>
                  </a:lnTo>
                  <a:cubicBezTo>
                    <a:pt x="1910" y="16591"/>
                    <a:pt x="2656" y="15697"/>
                    <a:pt x="3665" y="15603"/>
                  </a:cubicBezTo>
                  <a:cubicBezTo>
                    <a:pt x="3776" y="15593"/>
                    <a:pt x="3888" y="15593"/>
                    <a:pt x="4000" y="15603"/>
                  </a:cubicBezTo>
                  <a:lnTo>
                    <a:pt x="8713" y="15603"/>
                  </a:lnTo>
                  <a:cubicBezTo>
                    <a:pt x="9722" y="15510"/>
                    <a:pt x="10617" y="16256"/>
                    <a:pt x="10710" y="17265"/>
                  </a:cubicBezTo>
                  <a:cubicBezTo>
                    <a:pt x="10721" y="17377"/>
                    <a:pt x="10721" y="17489"/>
                    <a:pt x="10710" y="17600"/>
                  </a:cubicBezTo>
                </a:path>
              </a:pathLst>
            </a:custGeom>
            <a:solidFill>
              <a:srgbClr val="8FDB42"/>
            </a:solidFill>
            <a:ln w="2661" cap="flat">
              <a:noFill/>
              <a:prstDash val="solid"/>
              <a:miter/>
            </a:ln>
          </p:spPr>
          <p:txBody>
            <a:bodyPr rtlCol="0" anchor="ctr"/>
            <a:lstStyle/>
            <a:p>
              <a:endParaRPr lang="pl-PL"/>
            </a:p>
          </p:txBody>
        </p:sp>
        <p:sp>
          <p:nvSpPr>
            <p:cNvPr id="126" name="Freeform: Shape 125">
              <a:extLst>
                <a:ext uri="{FF2B5EF4-FFF2-40B4-BE49-F238E27FC236}">
                  <a16:creationId xmlns:a16="http://schemas.microsoft.com/office/drawing/2014/main" id="{49B79F97-24D2-4A87-A78F-93C71BFA1BEA}"/>
                </a:ext>
              </a:extLst>
            </p:cNvPr>
            <p:cNvSpPr/>
            <p:nvPr/>
          </p:nvSpPr>
          <p:spPr>
            <a:xfrm>
              <a:off x="11793381" y="6746197"/>
              <a:ext cx="13675" cy="23794"/>
            </a:xfrm>
            <a:custGeom>
              <a:avLst/>
              <a:gdLst>
                <a:gd name="connsiteX0" fmla="*/ 1029 w 24233"/>
                <a:gd name="connsiteY0" fmla="*/ 13782 h 42164"/>
                <a:gd name="connsiteX1" fmla="*/ 1029 w 24233"/>
                <a:gd name="connsiteY1" fmla="*/ 10533 h 42164"/>
                <a:gd name="connsiteX2" fmla="*/ 2608 w 24233"/>
                <a:gd name="connsiteY2" fmla="*/ 8518 h 42164"/>
                <a:gd name="connsiteX3" fmla="*/ 2972 w 24233"/>
                <a:gd name="connsiteY3" fmla="*/ 8510 h 42164"/>
                <a:gd name="connsiteX4" fmla="*/ 5049 w 24233"/>
                <a:gd name="connsiteY4" fmla="*/ 8510 h 42164"/>
                <a:gd name="connsiteX5" fmla="*/ 5741 w 24233"/>
                <a:gd name="connsiteY5" fmla="*/ 7817 h 42164"/>
                <a:gd name="connsiteX6" fmla="*/ 5741 w 24233"/>
                <a:gd name="connsiteY6" fmla="*/ 3105 h 42164"/>
                <a:gd name="connsiteX7" fmla="*/ 7419 w 24233"/>
                <a:gd name="connsiteY7" fmla="*/ 921 h 42164"/>
                <a:gd name="connsiteX8" fmla="*/ 11892 w 24233"/>
                <a:gd name="connsiteY8" fmla="*/ -224 h 42164"/>
                <a:gd name="connsiteX9" fmla="*/ 14043 w 24233"/>
                <a:gd name="connsiteY9" fmla="*/ 684 h 42164"/>
                <a:gd name="connsiteX10" fmla="*/ 14155 w 24233"/>
                <a:gd name="connsiteY10" fmla="*/ 1480 h 42164"/>
                <a:gd name="connsiteX11" fmla="*/ 14155 w 24233"/>
                <a:gd name="connsiteY11" fmla="*/ 7871 h 42164"/>
                <a:gd name="connsiteX12" fmla="*/ 14794 w 24233"/>
                <a:gd name="connsiteY12" fmla="*/ 8563 h 42164"/>
                <a:gd name="connsiteX13" fmla="*/ 14848 w 24233"/>
                <a:gd name="connsiteY13" fmla="*/ 8563 h 42164"/>
                <a:gd name="connsiteX14" fmla="*/ 22835 w 24233"/>
                <a:gd name="connsiteY14" fmla="*/ 8563 h 42164"/>
                <a:gd name="connsiteX15" fmla="*/ 24859 w 24233"/>
                <a:gd name="connsiteY15" fmla="*/ 10251 h 42164"/>
                <a:gd name="connsiteX16" fmla="*/ 24859 w 24233"/>
                <a:gd name="connsiteY16" fmla="*/ 10587 h 42164"/>
                <a:gd name="connsiteX17" fmla="*/ 24859 w 24233"/>
                <a:gd name="connsiteY17" fmla="*/ 13888 h 42164"/>
                <a:gd name="connsiteX18" fmla="*/ 23171 w 24233"/>
                <a:gd name="connsiteY18" fmla="*/ 15912 h 42164"/>
                <a:gd name="connsiteX19" fmla="*/ 22835 w 24233"/>
                <a:gd name="connsiteY19" fmla="*/ 15912 h 42164"/>
                <a:gd name="connsiteX20" fmla="*/ 14848 w 24233"/>
                <a:gd name="connsiteY20" fmla="*/ 15912 h 42164"/>
                <a:gd name="connsiteX21" fmla="*/ 14150 w 24233"/>
                <a:gd name="connsiteY21" fmla="*/ 16545 h 42164"/>
                <a:gd name="connsiteX22" fmla="*/ 14155 w 24233"/>
                <a:gd name="connsiteY22" fmla="*/ 16657 h 42164"/>
                <a:gd name="connsiteX23" fmla="*/ 14155 w 24233"/>
                <a:gd name="connsiteY23" fmla="*/ 30157 h 42164"/>
                <a:gd name="connsiteX24" fmla="*/ 17590 w 24233"/>
                <a:gd name="connsiteY24" fmla="*/ 34177 h 42164"/>
                <a:gd name="connsiteX25" fmla="*/ 22436 w 24233"/>
                <a:gd name="connsiteY25" fmla="*/ 33485 h 42164"/>
                <a:gd name="connsiteX26" fmla="*/ 24683 w 24233"/>
                <a:gd name="connsiteY26" fmla="*/ 34454 h 42164"/>
                <a:gd name="connsiteX27" fmla="*/ 24806 w 24233"/>
                <a:gd name="connsiteY27" fmla="*/ 35109 h 42164"/>
                <a:gd name="connsiteX28" fmla="*/ 25178 w 24233"/>
                <a:gd name="connsiteY28" fmla="*/ 38384 h 42164"/>
                <a:gd name="connsiteX29" fmla="*/ 23639 w 24233"/>
                <a:gd name="connsiteY29" fmla="*/ 40754 h 42164"/>
                <a:gd name="connsiteX30" fmla="*/ 23634 w 24233"/>
                <a:gd name="connsiteY30" fmla="*/ 40754 h 42164"/>
                <a:gd name="connsiteX31" fmla="*/ 15966 w 24233"/>
                <a:gd name="connsiteY31" fmla="*/ 41819 h 42164"/>
                <a:gd name="connsiteX32" fmla="*/ 5315 w 24233"/>
                <a:gd name="connsiteY32" fmla="*/ 30343 h 42164"/>
                <a:gd name="connsiteX33" fmla="*/ 5315 w 24233"/>
                <a:gd name="connsiteY33" fmla="*/ 16657 h 42164"/>
                <a:gd name="connsiteX34" fmla="*/ 4703 w 24233"/>
                <a:gd name="connsiteY34" fmla="*/ 15859 h 42164"/>
                <a:gd name="connsiteX35" fmla="*/ 2946 w 24233"/>
                <a:gd name="connsiteY35" fmla="*/ 15859 h 42164"/>
                <a:gd name="connsiteX36" fmla="*/ 994 w 24233"/>
                <a:gd name="connsiteY36" fmla="*/ 14200 h 42164"/>
                <a:gd name="connsiteX37" fmla="*/ 1002 w 24233"/>
                <a:gd name="connsiteY37" fmla="*/ 13835 h 42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233" h="42164">
                  <a:moveTo>
                    <a:pt x="1029" y="13782"/>
                  </a:moveTo>
                  <a:lnTo>
                    <a:pt x="1029" y="10533"/>
                  </a:lnTo>
                  <a:cubicBezTo>
                    <a:pt x="909" y="9540"/>
                    <a:pt x="1614" y="8637"/>
                    <a:pt x="2608" y="8518"/>
                  </a:cubicBezTo>
                  <a:cubicBezTo>
                    <a:pt x="2727" y="8502"/>
                    <a:pt x="2850" y="8499"/>
                    <a:pt x="2972" y="8510"/>
                  </a:cubicBezTo>
                  <a:lnTo>
                    <a:pt x="5049" y="8510"/>
                  </a:lnTo>
                  <a:cubicBezTo>
                    <a:pt x="5432" y="8510"/>
                    <a:pt x="5741" y="8201"/>
                    <a:pt x="5741" y="7817"/>
                  </a:cubicBezTo>
                  <a:lnTo>
                    <a:pt x="5741" y="3105"/>
                  </a:lnTo>
                  <a:cubicBezTo>
                    <a:pt x="5630" y="2045"/>
                    <a:pt x="6367" y="1086"/>
                    <a:pt x="7419" y="921"/>
                  </a:cubicBezTo>
                  <a:lnTo>
                    <a:pt x="11892" y="-224"/>
                  </a:lnTo>
                  <a:cubicBezTo>
                    <a:pt x="12736" y="-567"/>
                    <a:pt x="13700" y="-160"/>
                    <a:pt x="14043" y="684"/>
                  </a:cubicBezTo>
                  <a:cubicBezTo>
                    <a:pt x="14145" y="937"/>
                    <a:pt x="14184" y="1209"/>
                    <a:pt x="14155" y="1480"/>
                  </a:cubicBezTo>
                  <a:lnTo>
                    <a:pt x="14155" y="7871"/>
                  </a:lnTo>
                  <a:cubicBezTo>
                    <a:pt x="14139" y="8238"/>
                    <a:pt x="14427" y="8547"/>
                    <a:pt x="14794" y="8563"/>
                  </a:cubicBezTo>
                  <a:cubicBezTo>
                    <a:pt x="14810" y="8563"/>
                    <a:pt x="14829" y="8563"/>
                    <a:pt x="14848" y="8563"/>
                  </a:cubicBezTo>
                  <a:lnTo>
                    <a:pt x="22835" y="8563"/>
                  </a:lnTo>
                  <a:cubicBezTo>
                    <a:pt x="23861" y="8470"/>
                    <a:pt x="24766" y="9226"/>
                    <a:pt x="24859" y="10251"/>
                  </a:cubicBezTo>
                  <a:cubicBezTo>
                    <a:pt x="24870" y="10363"/>
                    <a:pt x="24870" y="10475"/>
                    <a:pt x="24859" y="10587"/>
                  </a:cubicBezTo>
                  <a:lnTo>
                    <a:pt x="24859" y="13888"/>
                  </a:lnTo>
                  <a:cubicBezTo>
                    <a:pt x="24952" y="14913"/>
                    <a:pt x="24196" y="15819"/>
                    <a:pt x="23171" y="15912"/>
                  </a:cubicBezTo>
                  <a:cubicBezTo>
                    <a:pt x="23059" y="15922"/>
                    <a:pt x="22947" y="15922"/>
                    <a:pt x="22835" y="15912"/>
                  </a:cubicBezTo>
                  <a:lnTo>
                    <a:pt x="14848" y="15912"/>
                  </a:lnTo>
                  <a:cubicBezTo>
                    <a:pt x="14480" y="15893"/>
                    <a:pt x="14169" y="16178"/>
                    <a:pt x="14150" y="16545"/>
                  </a:cubicBezTo>
                  <a:cubicBezTo>
                    <a:pt x="14150" y="16583"/>
                    <a:pt x="14150" y="16620"/>
                    <a:pt x="14155" y="16657"/>
                  </a:cubicBezTo>
                  <a:lnTo>
                    <a:pt x="14155" y="30157"/>
                  </a:lnTo>
                  <a:cubicBezTo>
                    <a:pt x="14155" y="32819"/>
                    <a:pt x="15034" y="34177"/>
                    <a:pt x="17590" y="34177"/>
                  </a:cubicBezTo>
                  <a:cubicBezTo>
                    <a:pt x="19230" y="34175"/>
                    <a:pt x="20860" y="33940"/>
                    <a:pt x="22436" y="33485"/>
                  </a:cubicBezTo>
                  <a:cubicBezTo>
                    <a:pt x="23325" y="33131"/>
                    <a:pt x="24332" y="33565"/>
                    <a:pt x="24683" y="34454"/>
                  </a:cubicBezTo>
                  <a:cubicBezTo>
                    <a:pt x="24766" y="34662"/>
                    <a:pt x="24808" y="34886"/>
                    <a:pt x="24806" y="35109"/>
                  </a:cubicBezTo>
                  <a:lnTo>
                    <a:pt x="25178" y="38384"/>
                  </a:lnTo>
                  <a:cubicBezTo>
                    <a:pt x="25407" y="39463"/>
                    <a:pt x="24718" y="40522"/>
                    <a:pt x="23639" y="40754"/>
                  </a:cubicBezTo>
                  <a:cubicBezTo>
                    <a:pt x="23639" y="40754"/>
                    <a:pt x="23637" y="40754"/>
                    <a:pt x="23634" y="40754"/>
                  </a:cubicBezTo>
                  <a:cubicBezTo>
                    <a:pt x="21139" y="41462"/>
                    <a:pt x="18559" y="41822"/>
                    <a:pt x="15966" y="41819"/>
                  </a:cubicBezTo>
                  <a:cubicBezTo>
                    <a:pt x="10241" y="41819"/>
                    <a:pt x="5315" y="38943"/>
                    <a:pt x="5315" y="30343"/>
                  </a:cubicBezTo>
                  <a:lnTo>
                    <a:pt x="5315" y="16657"/>
                  </a:lnTo>
                  <a:cubicBezTo>
                    <a:pt x="5363" y="16269"/>
                    <a:pt x="5092" y="15914"/>
                    <a:pt x="4703" y="15859"/>
                  </a:cubicBezTo>
                  <a:lnTo>
                    <a:pt x="2946" y="15859"/>
                  </a:lnTo>
                  <a:cubicBezTo>
                    <a:pt x="1950" y="15938"/>
                    <a:pt x="1076" y="15198"/>
                    <a:pt x="994" y="14200"/>
                  </a:cubicBezTo>
                  <a:cubicBezTo>
                    <a:pt x="986" y="14080"/>
                    <a:pt x="986" y="13957"/>
                    <a:pt x="1002" y="13835"/>
                  </a:cubicBezTo>
                </a:path>
              </a:pathLst>
            </a:custGeom>
            <a:solidFill>
              <a:srgbClr val="8FDB42"/>
            </a:solidFill>
            <a:ln w="2661" cap="flat">
              <a:noFill/>
              <a:prstDash val="solid"/>
              <a:miter/>
            </a:ln>
          </p:spPr>
          <p:txBody>
            <a:bodyPr rtlCol="0" anchor="ctr"/>
            <a:lstStyle/>
            <a:p>
              <a:endParaRPr lang="pl-PL"/>
            </a:p>
          </p:txBody>
        </p:sp>
        <p:sp>
          <p:nvSpPr>
            <p:cNvPr id="127" name="Freeform: Shape 126">
              <a:extLst>
                <a:ext uri="{FF2B5EF4-FFF2-40B4-BE49-F238E27FC236}">
                  <a16:creationId xmlns:a16="http://schemas.microsoft.com/office/drawing/2014/main" id="{9BB73C1D-9CBE-48FF-8068-DB364CB354A2}"/>
                </a:ext>
              </a:extLst>
            </p:cNvPr>
            <p:cNvSpPr/>
            <p:nvPr/>
          </p:nvSpPr>
          <p:spPr>
            <a:xfrm>
              <a:off x="11809766" y="6742209"/>
              <a:ext cx="6552" cy="27380"/>
            </a:xfrm>
            <a:custGeom>
              <a:avLst/>
              <a:gdLst>
                <a:gd name="connsiteX0" fmla="*/ 991 w 11611"/>
                <a:gd name="connsiteY0" fmla="*/ 5352 h 48518"/>
                <a:gd name="connsiteX1" fmla="*/ 6689 w 11611"/>
                <a:gd name="connsiteY1" fmla="*/ -346 h 48518"/>
                <a:gd name="connsiteX2" fmla="*/ 6769 w 11611"/>
                <a:gd name="connsiteY2" fmla="*/ -346 h 48518"/>
                <a:gd name="connsiteX3" fmla="*/ 12600 w 11611"/>
                <a:gd name="connsiteY3" fmla="*/ 5352 h 48518"/>
                <a:gd name="connsiteX4" fmla="*/ 6769 w 11611"/>
                <a:gd name="connsiteY4" fmla="*/ 11263 h 48518"/>
                <a:gd name="connsiteX5" fmla="*/ 989 w 11611"/>
                <a:gd name="connsiteY5" fmla="*/ 5488 h 48518"/>
                <a:gd name="connsiteX6" fmla="*/ 991 w 11611"/>
                <a:gd name="connsiteY6" fmla="*/ 5352 h 48518"/>
                <a:gd name="connsiteX7" fmla="*/ 10710 w 11611"/>
                <a:gd name="connsiteY7" fmla="*/ 17521 h 48518"/>
                <a:gd name="connsiteX8" fmla="*/ 10710 w 11611"/>
                <a:gd name="connsiteY8" fmla="*/ 46144 h 48518"/>
                <a:gd name="connsiteX9" fmla="*/ 9019 w 11611"/>
                <a:gd name="connsiteY9" fmla="*/ 48165 h 48518"/>
                <a:gd name="connsiteX10" fmla="*/ 8713 w 11611"/>
                <a:gd name="connsiteY10" fmla="*/ 48167 h 48518"/>
                <a:gd name="connsiteX11" fmla="*/ 4000 w 11611"/>
                <a:gd name="connsiteY11" fmla="*/ 48167 h 48518"/>
                <a:gd name="connsiteX12" fmla="*/ 2001 w 11611"/>
                <a:gd name="connsiteY12" fmla="*/ 46450 h 48518"/>
                <a:gd name="connsiteX13" fmla="*/ 2003 w 11611"/>
                <a:gd name="connsiteY13" fmla="*/ 46144 h 48518"/>
                <a:gd name="connsiteX14" fmla="*/ 2003 w 11611"/>
                <a:gd name="connsiteY14" fmla="*/ 17600 h 48518"/>
                <a:gd name="connsiteX15" fmla="*/ 3665 w 11611"/>
                <a:gd name="connsiteY15" fmla="*/ 15603 h 48518"/>
                <a:gd name="connsiteX16" fmla="*/ 4000 w 11611"/>
                <a:gd name="connsiteY16" fmla="*/ 15603 h 48518"/>
                <a:gd name="connsiteX17" fmla="*/ 8713 w 11611"/>
                <a:gd name="connsiteY17" fmla="*/ 15603 h 48518"/>
                <a:gd name="connsiteX18" fmla="*/ 10710 w 11611"/>
                <a:gd name="connsiteY18" fmla="*/ 17265 h 48518"/>
                <a:gd name="connsiteX19" fmla="*/ 10710 w 11611"/>
                <a:gd name="connsiteY19" fmla="*/ 17600 h 48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11" h="48518">
                  <a:moveTo>
                    <a:pt x="991" y="5352"/>
                  </a:moveTo>
                  <a:cubicBezTo>
                    <a:pt x="991" y="2205"/>
                    <a:pt x="3542" y="-346"/>
                    <a:pt x="6689" y="-346"/>
                  </a:cubicBezTo>
                  <a:cubicBezTo>
                    <a:pt x="6716" y="-346"/>
                    <a:pt x="6743" y="-346"/>
                    <a:pt x="6769" y="-346"/>
                  </a:cubicBezTo>
                  <a:cubicBezTo>
                    <a:pt x="9938" y="-346"/>
                    <a:pt x="12529" y="2184"/>
                    <a:pt x="12600" y="5352"/>
                  </a:cubicBezTo>
                  <a:cubicBezTo>
                    <a:pt x="12600" y="8585"/>
                    <a:pt x="10002" y="11221"/>
                    <a:pt x="6769" y="11263"/>
                  </a:cubicBezTo>
                  <a:cubicBezTo>
                    <a:pt x="3579" y="11263"/>
                    <a:pt x="991" y="8678"/>
                    <a:pt x="989" y="5488"/>
                  </a:cubicBezTo>
                  <a:cubicBezTo>
                    <a:pt x="989" y="5443"/>
                    <a:pt x="991" y="5398"/>
                    <a:pt x="991" y="5352"/>
                  </a:cubicBezTo>
                  <a:moveTo>
                    <a:pt x="10710" y="17521"/>
                  </a:moveTo>
                  <a:lnTo>
                    <a:pt x="10710" y="46144"/>
                  </a:lnTo>
                  <a:cubicBezTo>
                    <a:pt x="10800" y="47169"/>
                    <a:pt x="10044" y="48074"/>
                    <a:pt x="9019" y="48165"/>
                  </a:cubicBezTo>
                  <a:cubicBezTo>
                    <a:pt x="8918" y="48175"/>
                    <a:pt x="8814" y="48175"/>
                    <a:pt x="8713" y="48167"/>
                  </a:cubicBezTo>
                  <a:lnTo>
                    <a:pt x="4000" y="48167"/>
                  </a:lnTo>
                  <a:cubicBezTo>
                    <a:pt x="2975" y="48244"/>
                    <a:pt x="2078" y="47475"/>
                    <a:pt x="2001" y="46450"/>
                  </a:cubicBezTo>
                  <a:cubicBezTo>
                    <a:pt x="1993" y="46349"/>
                    <a:pt x="1995" y="46245"/>
                    <a:pt x="2003" y="46144"/>
                  </a:cubicBezTo>
                  <a:lnTo>
                    <a:pt x="2003" y="17600"/>
                  </a:lnTo>
                  <a:cubicBezTo>
                    <a:pt x="1910" y="16591"/>
                    <a:pt x="2656" y="15697"/>
                    <a:pt x="3665" y="15603"/>
                  </a:cubicBezTo>
                  <a:cubicBezTo>
                    <a:pt x="3777" y="15593"/>
                    <a:pt x="3888" y="15593"/>
                    <a:pt x="4000" y="15603"/>
                  </a:cubicBezTo>
                  <a:lnTo>
                    <a:pt x="8713" y="15603"/>
                  </a:lnTo>
                  <a:cubicBezTo>
                    <a:pt x="9722" y="15510"/>
                    <a:pt x="10617" y="16256"/>
                    <a:pt x="10710" y="17265"/>
                  </a:cubicBezTo>
                  <a:cubicBezTo>
                    <a:pt x="10721" y="17377"/>
                    <a:pt x="10721" y="17489"/>
                    <a:pt x="10710" y="17600"/>
                  </a:cubicBezTo>
                </a:path>
              </a:pathLst>
            </a:custGeom>
            <a:solidFill>
              <a:srgbClr val="8FDB42"/>
            </a:solidFill>
            <a:ln w="2661" cap="flat">
              <a:noFill/>
              <a:prstDash val="solid"/>
              <a:miter/>
            </a:ln>
          </p:spPr>
          <p:txBody>
            <a:bodyPr rtlCol="0" anchor="ctr"/>
            <a:lstStyle/>
            <a:p>
              <a:endParaRPr lang="pl-PL"/>
            </a:p>
          </p:txBody>
        </p:sp>
        <p:sp>
          <p:nvSpPr>
            <p:cNvPr id="128" name="Freeform: Shape 127">
              <a:extLst>
                <a:ext uri="{FF2B5EF4-FFF2-40B4-BE49-F238E27FC236}">
                  <a16:creationId xmlns:a16="http://schemas.microsoft.com/office/drawing/2014/main" id="{A894D927-1668-42DE-81FC-367EF29ADA8F}"/>
                </a:ext>
              </a:extLst>
            </p:cNvPr>
            <p:cNvSpPr/>
            <p:nvPr/>
          </p:nvSpPr>
          <p:spPr>
            <a:xfrm>
              <a:off x="11818135" y="6751161"/>
              <a:ext cx="19391" cy="18427"/>
            </a:xfrm>
            <a:custGeom>
              <a:avLst/>
              <a:gdLst>
                <a:gd name="connsiteX0" fmla="*/ 3041 w 34361"/>
                <a:gd name="connsiteY0" fmla="*/ -340 h 32653"/>
                <a:gd name="connsiteX1" fmla="*/ 8766 w 34361"/>
                <a:gd name="connsiteY1" fmla="*/ -340 h 32653"/>
                <a:gd name="connsiteX2" fmla="*/ 11029 w 34361"/>
                <a:gd name="connsiteY2" fmla="*/ 1364 h 32653"/>
                <a:gd name="connsiteX3" fmla="*/ 17606 w 34361"/>
                <a:gd name="connsiteY3" fmla="*/ 22665 h 32653"/>
                <a:gd name="connsiteX4" fmla="*/ 19257 w 34361"/>
                <a:gd name="connsiteY4" fmla="*/ 22665 h 32653"/>
                <a:gd name="connsiteX5" fmla="*/ 26020 w 34361"/>
                <a:gd name="connsiteY5" fmla="*/ 1364 h 32653"/>
                <a:gd name="connsiteX6" fmla="*/ 28230 w 34361"/>
                <a:gd name="connsiteY6" fmla="*/ -340 h 32653"/>
                <a:gd name="connsiteX7" fmla="*/ 33555 w 34361"/>
                <a:gd name="connsiteY7" fmla="*/ -340 h 32653"/>
                <a:gd name="connsiteX8" fmla="*/ 35179 w 34361"/>
                <a:gd name="connsiteY8" fmla="*/ 1976 h 32653"/>
                <a:gd name="connsiteX9" fmla="*/ 23623 w 34361"/>
                <a:gd name="connsiteY9" fmla="*/ 30546 h 32653"/>
                <a:gd name="connsiteX10" fmla="*/ 20961 w 34361"/>
                <a:gd name="connsiteY10" fmla="*/ 32304 h 32653"/>
                <a:gd name="connsiteX11" fmla="*/ 15130 w 34361"/>
                <a:gd name="connsiteY11" fmla="*/ 32304 h 32653"/>
                <a:gd name="connsiteX12" fmla="*/ 12467 w 34361"/>
                <a:gd name="connsiteY12" fmla="*/ 30546 h 32653"/>
                <a:gd name="connsiteX13" fmla="*/ 1178 w 34361"/>
                <a:gd name="connsiteY13" fmla="*/ 1923 h 32653"/>
                <a:gd name="connsiteX14" fmla="*/ 2748 w 34361"/>
                <a:gd name="connsiteY14" fmla="*/ -340 h 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361" h="32653">
                  <a:moveTo>
                    <a:pt x="3041" y="-340"/>
                  </a:moveTo>
                  <a:lnTo>
                    <a:pt x="8766" y="-340"/>
                  </a:lnTo>
                  <a:cubicBezTo>
                    <a:pt x="9839" y="-417"/>
                    <a:pt x="10806" y="310"/>
                    <a:pt x="11029" y="1364"/>
                  </a:cubicBezTo>
                  <a:lnTo>
                    <a:pt x="17606" y="22665"/>
                  </a:lnTo>
                  <a:cubicBezTo>
                    <a:pt x="18005" y="23757"/>
                    <a:pt x="18884" y="23757"/>
                    <a:pt x="19257" y="22665"/>
                  </a:cubicBezTo>
                  <a:lnTo>
                    <a:pt x="26020" y="1364"/>
                  </a:lnTo>
                  <a:cubicBezTo>
                    <a:pt x="26230" y="326"/>
                    <a:pt x="27173" y="-401"/>
                    <a:pt x="28230" y="-340"/>
                  </a:cubicBezTo>
                  <a:lnTo>
                    <a:pt x="33555" y="-340"/>
                  </a:lnTo>
                  <a:cubicBezTo>
                    <a:pt x="35046" y="-340"/>
                    <a:pt x="35685" y="592"/>
                    <a:pt x="35179" y="1976"/>
                  </a:cubicBezTo>
                  <a:lnTo>
                    <a:pt x="23623" y="30546"/>
                  </a:lnTo>
                  <a:cubicBezTo>
                    <a:pt x="23224" y="31657"/>
                    <a:pt x="22140" y="32373"/>
                    <a:pt x="20961" y="32304"/>
                  </a:cubicBezTo>
                  <a:lnTo>
                    <a:pt x="15130" y="32304"/>
                  </a:lnTo>
                  <a:cubicBezTo>
                    <a:pt x="13950" y="32373"/>
                    <a:pt x="12866" y="31657"/>
                    <a:pt x="12467" y="30546"/>
                  </a:cubicBezTo>
                  <a:lnTo>
                    <a:pt x="1178" y="1923"/>
                  </a:lnTo>
                  <a:cubicBezTo>
                    <a:pt x="672" y="592"/>
                    <a:pt x="1178" y="-340"/>
                    <a:pt x="2748" y="-340"/>
                  </a:cubicBezTo>
                </a:path>
              </a:pathLst>
            </a:custGeom>
            <a:solidFill>
              <a:srgbClr val="8FDB42"/>
            </a:solidFill>
            <a:ln w="2661" cap="flat">
              <a:noFill/>
              <a:prstDash val="solid"/>
              <a:miter/>
            </a:ln>
          </p:spPr>
          <p:txBody>
            <a:bodyPr rtlCol="0" anchor="ctr"/>
            <a:lstStyle/>
            <a:p>
              <a:endParaRPr lang="pl-PL"/>
            </a:p>
          </p:txBody>
        </p:sp>
        <p:sp>
          <p:nvSpPr>
            <p:cNvPr id="129" name="Freeform: Shape 128">
              <a:extLst>
                <a:ext uri="{FF2B5EF4-FFF2-40B4-BE49-F238E27FC236}">
                  <a16:creationId xmlns:a16="http://schemas.microsoft.com/office/drawing/2014/main" id="{9FFB79B4-B82D-4247-B709-C0401333E7F9}"/>
                </a:ext>
              </a:extLst>
            </p:cNvPr>
            <p:cNvSpPr/>
            <p:nvPr/>
          </p:nvSpPr>
          <p:spPr>
            <a:xfrm>
              <a:off x="11839093" y="6750822"/>
              <a:ext cx="18454" cy="19157"/>
            </a:xfrm>
            <a:custGeom>
              <a:avLst/>
              <a:gdLst>
                <a:gd name="connsiteX0" fmla="*/ 17931 w 32701"/>
                <a:gd name="connsiteY0" fmla="*/ -324 h 33946"/>
                <a:gd name="connsiteX1" fmla="*/ 33689 w 32701"/>
                <a:gd name="connsiteY1" fmla="*/ 15867 h 33946"/>
                <a:gd name="connsiteX2" fmla="*/ 33614 w 32701"/>
                <a:gd name="connsiteY2" fmla="*/ 17196 h 33946"/>
                <a:gd name="connsiteX3" fmla="*/ 31809 w 32701"/>
                <a:gd name="connsiteY3" fmla="*/ 19012 h 33946"/>
                <a:gd name="connsiteX4" fmla="*/ 31670 w 32701"/>
                <a:gd name="connsiteY4" fmla="*/ 19006 h 33946"/>
                <a:gd name="connsiteX5" fmla="*/ 11568 w 32701"/>
                <a:gd name="connsiteY5" fmla="*/ 19006 h 33946"/>
                <a:gd name="connsiteX6" fmla="*/ 10130 w 32701"/>
                <a:gd name="connsiteY6" fmla="*/ 20950 h 33946"/>
                <a:gd name="connsiteX7" fmla="*/ 18118 w 32701"/>
                <a:gd name="connsiteY7" fmla="*/ 26488 h 33946"/>
                <a:gd name="connsiteX8" fmla="*/ 24455 w 32701"/>
                <a:gd name="connsiteY8" fmla="*/ 23613 h 33946"/>
                <a:gd name="connsiteX9" fmla="*/ 26771 w 32701"/>
                <a:gd name="connsiteY9" fmla="*/ 22148 h 33946"/>
                <a:gd name="connsiteX10" fmla="*/ 31058 w 32701"/>
                <a:gd name="connsiteY10" fmla="*/ 22148 h 33946"/>
                <a:gd name="connsiteX11" fmla="*/ 32789 w 32701"/>
                <a:gd name="connsiteY11" fmla="*/ 24358 h 33946"/>
                <a:gd name="connsiteX12" fmla="*/ 18118 w 32701"/>
                <a:gd name="connsiteY12" fmla="*/ 33571 h 33946"/>
                <a:gd name="connsiteX13" fmla="*/ 994 w 32701"/>
                <a:gd name="connsiteY13" fmla="*/ 17371 h 33946"/>
                <a:gd name="connsiteX14" fmla="*/ 997 w 32701"/>
                <a:gd name="connsiteY14" fmla="*/ 16370 h 33946"/>
                <a:gd name="connsiteX15" fmla="*/ 16866 w 32701"/>
                <a:gd name="connsiteY15" fmla="*/ -340 h 33946"/>
                <a:gd name="connsiteX16" fmla="*/ 18118 w 32701"/>
                <a:gd name="connsiteY16" fmla="*/ -324 h 33946"/>
                <a:gd name="connsiteX17" fmla="*/ 12020 w 32701"/>
                <a:gd name="connsiteY17" fmla="*/ 13362 h 33946"/>
                <a:gd name="connsiteX18" fmla="*/ 23257 w 32701"/>
                <a:gd name="connsiteY18" fmla="*/ 13362 h 33946"/>
                <a:gd name="connsiteX19" fmla="*/ 24774 w 32701"/>
                <a:gd name="connsiteY19" fmla="*/ 11365 h 33946"/>
                <a:gd name="connsiteX20" fmla="*/ 17984 w 32701"/>
                <a:gd name="connsiteY20" fmla="*/ 6705 h 33946"/>
                <a:gd name="connsiteX21" fmla="*/ 10582 w 32701"/>
                <a:gd name="connsiteY21" fmla="*/ 11285 h 33946"/>
                <a:gd name="connsiteX22" fmla="*/ 12020 w 32701"/>
                <a:gd name="connsiteY22" fmla="*/ 13362 h 3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701" h="33946">
                  <a:moveTo>
                    <a:pt x="17931" y="-324"/>
                  </a:moveTo>
                  <a:cubicBezTo>
                    <a:pt x="26753" y="-204"/>
                    <a:pt x="33809" y="7046"/>
                    <a:pt x="33689" y="15867"/>
                  </a:cubicBezTo>
                  <a:cubicBezTo>
                    <a:pt x="33681" y="16312"/>
                    <a:pt x="33657" y="16754"/>
                    <a:pt x="33614" y="17196"/>
                  </a:cubicBezTo>
                  <a:cubicBezTo>
                    <a:pt x="33617" y="18197"/>
                    <a:pt x="32807" y="19009"/>
                    <a:pt x="31809" y="19012"/>
                  </a:cubicBezTo>
                  <a:cubicBezTo>
                    <a:pt x="31764" y="19012"/>
                    <a:pt x="31716" y="19009"/>
                    <a:pt x="31670" y="19006"/>
                  </a:cubicBezTo>
                  <a:lnTo>
                    <a:pt x="11568" y="19006"/>
                  </a:lnTo>
                  <a:cubicBezTo>
                    <a:pt x="10369" y="19006"/>
                    <a:pt x="9624" y="19778"/>
                    <a:pt x="10130" y="20950"/>
                  </a:cubicBezTo>
                  <a:cubicBezTo>
                    <a:pt x="11272" y="24361"/>
                    <a:pt x="14523" y="26616"/>
                    <a:pt x="18118" y="26488"/>
                  </a:cubicBezTo>
                  <a:cubicBezTo>
                    <a:pt x="20589" y="26709"/>
                    <a:pt x="22996" y="25618"/>
                    <a:pt x="24455" y="23613"/>
                  </a:cubicBezTo>
                  <a:cubicBezTo>
                    <a:pt x="24897" y="22734"/>
                    <a:pt x="25789" y="22172"/>
                    <a:pt x="26771" y="22148"/>
                  </a:cubicBezTo>
                  <a:lnTo>
                    <a:pt x="31058" y="22148"/>
                  </a:lnTo>
                  <a:cubicBezTo>
                    <a:pt x="32416" y="22148"/>
                    <a:pt x="33295" y="23027"/>
                    <a:pt x="32789" y="24358"/>
                  </a:cubicBezTo>
                  <a:cubicBezTo>
                    <a:pt x="30387" y="30264"/>
                    <a:pt x="24479" y="33973"/>
                    <a:pt x="18118" y="33571"/>
                  </a:cubicBezTo>
                  <a:cubicBezTo>
                    <a:pt x="8916" y="33826"/>
                    <a:pt x="1250" y="26573"/>
                    <a:pt x="994" y="17371"/>
                  </a:cubicBezTo>
                  <a:cubicBezTo>
                    <a:pt x="986" y="17036"/>
                    <a:pt x="986" y="16703"/>
                    <a:pt x="997" y="16370"/>
                  </a:cubicBezTo>
                  <a:cubicBezTo>
                    <a:pt x="765" y="7373"/>
                    <a:pt x="7869" y="-109"/>
                    <a:pt x="16866" y="-340"/>
                  </a:cubicBezTo>
                  <a:cubicBezTo>
                    <a:pt x="17284" y="-351"/>
                    <a:pt x="17700" y="-346"/>
                    <a:pt x="18118" y="-324"/>
                  </a:cubicBezTo>
                  <a:moveTo>
                    <a:pt x="12020" y="13362"/>
                  </a:moveTo>
                  <a:lnTo>
                    <a:pt x="23257" y="13362"/>
                  </a:lnTo>
                  <a:cubicBezTo>
                    <a:pt x="24508" y="13362"/>
                    <a:pt x="25280" y="12616"/>
                    <a:pt x="24774" y="11365"/>
                  </a:cubicBezTo>
                  <a:cubicBezTo>
                    <a:pt x="23707" y="8545"/>
                    <a:pt x="20999" y="6686"/>
                    <a:pt x="17984" y="6705"/>
                  </a:cubicBezTo>
                  <a:cubicBezTo>
                    <a:pt x="14859" y="6737"/>
                    <a:pt x="12007" y="8502"/>
                    <a:pt x="10582" y="11285"/>
                  </a:cubicBezTo>
                  <a:cubicBezTo>
                    <a:pt x="10023" y="12483"/>
                    <a:pt x="10716" y="13362"/>
                    <a:pt x="12020" y="13362"/>
                  </a:cubicBezTo>
                </a:path>
              </a:pathLst>
            </a:custGeom>
            <a:solidFill>
              <a:srgbClr val="8FDB42"/>
            </a:solidFill>
            <a:ln w="2661" cap="flat">
              <a:noFill/>
              <a:prstDash val="solid"/>
              <a:miter/>
            </a:ln>
          </p:spPr>
          <p:txBody>
            <a:bodyPr rtlCol="0" anchor="ctr"/>
            <a:lstStyle/>
            <a:p>
              <a:endParaRPr lang="pl-PL"/>
            </a:p>
          </p:txBody>
        </p:sp>
        <p:sp>
          <p:nvSpPr>
            <p:cNvPr id="130" name="Freeform: Shape 129">
              <a:extLst>
                <a:ext uri="{FF2B5EF4-FFF2-40B4-BE49-F238E27FC236}">
                  <a16:creationId xmlns:a16="http://schemas.microsoft.com/office/drawing/2014/main" id="{E7A812ED-680D-4DAF-ABB6-962EB5AE5E69}"/>
                </a:ext>
              </a:extLst>
            </p:cNvPr>
            <p:cNvSpPr/>
            <p:nvPr/>
          </p:nvSpPr>
          <p:spPr>
            <a:xfrm>
              <a:off x="11575064" y="6784526"/>
              <a:ext cx="208318" cy="27505"/>
            </a:xfrm>
            <a:custGeom>
              <a:avLst/>
              <a:gdLst>
                <a:gd name="connsiteX0" fmla="*/ 2220 w 369143"/>
                <a:gd name="connsiteY0" fmla="*/ 48333 h 48740"/>
                <a:gd name="connsiteX1" fmla="*/ 4004 w 369143"/>
                <a:gd name="connsiteY1" fmla="*/ 48333 h 48740"/>
                <a:gd name="connsiteX2" fmla="*/ 5226 w 369143"/>
                <a:gd name="connsiteY2" fmla="*/ 47390 h 48740"/>
                <a:gd name="connsiteX3" fmla="*/ 5229 w 369143"/>
                <a:gd name="connsiteY3" fmla="*/ 47135 h 48740"/>
                <a:gd name="connsiteX4" fmla="*/ 5229 w 369143"/>
                <a:gd name="connsiteY4" fmla="*/ 37043 h 48740"/>
                <a:gd name="connsiteX5" fmla="*/ 7172 w 369143"/>
                <a:gd name="connsiteY5" fmla="*/ 36165 h 48740"/>
                <a:gd name="connsiteX6" fmla="*/ 14202 w 369143"/>
                <a:gd name="connsiteY6" fmla="*/ 38109 h 48740"/>
                <a:gd name="connsiteX7" fmla="*/ 26961 w 369143"/>
                <a:gd name="connsiteY7" fmla="*/ 25096 h 48740"/>
                <a:gd name="connsiteX8" fmla="*/ 26955 w 369143"/>
                <a:gd name="connsiteY8" fmla="*/ 24795 h 48740"/>
                <a:gd name="connsiteX9" fmla="*/ 14444 w 369143"/>
                <a:gd name="connsiteY9" fmla="*/ 11751 h 48740"/>
                <a:gd name="connsiteX10" fmla="*/ 14281 w 369143"/>
                <a:gd name="connsiteY10" fmla="*/ 11749 h 48740"/>
                <a:gd name="connsiteX11" fmla="*/ 6533 w 369143"/>
                <a:gd name="connsiteY11" fmla="*/ 14198 h 48740"/>
                <a:gd name="connsiteX12" fmla="*/ 4403 w 369143"/>
                <a:gd name="connsiteY12" fmla="*/ 13453 h 48740"/>
                <a:gd name="connsiteX13" fmla="*/ 4403 w 369143"/>
                <a:gd name="connsiteY13" fmla="*/ 13453 h 48740"/>
                <a:gd name="connsiteX14" fmla="*/ 3098 w 369143"/>
                <a:gd name="connsiteY14" fmla="*/ 12334 h 48740"/>
                <a:gd name="connsiteX15" fmla="*/ 2220 w 369143"/>
                <a:gd name="connsiteY15" fmla="*/ 12334 h 48740"/>
                <a:gd name="connsiteX16" fmla="*/ 998 w 369143"/>
                <a:gd name="connsiteY16" fmla="*/ 13277 h 48740"/>
                <a:gd name="connsiteX17" fmla="*/ 995 w 369143"/>
                <a:gd name="connsiteY17" fmla="*/ 13533 h 48740"/>
                <a:gd name="connsiteX18" fmla="*/ 995 w 369143"/>
                <a:gd name="connsiteY18" fmla="*/ 47135 h 48740"/>
                <a:gd name="connsiteX19" fmla="*/ 1964 w 369143"/>
                <a:gd name="connsiteY19" fmla="*/ 48336 h 48740"/>
                <a:gd name="connsiteX20" fmla="*/ 2220 w 369143"/>
                <a:gd name="connsiteY20" fmla="*/ 48333 h 48740"/>
                <a:gd name="connsiteX21" fmla="*/ 5575 w 369143"/>
                <a:gd name="connsiteY21" fmla="*/ 27991 h 48740"/>
                <a:gd name="connsiteX22" fmla="*/ 5575 w 369143"/>
                <a:gd name="connsiteY22" fmla="*/ 21920 h 48740"/>
                <a:gd name="connsiteX23" fmla="*/ 6107 w 369143"/>
                <a:gd name="connsiteY23" fmla="*/ 19816 h 48740"/>
                <a:gd name="connsiteX24" fmla="*/ 13749 w 369143"/>
                <a:gd name="connsiteY24" fmla="*/ 15769 h 48740"/>
                <a:gd name="connsiteX25" fmla="*/ 22269 w 369143"/>
                <a:gd name="connsiteY25" fmla="*/ 24875 h 48740"/>
                <a:gd name="connsiteX26" fmla="*/ 13749 w 369143"/>
                <a:gd name="connsiteY26" fmla="*/ 34195 h 48740"/>
                <a:gd name="connsiteX27" fmla="*/ 6107 w 369143"/>
                <a:gd name="connsiteY27" fmla="*/ 30094 h 48740"/>
                <a:gd name="connsiteX28" fmla="*/ 5575 w 369143"/>
                <a:gd name="connsiteY28" fmla="*/ 27991 h 48740"/>
                <a:gd name="connsiteX29" fmla="*/ 36967 w 369143"/>
                <a:gd name="connsiteY29" fmla="*/ -340 h 48740"/>
                <a:gd name="connsiteX30" fmla="*/ 34837 w 369143"/>
                <a:gd name="connsiteY30" fmla="*/ -340 h 48740"/>
                <a:gd name="connsiteX31" fmla="*/ 33612 w 369143"/>
                <a:gd name="connsiteY31" fmla="*/ 662 h 48740"/>
                <a:gd name="connsiteX32" fmla="*/ 33612 w 369143"/>
                <a:gd name="connsiteY32" fmla="*/ 885 h 48740"/>
                <a:gd name="connsiteX33" fmla="*/ 33612 w 369143"/>
                <a:gd name="connsiteY33" fmla="*/ 36431 h 48740"/>
                <a:gd name="connsiteX34" fmla="*/ 34581 w 369143"/>
                <a:gd name="connsiteY34" fmla="*/ 37632 h 48740"/>
                <a:gd name="connsiteX35" fmla="*/ 34837 w 369143"/>
                <a:gd name="connsiteY35" fmla="*/ 37629 h 48740"/>
                <a:gd name="connsiteX36" fmla="*/ 36967 w 369143"/>
                <a:gd name="connsiteY36" fmla="*/ 37629 h 48740"/>
                <a:gd name="connsiteX37" fmla="*/ 38189 w 369143"/>
                <a:gd name="connsiteY37" fmla="*/ 36687 h 48740"/>
                <a:gd name="connsiteX38" fmla="*/ 38192 w 369143"/>
                <a:gd name="connsiteY38" fmla="*/ 36431 h 48740"/>
                <a:gd name="connsiteX39" fmla="*/ 38192 w 369143"/>
                <a:gd name="connsiteY39" fmla="*/ 885 h 48740"/>
                <a:gd name="connsiteX40" fmla="*/ 37191 w 369143"/>
                <a:gd name="connsiteY40" fmla="*/ -340 h 48740"/>
                <a:gd name="connsiteX41" fmla="*/ 36967 w 369143"/>
                <a:gd name="connsiteY41" fmla="*/ -340 h 48740"/>
                <a:gd name="connsiteX42" fmla="*/ 44768 w 369143"/>
                <a:gd name="connsiteY42" fmla="*/ 30680 h 48740"/>
                <a:gd name="connsiteX43" fmla="*/ 52485 w 369143"/>
                <a:gd name="connsiteY43" fmla="*/ 38141 h 48740"/>
                <a:gd name="connsiteX44" fmla="*/ 53049 w 369143"/>
                <a:gd name="connsiteY44" fmla="*/ 38109 h 48740"/>
                <a:gd name="connsiteX45" fmla="*/ 61756 w 369143"/>
                <a:gd name="connsiteY45" fmla="*/ 35446 h 48740"/>
                <a:gd name="connsiteX46" fmla="*/ 63992 w 369143"/>
                <a:gd name="connsiteY46" fmla="*/ 36218 h 48740"/>
                <a:gd name="connsiteX47" fmla="*/ 64152 w 369143"/>
                <a:gd name="connsiteY47" fmla="*/ 36724 h 48740"/>
                <a:gd name="connsiteX48" fmla="*/ 65510 w 369143"/>
                <a:gd name="connsiteY48" fmla="*/ 37736 h 48740"/>
                <a:gd name="connsiteX49" fmla="*/ 66096 w 369143"/>
                <a:gd name="connsiteY49" fmla="*/ 37736 h 48740"/>
                <a:gd name="connsiteX50" fmla="*/ 67294 w 369143"/>
                <a:gd name="connsiteY50" fmla="*/ 36761 h 48740"/>
                <a:gd name="connsiteX51" fmla="*/ 67294 w 369143"/>
                <a:gd name="connsiteY51" fmla="*/ 36538 h 48740"/>
                <a:gd name="connsiteX52" fmla="*/ 67294 w 369143"/>
                <a:gd name="connsiteY52" fmla="*/ 22905 h 48740"/>
                <a:gd name="connsiteX53" fmla="*/ 56644 w 369143"/>
                <a:gd name="connsiteY53" fmla="*/ 11935 h 48740"/>
                <a:gd name="connsiteX54" fmla="*/ 45993 w 369143"/>
                <a:gd name="connsiteY54" fmla="*/ 19497 h 48740"/>
                <a:gd name="connsiteX55" fmla="*/ 46712 w 369143"/>
                <a:gd name="connsiteY55" fmla="*/ 20778 h 48740"/>
                <a:gd name="connsiteX56" fmla="*/ 47165 w 369143"/>
                <a:gd name="connsiteY56" fmla="*/ 20802 h 48740"/>
                <a:gd name="connsiteX57" fmla="*/ 49055 w 369143"/>
                <a:gd name="connsiteY57" fmla="*/ 20802 h 48740"/>
                <a:gd name="connsiteX58" fmla="*/ 50386 w 369143"/>
                <a:gd name="connsiteY58" fmla="*/ 19736 h 48740"/>
                <a:gd name="connsiteX59" fmla="*/ 56510 w 369143"/>
                <a:gd name="connsiteY59" fmla="*/ 15929 h 48740"/>
                <a:gd name="connsiteX60" fmla="*/ 62938 w 369143"/>
                <a:gd name="connsiteY60" fmla="*/ 20791 h 48740"/>
                <a:gd name="connsiteX61" fmla="*/ 62981 w 369143"/>
                <a:gd name="connsiteY61" fmla="*/ 21920 h 48740"/>
                <a:gd name="connsiteX62" fmla="*/ 61277 w 369143"/>
                <a:gd name="connsiteY62" fmla="*/ 23491 h 48740"/>
                <a:gd name="connsiteX63" fmla="*/ 55632 w 369143"/>
                <a:gd name="connsiteY63" fmla="*/ 23491 h 48740"/>
                <a:gd name="connsiteX64" fmla="*/ 44981 w 369143"/>
                <a:gd name="connsiteY64" fmla="*/ 30840 h 48740"/>
                <a:gd name="connsiteX65" fmla="*/ 49561 w 369143"/>
                <a:gd name="connsiteY65" fmla="*/ 30840 h 48740"/>
                <a:gd name="connsiteX66" fmla="*/ 55792 w 369143"/>
                <a:gd name="connsiteY66" fmla="*/ 27325 h 48740"/>
                <a:gd name="connsiteX67" fmla="*/ 61330 w 369143"/>
                <a:gd name="connsiteY67" fmla="*/ 27325 h 48740"/>
                <a:gd name="connsiteX68" fmla="*/ 63034 w 369143"/>
                <a:gd name="connsiteY68" fmla="*/ 28691 h 48740"/>
                <a:gd name="connsiteX69" fmla="*/ 63034 w 369143"/>
                <a:gd name="connsiteY69" fmla="*/ 29029 h 48740"/>
                <a:gd name="connsiteX70" fmla="*/ 63034 w 369143"/>
                <a:gd name="connsiteY70" fmla="*/ 29535 h 48740"/>
                <a:gd name="connsiteX71" fmla="*/ 62022 w 369143"/>
                <a:gd name="connsiteY71" fmla="*/ 31585 h 48740"/>
                <a:gd name="connsiteX72" fmla="*/ 54274 w 369143"/>
                <a:gd name="connsiteY72" fmla="*/ 34248 h 48740"/>
                <a:gd name="connsiteX73" fmla="*/ 49561 w 369143"/>
                <a:gd name="connsiteY73" fmla="*/ 30733 h 48740"/>
                <a:gd name="connsiteX74" fmla="*/ 76826 w 369143"/>
                <a:gd name="connsiteY74" fmla="*/ 37789 h 48740"/>
                <a:gd name="connsiteX75" fmla="*/ 78956 w 369143"/>
                <a:gd name="connsiteY75" fmla="*/ 37789 h 48740"/>
                <a:gd name="connsiteX76" fmla="*/ 80179 w 369143"/>
                <a:gd name="connsiteY76" fmla="*/ 36846 h 48740"/>
                <a:gd name="connsiteX77" fmla="*/ 80181 w 369143"/>
                <a:gd name="connsiteY77" fmla="*/ 36591 h 48740"/>
                <a:gd name="connsiteX78" fmla="*/ 80181 w 369143"/>
                <a:gd name="connsiteY78" fmla="*/ 20988 h 48740"/>
                <a:gd name="connsiteX79" fmla="*/ 81299 w 369143"/>
                <a:gd name="connsiteY79" fmla="*/ 18964 h 48740"/>
                <a:gd name="connsiteX80" fmla="*/ 89580 w 369143"/>
                <a:gd name="connsiteY80" fmla="*/ 16035 h 48740"/>
                <a:gd name="connsiteX81" fmla="*/ 95140 w 369143"/>
                <a:gd name="connsiteY81" fmla="*/ 20658 h 48740"/>
                <a:gd name="connsiteX82" fmla="*/ 95118 w 369143"/>
                <a:gd name="connsiteY82" fmla="*/ 21787 h 48740"/>
                <a:gd name="connsiteX83" fmla="*/ 95118 w 369143"/>
                <a:gd name="connsiteY83" fmla="*/ 36591 h 48740"/>
                <a:gd name="connsiteX84" fmla="*/ 96088 w 369143"/>
                <a:gd name="connsiteY84" fmla="*/ 37792 h 48740"/>
                <a:gd name="connsiteX85" fmla="*/ 96343 w 369143"/>
                <a:gd name="connsiteY85" fmla="*/ 37789 h 48740"/>
                <a:gd name="connsiteX86" fmla="*/ 98473 w 369143"/>
                <a:gd name="connsiteY86" fmla="*/ 37789 h 48740"/>
                <a:gd name="connsiteX87" fmla="*/ 99696 w 369143"/>
                <a:gd name="connsiteY87" fmla="*/ 36846 h 48740"/>
                <a:gd name="connsiteX88" fmla="*/ 99698 w 369143"/>
                <a:gd name="connsiteY88" fmla="*/ 36591 h 48740"/>
                <a:gd name="connsiteX89" fmla="*/ 99698 w 369143"/>
                <a:gd name="connsiteY89" fmla="*/ 21574 h 48740"/>
                <a:gd name="connsiteX90" fmla="*/ 90885 w 369143"/>
                <a:gd name="connsiteY90" fmla="*/ 11988 h 48740"/>
                <a:gd name="connsiteX91" fmla="*/ 81326 w 369143"/>
                <a:gd name="connsiteY91" fmla="*/ 14811 h 48740"/>
                <a:gd name="connsiteX92" fmla="*/ 79143 w 369143"/>
                <a:gd name="connsiteY92" fmla="*/ 13932 h 48740"/>
                <a:gd name="connsiteX93" fmla="*/ 79143 w 369143"/>
                <a:gd name="connsiteY93" fmla="*/ 13559 h 48740"/>
                <a:gd name="connsiteX94" fmla="*/ 77758 w 369143"/>
                <a:gd name="connsiteY94" fmla="*/ 12494 h 48740"/>
                <a:gd name="connsiteX95" fmla="*/ 76906 w 369143"/>
                <a:gd name="connsiteY95" fmla="*/ 12494 h 48740"/>
                <a:gd name="connsiteX96" fmla="*/ 75684 w 369143"/>
                <a:gd name="connsiteY96" fmla="*/ 13437 h 48740"/>
                <a:gd name="connsiteX97" fmla="*/ 75681 w 369143"/>
                <a:gd name="connsiteY97" fmla="*/ 13692 h 48740"/>
                <a:gd name="connsiteX98" fmla="*/ 75681 w 369143"/>
                <a:gd name="connsiteY98" fmla="*/ 36591 h 48740"/>
                <a:gd name="connsiteX99" fmla="*/ 76651 w 369143"/>
                <a:gd name="connsiteY99" fmla="*/ 37792 h 48740"/>
                <a:gd name="connsiteX100" fmla="*/ 76906 w 369143"/>
                <a:gd name="connsiteY100" fmla="*/ 37789 h 48740"/>
                <a:gd name="connsiteX101" fmla="*/ 106195 w 369143"/>
                <a:gd name="connsiteY101" fmla="*/ 24982 h 48740"/>
                <a:gd name="connsiteX102" fmla="*/ 118323 w 369143"/>
                <a:gd name="connsiteY102" fmla="*/ 38282 h 48740"/>
                <a:gd name="connsiteX103" fmla="*/ 119055 w 369143"/>
                <a:gd name="connsiteY103" fmla="*/ 38295 h 48740"/>
                <a:gd name="connsiteX104" fmla="*/ 129945 w 369143"/>
                <a:gd name="connsiteY104" fmla="*/ 31212 h 48740"/>
                <a:gd name="connsiteX105" fmla="*/ 128880 w 369143"/>
                <a:gd name="connsiteY105" fmla="*/ 29828 h 48740"/>
                <a:gd name="connsiteX106" fmla="*/ 127043 w 369143"/>
                <a:gd name="connsiteY106" fmla="*/ 29828 h 48740"/>
                <a:gd name="connsiteX107" fmla="*/ 125632 w 369143"/>
                <a:gd name="connsiteY107" fmla="*/ 30813 h 48740"/>
                <a:gd name="connsiteX108" fmla="*/ 119055 w 369143"/>
                <a:gd name="connsiteY108" fmla="*/ 34381 h 48740"/>
                <a:gd name="connsiteX109" fmla="*/ 111068 w 369143"/>
                <a:gd name="connsiteY109" fmla="*/ 28177 h 48740"/>
                <a:gd name="connsiteX110" fmla="*/ 112638 w 369143"/>
                <a:gd name="connsiteY110" fmla="*/ 26340 h 48740"/>
                <a:gd name="connsiteX111" fmla="*/ 129173 w 369143"/>
                <a:gd name="connsiteY111" fmla="*/ 26340 h 48740"/>
                <a:gd name="connsiteX112" fmla="*/ 130821 w 369143"/>
                <a:gd name="connsiteY112" fmla="*/ 24905 h 48740"/>
                <a:gd name="connsiteX113" fmla="*/ 130824 w 369143"/>
                <a:gd name="connsiteY113" fmla="*/ 24769 h 48740"/>
                <a:gd name="connsiteX114" fmla="*/ 119372 w 369143"/>
                <a:gd name="connsiteY114" fmla="*/ 11975 h 48740"/>
                <a:gd name="connsiteX115" fmla="*/ 119055 w 369143"/>
                <a:gd name="connsiteY115" fmla="*/ 11962 h 48740"/>
                <a:gd name="connsiteX116" fmla="*/ 106245 w 369143"/>
                <a:gd name="connsiteY116" fmla="*/ 24444 h 48740"/>
                <a:gd name="connsiteX117" fmla="*/ 106248 w 369143"/>
                <a:gd name="connsiteY117" fmla="*/ 24955 h 48740"/>
                <a:gd name="connsiteX118" fmla="*/ 111707 w 369143"/>
                <a:gd name="connsiteY118" fmla="*/ 20535 h 48740"/>
                <a:gd name="connsiteX119" fmla="*/ 119002 w 369143"/>
                <a:gd name="connsiteY119" fmla="*/ 15849 h 48740"/>
                <a:gd name="connsiteX120" fmla="*/ 125792 w 369143"/>
                <a:gd name="connsiteY120" fmla="*/ 20589 h 48740"/>
                <a:gd name="connsiteX121" fmla="*/ 124327 w 369143"/>
                <a:gd name="connsiteY121" fmla="*/ 22532 h 48740"/>
                <a:gd name="connsiteX122" fmla="*/ 113065 w 369143"/>
                <a:gd name="connsiteY122" fmla="*/ 22532 h 48740"/>
                <a:gd name="connsiteX123" fmla="*/ 111707 w 369143"/>
                <a:gd name="connsiteY123" fmla="*/ 20589 h 48740"/>
                <a:gd name="connsiteX124" fmla="*/ 135670 w 369143"/>
                <a:gd name="connsiteY124" fmla="*/ 16408 h 48740"/>
                <a:gd name="connsiteX125" fmla="*/ 137720 w 369143"/>
                <a:gd name="connsiteY125" fmla="*/ 16408 h 48740"/>
                <a:gd name="connsiteX126" fmla="*/ 138200 w 369143"/>
                <a:gd name="connsiteY126" fmla="*/ 16832 h 48740"/>
                <a:gd name="connsiteX127" fmla="*/ 138200 w 369143"/>
                <a:gd name="connsiteY127" fmla="*/ 16888 h 48740"/>
                <a:gd name="connsiteX128" fmla="*/ 138200 w 369143"/>
                <a:gd name="connsiteY128" fmla="*/ 30414 h 48740"/>
                <a:gd name="connsiteX129" fmla="*/ 145495 w 369143"/>
                <a:gd name="connsiteY129" fmla="*/ 38401 h 48740"/>
                <a:gd name="connsiteX130" fmla="*/ 151592 w 369143"/>
                <a:gd name="connsiteY130" fmla="*/ 37443 h 48740"/>
                <a:gd name="connsiteX131" fmla="*/ 151939 w 369143"/>
                <a:gd name="connsiteY131" fmla="*/ 35819 h 48740"/>
                <a:gd name="connsiteX132" fmla="*/ 151779 w 369143"/>
                <a:gd name="connsiteY132" fmla="*/ 34354 h 48740"/>
                <a:gd name="connsiteX133" fmla="*/ 150314 w 369143"/>
                <a:gd name="connsiteY133" fmla="*/ 33476 h 48740"/>
                <a:gd name="connsiteX134" fmla="*/ 145735 w 369143"/>
                <a:gd name="connsiteY134" fmla="*/ 34221 h 48740"/>
                <a:gd name="connsiteX135" fmla="*/ 142247 w 369143"/>
                <a:gd name="connsiteY135" fmla="*/ 30281 h 48740"/>
                <a:gd name="connsiteX136" fmla="*/ 142247 w 369143"/>
                <a:gd name="connsiteY136" fmla="*/ 16834 h 48740"/>
                <a:gd name="connsiteX137" fmla="*/ 142670 w 369143"/>
                <a:gd name="connsiteY137" fmla="*/ 16355 h 48740"/>
                <a:gd name="connsiteX138" fmla="*/ 142726 w 369143"/>
                <a:gd name="connsiteY138" fmla="*/ 16355 h 48740"/>
                <a:gd name="connsiteX139" fmla="*/ 150714 w 369143"/>
                <a:gd name="connsiteY139" fmla="*/ 16355 h 48740"/>
                <a:gd name="connsiteX140" fmla="*/ 151939 w 369143"/>
                <a:gd name="connsiteY140" fmla="*/ 15354 h 48740"/>
                <a:gd name="connsiteX141" fmla="*/ 151939 w 369143"/>
                <a:gd name="connsiteY141" fmla="*/ 15130 h 48740"/>
                <a:gd name="connsiteX142" fmla="*/ 151939 w 369143"/>
                <a:gd name="connsiteY142" fmla="*/ 13666 h 48740"/>
                <a:gd name="connsiteX143" fmla="*/ 150969 w 369143"/>
                <a:gd name="connsiteY143" fmla="*/ 12465 h 48740"/>
                <a:gd name="connsiteX144" fmla="*/ 150714 w 369143"/>
                <a:gd name="connsiteY144" fmla="*/ 12468 h 48740"/>
                <a:gd name="connsiteX145" fmla="*/ 142726 w 369143"/>
                <a:gd name="connsiteY145" fmla="*/ 12468 h 48740"/>
                <a:gd name="connsiteX146" fmla="*/ 142247 w 369143"/>
                <a:gd name="connsiteY146" fmla="*/ 11988 h 48740"/>
                <a:gd name="connsiteX147" fmla="*/ 142247 w 369143"/>
                <a:gd name="connsiteY147" fmla="*/ 11962 h 48740"/>
                <a:gd name="connsiteX148" fmla="*/ 142247 w 369143"/>
                <a:gd name="connsiteY148" fmla="*/ 6636 h 48740"/>
                <a:gd name="connsiteX149" fmla="*/ 140889 w 369143"/>
                <a:gd name="connsiteY149" fmla="*/ 5571 h 48740"/>
                <a:gd name="connsiteX150" fmla="*/ 138839 w 369143"/>
                <a:gd name="connsiteY150" fmla="*/ 6104 h 48740"/>
                <a:gd name="connsiteX151" fmla="*/ 137827 w 369143"/>
                <a:gd name="connsiteY151" fmla="*/ 7462 h 48740"/>
                <a:gd name="connsiteX152" fmla="*/ 137827 w 369143"/>
                <a:gd name="connsiteY152" fmla="*/ 11855 h 48740"/>
                <a:gd name="connsiteX153" fmla="*/ 137377 w 369143"/>
                <a:gd name="connsiteY153" fmla="*/ 12361 h 48740"/>
                <a:gd name="connsiteX154" fmla="*/ 137321 w 369143"/>
                <a:gd name="connsiteY154" fmla="*/ 12361 h 48740"/>
                <a:gd name="connsiteX155" fmla="*/ 135138 w 369143"/>
                <a:gd name="connsiteY155" fmla="*/ 12361 h 48740"/>
                <a:gd name="connsiteX156" fmla="*/ 133915 w 369143"/>
                <a:gd name="connsiteY156" fmla="*/ 13304 h 48740"/>
                <a:gd name="connsiteX157" fmla="*/ 133913 w 369143"/>
                <a:gd name="connsiteY157" fmla="*/ 13559 h 48740"/>
                <a:gd name="connsiteX158" fmla="*/ 133913 w 369143"/>
                <a:gd name="connsiteY158" fmla="*/ 15024 h 48740"/>
                <a:gd name="connsiteX159" fmla="*/ 134914 w 369143"/>
                <a:gd name="connsiteY159" fmla="*/ 16248 h 48740"/>
                <a:gd name="connsiteX160" fmla="*/ 135138 w 369143"/>
                <a:gd name="connsiteY160" fmla="*/ 16248 h 48740"/>
                <a:gd name="connsiteX161" fmla="*/ 168820 w 369143"/>
                <a:gd name="connsiteY161" fmla="*/ 24023 h 48740"/>
                <a:gd name="connsiteX162" fmla="*/ 169821 w 369143"/>
                <a:gd name="connsiteY162" fmla="*/ 25248 h 48740"/>
                <a:gd name="connsiteX163" fmla="*/ 170044 w 369143"/>
                <a:gd name="connsiteY163" fmla="*/ 25248 h 48740"/>
                <a:gd name="connsiteX164" fmla="*/ 175609 w 369143"/>
                <a:gd name="connsiteY164" fmla="*/ 25248 h 48740"/>
                <a:gd name="connsiteX165" fmla="*/ 176674 w 369143"/>
                <a:gd name="connsiteY165" fmla="*/ 26087 h 48740"/>
                <a:gd name="connsiteX166" fmla="*/ 176674 w 369143"/>
                <a:gd name="connsiteY166" fmla="*/ 26313 h 48740"/>
                <a:gd name="connsiteX167" fmla="*/ 176674 w 369143"/>
                <a:gd name="connsiteY167" fmla="*/ 31772 h 48740"/>
                <a:gd name="connsiteX168" fmla="*/ 177556 w 369143"/>
                <a:gd name="connsiteY168" fmla="*/ 32994 h 48740"/>
                <a:gd name="connsiteX169" fmla="*/ 177872 w 369143"/>
                <a:gd name="connsiteY169" fmla="*/ 32996 h 48740"/>
                <a:gd name="connsiteX170" fmla="*/ 179230 w 369143"/>
                <a:gd name="connsiteY170" fmla="*/ 32996 h 48740"/>
                <a:gd name="connsiteX171" fmla="*/ 180455 w 369143"/>
                <a:gd name="connsiteY171" fmla="*/ 31995 h 48740"/>
                <a:gd name="connsiteX172" fmla="*/ 180455 w 369143"/>
                <a:gd name="connsiteY172" fmla="*/ 31772 h 48740"/>
                <a:gd name="connsiteX173" fmla="*/ 180455 w 369143"/>
                <a:gd name="connsiteY173" fmla="*/ 26313 h 48740"/>
                <a:gd name="connsiteX174" fmla="*/ 181353 w 369143"/>
                <a:gd name="connsiteY174" fmla="*/ 25248 h 48740"/>
                <a:gd name="connsiteX175" fmla="*/ 181520 w 369143"/>
                <a:gd name="connsiteY175" fmla="*/ 25248 h 48740"/>
                <a:gd name="connsiteX176" fmla="*/ 186979 w 369143"/>
                <a:gd name="connsiteY176" fmla="*/ 25248 h 48740"/>
                <a:gd name="connsiteX177" fmla="*/ 188203 w 369143"/>
                <a:gd name="connsiteY177" fmla="*/ 24247 h 48740"/>
                <a:gd name="connsiteX178" fmla="*/ 188203 w 369143"/>
                <a:gd name="connsiteY178" fmla="*/ 24023 h 48740"/>
                <a:gd name="connsiteX179" fmla="*/ 188203 w 369143"/>
                <a:gd name="connsiteY179" fmla="*/ 22665 h 48740"/>
                <a:gd name="connsiteX180" fmla="*/ 187234 w 369143"/>
                <a:gd name="connsiteY180" fmla="*/ 21465 h 48740"/>
                <a:gd name="connsiteX181" fmla="*/ 186979 w 369143"/>
                <a:gd name="connsiteY181" fmla="*/ 21467 h 48740"/>
                <a:gd name="connsiteX182" fmla="*/ 181520 w 369143"/>
                <a:gd name="connsiteY182" fmla="*/ 21467 h 48740"/>
                <a:gd name="connsiteX183" fmla="*/ 180453 w 369143"/>
                <a:gd name="connsiteY183" fmla="*/ 20573 h 48740"/>
                <a:gd name="connsiteX184" fmla="*/ 180455 w 369143"/>
                <a:gd name="connsiteY184" fmla="*/ 20376 h 48740"/>
                <a:gd name="connsiteX185" fmla="*/ 180455 w 369143"/>
                <a:gd name="connsiteY185" fmla="*/ 15050 h 48740"/>
                <a:gd name="connsiteX186" fmla="*/ 179515 w 369143"/>
                <a:gd name="connsiteY186" fmla="*/ 13825 h 48740"/>
                <a:gd name="connsiteX187" fmla="*/ 179230 w 369143"/>
                <a:gd name="connsiteY187" fmla="*/ 13825 h 48740"/>
                <a:gd name="connsiteX188" fmla="*/ 177846 w 369143"/>
                <a:gd name="connsiteY188" fmla="*/ 13825 h 48740"/>
                <a:gd name="connsiteX189" fmla="*/ 176621 w 369143"/>
                <a:gd name="connsiteY189" fmla="*/ 14702 h 48740"/>
                <a:gd name="connsiteX190" fmla="*/ 176621 w 369143"/>
                <a:gd name="connsiteY190" fmla="*/ 15050 h 48740"/>
                <a:gd name="connsiteX191" fmla="*/ 176621 w 369143"/>
                <a:gd name="connsiteY191" fmla="*/ 20376 h 48740"/>
                <a:gd name="connsiteX192" fmla="*/ 175814 w 369143"/>
                <a:gd name="connsiteY192" fmla="*/ 21465 h 48740"/>
                <a:gd name="connsiteX193" fmla="*/ 175556 w 369143"/>
                <a:gd name="connsiteY193" fmla="*/ 21467 h 48740"/>
                <a:gd name="connsiteX194" fmla="*/ 170044 w 369143"/>
                <a:gd name="connsiteY194" fmla="*/ 21467 h 48740"/>
                <a:gd name="connsiteX195" fmla="*/ 168822 w 369143"/>
                <a:gd name="connsiteY195" fmla="*/ 22410 h 48740"/>
                <a:gd name="connsiteX196" fmla="*/ 168820 w 369143"/>
                <a:gd name="connsiteY196" fmla="*/ 22665 h 48740"/>
                <a:gd name="connsiteX197" fmla="*/ 209185 w 369143"/>
                <a:gd name="connsiteY197" fmla="*/ 48360 h 48740"/>
                <a:gd name="connsiteX198" fmla="*/ 210995 w 369143"/>
                <a:gd name="connsiteY198" fmla="*/ 48360 h 48740"/>
                <a:gd name="connsiteX199" fmla="*/ 212194 w 369143"/>
                <a:gd name="connsiteY199" fmla="*/ 47385 h 48740"/>
                <a:gd name="connsiteX200" fmla="*/ 212194 w 369143"/>
                <a:gd name="connsiteY200" fmla="*/ 47161 h 48740"/>
                <a:gd name="connsiteX201" fmla="*/ 212194 w 369143"/>
                <a:gd name="connsiteY201" fmla="*/ 37070 h 48740"/>
                <a:gd name="connsiteX202" fmla="*/ 214137 w 369143"/>
                <a:gd name="connsiteY202" fmla="*/ 36192 h 48740"/>
                <a:gd name="connsiteX203" fmla="*/ 221167 w 369143"/>
                <a:gd name="connsiteY203" fmla="*/ 38135 h 48740"/>
                <a:gd name="connsiteX204" fmla="*/ 233926 w 369143"/>
                <a:gd name="connsiteY204" fmla="*/ 25123 h 48740"/>
                <a:gd name="connsiteX205" fmla="*/ 233921 w 369143"/>
                <a:gd name="connsiteY205" fmla="*/ 24822 h 48740"/>
                <a:gd name="connsiteX206" fmla="*/ 221409 w 369143"/>
                <a:gd name="connsiteY206" fmla="*/ 11778 h 48740"/>
                <a:gd name="connsiteX207" fmla="*/ 221247 w 369143"/>
                <a:gd name="connsiteY207" fmla="*/ 11775 h 48740"/>
                <a:gd name="connsiteX208" fmla="*/ 213525 w 369143"/>
                <a:gd name="connsiteY208" fmla="*/ 14225 h 48740"/>
                <a:gd name="connsiteX209" fmla="*/ 211368 w 369143"/>
                <a:gd name="connsiteY209" fmla="*/ 13479 h 48740"/>
                <a:gd name="connsiteX210" fmla="*/ 211368 w 369143"/>
                <a:gd name="connsiteY210" fmla="*/ 13479 h 48740"/>
                <a:gd name="connsiteX211" fmla="*/ 210064 w 369143"/>
                <a:gd name="connsiteY211" fmla="*/ 12361 h 48740"/>
                <a:gd name="connsiteX212" fmla="*/ 209185 w 369143"/>
                <a:gd name="connsiteY212" fmla="*/ 12361 h 48740"/>
                <a:gd name="connsiteX213" fmla="*/ 207963 w 369143"/>
                <a:gd name="connsiteY213" fmla="*/ 13304 h 48740"/>
                <a:gd name="connsiteX214" fmla="*/ 207960 w 369143"/>
                <a:gd name="connsiteY214" fmla="*/ 13559 h 48740"/>
                <a:gd name="connsiteX215" fmla="*/ 207960 w 369143"/>
                <a:gd name="connsiteY215" fmla="*/ 47161 h 48740"/>
                <a:gd name="connsiteX216" fmla="*/ 208929 w 369143"/>
                <a:gd name="connsiteY216" fmla="*/ 48362 h 48740"/>
                <a:gd name="connsiteX217" fmla="*/ 209185 w 369143"/>
                <a:gd name="connsiteY217" fmla="*/ 48360 h 48740"/>
                <a:gd name="connsiteX218" fmla="*/ 212540 w 369143"/>
                <a:gd name="connsiteY218" fmla="*/ 28017 h 48740"/>
                <a:gd name="connsiteX219" fmla="*/ 212540 w 369143"/>
                <a:gd name="connsiteY219" fmla="*/ 21947 h 48740"/>
                <a:gd name="connsiteX220" fmla="*/ 213072 w 369143"/>
                <a:gd name="connsiteY220" fmla="*/ 19843 h 48740"/>
                <a:gd name="connsiteX221" fmla="*/ 220714 w 369143"/>
                <a:gd name="connsiteY221" fmla="*/ 15796 h 48740"/>
                <a:gd name="connsiteX222" fmla="*/ 229234 w 369143"/>
                <a:gd name="connsiteY222" fmla="*/ 24902 h 48740"/>
                <a:gd name="connsiteX223" fmla="*/ 220714 w 369143"/>
                <a:gd name="connsiteY223" fmla="*/ 34221 h 48740"/>
                <a:gd name="connsiteX224" fmla="*/ 213072 w 369143"/>
                <a:gd name="connsiteY224" fmla="*/ 30121 h 48740"/>
                <a:gd name="connsiteX225" fmla="*/ 212540 w 369143"/>
                <a:gd name="connsiteY225" fmla="*/ 28017 h 48740"/>
                <a:gd name="connsiteX226" fmla="*/ 238740 w 369143"/>
                <a:gd name="connsiteY226" fmla="*/ 24849 h 48740"/>
                <a:gd name="connsiteX227" fmla="*/ 250868 w 369143"/>
                <a:gd name="connsiteY227" fmla="*/ 38148 h 48740"/>
                <a:gd name="connsiteX228" fmla="*/ 251600 w 369143"/>
                <a:gd name="connsiteY228" fmla="*/ 38162 h 48740"/>
                <a:gd name="connsiteX229" fmla="*/ 262491 w 369143"/>
                <a:gd name="connsiteY229" fmla="*/ 31079 h 48740"/>
                <a:gd name="connsiteX230" fmla="*/ 261425 w 369143"/>
                <a:gd name="connsiteY230" fmla="*/ 29695 h 48740"/>
                <a:gd name="connsiteX231" fmla="*/ 259588 w 369143"/>
                <a:gd name="connsiteY231" fmla="*/ 29695 h 48740"/>
                <a:gd name="connsiteX232" fmla="*/ 258177 w 369143"/>
                <a:gd name="connsiteY232" fmla="*/ 30680 h 48740"/>
                <a:gd name="connsiteX233" fmla="*/ 251600 w 369143"/>
                <a:gd name="connsiteY233" fmla="*/ 34248 h 48740"/>
                <a:gd name="connsiteX234" fmla="*/ 243612 w 369143"/>
                <a:gd name="connsiteY234" fmla="*/ 28044 h 48740"/>
                <a:gd name="connsiteX235" fmla="*/ 245184 w 369143"/>
                <a:gd name="connsiteY235" fmla="*/ 26207 h 48740"/>
                <a:gd name="connsiteX236" fmla="*/ 261718 w 369143"/>
                <a:gd name="connsiteY236" fmla="*/ 26207 h 48740"/>
                <a:gd name="connsiteX237" fmla="*/ 263366 w 369143"/>
                <a:gd name="connsiteY237" fmla="*/ 24774 h 48740"/>
                <a:gd name="connsiteX238" fmla="*/ 263369 w 369143"/>
                <a:gd name="connsiteY238" fmla="*/ 24636 h 48740"/>
                <a:gd name="connsiteX239" fmla="*/ 251917 w 369143"/>
                <a:gd name="connsiteY239" fmla="*/ 11842 h 48740"/>
                <a:gd name="connsiteX240" fmla="*/ 251600 w 369143"/>
                <a:gd name="connsiteY240" fmla="*/ 11829 h 48740"/>
                <a:gd name="connsiteX241" fmla="*/ 238791 w 369143"/>
                <a:gd name="connsiteY241" fmla="*/ 24311 h 48740"/>
                <a:gd name="connsiteX242" fmla="*/ 238793 w 369143"/>
                <a:gd name="connsiteY242" fmla="*/ 24822 h 48740"/>
                <a:gd name="connsiteX243" fmla="*/ 244118 w 369143"/>
                <a:gd name="connsiteY243" fmla="*/ 20402 h 48740"/>
                <a:gd name="connsiteX244" fmla="*/ 251414 w 369143"/>
                <a:gd name="connsiteY244" fmla="*/ 15716 h 48740"/>
                <a:gd name="connsiteX245" fmla="*/ 258204 w 369143"/>
                <a:gd name="connsiteY245" fmla="*/ 20455 h 48740"/>
                <a:gd name="connsiteX246" fmla="*/ 256739 w 369143"/>
                <a:gd name="connsiteY246" fmla="*/ 22399 h 48740"/>
                <a:gd name="connsiteX247" fmla="*/ 245476 w 369143"/>
                <a:gd name="connsiteY247" fmla="*/ 22399 h 48740"/>
                <a:gd name="connsiteX248" fmla="*/ 244118 w 369143"/>
                <a:gd name="connsiteY248" fmla="*/ 20455 h 48740"/>
                <a:gd name="connsiteX249" fmla="*/ 268082 w 369143"/>
                <a:gd name="connsiteY249" fmla="*/ 24875 h 48740"/>
                <a:gd name="connsiteX250" fmla="*/ 280801 w 369143"/>
                <a:gd name="connsiteY250" fmla="*/ 38188 h 48740"/>
                <a:gd name="connsiteX251" fmla="*/ 281395 w 369143"/>
                <a:gd name="connsiteY251" fmla="*/ 38188 h 48740"/>
                <a:gd name="connsiteX252" fmla="*/ 294708 w 369143"/>
                <a:gd name="connsiteY252" fmla="*/ 25469 h 48740"/>
                <a:gd name="connsiteX253" fmla="*/ 294708 w 369143"/>
                <a:gd name="connsiteY253" fmla="*/ 24875 h 48740"/>
                <a:gd name="connsiteX254" fmla="*/ 281989 w 369143"/>
                <a:gd name="connsiteY254" fmla="*/ 11874 h 48740"/>
                <a:gd name="connsiteX255" fmla="*/ 281395 w 369143"/>
                <a:gd name="connsiteY255" fmla="*/ 11882 h 48740"/>
                <a:gd name="connsiteX256" fmla="*/ 268087 w 369143"/>
                <a:gd name="connsiteY256" fmla="*/ 24335 h 48740"/>
                <a:gd name="connsiteX257" fmla="*/ 268082 w 369143"/>
                <a:gd name="connsiteY257" fmla="*/ 24875 h 48740"/>
                <a:gd name="connsiteX258" fmla="*/ 272662 w 369143"/>
                <a:gd name="connsiteY258" fmla="*/ 25035 h 48740"/>
                <a:gd name="connsiteX259" fmla="*/ 281012 w 369143"/>
                <a:gd name="connsiteY259" fmla="*/ 15833 h 48740"/>
                <a:gd name="connsiteX260" fmla="*/ 281528 w 369143"/>
                <a:gd name="connsiteY260" fmla="*/ 15822 h 48740"/>
                <a:gd name="connsiteX261" fmla="*/ 290349 w 369143"/>
                <a:gd name="connsiteY261" fmla="*/ 24628 h 48740"/>
                <a:gd name="connsiteX262" fmla="*/ 290341 w 369143"/>
                <a:gd name="connsiteY262" fmla="*/ 25035 h 48740"/>
                <a:gd name="connsiteX263" fmla="*/ 281882 w 369143"/>
                <a:gd name="connsiteY263" fmla="*/ 34240 h 48740"/>
                <a:gd name="connsiteX264" fmla="*/ 281528 w 369143"/>
                <a:gd name="connsiteY264" fmla="*/ 34248 h 48740"/>
                <a:gd name="connsiteX265" fmla="*/ 272654 w 369143"/>
                <a:gd name="connsiteY265" fmla="*/ 25442 h 48740"/>
                <a:gd name="connsiteX266" fmla="*/ 272662 w 369143"/>
                <a:gd name="connsiteY266" fmla="*/ 25035 h 48740"/>
                <a:gd name="connsiteX267" fmla="*/ 302749 w 369143"/>
                <a:gd name="connsiteY267" fmla="*/ 48386 h 48740"/>
                <a:gd name="connsiteX268" fmla="*/ 304533 w 369143"/>
                <a:gd name="connsiteY268" fmla="*/ 48386 h 48740"/>
                <a:gd name="connsiteX269" fmla="*/ 305755 w 369143"/>
                <a:gd name="connsiteY269" fmla="*/ 47444 h 48740"/>
                <a:gd name="connsiteX270" fmla="*/ 305758 w 369143"/>
                <a:gd name="connsiteY270" fmla="*/ 47188 h 48740"/>
                <a:gd name="connsiteX271" fmla="*/ 305758 w 369143"/>
                <a:gd name="connsiteY271" fmla="*/ 37097 h 48740"/>
                <a:gd name="connsiteX272" fmla="*/ 307702 w 369143"/>
                <a:gd name="connsiteY272" fmla="*/ 36218 h 48740"/>
                <a:gd name="connsiteX273" fmla="*/ 314731 w 369143"/>
                <a:gd name="connsiteY273" fmla="*/ 38162 h 48740"/>
                <a:gd name="connsiteX274" fmla="*/ 327490 w 369143"/>
                <a:gd name="connsiteY274" fmla="*/ 25096 h 48740"/>
                <a:gd name="connsiteX275" fmla="*/ 327485 w 369143"/>
                <a:gd name="connsiteY275" fmla="*/ 24849 h 48740"/>
                <a:gd name="connsiteX276" fmla="*/ 314973 w 369143"/>
                <a:gd name="connsiteY276" fmla="*/ 11805 h 48740"/>
                <a:gd name="connsiteX277" fmla="*/ 314811 w 369143"/>
                <a:gd name="connsiteY277" fmla="*/ 11802 h 48740"/>
                <a:gd name="connsiteX278" fmla="*/ 307063 w 369143"/>
                <a:gd name="connsiteY278" fmla="*/ 14252 h 48740"/>
                <a:gd name="connsiteX279" fmla="*/ 304933 w 369143"/>
                <a:gd name="connsiteY279" fmla="*/ 13506 h 48740"/>
                <a:gd name="connsiteX280" fmla="*/ 304933 w 369143"/>
                <a:gd name="connsiteY280" fmla="*/ 13506 h 48740"/>
                <a:gd name="connsiteX281" fmla="*/ 303628 w 369143"/>
                <a:gd name="connsiteY281" fmla="*/ 12388 h 48740"/>
                <a:gd name="connsiteX282" fmla="*/ 302749 w 369143"/>
                <a:gd name="connsiteY282" fmla="*/ 12388 h 48740"/>
                <a:gd name="connsiteX283" fmla="*/ 301527 w 369143"/>
                <a:gd name="connsiteY283" fmla="*/ 13330 h 48740"/>
                <a:gd name="connsiteX284" fmla="*/ 301524 w 369143"/>
                <a:gd name="connsiteY284" fmla="*/ 13586 h 48740"/>
                <a:gd name="connsiteX285" fmla="*/ 301524 w 369143"/>
                <a:gd name="connsiteY285" fmla="*/ 47188 h 48740"/>
                <a:gd name="connsiteX286" fmla="*/ 302494 w 369143"/>
                <a:gd name="connsiteY286" fmla="*/ 48389 h 48740"/>
                <a:gd name="connsiteX287" fmla="*/ 302749 w 369143"/>
                <a:gd name="connsiteY287" fmla="*/ 48386 h 48740"/>
                <a:gd name="connsiteX288" fmla="*/ 306104 w 369143"/>
                <a:gd name="connsiteY288" fmla="*/ 28044 h 48740"/>
                <a:gd name="connsiteX289" fmla="*/ 306104 w 369143"/>
                <a:gd name="connsiteY289" fmla="*/ 21973 h 48740"/>
                <a:gd name="connsiteX290" fmla="*/ 306637 w 369143"/>
                <a:gd name="connsiteY290" fmla="*/ 19870 h 48740"/>
                <a:gd name="connsiteX291" fmla="*/ 314278 w 369143"/>
                <a:gd name="connsiteY291" fmla="*/ 15822 h 48740"/>
                <a:gd name="connsiteX292" fmla="*/ 322799 w 369143"/>
                <a:gd name="connsiteY292" fmla="*/ 24929 h 48740"/>
                <a:gd name="connsiteX293" fmla="*/ 314278 w 369143"/>
                <a:gd name="connsiteY293" fmla="*/ 34248 h 48740"/>
                <a:gd name="connsiteX294" fmla="*/ 306637 w 369143"/>
                <a:gd name="connsiteY294" fmla="*/ 30147 h 48740"/>
                <a:gd name="connsiteX295" fmla="*/ 306104 w 369143"/>
                <a:gd name="connsiteY295" fmla="*/ 28044 h 48740"/>
                <a:gd name="connsiteX296" fmla="*/ 337496 w 369143"/>
                <a:gd name="connsiteY296" fmla="*/ -286 h 48740"/>
                <a:gd name="connsiteX297" fmla="*/ 335366 w 369143"/>
                <a:gd name="connsiteY297" fmla="*/ -286 h 48740"/>
                <a:gd name="connsiteX298" fmla="*/ 334141 w 369143"/>
                <a:gd name="connsiteY298" fmla="*/ 715 h 48740"/>
                <a:gd name="connsiteX299" fmla="*/ 334141 w 369143"/>
                <a:gd name="connsiteY299" fmla="*/ 938 h 48740"/>
                <a:gd name="connsiteX300" fmla="*/ 334141 w 369143"/>
                <a:gd name="connsiteY300" fmla="*/ 36484 h 48740"/>
                <a:gd name="connsiteX301" fmla="*/ 335111 w 369143"/>
                <a:gd name="connsiteY301" fmla="*/ 37685 h 48740"/>
                <a:gd name="connsiteX302" fmla="*/ 335366 w 369143"/>
                <a:gd name="connsiteY302" fmla="*/ 37683 h 48740"/>
                <a:gd name="connsiteX303" fmla="*/ 337496 w 369143"/>
                <a:gd name="connsiteY303" fmla="*/ 37683 h 48740"/>
                <a:gd name="connsiteX304" fmla="*/ 338718 w 369143"/>
                <a:gd name="connsiteY304" fmla="*/ 36740 h 48740"/>
                <a:gd name="connsiteX305" fmla="*/ 338721 w 369143"/>
                <a:gd name="connsiteY305" fmla="*/ 36484 h 48740"/>
                <a:gd name="connsiteX306" fmla="*/ 338721 w 369143"/>
                <a:gd name="connsiteY306" fmla="*/ 885 h 48740"/>
                <a:gd name="connsiteX307" fmla="*/ 337720 w 369143"/>
                <a:gd name="connsiteY307" fmla="*/ -340 h 48740"/>
                <a:gd name="connsiteX308" fmla="*/ 337496 w 369143"/>
                <a:gd name="connsiteY308" fmla="*/ -340 h 48740"/>
                <a:gd name="connsiteX309" fmla="*/ 345484 w 369143"/>
                <a:gd name="connsiteY309" fmla="*/ 24822 h 48740"/>
                <a:gd name="connsiteX310" fmla="*/ 357612 w 369143"/>
                <a:gd name="connsiteY310" fmla="*/ 38122 h 48740"/>
                <a:gd name="connsiteX311" fmla="*/ 358345 w 369143"/>
                <a:gd name="connsiteY311" fmla="*/ 38135 h 48740"/>
                <a:gd name="connsiteX312" fmla="*/ 369235 w 369143"/>
                <a:gd name="connsiteY312" fmla="*/ 31053 h 48740"/>
                <a:gd name="connsiteX313" fmla="*/ 368170 w 369143"/>
                <a:gd name="connsiteY313" fmla="*/ 29668 h 48740"/>
                <a:gd name="connsiteX314" fmla="*/ 366333 w 369143"/>
                <a:gd name="connsiteY314" fmla="*/ 29668 h 48740"/>
                <a:gd name="connsiteX315" fmla="*/ 364921 w 369143"/>
                <a:gd name="connsiteY315" fmla="*/ 30653 h 48740"/>
                <a:gd name="connsiteX316" fmla="*/ 358345 w 369143"/>
                <a:gd name="connsiteY316" fmla="*/ 34221 h 48740"/>
                <a:gd name="connsiteX317" fmla="*/ 350357 w 369143"/>
                <a:gd name="connsiteY317" fmla="*/ 28017 h 48740"/>
                <a:gd name="connsiteX318" fmla="*/ 351928 w 369143"/>
                <a:gd name="connsiteY318" fmla="*/ 26180 h 48740"/>
                <a:gd name="connsiteX319" fmla="*/ 368463 w 369143"/>
                <a:gd name="connsiteY319" fmla="*/ 26180 h 48740"/>
                <a:gd name="connsiteX320" fmla="*/ 370111 w 369143"/>
                <a:gd name="connsiteY320" fmla="*/ 24745 h 48740"/>
                <a:gd name="connsiteX321" fmla="*/ 370113 w 369143"/>
                <a:gd name="connsiteY321" fmla="*/ 24609 h 48740"/>
                <a:gd name="connsiteX322" fmla="*/ 358661 w 369143"/>
                <a:gd name="connsiteY322" fmla="*/ 11815 h 48740"/>
                <a:gd name="connsiteX323" fmla="*/ 358371 w 369143"/>
                <a:gd name="connsiteY323" fmla="*/ 11802 h 48740"/>
                <a:gd name="connsiteX324" fmla="*/ 345535 w 369143"/>
                <a:gd name="connsiteY324" fmla="*/ 24311 h 48740"/>
                <a:gd name="connsiteX325" fmla="*/ 345538 w 369143"/>
                <a:gd name="connsiteY325" fmla="*/ 24795 h 48740"/>
                <a:gd name="connsiteX326" fmla="*/ 350863 w 369143"/>
                <a:gd name="connsiteY326" fmla="*/ 20376 h 48740"/>
                <a:gd name="connsiteX327" fmla="*/ 358185 w 369143"/>
                <a:gd name="connsiteY327" fmla="*/ 15689 h 48740"/>
                <a:gd name="connsiteX328" fmla="*/ 364948 w 369143"/>
                <a:gd name="connsiteY328" fmla="*/ 20429 h 48740"/>
                <a:gd name="connsiteX329" fmla="*/ 363484 w 369143"/>
                <a:gd name="connsiteY329" fmla="*/ 22373 h 48740"/>
                <a:gd name="connsiteX330" fmla="*/ 352221 w 369143"/>
                <a:gd name="connsiteY330" fmla="*/ 22373 h 48740"/>
                <a:gd name="connsiteX331" fmla="*/ 350863 w 369143"/>
                <a:gd name="connsiteY331" fmla="*/ 20429 h 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Lst>
              <a:rect l="l" t="t" r="r" b="b"/>
              <a:pathLst>
                <a:path w="369143" h="48740">
                  <a:moveTo>
                    <a:pt x="2220" y="48333"/>
                  </a:moveTo>
                  <a:lnTo>
                    <a:pt x="4004" y="48333"/>
                  </a:lnTo>
                  <a:cubicBezTo>
                    <a:pt x="4603" y="48410"/>
                    <a:pt x="5149" y="47987"/>
                    <a:pt x="5226" y="47390"/>
                  </a:cubicBezTo>
                  <a:cubicBezTo>
                    <a:pt x="5237" y="47305"/>
                    <a:pt x="5237" y="47220"/>
                    <a:pt x="5229" y="47135"/>
                  </a:cubicBezTo>
                  <a:lnTo>
                    <a:pt x="5229" y="37043"/>
                  </a:lnTo>
                  <a:cubicBezTo>
                    <a:pt x="5229" y="35632"/>
                    <a:pt x="6001" y="35339"/>
                    <a:pt x="7172" y="36165"/>
                  </a:cubicBezTo>
                  <a:cubicBezTo>
                    <a:pt x="9265" y="37507"/>
                    <a:pt x="11717" y="38183"/>
                    <a:pt x="14202" y="38109"/>
                  </a:cubicBezTo>
                  <a:cubicBezTo>
                    <a:pt x="21319" y="38039"/>
                    <a:pt x="27033" y="32214"/>
                    <a:pt x="26961" y="25096"/>
                  </a:cubicBezTo>
                  <a:cubicBezTo>
                    <a:pt x="26961" y="24995"/>
                    <a:pt x="26958" y="24897"/>
                    <a:pt x="26955" y="24795"/>
                  </a:cubicBezTo>
                  <a:cubicBezTo>
                    <a:pt x="27102" y="17740"/>
                    <a:pt x="21502" y="11898"/>
                    <a:pt x="14444" y="11751"/>
                  </a:cubicBezTo>
                  <a:cubicBezTo>
                    <a:pt x="14391" y="11749"/>
                    <a:pt x="14335" y="11749"/>
                    <a:pt x="14281" y="11749"/>
                  </a:cubicBezTo>
                  <a:cubicBezTo>
                    <a:pt x="11496" y="11671"/>
                    <a:pt x="8767" y="12534"/>
                    <a:pt x="6533" y="14198"/>
                  </a:cubicBezTo>
                  <a:cubicBezTo>
                    <a:pt x="5468" y="15024"/>
                    <a:pt x="4643" y="14837"/>
                    <a:pt x="4403" y="13453"/>
                  </a:cubicBezTo>
                  <a:lnTo>
                    <a:pt x="4403" y="13453"/>
                  </a:lnTo>
                  <a:cubicBezTo>
                    <a:pt x="4347" y="12787"/>
                    <a:pt x="3767" y="12289"/>
                    <a:pt x="3098" y="12334"/>
                  </a:cubicBezTo>
                  <a:lnTo>
                    <a:pt x="2220" y="12334"/>
                  </a:lnTo>
                  <a:cubicBezTo>
                    <a:pt x="1621" y="12257"/>
                    <a:pt x="1075" y="12681"/>
                    <a:pt x="998" y="13277"/>
                  </a:cubicBezTo>
                  <a:cubicBezTo>
                    <a:pt x="987" y="13362"/>
                    <a:pt x="987" y="13447"/>
                    <a:pt x="995" y="13533"/>
                  </a:cubicBezTo>
                  <a:lnTo>
                    <a:pt x="995" y="47135"/>
                  </a:lnTo>
                  <a:cubicBezTo>
                    <a:pt x="931" y="47734"/>
                    <a:pt x="1365" y="48272"/>
                    <a:pt x="1964" y="48336"/>
                  </a:cubicBezTo>
                  <a:cubicBezTo>
                    <a:pt x="2049" y="48344"/>
                    <a:pt x="2134" y="48344"/>
                    <a:pt x="2220" y="48333"/>
                  </a:cubicBezTo>
                  <a:moveTo>
                    <a:pt x="5575" y="27991"/>
                  </a:moveTo>
                  <a:lnTo>
                    <a:pt x="5575" y="21920"/>
                  </a:lnTo>
                  <a:cubicBezTo>
                    <a:pt x="5535" y="21180"/>
                    <a:pt x="5721" y="20447"/>
                    <a:pt x="6107" y="19816"/>
                  </a:cubicBezTo>
                  <a:cubicBezTo>
                    <a:pt x="7777" y="17228"/>
                    <a:pt x="10671" y="15695"/>
                    <a:pt x="13749" y="15769"/>
                  </a:cubicBezTo>
                  <a:cubicBezTo>
                    <a:pt x="18606" y="15958"/>
                    <a:pt x="22405" y="20019"/>
                    <a:pt x="22269" y="24875"/>
                  </a:cubicBezTo>
                  <a:cubicBezTo>
                    <a:pt x="22480" y="29799"/>
                    <a:pt x="18672" y="33965"/>
                    <a:pt x="13749" y="34195"/>
                  </a:cubicBezTo>
                  <a:cubicBezTo>
                    <a:pt x="10655" y="34285"/>
                    <a:pt x="7745" y="32722"/>
                    <a:pt x="6107" y="30094"/>
                  </a:cubicBezTo>
                  <a:cubicBezTo>
                    <a:pt x="5721" y="29463"/>
                    <a:pt x="5535" y="28731"/>
                    <a:pt x="5575" y="27991"/>
                  </a:cubicBezTo>
                  <a:moveTo>
                    <a:pt x="36967" y="-340"/>
                  </a:moveTo>
                  <a:lnTo>
                    <a:pt x="34837" y="-340"/>
                  </a:lnTo>
                  <a:cubicBezTo>
                    <a:pt x="34222" y="-401"/>
                    <a:pt x="33673" y="46"/>
                    <a:pt x="33612" y="662"/>
                  </a:cubicBezTo>
                  <a:cubicBezTo>
                    <a:pt x="33604" y="736"/>
                    <a:pt x="33604" y="811"/>
                    <a:pt x="33612" y="885"/>
                  </a:cubicBezTo>
                  <a:lnTo>
                    <a:pt x="33612" y="36431"/>
                  </a:lnTo>
                  <a:cubicBezTo>
                    <a:pt x="33548" y="37030"/>
                    <a:pt x="33982" y="37568"/>
                    <a:pt x="34581" y="37632"/>
                  </a:cubicBezTo>
                  <a:cubicBezTo>
                    <a:pt x="34666" y="37640"/>
                    <a:pt x="34752" y="37640"/>
                    <a:pt x="34837" y="37629"/>
                  </a:cubicBezTo>
                  <a:lnTo>
                    <a:pt x="36967" y="37629"/>
                  </a:lnTo>
                  <a:cubicBezTo>
                    <a:pt x="37566" y="37707"/>
                    <a:pt x="38112" y="37283"/>
                    <a:pt x="38189" y="36687"/>
                  </a:cubicBezTo>
                  <a:cubicBezTo>
                    <a:pt x="38200" y="36602"/>
                    <a:pt x="38200" y="36516"/>
                    <a:pt x="38192" y="36431"/>
                  </a:cubicBezTo>
                  <a:lnTo>
                    <a:pt x="38192" y="885"/>
                  </a:lnTo>
                  <a:cubicBezTo>
                    <a:pt x="38253" y="270"/>
                    <a:pt x="37806" y="-278"/>
                    <a:pt x="37191" y="-340"/>
                  </a:cubicBezTo>
                  <a:cubicBezTo>
                    <a:pt x="37116" y="-348"/>
                    <a:pt x="37041" y="-348"/>
                    <a:pt x="36967" y="-340"/>
                  </a:cubicBezTo>
                  <a:moveTo>
                    <a:pt x="44768" y="30680"/>
                  </a:moveTo>
                  <a:cubicBezTo>
                    <a:pt x="44840" y="34871"/>
                    <a:pt x="48294" y="38210"/>
                    <a:pt x="52485" y="38141"/>
                  </a:cubicBezTo>
                  <a:cubicBezTo>
                    <a:pt x="52674" y="38135"/>
                    <a:pt x="52860" y="38125"/>
                    <a:pt x="53049" y="38109"/>
                  </a:cubicBezTo>
                  <a:cubicBezTo>
                    <a:pt x="56154" y="38127"/>
                    <a:pt x="59192" y="37198"/>
                    <a:pt x="61756" y="35446"/>
                  </a:cubicBezTo>
                  <a:cubicBezTo>
                    <a:pt x="62821" y="34780"/>
                    <a:pt x="63646" y="35020"/>
                    <a:pt x="63992" y="36218"/>
                  </a:cubicBezTo>
                  <a:lnTo>
                    <a:pt x="64152" y="36724"/>
                  </a:lnTo>
                  <a:cubicBezTo>
                    <a:pt x="64275" y="37363"/>
                    <a:pt x="64863" y="37802"/>
                    <a:pt x="65510" y="37736"/>
                  </a:cubicBezTo>
                  <a:lnTo>
                    <a:pt x="66096" y="37736"/>
                  </a:lnTo>
                  <a:cubicBezTo>
                    <a:pt x="66695" y="37797"/>
                    <a:pt x="67233" y="37363"/>
                    <a:pt x="67294" y="36761"/>
                  </a:cubicBezTo>
                  <a:cubicBezTo>
                    <a:pt x="67302" y="36687"/>
                    <a:pt x="67302" y="36612"/>
                    <a:pt x="67294" y="36538"/>
                  </a:cubicBezTo>
                  <a:lnTo>
                    <a:pt x="67294" y="22905"/>
                  </a:lnTo>
                  <a:cubicBezTo>
                    <a:pt x="67294" y="15982"/>
                    <a:pt x="63353" y="11935"/>
                    <a:pt x="56644" y="11935"/>
                  </a:cubicBezTo>
                  <a:cubicBezTo>
                    <a:pt x="50892" y="11935"/>
                    <a:pt x="46872" y="14864"/>
                    <a:pt x="45993" y="19497"/>
                  </a:cubicBezTo>
                  <a:cubicBezTo>
                    <a:pt x="45839" y="20048"/>
                    <a:pt x="46161" y="20623"/>
                    <a:pt x="46712" y="20778"/>
                  </a:cubicBezTo>
                  <a:cubicBezTo>
                    <a:pt x="46858" y="20818"/>
                    <a:pt x="47013" y="20825"/>
                    <a:pt x="47165" y="20802"/>
                  </a:cubicBezTo>
                  <a:lnTo>
                    <a:pt x="49055" y="20802"/>
                  </a:lnTo>
                  <a:cubicBezTo>
                    <a:pt x="49702" y="20825"/>
                    <a:pt x="50269" y="20373"/>
                    <a:pt x="50386" y="19736"/>
                  </a:cubicBezTo>
                  <a:cubicBezTo>
                    <a:pt x="51305" y="17207"/>
                    <a:pt x="53835" y="15633"/>
                    <a:pt x="56510" y="15929"/>
                  </a:cubicBezTo>
                  <a:cubicBezTo>
                    <a:pt x="59628" y="15498"/>
                    <a:pt x="62504" y="17673"/>
                    <a:pt x="62938" y="20791"/>
                  </a:cubicBezTo>
                  <a:cubicBezTo>
                    <a:pt x="62989" y="21164"/>
                    <a:pt x="63005" y="21542"/>
                    <a:pt x="62981" y="21920"/>
                  </a:cubicBezTo>
                  <a:cubicBezTo>
                    <a:pt x="62981" y="22958"/>
                    <a:pt x="62368" y="23491"/>
                    <a:pt x="61277" y="23491"/>
                  </a:cubicBezTo>
                  <a:lnTo>
                    <a:pt x="55632" y="23491"/>
                  </a:lnTo>
                  <a:cubicBezTo>
                    <a:pt x="48975" y="23491"/>
                    <a:pt x="44981" y="26606"/>
                    <a:pt x="44981" y="30840"/>
                  </a:cubicBezTo>
                  <a:moveTo>
                    <a:pt x="49561" y="30840"/>
                  </a:moveTo>
                  <a:cubicBezTo>
                    <a:pt x="49561" y="28417"/>
                    <a:pt x="51638" y="27325"/>
                    <a:pt x="55792" y="27325"/>
                  </a:cubicBezTo>
                  <a:lnTo>
                    <a:pt x="61330" y="27325"/>
                  </a:lnTo>
                  <a:cubicBezTo>
                    <a:pt x="62177" y="27232"/>
                    <a:pt x="62941" y="27844"/>
                    <a:pt x="63034" y="28691"/>
                  </a:cubicBezTo>
                  <a:cubicBezTo>
                    <a:pt x="63047" y="28803"/>
                    <a:pt x="63047" y="28917"/>
                    <a:pt x="63034" y="29029"/>
                  </a:cubicBezTo>
                  <a:lnTo>
                    <a:pt x="63034" y="29535"/>
                  </a:lnTo>
                  <a:cubicBezTo>
                    <a:pt x="63071" y="30347"/>
                    <a:pt x="62688" y="31119"/>
                    <a:pt x="62022" y="31585"/>
                  </a:cubicBezTo>
                  <a:cubicBezTo>
                    <a:pt x="59767" y="33233"/>
                    <a:pt x="57067" y="34160"/>
                    <a:pt x="54274" y="34248"/>
                  </a:cubicBezTo>
                  <a:cubicBezTo>
                    <a:pt x="51611" y="34248"/>
                    <a:pt x="49561" y="33129"/>
                    <a:pt x="49561" y="30733"/>
                  </a:cubicBezTo>
                  <a:moveTo>
                    <a:pt x="76826" y="37789"/>
                  </a:moveTo>
                  <a:lnTo>
                    <a:pt x="78956" y="37789"/>
                  </a:lnTo>
                  <a:cubicBezTo>
                    <a:pt x="79555" y="37866"/>
                    <a:pt x="80101" y="37443"/>
                    <a:pt x="80179" y="36846"/>
                  </a:cubicBezTo>
                  <a:cubicBezTo>
                    <a:pt x="80189" y="36761"/>
                    <a:pt x="80189" y="36676"/>
                    <a:pt x="80181" y="36591"/>
                  </a:cubicBezTo>
                  <a:lnTo>
                    <a:pt x="80181" y="20988"/>
                  </a:lnTo>
                  <a:cubicBezTo>
                    <a:pt x="80123" y="20152"/>
                    <a:pt x="80562" y="19361"/>
                    <a:pt x="81299" y="18964"/>
                  </a:cubicBezTo>
                  <a:cubicBezTo>
                    <a:pt x="83752" y="17274"/>
                    <a:pt x="86609" y="16264"/>
                    <a:pt x="89580" y="16035"/>
                  </a:cubicBezTo>
                  <a:cubicBezTo>
                    <a:pt x="92392" y="15777"/>
                    <a:pt x="94881" y="17846"/>
                    <a:pt x="95140" y="20658"/>
                  </a:cubicBezTo>
                  <a:cubicBezTo>
                    <a:pt x="95174" y="21033"/>
                    <a:pt x="95166" y="21411"/>
                    <a:pt x="95118" y="21787"/>
                  </a:cubicBezTo>
                  <a:lnTo>
                    <a:pt x="95118" y="36591"/>
                  </a:lnTo>
                  <a:cubicBezTo>
                    <a:pt x="95054" y="37190"/>
                    <a:pt x="95489" y="37728"/>
                    <a:pt x="96088" y="37792"/>
                  </a:cubicBezTo>
                  <a:cubicBezTo>
                    <a:pt x="96173" y="37800"/>
                    <a:pt x="96258" y="37800"/>
                    <a:pt x="96343" y="37789"/>
                  </a:cubicBezTo>
                  <a:lnTo>
                    <a:pt x="98473" y="37789"/>
                  </a:lnTo>
                  <a:cubicBezTo>
                    <a:pt x="99072" y="37866"/>
                    <a:pt x="99618" y="37443"/>
                    <a:pt x="99696" y="36846"/>
                  </a:cubicBezTo>
                  <a:cubicBezTo>
                    <a:pt x="99706" y="36761"/>
                    <a:pt x="99706" y="36676"/>
                    <a:pt x="99698" y="36591"/>
                  </a:cubicBezTo>
                  <a:lnTo>
                    <a:pt x="99698" y="21574"/>
                  </a:lnTo>
                  <a:cubicBezTo>
                    <a:pt x="99698" y="15343"/>
                    <a:pt x="96397" y="11988"/>
                    <a:pt x="90885" y="11988"/>
                  </a:cubicBezTo>
                  <a:cubicBezTo>
                    <a:pt x="87495" y="11996"/>
                    <a:pt x="84178" y="12976"/>
                    <a:pt x="81326" y="14811"/>
                  </a:cubicBezTo>
                  <a:cubicBezTo>
                    <a:pt x="80261" y="15503"/>
                    <a:pt x="79436" y="15210"/>
                    <a:pt x="79143" y="13932"/>
                  </a:cubicBezTo>
                  <a:lnTo>
                    <a:pt x="79143" y="13559"/>
                  </a:lnTo>
                  <a:cubicBezTo>
                    <a:pt x="79023" y="12902"/>
                    <a:pt x="78424" y="12444"/>
                    <a:pt x="77758" y="12494"/>
                  </a:cubicBezTo>
                  <a:lnTo>
                    <a:pt x="76906" y="12494"/>
                  </a:lnTo>
                  <a:cubicBezTo>
                    <a:pt x="76307" y="12417"/>
                    <a:pt x="75761" y="12840"/>
                    <a:pt x="75684" y="13437"/>
                  </a:cubicBezTo>
                  <a:cubicBezTo>
                    <a:pt x="75673" y="13522"/>
                    <a:pt x="75673" y="13607"/>
                    <a:pt x="75681" y="13692"/>
                  </a:cubicBezTo>
                  <a:lnTo>
                    <a:pt x="75681" y="36591"/>
                  </a:lnTo>
                  <a:cubicBezTo>
                    <a:pt x="75617" y="37190"/>
                    <a:pt x="76051" y="37728"/>
                    <a:pt x="76651" y="37792"/>
                  </a:cubicBezTo>
                  <a:cubicBezTo>
                    <a:pt x="76736" y="37800"/>
                    <a:pt x="76821" y="37800"/>
                    <a:pt x="76906" y="37789"/>
                  </a:cubicBezTo>
                  <a:moveTo>
                    <a:pt x="106195" y="24982"/>
                  </a:moveTo>
                  <a:cubicBezTo>
                    <a:pt x="105870" y="32003"/>
                    <a:pt x="111299" y="37959"/>
                    <a:pt x="118323" y="38282"/>
                  </a:cubicBezTo>
                  <a:cubicBezTo>
                    <a:pt x="118565" y="38292"/>
                    <a:pt x="118810" y="38298"/>
                    <a:pt x="119055" y="38295"/>
                  </a:cubicBezTo>
                  <a:cubicBezTo>
                    <a:pt x="123824" y="38492"/>
                    <a:pt x="128193" y="35651"/>
                    <a:pt x="129945" y="31212"/>
                  </a:cubicBezTo>
                  <a:cubicBezTo>
                    <a:pt x="130238" y="30387"/>
                    <a:pt x="129706" y="29828"/>
                    <a:pt x="128880" y="29828"/>
                  </a:cubicBezTo>
                  <a:lnTo>
                    <a:pt x="127043" y="29828"/>
                  </a:lnTo>
                  <a:cubicBezTo>
                    <a:pt x="126409" y="29817"/>
                    <a:pt x="125840" y="30214"/>
                    <a:pt x="125632" y="30813"/>
                  </a:cubicBezTo>
                  <a:cubicBezTo>
                    <a:pt x="124357" y="33217"/>
                    <a:pt x="121766" y="34623"/>
                    <a:pt x="119055" y="34381"/>
                  </a:cubicBezTo>
                  <a:cubicBezTo>
                    <a:pt x="115256" y="34477"/>
                    <a:pt x="111914" y="31881"/>
                    <a:pt x="111068" y="28177"/>
                  </a:cubicBezTo>
                  <a:cubicBezTo>
                    <a:pt x="110775" y="27059"/>
                    <a:pt x="111467" y="26340"/>
                    <a:pt x="112638" y="26340"/>
                  </a:cubicBezTo>
                  <a:lnTo>
                    <a:pt x="129173" y="26340"/>
                  </a:lnTo>
                  <a:cubicBezTo>
                    <a:pt x="130025" y="26398"/>
                    <a:pt x="130763" y="25757"/>
                    <a:pt x="130821" y="24905"/>
                  </a:cubicBezTo>
                  <a:cubicBezTo>
                    <a:pt x="130824" y="24859"/>
                    <a:pt x="130824" y="24814"/>
                    <a:pt x="130824" y="24769"/>
                  </a:cubicBezTo>
                  <a:cubicBezTo>
                    <a:pt x="131194" y="18072"/>
                    <a:pt x="126069" y="12345"/>
                    <a:pt x="119372" y="11975"/>
                  </a:cubicBezTo>
                  <a:cubicBezTo>
                    <a:pt x="119266" y="11970"/>
                    <a:pt x="119162" y="11964"/>
                    <a:pt x="119055" y="11962"/>
                  </a:cubicBezTo>
                  <a:cubicBezTo>
                    <a:pt x="112071" y="11871"/>
                    <a:pt x="106336" y="17460"/>
                    <a:pt x="106245" y="24444"/>
                  </a:cubicBezTo>
                  <a:cubicBezTo>
                    <a:pt x="106243" y="24614"/>
                    <a:pt x="106243" y="24785"/>
                    <a:pt x="106248" y="24955"/>
                  </a:cubicBezTo>
                  <a:moveTo>
                    <a:pt x="111707" y="20535"/>
                  </a:moveTo>
                  <a:cubicBezTo>
                    <a:pt x="113006" y="17676"/>
                    <a:pt x="115860" y="15841"/>
                    <a:pt x="119002" y="15849"/>
                  </a:cubicBezTo>
                  <a:cubicBezTo>
                    <a:pt x="122038" y="15844"/>
                    <a:pt x="124751" y="17737"/>
                    <a:pt x="125792" y="20589"/>
                  </a:cubicBezTo>
                  <a:cubicBezTo>
                    <a:pt x="126218" y="21760"/>
                    <a:pt x="125526" y="22532"/>
                    <a:pt x="124327" y="22532"/>
                  </a:cubicBezTo>
                  <a:lnTo>
                    <a:pt x="113065" y="22532"/>
                  </a:lnTo>
                  <a:cubicBezTo>
                    <a:pt x="111786" y="22532"/>
                    <a:pt x="111121" y="21707"/>
                    <a:pt x="111707" y="20589"/>
                  </a:cubicBezTo>
                  <a:moveTo>
                    <a:pt x="135670" y="16408"/>
                  </a:moveTo>
                  <a:lnTo>
                    <a:pt x="137720" y="16408"/>
                  </a:lnTo>
                  <a:cubicBezTo>
                    <a:pt x="137971" y="16392"/>
                    <a:pt x="138184" y="16584"/>
                    <a:pt x="138200" y="16832"/>
                  </a:cubicBezTo>
                  <a:cubicBezTo>
                    <a:pt x="138200" y="16850"/>
                    <a:pt x="138200" y="16869"/>
                    <a:pt x="138200" y="16888"/>
                  </a:cubicBezTo>
                  <a:lnTo>
                    <a:pt x="138200" y="30414"/>
                  </a:lnTo>
                  <a:cubicBezTo>
                    <a:pt x="138200" y="36218"/>
                    <a:pt x="141475" y="38401"/>
                    <a:pt x="145495" y="38401"/>
                  </a:cubicBezTo>
                  <a:cubicBezTo>
                    <a:pt x="147564" y="38404"/>
                    <a:pt x="149622" y="38079"/>
                    <a:pt x="151592" y="37443"/>
                  </a:cubicBezTo>
                  <a:cubicBezTo>
                    <a:pt x="152090" y="37059"/>
                    <a:pt x="152239" y="36373"/>
                    <a:pt x="151939" y="35819"/>
                  </a:cubicBezTo>
                  <a:lnTo>
                    <a:pt x="151779" y="34354"/>
                  </a:lnTo>
                  <a:cubicBezTo>
                    <a:pt x="151779" y="33529"/>
                    <a:pt x="151140" y="33183"/>
                    <a:pt x="150314" y="33476"/>
                  </a:cubicBezTo>
                  <a:cubicBezTo>
                    <a:pt x="148837" y="33963"/>
                    <a:pt x="147292" y="34216"/>
                    <a:pt x="145735" y="34221"/>
                  </a:cubicBezTo>
                  <a:cubicBezTo>
                    <a:pt x="143472" y="34221"/>
                    <a:pt x="142247" y="32996"/>
                    <a:pt x="142247" y="30281"/>
                  </a:cubicBezTo>
                  <a:lnTo>
                    <a:pt x="142247" y="16834"/>
                  </a:lnTo>
                  <a:cubicBezTo>
                    <a:pt x="142231" y="16584"/>
                    <a:pt x="142423" y="16371"/>
                    <a:pt x="142670" y="16355"/>
                  </a:cubicBezTo>
                  <a:cubicBezTo>
                    <a:pt x="142689" y="16355"/>
                    <a:pt x="142707" y="16355"/>
                    <a:pt x="142726" y="16355"/>
                  </a:cubicBezTo>
                  <a:lnTo>
                    <a:pt x="150714" y="16355"/>
                  </a:lnTo>
                  <a:cubicBezTo>
                    <a:pt x="151329" y="16416"/>
                    <a:pt x="151877" y="15969"/>
                    <a:pt x="151939" y="15354"/>
                  </a:cubicBezTo>
                  <a:cubicBezTo>
                    <a:pt x="151947" y="15279"/>
                    <a:pt x="151947" y="15205"/>
                    <a:pt x="151939" y="15130"/>
                  </a:cubicBezTo>
                  <a:lnTo>
                    <a:pt x="151939" y="13666"/>
                  </a:lnTo>
                  <a:cubicBezTo>
                    <a:pt x="152003" y="13067"/>
                    <a:pt x="151569" y="12529"/>
                    <a:pt x="150969" y="12465"/>
                  </a:cubicBezTo>
                  <a:cubicBezTo>
                    <a:pt x="150884" y="12457"/>
                    <a:pt x="150799" y="12457"/>
                    <a:pt x="150714" y="12468"/>
                  </a:cubicBezTo>
                  <a:lnTo>
                    <a:pt x="142726" y="12468"/>
                  </a:lnTo>
                  <a:cubicBezTo>
                    <a:pt x="142462" y="12468"/>
                    <a:pt x="142247" y="12255"/>
                    <a:pt x="142247" y="11988"/>
                  </a:cubicBezTo>
                  <a:cubicBezTo>
                    <a:pt x="142247" y="11980"/>
                    <a:pt x="142247" y="11970"/>
                    <a:pt x="142247" y="11962"/>
                  </a:cubicBezTo>
                  <a:lnTo>
                    <a:pt x="142247" y="6636"/>
                  </a:lnTo>
                  <a:cubicBezTo>
                    <a:pt x="142247" y="5811"/>
                    <a:pt x="141767" y="5332"/>
                    <a:pt x="140889" y="5571"/>
                  </a:cubicBezTo>
                  <a:lnTo>
                    <a:pt x="138839" y="6104"/>
                  </a:lnTo>
                  <a:cubicBezTo>
                    <a:pt x="138200" y="6224"/>
                    <a:pt x="137760" y="6815"/>
                    <a:pt x="137827" y="7462"/>
                  </a:cubicBezTo>
                  <a:lnTo>
                    <a:pt x="137827" y="11855"/>
                  </a:lnTo>
                  <a:cubicBezTo>
                    <a:pt x="137843" y="12119"/>
                    <a:pt x="137640" y="12345"/>
                    <a:pt x="137377" y="12361"/>
                  </a:cubicBezTo>
                  <a:cubicBezTo>
                    <a:pt x="137358" y="12361"/>
                    <a:pt x="137340" y="12361"/>
                    <a:pt x="137321" y="12361"/>
                  </a:cubicBezTo>
                  <a:lnTo>
                    <a:pt x="135138" y="12361"/>
                  </a:lnTo>
                  <a:cubicBezTo>
                    <a:pt x="134539" y="12284"/>
                    <a:pt x="133993" y="12707"/>
                    <a:pt x="133915" y="13304"/>
                  </a:cubicBezTo>
                  <a:cubicBezTo>
                    <a:pt x="133905" y="13389"/>
                    <a:pt x="133905" y="13474"/>
                    <a:pt x="133913" y="13559"/>
                  </a:cubicBezTo>
                  <a:lnTo>
                    <a:pt x="133913" y="15024"/>
                  </a:lnTo>
                  <a:cubicBezTo>
                    <a:pt x="133851" y="15639"/>
                    <a:pt x="134299" y="16187"/>
                    <a:pt x="134914" y="16248"/>
                  </a:cubicBezTo>
                  <a:cubicBezTo>
                    <a:pt x="134988" y="16257"/>
                    <a:pt x="135063" y="16257"/>
                    <a:pt x="135138" y="16248"/>
                  </a:cubicBezTo>
                  <a:moveTo>
                    <a:pt x="168820" y="24023"/>
                  </a:moveTo>
                  <a:cubicBezTo>
                    <a:pt x="168758" y="24638"/>
                    <a:pt x="169206" y="25187"/>
                    <a:pt x="169821" y="25248"/>
                  </a:cubicBezTo>
                  <a:cubicBezTo>
                    <a:pt x="169895" y="25256"/>
                    <a:pt x="169970" y="25256"/>
                    <a:pt x="170044" y="25248"/>
                  </a:cubicBezTo>
                  <a:lnTo>
                    <a:pt x="175609" y="25248"/>
                  </a:lnTo>
                  <a:cubicBezTo>
                    <a:pt x="176134" y="25187"/>
                    <a:pt x="176613" y="25562"/>
                    <a:pt x="176674" y="26087"/>
                  </a:cubicBezTo>
                  <a:cubicBezTo>
                    <a:pt x="176682" y="26161"/>
                    <a:pt x="176682" y="26239"/>
                    <a:pt x="176674" y="26313"/>
                  </a:cubicBezTo>
                  <a:lnTo>
                    <a:pt x="176674" y="31772"/>
                  </a:lnTo>
                  <a:cubicBezTo>
                    <a:pt x="176581" y="32352"/>
                    <a:pt x="176975" y="32898"/>
                    <a:pt x="177556" y="32994"/>
                  </a:cubicBezTo>
                  <a:cubicBezTo>
                    <a:pt x="177659" y="33010"/>
                    <a:pt x="177769" y="33010"/>
                    <a:pt x="177872" y="32996"/>
                  </a:cubicBezTo>
                  <a:lnTo>
                    <a:pt x="179230" y="32996"/>
                  </a:lnTo>
                  <a:cubicBezTo>
                    <a:pt x="179846" y="33058"/>
                    <a:pt x="180394" y="32610"/>
                    <a:pt x="180455" y="31995"/>
                  </a:cubicBezTo>
                  <a:cubicBezTo>
                    <a:pt x="180463" y="31921"/>
                    <a:pt x="180463" y="31846"/>
                    <a:pt x="180455" y="31772"/>
                  </a:cubicBezTo>
                  <a:lnTo>
                    <a:pt x="180455" y="26313"/>
                  </a:lnTo>
                  <a:cubicBezTo>
                    <a:pt x="180410" y="25770"/>
                    <a:pt x="180812" y="25293"/>
                    <a:pt x="181353" y="25248"/>
                  </a:cubicBezTo>
                  <a:cubicBezTo>
                    <a:pt x="181408" y="25243"/>
                    <a:pt x="181464" y="25243"/>
                    <a:pt x="181520" y="25248"/>
                  </a:cubicBezTo>
                  <a:lnTo>
                    <a:pt x="186979" y="25248"/>
                  </a:lnTo>
                  <a:cubicBezTo>
                    <a:pt x="187594" y="25309"/>
                    <a:pt x="188142" y="24862"/>
                    <a:pt x="188203" y="24247"/>
                  </a:cubicBezTo>
                  <a:cubicBezTo>
                    <a:pt x="188211" y="24172"/>
                    <a:pt x="188211" y="24098"/>
                    <a:pt x="188203" y="24023"/>
                  </a:cubicBezTo>
                  <a:lnTo>
                    <a:pt x="188203" y="22665"/>
                  </a:lnTo>
                  <a:cubicBezTo>
                    <a:pt x="188267" y="22066"/>
                    <a:pt x="187833" y="21528"/>
                    <a:pt x="187234" y="21465"/>
                  </a:cubicBezTo>
                  <a:cubicBezTo>
                    <a:pt x="187149" y="21457"/>
                    <a:pt x="187064" y="21457"/>
                    <a:pt x="186979" y="21467"/>
                  </a:cubicBezTo>
                  <a:lnTo>
                    <a:pt x="181520" y="21467"/>
                  </a:lnTo>
                  <a:cubicBezTo>
                    <a:pt x="180977" y="21515"/>
                    <a:pt x="180500" y="21113"/>
                    <a:pt x="180453" y="20573"/>
                  </a:cubicBezTo>
                  <a:cubicBezTo>
                    <a:pt x="180447" y="20506"/>
                    <a:pt x="180447" y="20439"/>
                    <a:pt x="180455" y="20376"/>
                  </a:cubicBezTo>
                  <a:lnTo>
                    <a:pt x="180455" y="15050"/>
                  </a:lnTo>
                  <a:cubicBezTo>
                    <a:pt x="180535" y="14454"/>
                    <a:pt x="180114" y="13905"/>
                    <a:pt x="179515" y="13825"/>
                  </a:cubicBezTo>
                  <a:cubicBezTo>
                    <a:pt x="179422" y="13812"/>
                    <a:pt x="179326" y="13812"/>
                    <a:pt x="179230" y="13825"/>
                  </a:cubicBezTo>
                  <a:lnTo>
                    <a:pt x="177846" y="13825"/>
                  </a:lnTo>
                  <a:cubicBezTo>
                    <a:pt x="177266" y="13730"/>
                    <a:pt x="176717" y="14121"/>
                    <a:pt x="176621" y="14702"/>
                  </a:cubicBezTo>
                  <a:cubicBezTo>
                    <a:pt x="176602" y="14819"/>
                    <a:pt x="176602" y="14936"/>
                    <a:pt x="176621" y="15050"/>
                  </a:cubicBezTo>
                  <a:lnTo>
                    <a:pt x="176621" y="20376"/>
                  </a:lnTo>
                  <a:cubicBezTo>
                    <a:pt x="176698" y="20900"/>
                    <a:pt x="176336" y="21387"/>
                    <a:pt x="175814" y="21465"/>
                  </a:cubicBezTo>
                  <a:cubicBezTo>
                    <a:pt x="175729" y="21478"/>
                    <a:pt x="175641" y="21478"/>
                    <a:pt x="175556" y="21467"/>
                  </a:cubicBezTo>
                  <a:lnTo>
                    <a:pt x="170044" y="21467"/>
                  </a:lnTo>
                  <a:cubicBezTo>
                    <a:pt x="169445" y="21390"/>
                    <a:pt x="168899" y="21813"/>
                    <a:pt x="168822" y="22410"/>
                  </a:cubicBezTo>
                  <a:cubicBezTo>
                    <a:pt x="168812" y="22495"/>
                    <a:pt x="168812" y="22580"/>
                    <a:pt x="168820" y="22665"/>
                  </a:cubicBezTo>
                  <a:close/>
                  <a:moveTo>
                    <a:pt x="209185" y="48360"/>
                  </a:moveTo>
                  <a:lnTo>
                    <a:pt x="210995" y="48360"/>
                  </a:lnTo>
                  <a:cubicBezTo>
                    <a:pt x="211595" y="48421"/>
                    <a:pt x="212132" y="47987"/>
                    <a:pt x="212194" y="47385"/>
                  </a:cubicBezTo>
                  <a:cubicBezTo>
                    <a:pt x="212202" y="47311"/>
                    <a:pt x="212202" y="47236"/>
                    <a:pt x="212194" y="47161"/>
                  </a:cubicBezTo>
                  <a:lnTo>
                    <a:pt x="212194" y="37070"/>
                  </a:lnTo>
                  <a:cubicBezTo>
                    <a:pt x="212194" y="35659"/>
                    <a:pt x="212966" y="35366"/>
                    <a:pt x="214137" y="36192"/>
                  </a:cubicBezTo>
                  <a:cubicBezTo>
                    <a:pt x="216233" y="37528"/>
                    <a:pt x="218682" y="38207"/>
                    <a:pt x="221167" y="38135"/>
                  </a:cubicBezTo>
                  <a:cubicBezTo>
                    <a:pt x="228284" y="38066"/>
                    <a:pt x="233998" y="32240"/>
                    <a:pt x="233926" y="25123"/>
                  </a:cubicBezTo>
                  <a:cubicBezTo>
                    <a:pt x="233926" y="25022"/>
                    <a:pt x="233923" y="24923"/>
                    <a:pt x="233921" y="24822"/>
                  </a:cubicBezTo>
                  <a:cubicBezTo>
                    <a:pt x="234067" y="17766"/>
                    <a:pt x="228468" y="11924"/>
                    <a:pt x="221409" y="11778"/>
                  </a:cubicBezTo>
                  <a:cubicBezTo>
                    <a:pt x="221356" y="11775"/>
                    <a:pt x="221300" y="11775"/>
                    <a:pt x="221247" y="11775"/>
                  </a:cubicBezTo>
                  <a:cubicBezTo>
                    <a:pt x="218469" y="11695"/>
                    <a:pt x="215748" y="12558"/>
                    <a:pt x="213525" y="14225"/>
                  </a:cubicBezTo>
                  <a:cubicBezTo>
                    <a:pt x="212433" y="15050"/>
                    <a:pt x="211608" y="14864"/>
                    <a:pt x="211368" y="13479"/>
                  </a:cubicBezTo>
                  <a:lnTo>
                    <a:pt x="211368" y="13479"/>
                  </a:lnTo>
                  <a:cubicBezTo>
                    <a:pt x="211312" y="12814"/>
                    <a:pt x="210732" y="12316"/>
                    <a:pt x="210064" y="12361"/>
                  </a:cubicBezTo>
                  <a:lnTo>
                    <a:pt x="209185" y="12361"/>
                  </a:lnTo>
                  <a:cubicBezTo>
                    <a:pt x="208586" y="12284"/>
                    <a:pt x="208040" y="12707"/>
                    <a:pt x="207963" y="13304"/>
                  </a:cubicBezTo>
                  <a:cubicBezTo>
                    <a:pt x="207952" y="13389"/>
                    <a:pt x="207952" y="13474"/>
                    <a:pt x="207960" y="13559"/>
                  </a:cubicBezTo>
                  <a:lnTo>
                    <a:pt x="207960" y="47161"/>
                  </a:lnTo>
                  <a:cubicBezTo>
                    <a:pt x="207896" y="47760"/>
                    <a:pt x="208330" y="48298"/>
                    <a:pt x="208929" y="48362"/>
                  </a:cubicBezTo>
                  <a:cubicBezTo>
                    <a:pt x="209014" y="48370"/>
                    <a:pt x="209100" y="48370"/>
                    <a:pt x="209185" y="48360"/>
                  </a:cubicBezTo>
                  <a:moveTo>
                    <a:pt x="212540" y="28017"/>
                  </a:moveTo>
                  <a:lnTo>
                    <a:pt x="212540" y="21947"/>
                  </a:lnTo>
                  <a:cubicBezTo>
                    <a:pt x="212500" y="21206"/>
                    <a:pt x="212686" y="20474"/>
                    <a:pt x="213072" y="19843"/>
                  </a:cubicBezTo>
                  <a:cubicBezTo>
                    <a:pt x="214744" y="17260"/>
                    <a:pt x="217636" y="15727"/>
                    <a:pt x="220714" y="15796"/>
                  </a:cubicBezTo>
                  <a:cubicBezTo>
                    <a:pt x="225571" y="15985"/>
                    <a:pt x="229370" y="20045"/>
                    <a:pt x="229234" y="24902"/>
                  </a:cubicBezTo>
                  <a:cubicBezTo>
                    <a:pt x="229445" y="29825"/>
                    <a:pt x="225637" y="33992"/>
                    <a:pt x="220714" y="34221"/>
                  </a:cubicBezTo>
                  <a:cubicBezTo>
                    <a:pt x="217620" y="34304"/>
                    <a:pt x="214712" y="32746"/>
                    <a:pt x="213072" y="30121"/>
                  </a:cubicBezTo>
                  <a:cubicBezTo>
                    <a:pt x="212686" y="29490"/>
                    <a:pt x="212500" y="28757"/>
                    <a:pt x="212540" y="28017"/>
                  </a:cubicBezTo>
                  <a:moveTo>
                    <a:pt x="238740" y="24849"/>
                  </a:moveTo>
                  <a:cubicBezTo>
                    <a:pt x="238415" y="31870"/>
                    <a:pt x="243844" y="37826"/>
                    <a:pt x="250868" y="38148"/>
                  </a:cubicBezTo>
                  <a:cubicBezTo>
                    <a:pt x="251110" y="38159"/>
                    <a:pt x="251355" y="38165"/>
                    <a:pt x="251600" y="38162"/>
                  </a:cubicBezTo>
                  <a:cubicBezTo>
                    <a:pt x="256369" y="38359"/>
                    <a:pt x="260738" y="35518"/>
                    <a:pt x="262491" y="31079"/>
                  </a:cubicBezTo>
                  <a:cubicBezTo>
                    <a:pt x="262783" y="30254"/>
                    <a:pt x="262251" y="29695"/>
                    <a:pt x="261425" y="29695"/>
                  </a:cubicBezTo>
                  <a:lnTo>
                    <a:pt x="259588" y="29695"/>
                  </a:lnTo>
                  <a:cubicBezTo>
                    <a:pt x="258955" y="29684"/>
                    <a:pt x="258385" y="30081"/>
                    <a:pt x="258177" y="30680"/>
                  </a:cubicBezTo>
                  <a:cubicBezTo>
                    <a:pt x="256907" y="33090"/>
                    <a:pt x="254311" y="34498"/>
                    <a:pt x="251600" y="34248"/>
                  </a:cubicBezTo>
                  <a:cubicBezTo>
                    <a:pt x="247801" y="34344"/>
                    <a:pt x="244459" y="31748"/>
                    <a:pt x="243612" y="28044"/>
                  </a:cubicBezTo>
                  <a:cubicBezTo>
                    <a:pt x="243320" y="26926"/>
                    <a:pt x="244012" y="26207"/>
                    <a:pt x="245184" y="26207"/>
                  </a:cubicBezTo>
                  <a:lnTo>
                    <a:pt x="261718" y="26207"/>
                  </a:lnTo>
                  <a:cubicBezTo>
                    <a:pt x="262570" y="26265"/>
                    <a:pt x="263308" y="25624"/>
                    <a:pt x="263366" y="24774"/>
                  </a:cubicBezTo>
                  <a:cubicBezTo>
                    <a:pt x="263369" y="24726"/>
                    <a:pt x="263369" y="24681"/>
                    <a:pt x="263369" y="24636"/>
                  </a:cubicBezTo>
                  <a:cubicBezTo>
                    <a:pt x="263739" y="17939"/>
                    <a:pt x="258611" y="12212"/>
                    <a:pt x="251917" y="11842"/>
                  </a:cubicBezTo>
                  <a:cubicBezTo>
                    <a:pt x="251811" y="11837"/>
                    <a:pt x="251707" y="11831"/>
                    <a:pt x="251600" y="11829"/>
                  </a:cubicBezTo>
                  <a:cubicBezTo>
                    <a:pt x="244616" y="11738"/>
                    <a:pt x="238881" y="17327"/>
                    <a:pt x="238791" y="24311"/>
                  </a:cubicBezTo>
                  <a:cubicBezTo>
                    <a:pt x="238788" y="24481"/>
                    <a:pt x="238788" y="24652"/>
                    <a:pt x="238793" y="24822"/>
                  </a:cubicBezTo>
                  <a:moveTo>
                    <a:pt x="244118" y="20402"/>
                  </a:moveTo>
                  <a:cubicBezTo>
                    <a:pt x="245418" y="17542"/>
                    <a:pt x="248272" y="15708"/>
                    <a:pt x="251414" y="15716"/>
                  </a:cubicBezTo>
                  <a:cubicBezTo>
                    <a:pt x="254449" y="15711"/>
                    <a:pt x="257163" y="17604"/>
                    <a:pt x="258204" y="20455"/>
                  </a:cubicBezTo>
                  <a:cubicBezTo>
                    <a:pt x="258630" y="21627"/>
                    <a:pt x="257964" y="22399"/>
                    <a:pt x="256739" y="22399"/>
                  </a:cubicBezTo>
                  <a:lnTo>
                    <a:pt x="245476" y="22399"/>
                  </a:lnTo>
                  <a:cubicBezTo>
                    <a:pt x="244225" y="22399"/>
                    <a:pt x="243533" y="21574"/>
                    <a:pt x="244118" y="20455"/>
                  </a:cubicBezTo>
                  <a:moveTo>
                    <a:pt x="268082" y="24875"/>
                  </a:moveTo>
                  <a:cubicBezTo>
                    <a:pt x="267920" y="32064"/>
                    <a:pt x="273615" y="38026"/>
                    <a:pt x="280801" y="38188"/>
                  </a:cubicBezTo>
                  <a:cubicBezTo>
                    <a:pt x="281001" y="38194"/>
                    <a:pt x="281198" y="38194"/>
                    <a:pt x="281395" y="38188"/>
                  </a:cubicBezTo>
                  <a:cubicBezTo>
                    <a:pt x="288584" y="38351"/>
                    <a:pt x="294546" y="32658"/>
                    <a:pt x="294708" y="25469"/>
                  </a:cubicBezTo>
                  <a:cubicBezTo>
                    <a:pt x="294713" y="25269"/>
                    <a:pt x="294713" y="25072"/>
                    <a:pt x="294708" y="24875"/>
                  </a:cubicBezTo>
                  <a:cubicBezTo>
                    <a:pt x="294785" y="17774"/>
                    <a:pt x="289093" y="11954"/>
                    <a:pt x="281989" y="11874"/>
                  </a:cubicBezTo>
                  <a:cubicBezTo>
                    <a:pt x="281792" y="11871"/>
                    <a:pt x="281592" y="11874"/>
                    <a:pt x="281395" y="11882"/>
                  </a:cubicBezTo>
                  <a:cubicBezTo>
                    <a:pt x="274281" y="11647"/>
                    <a:pt x="268324" y="17223"/>
                    <a:pt x="268087" y="24335"/>
                  </a:cubicBezTo>
                  <a:cubicBezTo>
                    <a:pt x="268082" y="24516"/>
                    <a:pt x="268079" y="24694"/>
                    <a:pt x="268082" y="24875"/>
                  </a:cubicBezTo>
                  <a:moveTo>
                    <a:pt x="272662" y="25035"/>
                  </a:moveTo>
                  <a:cubicBezTo>
                    <a:pt x="272427" y="20189"/>
                    <a:pt x="276166" y="16067"/>
                    <a:pt x="281012" y="15833"/>
                  </a:cubicBezTo>
                  <a:cubicBezTo>
                    <a:pt x="281185" y="15825"/>
                    <a:pt x="281355" y="15820"/>
                    <a:pt x="281528" y="15822"/>
                  </a:cubicBezTo>
                  <a:cubicBezTo>
                    <a:pt x="286395" y="15817"/>
                    <a:pt x="290347" y="19760"/>
                    <a:pt x="290349" y="24628"/>
                  </a:cubicBezTo>
                  <a:cubicBezTo>
                    <a:pt x="290352" y="24764"/>
                    <a:pt x="290347" y="24899"/>
                    <a:pt x="290341" y="25035"/>
                  </a:cubicBezTo>
                  <a:cubicBezTo>
                    <a:pt x="290546" y="29913"/>
                    <a:pt x="286760" y="34035"/>
                    <a:pt x="281882" y="34240"/>
                  </a:cubicBezTo>
                  <a:cubicBezTo>
                    <a:pt x="281765" y="34245"/>
                    <a:pt x="281645" y="34248"/>
                    <a:pt x="281528" y="34248"/>
                  </a:cubicBezTo>
                  <a:cubicBezTo>
                    <a:pt x="276645" y="34266"/>
                    <a:pt x="272672" y="30326"/>
                    <a:pt x="272654" y="25442"/>
                  </a:cubicBezTo>
                  <a:cubicBezTo>
                    <a:pt x="272654" y="25307"/>
                    <a:pt x="272656" y="25171"/>
                    <a:pt x="272662" y="25035"/>
                  </a:cubicBezTo>
                  <a:moveTo>
                    <a:pt x="302749" y="48386"/>
                  </a:moveTo>
                  <a:lnTo>
                    <a:pt x="304533" y="48386"/>
                  </a:lnTo>
                  <a:cubicBezTo>
                    <a:pt x="305132" y="48463"/>
                    <a:pt x="305678" y="48040"/>
                    <a:pt x="305755" y="47444"/>
                  </a:cubicBezTo>
                  <a:cubicBezTo>
                    <a:pt x="305766" y="47359"/>
                    <a:pt x="305766" y="47273"/>
                    <a:pt x="305758" y="47188"/>
                  </a:cubicBezTo>
                  <a:lnTo>
                    <a:pt x="305758" y="37097"/>
                  </a:lnTo>
                  <a:cubicBezTo>
                    <a:pt x="305758" y="35686"/>
                    <a:pt x="306530" y="35393"/>
                    <a:pt x="307702" y="36218"/>
                  </a:cubicBezTo>
                  <a:cubicBezTo>
                    <a:pt x="309795" y="37560"/>
                    <a:pt x="312247" y="38236"/>
                    <a:pt x="314731" y="38162"/>
                  </a:cubicBezTo>
                  <a:cubicBezTo>
                    <a:pt x="321861" y="38077"/>
                    <a:pt x="327575" y="32227"/>
                    <a:pt x="327490" y="25096"/>
                  </a:cubicBezTo>
                  <a:cubicBezTo>
                    <a:pt x="327490" y="25014"/>
                    <a:pt x="327488" y="24931"/>
                    <a:pt x="327485" y="24849"/>
                  </a:cubicBezTo>
                  <a:cubicBezTo>
                    <a:pt x="327631" y="17793"/>
                    <a:pt x="322032" y="11951"/>
                    <a:pt x="314973" y="11805"/>
                  </a:cubicBezTo>
                  <a:cubicBezTo>
                    <a:pt x="314920" y="11802"/>
                    <a:pt x="314864" y="11802"/>
                    <a:pt x="314811" y="11802"/>
                  </a:cubicBezTo>
                  <a:cubicBezTo>
                    <a:pt x="312026" y="11725"/>
                    <a:pt x="309297" y="12587"/>
                    <a:pt x="307063" y="14252"/>
                  </a:cubicBezTo>
                  <a:cubicBezTo>
                    <a:pt x="305998" y="15077"/>
                    <a:pt x="305172" y="14891"/>
                    <a:pt x="304933" y="13506"/>
                  </a:cubicBezTo>
                  <a:lnTo>
                    <a:pt x="304933" y="13506"/>
                  </a:lnTo>
                  <a:cubicBezTo>
                    <a:pt x="304877" y="12840"/>
                    <a:pt x="304296" y="12342"/>
                    <a:pt x="303628" y="12388"/>
                  </a:cubicBezTo>
                  <a:lnTo>
                    <a:pt x="302749" y="12388"/>
                  </a:lnTo>
                  <a:cubicBezTo>
                    <a:pt x="302150" y="12310"/>
                    <a:pt x="301604" y="12734"/>
                    <a:pt x="301527" y="13330"/>
                  </a:cubicBezTo>
                  <a:cubicBezTo>
                    <a:pt x="301516" y="13415"/>
                    <a:pt x="301516" y="13501"/>
                    <a:pt x="301524" y="13586"/>
                  </a:cubicBezTo>
                  <a:lnTo>
                    <a:pt x="301524" y="47188"/>
                  </a:lnTo>
                  <a:cubicBezTo>
                    <a:pt x="301461" y="47787"/>
                    <a:pt x="301894" y="48325"/>
                    <a:pt x="302494" y="48389"/>
                  </a:cubicBezTo>
                  <a:cubicBezTo>
                    <a:pt x="302579" y="48397"/>
                    <a:pt x="302664" y="48397"/>
                    <a:pt x="302749" y="48386"/>
                  </a:cubicBezTo>
                  <a:moveTo>
                    <a:pt x="306104" y="28044"/>
                  </a:moveTo>
                  <a:lnTo>
                    <a:pt x="306104" y="21973"/>
                  </a:lnTo>
                  <a:cubicBezTo>
                    <a:pt x="306051" y="21233"/>
                    <a:pt x="306237" y="20495"/>
                    <a:pt x="306637" y="19870"/>
                  </a:cubicBezTo>
                  <a:cubicBezTo>
                    <a:pt x="308306" y="17282"/>
                    <a:pt x="311200" y="15748"/>
                    <a:pt x="314278" y="15822"/>
                  </a:cubicBezTo>
                  <a:cubicBezTo>
                    <a:pt x="319135" y="16012"/>
                    <a:pt x="322935" y="20072"/>
                    <a:pt x="322799" y="24929"/>
                  </a:cubicBezTo>
                  <a:cubicBezTo>
                    <a:pt x="323009" y="29852"/>
                    <a:pt x="319201" y="34019"/>
                    <a:pt x="314278" y="34248"/>
                  </a:cubicBezTo>
                  <a:cubicBezTo>
                    <a:pt x="311184" y="34338"/>
                    <a:pt x="308274" y="32775"/>
                    <a:pt x="306637" y="30147"/>
                  </a:cubicBezTo>
                  <a:cubicBezTo>
                    <a:pt x="306237" y="29522"/>
                    <a:pt x="306051" y="28784"/>
                    <a:pt x="306104" y="28044"/>
                  </a:cubicBezTo>
                  <a:moveTo>
                    <a:pt x="337496" y="-286"/>
                  </a:moveTo>
                  <a:lnTo>
                    <a:pt x="335366" y="-286"/>
                  </a:lnTo>
                  <a:cubicBezTo>
                    <a:pt x="334751" y="-348"/>
                    <a:pt x="334203" y="100"/>
                    <a:pt x="334141" y="715"/>
                  </a:cubicBezTo>
                  <a:cubicBezTo>
                    <a:pt x="334133" y="789"/>
                    <a:pt x="334133" y="864"/>
                    <a:pt x="334141" y="938"/>
                  </a:cubicBezTo>
                  <a:lnTo>
                    <a:pt x="334141" y="36484"/>
                  </a:lnTo>
                  <a:cubicBezTo>
                    <a:pt x="334078" y="37083"/>
                    <a:pt x="334511" y="37621"/>
                    <a:pt x="335111" y="37685"/>
                  </a:cubicBezTo>
                  <a:cubicBezTo>
                    <a:pt x="335196" y="37693"/>
                    <a:pt x="335281" y="37693"/>
                    <a:pt x="335366" y="37683"/>
                  </a:cubicBezTo>
                  <a:lnTo>
                    <a:pt x="337496" y="37683"/>
                  </a:lnTo>
                  <a:cubicBezTo>
                    <a:pt x="338095" y="37760"/>
                    <a:pt x="338641" y="37336"/>
                    <a:pt x="338718" y="36740"/>
                  </a:cubicBezTo>
                  <a:cubicBezTo>
                    <a:pt x="338729" y="36655"/>
                    <a:pt x="338729" y="36570"/>
                    <a:pt x="338721" y="36484"/>
                  </a:cubicBezTo>
                  <a:lnTo>
                    <a:pt x="338721" y="885"/>
                  </a:lnTo>
                  <a:cubicBezTo>
                    <a:pt x="338782" y="270"/>
                    <a:pt x="338335" y="-278"/>
                    <a:pt x="337720" y="-340"/>
                  </a:cubicBezTo>
                  <a:cubicBezTo>
                    <a:pt x="337645" y="-348"/>
                    <a:pt x="337571" y="-348"/>
                    <a:pt x="337496" y="-340"/>
                  </a:cubicBezTo>
                  <a:moveTo>
                    <a:pt x="345484" y="24822"/>
                  </a:moveTo>
                  <a:cubicBezTo>
                    <a:pt x="345159" y="31843"/>
                    <a:pt x="350588" y="37800"/>
                    <a:pt x="357612" y="38122"/>
                  </a:cubicBezTo>
                  <a:cubicBezTo>
                    <a:pt x="357855" y="38132"/>
                    <a:pt x="358100" y="38138"/>
                    <a:pt x="358345" y="38135"/>
                  </a:cubicBezTo>
                  <a:cubicBezTo>
                    <a:pt x="363113" y="38332"/>
                    <a:pt x="367483" y="35491"/>
                    <a:pt x="369235" y="31053"/>
                  </a:cubicBezTo>
                  <a:cubicBezTo>
                    <a:pt x="369528" y="30227"/>
                    <a:pt x="368995" y="29668"/>
                    <a:pt x="368170" y="29668"/>
                  </a:cubicBezTo>
                  <a:lnTo>
                    <a:pt x="366333" y="29668"/>
                  </a:lnTo>
                  <a:cubicBezTo>
                    <a:pt x="365699" y="29657"/>
                    <a:pt x="365129" y="30054"/>
                    <a:pt x="364921" y="30653"/>
                  </a:cubicBezTo>
                  <a:cubicBezTo>
                    <a:pt x="363651" y="33063"/>
                    <a:pt x="361058" y="34471"/>
                    <a:pt x="358345" y="34221"/>
                  </a:cubicBezTo>
                  <a:cubicBezTo>
                    <a:pt x="354561" y="34266"/>
                    <a:pt x="351249" y="31694"/>
                    <a:pt x="350357" y="28017"/>
                  </a:cubicBezTo>
                  <a:cubicBezTo>
                    <a:pt x="350064" y="26899"/>
                    <a:pt x="350756" y="26180"/>
                    <a:pt x="351928" y="26180"/>
                  </a:cubicBezTo>
                  <a:lnTo>
                    <a:pt x="368463" y="26180"/>
                  </a:lnTo>
                  <a:cubicBezTo>
                    <a:pt x="369315" y="26239"/>
                    <a:pt x="370052" y="25597"/>
                    <a:pt x="370111" y="24745"/>
                  </a:cubicBezTo>
                  <a:cubicBezTo>
                    <a:pt x="370113" y="24700"/>
                    <a:pt x="370113" y="24654"/>
                    <a:pt x="370113" y="24609"/>
                  </a:cubicBezTo>
                  <a:cubicBezTo>
                    <a:pt x="370483" y="17913"/>
                    <a:pt x="365358" y="12185"/>
                    <a:pt x="358661" y="11815"/>
                  </a:cubicBezTo>
                  <a:cubicBezTo>
                    <a:pt x="358566" y="11810"/>
                    <a:pt x="358467" y="11805"/>
                    <a:pt x="358371" y="11802"/>
                  </a:cubicBezTo>
                  <a:cubicBezTo>
                    <a:pt x="351371" y="11711"/>
                    <a:pt x="345625" y="17311"/>
                    <a:pt x="345535" y="24311"/>
                  </a:cubicBezTo>
                  <a:cubicBezTo>
                    <a:pt x="345532" y="24473"/>
                    <a:pt x="345532" y="24633"/>
                    <a:pt x="345538" y="24795"/>
                  </a:cubicBezTo>
                  <a:moveTo>
                    <a:pt x="350863" y="20376"/>
                  </a:moveTo>
                  <a:cubicBezTo>
                    <a:pt x="352165" y="17505"/>
                    <a:pt x="355032" y="15671"/>
                    <a:pt x="358185" y="15689"/>
                  </a:cubicBezTo>
                  <a:cubicBezTo>
                    <a:pt x="361215" y="15679"/>
                    <a:pt x="363923" y="17577"/>
                    <a:pt x="364948" y="20429"/>
                  </a:cubicBezTo>
                  <a:cubicBezTo>
                    <a:pt x="365401" y="21600"/>
                    <a:pt x="364708" y="22373"/>
                    <a:pt x="363484" y="22373"/>
                  </a:cubicBezTo>
                  <a:lnTo>
                    <a:pt x="352221" y="22373"/>
                  </a:lnTo>
                  <a:cubicBezTo>
                    <a:pt x="350969" y="22373"/>
                    <a:pt x="350277" y="21547"/>
                    <a:pt x="350863" y="20429"/>
                  </a:cubicBezTo>
                </a:path>
              </a:pathLst>
            </a:custGeom>
            <a:solidFill>
              <a:srgbClr val="FFFFFF"/>
            </a:solidFill>
            <a:ln w="2661" cap="flat">
              <a:noFill/>
              <a:prstDash val="solid"/>
              <a:miter/>
            </a:ln>
          </p:spPr>
          <p:txBody>
            <a:bodyPr rtlCol="0" anchor="ctr"/>
            <a:lstStyle/>
            <a:p>
              <a:endParaRPr lang="pl-PL"/>
            </a:p>
          </p:txBody>
        </p:sp>
        <p:sp>
          <p:nvSpPr>
            <p:cNvPr id="131" name="Freeform: Shape 130">
              <a:extLst>
                <a:ext uri="{FF2B5EF4-FFF2-40B4-BE49-F238E27FC236}">
                  <a16:creationId xmlns:a16="http://schemas.microsoft.com/office/drawing/2014/main" id="{46B4AEC1-7DB4-4D7A-BBE1-C3BA4C192FD9}"/>
                </a:ext>
              </a:extLst>
            </p:cNvPr>
            <p:cNvSpPr/>
            <p:nvPr/>
          </p:nvSpPr>
          <p:spPr>
            <a:xfrm>
              <a:off x="11848503" y="6635533"/>
              <a:ext cx="6855" cy="8973"/>
            </a:xfrm>
            <a:custGeom>
              <a:avLst/>
              <a:gdLst>
                <a:gd name="connsiteX0" fmla="*/ 992 w 12147"/>
                <a:gd name="connsiteY0" fmla="*/ 1467 h 15900"/>
                <a:gd name="connsiteX1" fmla="*/ 992 w 12147"/>
                <a:gd name="connsiteY1" fmla="*/ 295 h 15900"/>
                <a:gd name="connsiteX2" fmla="*/ 1519 w 12147"/>
                <a:gd name="connsiteY2" fmla="*/ -344 h 15900"/>
                <a:gd name="connsiteX3" fmla="*/ 1631 w 12147"/>
                <a:gd name="connsiteY3" fmla="*/ -344 h 15900"/>
                <a:gd name="connsiteX4" fmla="*/ 12521 w 12147"/>
                <a:gd name="connsiteY4" fmla="*/ -344 h 15900"/>
                <a:gd name="connsiteX5" fmla="*/ 13136 w 12147"/>
                <a:gd name="connsiteY5" fmla="*/ 213 h 15900"/>
                <a:gd name="connsiteX6" fmla="*/ 13133 w 12147"/>
                <a:gd name="connsiteY6" fmla="*/ 295 h 15900"/>
                <a:gd name="connsiteX7" fmla="*/ 13133 w 12147"/>
                <a:gd name="connsiteY7" fmla="*/ 1467 h 15900"/>
                <a:gd name="connsiteX8" fmla="*/ 12603 w 12147"/>
                <a:gd name="connsiteY8" fmla="*/ 2103 h 15900"/>
                <a:gd name="connsiteX9" fmla="*/ 12521 w 12147"/>
                <a:gd name="connsiteY9" fmla="*/ 2106 h 15900"/>
                <a:gd name="connsiteX10" fmla="*/ 8926 w 12147"/>
                <a:gd name="connsiteY10" fmla="*/ 2106 h 15900"/>
                <a:gd name="connsiteX11" fmla="*/ 8447 w 12147"/>
                <a:gd name="connsiteY11" fmla="*/ 2471 h 15900"/>
                <a:gd name="connsiteX12" fmla="*/ 8447 w 12147"/>
                <a:gd name="connsiteY12" fmla="*/ 2585 h 15900"/>
                <a:gd name="connsiteX13" fmla="*/ 8447 w 12147"/>
                <a:gd name="connsiteY13" fmla="*/ 14940 h 15900"/>
                <a:gd name="connsiteX14" fmla="*/ 7890 w 12147"/>
                <a:gd name="connsiteY14" fmla="*/ 15555 h 15900"/>
                <a:gd name="connsiteX15" fmla="*/ 7808 w 12147"/>
                <a:gd name="connsiteY15" fmla="*/ 15552 h 15900"/>
                <a:gd name="connsiteX16" fmla="*/ 6184 w 12147"/>
                <a:gd name="connsiteY16" fmla="*/ 15552 h 15900"/>
                <a:gd name="connsiteX17" fmla="*/ 5547 w 12147"/>
                <a:gd name="connsiteY17" fmla="*/ 15022 h 15900"/>
                <a:gd name="connsiteX18" fmla="*/ 5545 w 12147"/>
                <a:gd name="connsiteY18" fmla="*/ 14940 h 15900"/>
                <a:gd name="connsiteX19" fmla="*/ 5545 w 12147"/>
                <a:gd name="connsiteY19" fmla="*/ 2585 h 15900"/>
                <a:gd name="connsiteX20" fmla="*/ 5180 w 12147"/>
                <a:gd name="connsiteY20" fmla="*/ 2106 h 15900"/>
                <a:gd name="connsiteX21" fmla="*/ 5065 w 12147"/>
                <a:gd name="connsiteY21" fmla="*/ 2106 h 15900"/>
                <a:gd name="connsiteX22" fmla="*/ 1631 w 12147"/>
                <a:gd name="connsiteY22" fmla="*/ 2106 h 15900"/>
                <a:gd name="connsiteX23" fmla="*/ 992 w 12147"/>
                <a:gd name="connsiteY23" fmla="*/ 1579 h 15900"/>
                <a:gd name="connsiteX24" fmla="*/ 992 w 12147"/>
                <a:gd name="connsiteY24" fmla="*/ 1467 h 1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147" h="15900">
                  <a:moveTo>
                    <a:pt x="992" y="1467"/>
                  </a:moveTo>
                  <a:lnTo>
                    <a:pt x="992" y="295"/>
                  </a:lnTo>
                  <a:cubicBezTo>
                    <a:pt x="960" y="-27"/>
                    <a:pt x="1197" y="-312"/>
                    <a:pt x="1519" y="-344"/>
                  </a:cubicBezTo>
                  <a:cubicBezTo>
                    <a:pt x="1556" y="-346"/>
                    <a:pt x="1593" y="-346"/>
                    <a:pt x="1631" y="-344"/>
                  </a:cubicBezTo>
                  <a:lnTo>
                    <a:pt x="12521" y="-344"/>
                  </a:lnTo>
                  <a:cubicBezTo>
                    <a:pt x="12843" y="-360"/>
                    <a:pt x="13120" y="-112"/>
                    <a:pt x="13136" y="213"/>
                  </a:cubicBezTo>
                  <a:cubicBezTo>
                    <a:pt x="13136" y="240"/>
                    <a:pt x="13136" y="269"/>
                    <a:pt x="13133" y="295"/>
                  </a:cubicBezTo>
                  <a:lnTo>
                    <a:pt x="13133" y="1467"/>
                  </a:lnTo>
                  <a:cubicBezTo>
                    <a:pt x="13163" y="1789"/>
                    <a:pt x="12925" y="2074"/>
                    <a:pt x="12603" y="2103"/>
                  </a:cubicBezTo>
                  <a:cubicBezTo>
                    <a:pt x="12577" y="2106"/>
                    <a:pt x="12547" y="2109"/>
                    <a:pt x="12521" y="2106"/>
                  </a:cubicBezTo>
                  <a:lnTo>
                    <a:pt x="8926" y="2106"/>
                  </a:lnTo>
                  <a:cubicBezTo>
                    <a:pt x="8692" y="2074"/>
                    <a:pt x="8479" y="2239"/>
                    <a:pt x="8447" y="2471"/>
                  </a:cubicBezTo>
                  <a:cubicBezTo>
                    <a:pt x="8442" y="2508"/>
                    <a:pt x="8442" y="2548"/>
                    <a:pt x="8447" y="2585"/>
                  </a:cubicBezTo>
                  <a:lnTo>
                    <a:pt x="8447" y="14940"/>
                  </a:lnTo>
                  <a:cubicBezTo>
                    <a:pt x="8463" y="15262"/>
                    <a:pt x="8215" y="15539"/>
                    <a:pt x="7890" y="15555"/>
                  </a:cubicBezTo>
                  <a:cubicBezTo>
                    <a:pt x="7864" y="15555"/>
                    <a:pt x="7835" y="15555"/>
                    <a:pt x="7808" y="15552"/>
                  </a:cubicBezTo>
                  <a:lnTo>
                    <a:pt x="6184" y="15552"/>
                  </a:lnTo>
                  <a:cubicBezTo>
                    <a:pt x="5862" y="15581"/>
                    <a:pt x="5577" y="15345"/>
                    <a:pt x="5547" y="15022"/>
                  </a:cubicBezTo>
                  <a:cubicBezTo>
                    <a:pt x="5545" y="14996"/>
                    <a:pt x="5545" y="14966"/>
                    <a:pt x="5545" y="14940"/>
                  </a:cubicBezTo>
                  <a:lnTo>
                    <a:pt x="5545" y="2585"/>
                  </a:lnTo>
                  <a:cubicBezTo>
                    <a:pt x="5577" y="2351"/>
                    <a:pt x="5412" y="2138"/>
                    <a:pt x="5180" y="2106"/>
                  </a:cubicBezTo>
                  <a:cubicBezTo>
                    <a:pt x="5143" y="2101"/>
                    <a:pt x="5103" y="2101"/>
                    <a:pt x="5065" y="2106"/>
                  </a:cubicBezTo>
                  <a:lnTo>
                    <a:pt x="1631" y="2106"/>
                  </a:lnTo>
                  <a:cubicBezTo>
                    <a:pt x="1308" y="2138"/>
                    <a:pt x="1024" y="1901"/>
                    <a:pt x="992" y="1579"/>
                  </a:cubicBezTo>
                  <a:cubicBezTo>
                    <a:pt x="989" y="1542"/>
                    <a:pt x="989" y="1504"/>
                    <a:pt x="992" y="1467"/>
                  </a:cubicBezTo>
                </a:path>
              </a:pathLst>
            </a:custGeom>
            <a:solidFill>
              <a:srgbClr val="FFFFFF"/>
            </a:solidFill>
            <a:ln w="2661" cap="flat">
              <a:noFill/>
              <a:prstDash val="solid"/>
              <a:miter/>
            </a:ln>
          </p:spPr>
          <p:txBody>
            <a:bodyPr rtlCol="0" anchor="ctr"/>
            <a:lstStyle/>
            <a:p>
              <a:endParaRPr lang="pl-PL"/>
            </a:p>
          </p:txBody>
        </p:sp>
        <p:sp>
          <p:nvSpPr>
            <p:cNvPr id="132" name="Freeform: Shape 131">
              <a:extLst>
                <a:ext uri="{FF2B5EF4-FFF2-40B4-BE49-F238E27FC236}">
                  <a16:creationId xmlns:a16="http://schemas.microsoft.com/office/drawing/2014/main" id="{245F8D8E-E30A-42EE-81A0-1A5483505935}"/>
                </a:ext>
              </a:extLst>
            </p:cNvPr>
            <p:cNvSpPr/>
            <p:nvPr/>
          </p:nvSpPr>
          <p:spPr>
            <a:xfrm>
              <a:off x="11857776" y="6635662"/>
              <a:ext cx="8810" cy="8977"/>
            </a:xfrm>
            <a:custGeom>
              <a:avLst/>
              <a:gdLst>
                <a:gd name="connsiteX0" fmla="*/ 991 w 15611"/>
                <a:gd name="connsiteY0" fmla="*/ 14943 h 15907"/>
                <a:gd name="connsiteX1" fmla="*/ 991 w 15611"/>
                <a:gd name="connsiteY1" fmla="*/ 458 h 15907"/>
                <a:gd name="connsiteX2" fmla="*/ 1675 w 15611"/>
                <a:gd name="connsiteY2" fmla="*/ -343 h 15907"/>
                <a:gd name="connsiteX3" fmla="*/ 1816 w 15611"/>
                <a:gd name="connsiteY3" fmla="*/ -340 h 15907"/>
                <a:gd name="connsiteX4" fmla="*/ 2668 w 15611"/>
                <a:gd name="connsiteY4" fmla="*/ -340 h 15907"/>
                <a:gd name="connsiteX5" fmla="*/ 3627 w 15611"/>
                <a:gd name="connsiteY5" fmla="*/ 192 h 15907"/>
                <a:gd name="connsiteX6" fmla="*/ 8526 w 15611"/>
                <a:gd name="connsiteY6" fmla="*/ 7381 h 15907"/>
                <a:gd name="connsiteX7" fmla="*/ 8915 w 15611"/>
                <a:gd name="connsiteY7" fmla="*/ 7525 h 15907"/>
                <a:gd name="connsiteX8" fmla="*/ 9059 w 15611"/>
                <a:gd name="connsiteY8" fmla="*/ 7381 h 15907"/>
                <a:gd name="connsiteX9" fmla="*/ 14064 w 15611"/>
                <a:gd name="connsiteY9" fmla="*/ 166 h 15907"/>
                <a:gd name="connsiteX10" fmla="*/ 15050 w 15611"/>
                <a:gd name="connsiteY10" fmla="*/ -340 h 15907"/>
                <a:gd name="connsiteX11" fmla="*/ 15795 w 15611"/>
                <a:gd name="connsiteY11" fmla="*/ -340 h 15907"/>
                <a:gd name="connsiteX12" fmla="*/ 16594 w 15611"/>
                <a:gd name="connsiteY12" fmla="*/ 288 h 15907"/>
                <a:gd name="connsiteX13" fmla="*/ 16594 w 15611"/>
                <a:gd name="connsiteY13" fmla="*/ 458 h 15907"/>
                <a:gd name="connsiteX14" fmla="*/ 16594 w 15611"/>
                <a:gd name="connsiteY14" fmla="*/ 14943 h 15907"/>
                <a:gd name="connsiteX15" fmla="*/ 16035 w 15611"/>
                <a:gd name="connsiteY15" fmla="*/ 15556 h 15907"/>
                <a:gd name="connsiteX16" fmla="*/ 15982 w 15611"/>
                <a:gd name="connsiteY16" fmla="*/ 15556 h 15907"/>
                <a:gd name="connsiteX17" fmla="*/ 14677 w 15611"/>
                <a:gd name="connsiteY17" fmla="*/ 15556 h 15907"/>
                <a:gd name="connsiteX18" fmla="*/ 14064 w 15611"/>
                <a:gd name="connsiteY18" fmla="*/ 15055 h 15907"/>
                <a:gd name="connsiteX19" fmla="*/ 14064 w 15611"/>
                <a:gd name="connsiteY19" fmla="*/ 14943 h 15907"/>
                <a:gd name="connsiteX20" fmla="*/ 14064 w 15611"/>
                <a:gd name="connsiteY20" fmla="*/ 4878 h 15907"/>
                <a:gd name="connsiteX21" fmla="*/ 13585 w 15611"/>
                <a:gd name="connsiteY21" fmla="*/ 4745 h 15907"/>
                <a:gd name="connsiteX22" fmla="*/ 9804 w 15611"/>
                <a:gd name="connsiteY22" fmla="*/ 10284 h 15907"/>
                <a:gd name="connsiteX23" fmla="*/ 8846 w 15611"/>
                <a:gd name="connsiteY23" fmla="*/ 10789 h 15907"/>
                <a:gd name="connsiteX24" fmla="*/ 8846 w 15611"/>
                <a:gd name="connsiteY24" fmla="*/ 10789 h 15907"/>
                <a:gd name="connsiteX25" fmla="*/ 7914 w 15611"/>
                <a:gd name="connsiteY25" fmla="*/ 10284 h 15907"/>
                <a:gd name="connsiteX26" fmla="*/ 4133 w 15611"/>
                <a:gd name="connsiteY26" fmla="*/ 4745 h 15907"/>
                <a:gd name="connsiteX27" fmla="*/ 3654 w 15611"/>
                <a:gd name="connsiteY27" fmla="*/ 4905 h 15907"/>
                <a:gd name="connsiteX28" fmla="*/ 3654 w 15611"/>
                <a:gd name="connsiteY28" fmla="*/ 14943 h 15907"/>
                <a:gd name="connsiteX29" fmla="*/ 3097 w 15611"/>
                <a:gd name="connsiteY29" fmla="*/ 15558 h 15907"/>
                <a:gd name="connsiteX30" fmla="*/ 3015 w 15611"/>
                <a:gd name="connsiteY30" fmla="*/ 15556 h 15907"/>
                <a:gd name="connsiteX31" fmla="*/ 1736 w 15611"/>
                <a:gd name="connsiteY31" fmla="*/ 15556 h 15907"/>
                <a:gd name="connsiteX32" fmla="*/ 1100 w 15611"/>
                <a:gd name="connsiteY32" fmla="*/ 15087 h 15907"/>
                <a:gd name="connsiteX33" fmla="*/ 1097 w 15611"/>
                <a:gd name="connsiteY33" fmla="*/ 14943 h 15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611" h="15907">
                  <a:moveTo>
                    <a:pt x="991" y="14943"/>
                  </a:moveTo>
                  <a:lnTo>
                    <a:pt x="991" y="458"/>
                  </a:lnTo>
                  <a:cubicBezTo>
                    <a:pt x="959" y="48"/>
                    <a:pt x="1265" y="-311"/>
                    <a:pt x="1675" y="-343"/>
                  </a:cubicBezTo>
                  <a:cubicBezTo>
                    <a:pt x="1723" y="-346"/>
                    <a:pt x="1771" y="-346"/>
                    <a:pt x="1816" y="-340"/>
                  </a:cubicBezTo>
                  <a:lnTo>
                    <a:pt x="2668" y="-340"/>
                  </a:lnTo>
                  <a:cubicBezTo>
                    <a:pt x="3062" y="-359"/>
                    <a:pt x="3435" y="-154"/>
                    <a:pt x="3627" y="192"/>
                  </a:cubicBezTo>
                  <a:lnTo>
                    <a:pt x="8526" y="7381"/>
                  </a:lnTo>
                  <a:cubicBezTo>
                    <a:pt x="8593" y="7528"/>
                    <a:pt x="8768" y="7592"/>
                    <a:pt x="8915" y="7525"/>
                  </a:cubicBezTo>
                  <a:cubicBezTo>
                    <a:pt x="8979" y="7496"/>
                    <a:pt x="9029" y="7445"/>
                    <a:pt x="9059" y="7381"/>
                  </a:cubicBezTo>
                  <a:lnTo>
                    <a:pt x="14064" y="166"/>
                  </a:lnTo>
                  <a:cubicBezTo>
                    <a:pt x="14280" y="-165"/>
                    <a:pt x="14655" y="-356"/>
                    <a:pt x="15050" y="-340"/>
                  </a:cubicBezTo>
                  <a:lnTo>
                    <a:pt x="15795" y="-340"/>
                  </a:lnTo>
                  <a:cubicBezTo>
                    <a:pt x="16189" y="-388"/>
                    <a:pt x="16546" y="-106"/>
                    <a:pt x="16594" y="288"/>
                  </a:cubicBezTo>
                  <a:cubicBezTo>
                    <a:pt x="16602" y="344"/>
                    <a:pt x="16602" y="403"/>
                    <a:pt x="16594" y="458"/>
                  </a:cubicBezTo>
                  <a:lnTo>
                    <a:pt x="16594" y="14943"/>
                  </a:lnTo>
                  <a:cubicBezTo>
                    <a:pt x="16610" y="15265"/>
                    <a:pt x="16360" y="15540"/>
                    <a:pt x="16035" y="15556"/>
                  </a:cubicBezTo>
                  <a:cubicBezTo>
                    <a:pt x="16019" y="15556"/>
                    <a:pt x="16000" y="15556"/>
                    <a:pt x="15982" y="15556"/>
                  </a:cubicBezTo>
                  <a:lnTo>
                    <a:pt x="14677" y="15556"/>
                  </a:lnTo>
                  <a:cubicBezTo>
                    <a:pt x="14371" y="15587"/>
                    <a:pt x="14096" y="15364"/>
                    <a:pt x="14064" y="15055"/>
                  </a:cubicBezTo>
                  <a:cubicBezTo>
                    <a:pt x="14062" y="15018"/>
                    <a:pt x="14062" y="14980"/>
                    <a:pt x="14064" y="14943"/>
                  </a:cubicBezTo>
                  <a:lnTo>
                    <a:pt x="14064" y="4878"/>
                  </a:lnTo>
                  <a:cubicBezTo>
                    <a:pt x="14064" y="4506"/>
                    <a:pt x="13798" y="4399"/>
                    <a:pt x="13585" y="4745"/>
                  </a:cubicBezTo>
                  <a:lnTo>
                    <a:pt x="9804" y="10284"/>
                  </a:lnTo>
                  <a:cubicBezTo>
                    <a:pt x="9602" y="10614"/>
                    <a:pt x="9234" y="10808"/>
                    <a:pt x="8846" y="10789"/>
                  </a:cubicBezTo>
                  <a:lnTo>
                    <a:pt x="8846" y="10789"/>
                  </a:lnTo>
                  <a:cubicBezTo>
                    <a:pt x="8465" y="10803"/>
                    <a:pt x="8108" y="10611"/>
                    <a:pt x="7914" y="10284"/>
                  </a:cubicBezTo>
                  <a:lnTo>
                    <a:pt x="4133" y="4745"/>
                  </a:lnTo>
                  <a:cubicBezTo>
                    <a:pt x="3920" y="4452"/>
                    <a:pt x="3654" y="4532"/>
                    <a:pt x="3654" y="4905"/>
                  </a:cubicBezTo>
                  <a:lnTo>
                    <a:pt x="3654" y="14943"/>
                  </a:lnTo>
                  <a:cubicBezTo>
                    <a:pt x="3670" y="15265"/>
                    <a:pt x="3422" y="15542"/>
                    <a:pt x="3097" y="15558"/>
                  </a:cubicBezTo>
                  <a:cubicBezTo>
                    <a:pt x="3071" y="15558"/>
                    <a:pt x="3041" y="15558"/>
                    <a:pt x="3015" y="15556"/>
                  </a:cubicBezTo>
                  <a:lnTo>
                    <a:pt x="1736" y="15556"/>
                  </a:lnTo>
                  <a:cubicBezTo>
                    <a:pt x="1430" y="15601"/>
                    <a:pt x="1145" y="15390"/>
                    <a:pt x="1100" y="15087"/>
                  </a:cubicBezTo>
                  <a:cubicBezTo>
                    <a:pt x="1092" y="15039"/>
                    <a:pt x="1092" y="14991"/>
                    <a:pt x="1097" y="14943"/>
                  </a:cubicBezTo>
                </a:path>
              </a:pathLst>
            </a:custGeom>
            <a:solidFill>
              <a:srgbClr val="FFFFFF"/>
            </a:solidFill>
            <a:ln w="2661" cap="flat">
              <a:noFill/>
              <a:prstDash val="solid"/>
              <a:miter/>
            </a:ln>
          </p:spPr>
          <p:txBody>
            <a:bodyPr rtlCol="0" anchor="ctr"/>
            <a:lstStyle/>
            <a:p>
              <a:endParaRPr lang="pl-PL"/>
            </a:p>
          </p:txBody>
        </p:sp>
      </p:grpSp>
      <p:grpSp>
        <p:nvGrpSpPr>
          <p:cNvPr id="133" name="Group 132">
            <a:extLst>
              <a:ext uri="{FF2B5EF4-FFF2-40B4-BE49-F238E27FC236}">
                <a16:creationId xmlns:a16="http://schemas.microsoft.com/office/drawing/2014/main" id="{1879B72D-93A2-4F2D-A303-888876ADCEDA}"/>
              </a:ext>
            </a:extLst>
          </p:cNvPr>
          <p:cNvGrpSpPr/>
          <p:nvPr userDrawn="1"/>
        </p:nvGrpSpPr>
        <p:grpSpPr>
          <a:xfrm>
            <a:off x="10855488" y="6628477"/>
            <a:ext cx="218951" cy="162658"/>
            <a:chOff x="10506075" y="6628477"/>
            <a:chExt cx="218951" cy="162658"/>
          </a:xfrm>
        </p:grpSpPr>
        <p:sp>
          <p:nvSpPr>
            <p:cNvPr id="134" name="Rectangle: Rounded Corners 133">
              <a:hlinkClick r:id="" action="ppaction://noaction"/>
              <a:extLst>
                <a:ext uri="{FF2B5EF4-FFF2-40B4-BE49-F238E27FC236}">
                  <a16:creationId xmlns:a16="http://schemas.microsoft.com/office/drawing/2014/main" id="{C7DA4AF6-B997-4980-B1EE-0A701612F912}"/>
                </a:ext>
              </a:extLst>
            </p:cNvPr>
            <p:cNvSpPr/>
            <p:nvPr userDrawn="1"/>
          </p:nvSpPr>
          <p:spPr>
            <a:xfrm>
              <a:off x="10506075" y="6628477"/>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35" name="Rectangle: Rounded Corners 134">
              <a:hlinkClick r:id="" action="ppaction://noaction"/>
              <a:extLst>
                <a:ext uri="{FF2B5EF4-FFF2-40B4-BE49-F238E27FC236}">
                  <a16:creationId xmlns:a16="http://schemas.microsoft.com/office/drawing/2014/main" id="{7B8829D5-3EFB-436D-ADEF-8B9020E83581}"/>
                </a:ext>
              </a:extLst>
            </p:cNvPr>
            <p:cNvSpPr/>
            <p:nvPr userDrawn="1"/>
          </p:nvSpPr>
          <p:spPr>
            <a:xfrm>
              <a:off x="10506075" y="6691806"/>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36" name="Rectangle: Rounded Corners 135">
              <a:hlinkClick r:id="" action="ppaction://noaction"/>
              <a:extLst>
                <a:ext uri="{FF2B5EF4-FFF2-40B4-BE49-F238E27FC236}">
                  <a16:creationId xmlns:a16="http://schemas.microsoft.com/office/drawing/2014/main" id="{E65B37C1-5349-4C65-81CF-4801FDAFCDC3}"/>
                </a:ext>
              </a:extLst>
            </p:cNvPr>
            <p:cNvSpPr/>
            <p:nvPr userDrawn="1"/>
          </p:nvSpPr>
          <p:spPr>
            <a:xfrm>
              <a:off x="10506075" y="6755135"/>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grpSp>
      <p:sp>
        <p:nvSpPr>
          <p:cNvPr id="137" name="Rectangle 136">
            <a:hlinkClick r:id="" action="ppaction://noaction"/>
            <a:extLst>
              <a:ext uri="{FF2B5EF4-FFF2-40B4-BE49-F238E27FC236}">
                <a16:creationId xmlns:a16="http://schemas.microsoft.com/office/drawing/2014/main" id="{DE1F8632-5E6B-4C4C-8CCF-821F05736A3D}"/>
              </a:ext>
            </a:extLst>
          </p:cNvPr>
          <p:cNvSpPr/>
          <p:nvPr userDrawn="1"/>
        </p:nvSpPr>
        <p:spPr>
          <a:xfrm>
            <a:off x="10760869" y="6579908"/>
            <a:ext cx="406177" cy="273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cxnSp>
        <p:nvCxnSpPr>
          <p:cNvPr id="138" name="Straight Connector 137">
            <a:extLst>
              <a:ext uri="{FF2B5EF4-FFF2-40B4-BE49-F238E27FC236}">
                <a16:creationId xmlns:a16="http://schemas.microsoft.com/office/drawing/2014/main" id="{7C32447C-C5A0-477C-916F-4A44883EEEAE}"/>
              </a:ext>
            </a:extLst>
          </p:cNvPr>
          <p:cNvCxnSpPr/>
          <p:nvPr userDrawn="1"/>
        </p:nvCxnSpPr>
        <p:spPr>
          <a:xfrm>
            <a:off x="521472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39" name="Rectangle 138">
            <a:hlinkClick r:id="" action="ppaction://noaction"/>
            <a:hlinkHover r:id="" action="ppaction://noaction" highlightClick="1"/>
            <a:extLst>
              <a:ext uri="{FF2B5EF4-FFF2-40B4-BE49-F238E27FC236}">
                <a16:creationId xmlns:a16="http://schemas.microsoft.com/office/drawing/2014/main" id="{290C167C-FFFF-46D8-A06E-FA938DAEE34D}"/>
              </a:ext>
            </a:extLst>
          </p:cNvPr>
          <p:cNvSpPr/>
          <p:nvPr userDrawn="1"/>
        </p:nvSpPr>
        <p:spPr>
          <a:xfrm>
            <a:off x="9539162" y="6570000"/>
            <a:ext cx="1200924"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GB" sz="800" b="0" noProof="0">
                <a:solidFill>
                  <a:schemeClr val="bg1">
                    <a:alpha val="50000"/>
                  </a:schemeClr>
                </a:solidFill>
                <a:latin typeface="Leelawadee" panose="020B0502040204020203" pitchFamily="34" charset="-34"/>
                <a:cs typeface="Leelawadee" panose="020B0502040204020203" pitchFamily="34" charset="-34"/>
              </a:rPr>
              <a:t>Additional </a:t>
            </a:r>
            <a:br>
              <a:rPr lang="en-GB" sz="800" b="0" noProof="0">
                <a:solidFill>
                  <a:schemeClr val="bg1">
                    <a:alpha val="50000"/>
                  </a:schemeClr>
                </a:solidFill>
                <a:latin typeface="Leelawadee" panose="020B0502040204020203" pitchFamily="34" charset="-34"/>
                <a:cs typeface="Leelawadee" panose="020B0502040204020203" pitchFamily="34" charset="-34"/>
              </a:rPr>
            </a:br>
            <a:r>
              <a:rPr lang="en-GB" sz="800" b="0" noProof="0">
                <a:solidFill>
                  <a:schemeClr val="bg1">
                    <a:alpha val="50000"/>
                  </a:schemeClr>
                </a:solidFill>
                <a:latin typeface="Leelawadee" panose="020B0502040204020203" pitchFamily="34" charset="-34"/>
                <a:cs typeface="Leelawadee" panose="020B0502040204020203" pitchFamily="34" charset="-34"/>
              </a:rPr>
              <a:t>Supporting content</a:t>
            </a:r>
          </a:p>
        </p:txBody>
      </p:sp>
      <p:cxnSp>
        <p:nvCxnSpPr>
          <p:cNvPr id="140" name="Straight Connector 139">
            <a:extLst>
              <a:ext uri="{FF2B5EF4-FFF2-40B4-BE49-F238E27FC236}">
                <a16:creationId xmlns:a16="http://schemas.microsoft.com/office/drawing/2014/main" id="{EFE8474A-332B-431F-BE40-5BE220D8664A}"/>
              </a:ext>
            </a:extLst>
          </p:cNvPr>
          <p:cNvCxnSpPr/>
          <p:nvPr userDrawn="1"/>
        </p:nvCxnSpPr>
        <p:spPr>
          <a:xfrm>
            <a:off x="10737865"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id="{8B8E3FB8-4F84-4987-B4DA-F41FEA2C364F}"/>
              </a:ext>
            </a:extLst>
          </p:cNvPr>
          <p:cNvSpPr txBox="1"/>
          <p:nvPr userDrawn="1"/>
        </p:nvSpPr>
        <p:spPr>
          <a:xfrm>
            <a:off x="208348" y="6587078"/>
            <a:ext cx="428589" cy="261610"/>
          </a:xfrm>
          <a:prstGeom prst="rect">
            <a:avLst/>
          </a:prstGeom>
          <a:noFill/>
        </p:spPr>
        <p:txBody>
          <a:bodyPr wrap="square" rtlCol="0">
            <a:spAutoFit/>
          </a:bodyPr>
          <a:lstStyle/>
          <a:p>
            <a:fld id="{2AD15D81-AC1A-4BFA-95F9-38C1BF89B685}" type="slidenum">
              <a:rPr lang="pl-PL" sz="1050" smtClean="0">
                <a:solidFill>
                  <a:schemeClr val="bg1"/>
                </a:solidFill>
                <a:latin typeface="Leelawadee" panose="020B0502040204020203" pitchFamily="34" charset="-34"/>
                <a:cs typeface="Leelawadee" panose="020B0502040204020203" pitchFamily="34" charset="-34"/>
              </a:rPr>
              <a:t>‹#›</a:t>
            </a:fld>
            <a:endParaRPr lang="pl-PL" sz="1200">
              <a:solidFill>
                <a:schemeClr val="bg1"/>
              </a:solidFill>
              <a:latin typeface="Leelawadee" panose="020B0502040204020203" pitchFamily="34" charset="-34"/>
              <a:cs typeface="Leelawadee" panose="020B0502040204020203" pitchFamily="34" charset="-34"/>
            </a:endParaRPr>
          </a:p>
        </p:txBody>
      </p:sp>
    </p:spTree>
    <p:extLst>
      <p:ext uri="{BB962C8B-B14F-4D97-AF65-F5344CB8AC3E}">
        <p14:creationId xmlns:p14="http://schemas.microsoft.com/office/powerpoint/2010/main" val="357721683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Comparison 02">
    <p:spTree>
      <p:nvGrpSpPr>
        <p:cNvPr id="1" name=""/>
        <p:cNvGrpSpPr/>
        <p:nvPr/>
      </p:nvGrpSpPr>
      <p:grpSpPr>
        <a:xfrm>
          <a:off x="0" y="0"/>
          <a:ext cx="0" cy="0"/>
          <a:chOff x="0" y="0"/>
          <a:chExt cx="0" cy="0"/>
        </a:xfrm>
      </p:grpSpPr>
      <p:sp>
        <p:nvSpPr>
          <p:cNvPr id="28" name="Text Placeholder 2">
            <a:extLst>
              <a:ext uri="{FF2B5EF4-FFF2-40B4-BE49-F238E27FC236}">
                <a16:creationId xmlns:a16="http://schemas.microsoft.com/office/drawing/2014/main" id="{7C693F22-37CE-E440-A764-0E367717FDC4}"/>
              </a:ext>
            </a:extLst>
          </p:cNvPr>
          <p:cNvSpPr>
            <a:spLocks noGrp="1"/>
          </p:cNvSpPr>
          <p:nvPr>
            <p:ph type="body" sz="quarter" idx="18"/>
          </p:nvPr>
        </p:nvSpPr>
        <p:spPr>
          <a:xfrm>
            <a:off x="609231" y="1999660"/>
            <a:ext cx="5259704" cy="4085953"/>
          </a:xfrm>
        </p:spPr>
        <p:txBody>
          <a:bodyPr>
            <a:noAutofit/>
          </a:bodyPr>
          <a:lstStyle>
            <a:lvl1pPr marL="114300" indent="-114300">
              <a:tabLst/>
              <a:defRPr sz="1800">
                <a:solidFill>
                  <a:schemeClr val="accent5">
                    <a:lumMod val="75000"/>
                  </a:schemeClr>
                </a:solidFill>
              </a:defRPr>
            </a:lvl1pPr>
            <a:lvl2pPr marL="628650" indent="-171450">
              <a:buFont typeface="Courier New" panose="02070309020205020404" pitchFamily="49" charset="0"/>
              <a:buChar char="o"/>
              <a:tabLst/>
              <a:defRPr sz="1500">
                <a:solidFill>
                  <a:schemeClr val="accent5">
                    <a:lumMod val="75000"/>
                  </a:schemeClr>
                </a:solidFill>
              </a:defRPr>
            </a:lvl2pPr>
            <a:lvl3pPr marL="1090613" indent="-176213">
              <a:buFont typeface="Courier New" panose="02070309020205020404" pitchFamily="49" charset="0"/>
              <a:buChar char="o"/>
              <a:tabLst/>
              <a:defRPr sz="1500">
                <a:solidFill>
                  <a:schemeClr val="accent5">
                    <a:lumMod val="75000"/>
                  </a:schemeClr>
                </a:solidFill>
              </a:defRPr>
            </a:lvl3pPr>
            <a:lvl4pPr marL="1552575" indent="-180975">
              <a:buFont typeface="Courier New" panose="02070309020205020404" pitchFamily="49" charset="0"/>
              <a:buChar char="o"/>
              <a:tabLst/>
              <a:defRPr sz="1500">
                <a:solidFill>
                  <a:schemeClr val="accent5">
                    <a:lumMod val="75000"/>
                  </a:schemeClr>
                </a:solidFill>
              </a:defRPr>
            </a:lvl4pPr>
            <a:lvl5pPr marL="2003425" indent="-174625">
              <a:buFont typeface="Courier New" panose="02070309020205020404" pitchFamily="49" charset="0"/>
              <a:buChar char="o"/>
              <a:tabLst/>
              <a:defRPr sz="1500">
                <a:solidFill>
                  <a:schemeClr val="accent5">
                    <a:lumMod val="75000"/>
                  </a:schemeClr>
                </a:solidFill>
              </a:defRPr>
            </a:lvl5pPr>
          </a:lstStyle>
          <a:p>
            <a:pPr lvl="0"/>
            <a:r>
              <a:rPr lang="en-US"/>
              <a:t>Click to edit Master text styles</a:t>
            </a:r>
          </a:p>
          <a:p>
            <a:pPr lvl="1"/>
            <a:r>
              <a:rPr lang="en-US"/>
              <a:t>Click to edit Master text styles</a:t>
            </a:r>
          </a:p>
        </p:txBody>
      </p:sp>
      <p:grpSp>
        <p:nvGrpSpPr>
          <p:cNvPr id="21" name="Group 20">
            <a:extLst>
              <a:ext uri="{FF2B5EF4-FFF2-40B4-BE49-F238E27FC236}">
                <a16:creationId xmlns:a16="http://schemas.microsoft.com/office/drawing/2014/main" id="{88784723-4AFA-4742-ADCB-358652FF6F72}"/>
              </a:ext>
            </a:extLst>
          </p:cNvPr>
          <p:cNvGrpSpPr/>
          <p:nvPr userDrawn="1"/>
        </p:nvGrpSpPr>
        <p:grpSpPr>
          <a:xfrm>
            <a:off x="0" y="1"/>
            <a:ext cx="12192000" cy="1039905"/>
            <a:chOff x="0" y="0"/>
            <a:chExt cx="14630400" cy="1524787"/>
          </a:xfrm>
        </p:grpSpPr>
        <p:sp>
          <p:nvSpPr>
            <p:cNvPr id="22" name="object 2">
              <a:extLst>
                <a:ext uri="{FF2B5EF4-FFF2-40B4-BE49-F238E27FC236}">
                  <a16:creationId xmlns:a16="http://schemas.microsoft.com/office/drawing/2014/main" id="{4F62F695-717D-374C-802D-7FEBEAD6FE46}"/>
                </a:ext>
              </a:extLst>
            </p:cNvPr>
            <p:cNvSpPr/>
            <p:nvPr userDrawn="1"/>
          </p:nvSpPr>
          <p:spPr>
            <a:xfrm>
              <a:off x="0" y="0"/>
              <a:ext cx="14630400" cy="139255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23" name="object 3">
              <a:extLst>
                <a:ext uri="{FF2B5EF4-FFF2-40B4-BE49-F238E27FC236}">
                  <a16:creationId xmlns:a16="http://schemas.microsoft.com/office/drawing/2014/main" id="{B392FAE7-9F0A-8D4D-94F3-8E024FD2710E}"/>
                </a:ext>
              </a:extLst>
            </p:cNvPr>
            <p:cNvSpPr/>
            <p:nvPr userDrawn="1"/>
          </p:nvSpPr>
          <p:spPr>
            <a:xfrm>
              <a:off x="0" y="1392072"/>
              <a:ext cx="14630400" cy="132715"/>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6"/>
            </a:solidFill>
          </p:spPr>
          <p:txBody>
            <a:bodyPr wrap="square" lIns="0" tIns="0" rIns="0" bIns="0" rtlCol="0"/>
            <a:lstStyle/>
            <a:p>
              <a:endParaRPr/>
            </a:p>
          </p:txBody>
        </p:sp>
      </p:grpSp>
      <p:sp>
        <p:nvSpPr>
          <p:cNvPr id="16" name="Title 23">
            <a:extLst>
              <a:ext uri="{FF2B5EF4-FFF2-40B4-BE49-F238E27FC236}">
                <a16:creationId xmlns:a16="http://schemas.microsoft.com/office/drawing/2014/main" id="{4085826A-7691-1843-B06C-82034F1F58ED}"/>
              </a:ext>
            </a:extLst>
          </p:cNvPr>
          <p:cNvSpPr>
            <a:spLocks noGrp="1"/>
          </p:cNvSpPr>
          <p:nvPr>
            <p:ph type="title"/>
          </p:nvPr>
        </p:nvSpPr>
        <p:spPr>
          <a:xfrm>
            <a:off x="609231" y="159548"/>
            <a:ext cx="10937489" cy="623222"/>
          </a:xfrm>
        </p:spPr>
        <p:txBody>
          <a:bodyPr>
            <a:noAutofit/>
          </a:bodyPr>
          <a:lstStyle>
            <a:lvl1pPr>
              <a:lnSpc>
                <a:spcPct val="100000"/>
              </a:lnSpc>
              <a:defRPr lang="en-US" sz="3200" b="1" i="0" kern="1200" spc="-20" dirty="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26" name="Text Placeholder 17">
            <a:extLst>
              <a:ext uri="{FF2B5EF4-FFF2-40B4-BE49-F238E27FC236}">
                <a16:creationId xmlns:a16="http://schemas.microsoft.com/office/drawing/2014/main" id="{ADB97546-6C6B-5848-B3AE-67DDFC3355A6}"/>
              </a:ext>
            </a:extLst>
          </p:cNvPr>
          <p:cNvSpPr>
            <a:spLocks noGrp="1"/>
          </p:cNvSpPr>
          <p:nvPr>
            <p:ph type="body" sz="quarter" idx="14" hasCustomPrompt="1"/>
          </p:nvPr>
        </p:nvSpPr>
        <p:spPr>
          <a:xfrm>
            <a:off x="609232" y="1287610"/>
            <a:ext cx="5259704" cy="421592"/>
          </a:xfrm>
        </p:spPr>
        <p:txBody>
          <a:bodyPr anchor="ctr">
            <a:noAutofit/>
          </a:bodyPr>
          <a:lstStyle>
            <a:lvl1pPr marL="0" indent="0">
              <a:lnSpc>
                <a:spcPct val="100000"/>
              </a:lnSpc>
              <a:spcBef>
                <a:spcPts val="0"/>
              </a:spcBef>
              <a:spcAft>
                <a:spcPts val="0"/>
              </a:spcAft>
              <a:buNone/>
              <a:defRPr lang="en-US" sz="2000" b="1" i="0" kern="1200" dirty="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cxnSp>
        <p:nvCxnSpPr>
          <p:cNvPr id="27" name="Straight Connector 26">
            <a:extLst>
              <a:ext uri="{FF2B5EF4-FFF2-40B4-BE49-F238E27FC236}">
                <a16:creationId xmlns:a16="http://schemas.microsoft.com/office/drawing/2014/main" id="{5F26296F-DC28-A844-A02B-73449FF6A8DB}"/>
              </a:ext>
            </a:extLst>
          </p:cNvPr>
          <p:cNvCxnSpPr>
            <a:cxnSpLocks/>
          </p:cNvCxnSpPr>
          <p:nvPr userDrawn="1"/>
        </p:nvCxnSpPr>
        <p:spPr>
          <a:xfrm>
            <a:off x="609232" y="1854431"/>
            <a:ext cx="525970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3" name="Text Placeholder 17">
            <a:extLst>
              <a:ext uri="{FF2B5EF4-FFF2-40B4-BE49-F238E27FC236}">
                <a16:creationId xmlns:a16="http://schemas.microsoft.com/office/drawing/2014/main" id="{CF1B3AAF-D0DD-7744-AFEC-DBCE571A9744}"/>
              </a:ext>
            </a:extLst>
          </p:cNvPr>
          <p:cNvSpPr>
            <a:spLocks noGrp="1"/>
          </p:cNvSpPr>
          <p:nvPr>
            <p:ph type="body" sz="quarter" idx="17" hasCustomPrompt="1"/>
          </p:nvPr>
        </p:nvSpPr>
        <p:spPr>
          <a:xfrm>
            <a:off x="6294924" y="1287609"/>
            <a:ext cx="5259704" cy="421593"/>
          </a:xfrm>
        </p:spPr>
        <p:txBody>
          <a:bodyPr anchor="ctr">
            <a:noAutofit/>
          </a:bodyPr>
          <a:lstStyle>
            <a:lvl1pPr marL="0" indent="0">
              <a:lnSpc>
                <a:spcPct val="100000"/>
              </a:lnSpc>
              <a:spcBef>
                <a:spcPts val="0"/>
              </a:spcBef>
              <a:spcAft>
                <a:spcPts val="0"/>
              </a:spcAft>
              <a:buNone/>
              <a:defRPr lang="en-US" sz="2000" b="1" i="0" kern="1200" dirty="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cxnSp>
        <p:nvCxnSpPr>
          <p:cNvPr id="34" name="Straight Connector 33">
            <a:extLst>
              <a:ext uri="{FF2B5EF4-FFF2-40B4-BE49-F238E27FC236}">
                <a16:creationId xmlns:a16="http://schemas.microsoft.com/office/drawing/2014/main" id="{3CB330AF-1672-334C-B0B1-C1C9AD1B8438}"/>
              </a:ext>
            </a:extLst>
          </p:cNvPr>
          <p:cNvCxnSpPr>
            <a:cxnSpLocks/>
          </p:cNvCxnSpPr>
          <p:nvPr userDrawn="1"/>
        </p:nvCxnSpPr>
        <p:spPr>
          <a:xfrm>
            <a:off x="6294924" y="1854431"/>
            <a:ext cx="525970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5814F731-5C23-3A4F-AFB0-7F1F2B08FA2D}"/>
              </a:ext>
            </a:extLst>
          </p:cNvPr>
          <p:cNvSpPr>
            <a:spLocks noGrp="1"/>
          </p:cNvSpPr>
          <p:nvPr>
            <p:ph type="body" sz="quarter" idx="19"/>
          </p:nvPr>
        </p:nvSpPr>
        <p:spPr>
          <a:xfrm>
            <a:off x="6287017" y="1999660"/>
            <a:ext cx="5259704" cy="4085953"/>
          </a:xfrm>
        </p:spPr>
        <p:txBody>
          <a:bodyPr>
            <a:noAutofit/>
          </a:bodyPr>
          <a:lstStyle>
            <a:lvl1pPr marL="114300" indent="-114300">
              <a:tabLst/>
              <a:defRPr sz="1800">
                <a:solidFill>
                  <a:schemeClr val="accent5">
                    <a:lumMod val="75000"/>
                  </a:schemeClr>
                </a:solidFill>
              </a:defRPr>
            </a:lvl1pPr>
            <a:lvl2pPr marL="628650" indent="-171450">
              <a:buFont typeface="Courier New" panose="02070309020205020404" pitchFamily="49" charset="0"/>
              <a:buChar char="o"/>
              <a:tabLst/>
              <a:defRPr sz="1500">
                <a:solidFill>
                  <a:schemeClr val="accent5">
                    <a:lumMod val="75000"/>
                  </a:schemeClr>
                </a:solidFill>
              </a:defRPr>
            </a:lvl2pPr>
            <a:lvl3pPr marL="1090613" indent="-176213">
              <a:buFont typeface="Courier New" panose="02070309020205020404" pitchFamily="49" charset="0"/>
              <a:buChar char="o"/>
              <a:tabLst/>
              <a:defRPr sz="1500">
                <a:solidFill>
                  <a:schemeClr val="accent5">
                    <a:lumMod val="75000"/>
                  </a:schemeClr>
                </a:solidFill>
              </a:defRPr>
            </a:lvl3pPr>
            <a:lvl4pPr marL="1552575" indent="-180975">
              <a:buFont typeface="Courier New" panose="02070309020205020404" pitchFamily="49" charset="0"/>
              <a:buChar char="o"/>
              <a:tabLst/>
              <a:defRPr sz="1500">
                <a:solidFill>
                  <a:schemeClr val="accent5">
                    <a:lumMod val="75000"/>
                  </a:schemeClr>
                </a:solidFill>
              </a:defRPr>
            </a:lvl4pPr>
            <a:lvl5pPr marL="2003425" indent="-174625">
              <a:buFont typeface="Courier New" panose="02070309020205020404" pitchFamily="49" charset="0"/>
              <a:buChar char="o"/>
              <a:tabLst/>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91" name="Rectangle 90">
            <a:extLst>
              <a:ext uri="{FF2B5EF4-FFF2-40B4-BE49-F238E27FC236}">
                <a16:creationId xmlns:a16="http://schemas.microsoft.com/office/drawing/2014/main" id="{7F1145A5-C0AA-45F0-B54F-A1EFA2C3520C}"/>
              </a:ext>
            </a:extLst>
          </p:cNvPr>
          <p:cNvSpPr/>
          <p:nvPr userDrawn="1"/>
        </p:nvSpPr>
        <p:spPr>
          <a:xfrm>
            <a:off x="0" y="6570000"/>
            <a:ext cx="12192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100" noProof="0"/>
          </a:p>
        </p:txBody>
      </p:sp>
      <p:cxnSp>
        <p:nvCxnSpPr>
          <p:cNvPr id="92" name="Straight Connector 91">
            <a:extLst>
              <a:ext uri="{FF2B5EF4-FFF2-40B4-BE49-F238E27FC236}">
                <a16:creationId xmlns:a16="http://schemas.microsoft.com/office/drawing/2014/main" id="{120C65AE-BBD6-4F37-916D-3795DC1A0D54}"/>
              </a:ext>
            </a:extLst>
          </p:cNvPr>
          <p:cNvCxnSpPr/>
          <p:nvPr userDrawn="1"/>
        </p:nvCxnSpPr>
        <p:spPr>
          <a:xfrm>
            <a:off x="634587" y="6570000"/>
            <a:ext cx="0" cy="288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F7B5C5AE-41D5-4C9A-B6E2-AB40595D023B}"/>
              </a:ext>
            </a:extLst>
          </p:cNvPr>
          <p:cNvSpPr txBox="1"/>
          <p:nvPr userDrawn="1"/>
        </p:nvSpPr>
        <p:spPr>
          <a:xfrm>
            <a:off x="806034" y="6650942"/>
            <a:ext cx="3896596" cy="123111"/>
          </a:xfrm>
          <a:prstGeom prst="rect">
            <a:avLst/>
          </a:prstGeom>
          <a:noFill/>
        </p:spPr>
        <p:txBody>
          <a:bodyPr wrap="square" lIns="0" tIns="0" rIns="0" bIns="0" rtlCol="0">
            <a:spAutoFit/>
          </a:bodyPr>
          <a:lstStyle/>
          <a:p>
            <a:pPr rtl="0"/>
            <a:r>
              <a:rPr lang="en-US" sz="800" spc="300" baseline="0" noProof="0">
                <a:solidFill>
                  <a:schemeClr val="bg1"/>
                </a:solidFill>
                <a:latin typeface="Leelawadee" panose="020B0502040204020203" pitchFamily="34" charset="-34"/>
                <a:cs typeface="Leelawadee" panose="020B0502040204020203" pitchFamily="34" charset="-34"/>
              </a:rPr>
              <a:t>CONFIDENTIAL &amp; PROPRIETARY</a:t>
            </a:r>
          </a:p>
        </p:txBody>
      </p:sp>
      <p:sp>
        <p:nvSpPr>
          <p:cNvPr id="94" name="Rectangle 93">
            <a:hlinkClick r:id="" action="ppaction://noaction"/>
            <a:extLst>
              <a:ext uri="{FF2B5EF4-FFF2-40B4-BE49-F238E27FC236}">
                <a16:creationId xmlns:a16="http://schemas.microsoft.com/office/drawing/2014/main" id="{C3F59F52-BBF7-44DD-8015-720CC72D8EEE}"/>
              </a:ext>
            </a:extLst>
          </p:cNvPr>
          <p:cNvSpPr/>
          <p:nvPr userDrawn="1"/>
        </p:nvSpPr>
        <p:spPr>
          <a:xfrm>
            <a:off x="5214721" y="6579908"/>
            <a:ext cx="1147937"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lnSpc>
                <a:spcPct val="90000"/>
              </a:lnSpc>
            </a:pPr>
            <a:r>
              <a:rPr lang="en-GB" sz="800" b="0">
                <a:solidFill>
                  <a:schemeClr val="bg1">
                    <a:alpha val="50000"/>
                  </a:schemeClr>
                </a:solidFill>
                <a:latin typeface="Leelawadee" panose="020B0502040204020203" pitchFamily="34" charset="-34"/>
                <a:cs typeface="Leelawadee" panose="020B0502040204020203" pitchFamily="34" charset="-34"/>
              </a:rPr>
              <a:t>Intro &amp; objectives</a:t>
            </a:r>
          </a:p>
        </p:txBody>
      </p:sp>
      <p:sp>
        <p:nvSpPr>
          <p:cNvPr id="95" name="Rectangle 94">
            <a:hlinkClick r:id="rId2" action="ppaction://hlinksldjump"/>
            <a:extLst>
              <a:ext uri="{FF2B5EF4-FFF2-40B4-BE49-F238E27FC236}">
                <a16:creationId xmlns:a16="http://schemas.microsoft.com/office/drawing/2014/main" id="{4D284ED2-C6F1-49F3-8FCC-B23BDCCA40E4}"/>
              </a:ext>
            </a:extLst>
          </p:cNvPr>
          <p:cNvSpPr/>
          <p:nvPr userDrawn="1"/>
        </p:nvSpPr>
        <p:spPr>
          <a:xfrm>
            <a:off x="6367021" y="6579908"/>
            <a:ext cx="1126055"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US" sz="800" b="0" noProof="0">
                <a:solidFill>
                  <a:schemeClr val="bg1">
                    <a:alpha val="50000"/>
                  </a:schemeClr>
                </a:solidFill>
                <a:latin typeface="Leelawadee" panose="020B0502040204020203" pitchFamily="34" charset="-34"/>
                <a:cs typeface="Leelawadee" panose="020B0502040204020203" pitchFamily="34" charset="-34"/>
              </a:rPr>
              <a:t>Introducing pep+ </a:t>
            </a:r>
            <a:br>
              <a:rPr lang="en-US" sz="800" b="0" noProof="0">
                <a:solidFill>
                  <a:schemeClr val="bg1">
                    <a:alpha val="50000"/>
                  </a:schemeClr>
                </a:solidFill>
                <a:latin typeface="Leelawadee" panose="020B0502040204020203" pitchFamily="34" charset="-34"/>
                <a:cs typeface="Leelawadee" panose="020B0502040204020203" pitchFamily="34" charset="-34"/>
              </a:rPr>
            </a:br>
            <a:r>
              <a:rPr lang="en-US" sz="800" b="0" noProof="0">
                <a:solidFill>
                  <a:schemeClr val="bg1">
                    <a:alpha val="50000"/>
                  </a:schemeClr>
                </a:solidFill>
                <a:latin typeface="Leelawadee" panose="020B0502040204020203" pitchFamily="34" charset="-34"/>
                <a:cs typeface="Leelawadee" panose="020B0502040204020203" pitchFamily="34" charset="-34"/>
              </a:rPr>
              <a:t>to Customers</a:t>
            </a:r>
          </a:p>
        </p:txBody>
      </p:sp>
      <p:sp>
        <p:nvSpPr>
          <p:cNvPr id="96" name="Rectangle 95">
            <a:hlinkClick r:id="" action="ppaction://noaction"/>
            <a:extLst>
              <a:ext uri="{FF2B5EF4-FFF2-40B4-BE49-F238E27FC236}">
                <a16:creationId xmlns:a16="http://schemas.microsoft.com/office/drawing/2014/main" id="{B2D9AC1E-9480-4C2C-A387-2FE8FF247910}"/>
              </a:ext>
            </a:extLst>
          </p:cNvPr>
          <p:cNvSpPr/>
          <p:nvPr userDrawn="1"/>
        </p:nvSpPr>
        <p:spPr>
          <a:xfrm>
            <a:off x="7510981" y="6579908"/>
            <a:ext cx="967705"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US" sz="800" b="0" noProof="0">
                <a:solidFill>
                  <a:schemeClr val="bg1">
                    <a:alpha val="50000"/>
                  </a:schemeClr>
                </a:solidFill>
                <a:latin typeface="Leelawadee" panose="020B0502040204020203" pitchFamily="34" charset="-34"/>
                <a:cs typeface="Leelawadee" panose="020B0502040204020203" pitchFamily="34" charset="-34"/>
              </a:rPr>
              <a:t>Exploring </a:t>
            </a:r>
            <a:br>
              <a:rPr lang="en-US" sz="800" b="0" noProof="0">
                <a:solidFill>
                  <a:schemeClr val="bg1">
                    <a:alpha val="50000"/>
                  </a:schemeClr>
                </a:solidFill>
                <a:latin typeface="Leelawadee" panose="020B0502040204020203" pitchFamily="34" charset="-34"/>
                <a:cs typeface="Leelawadee" panose="020B0502040204020203" pitchFamily="34" charset="-34"/>
              </a:rPr>
            </a:br>
            <a:r>
              <a:rPr lang="en-US" sz="800" b="0" noProof="0">
                <a:solidFill>
                  <a:schemeClr val="bg1">
                    <a:alpha val="50000"/>
                  </a:schemeClr>
                </a:solidFill>
                <a:latin typeface="Leelawadee" panose="020B0502040204020203" pitchFamily="34" charset="-34"/>
                <a:cs typeface="Leelawadee" panose="020B0502040204020203" pitchFamily="34" charset="-34"/>
              </a:rPr>
              <a:t>pep+ areas</a:t>
            </a:r>
          </a:p>
        </p:txBody>
      </p:sp>
      <p:sp>
        <p:nvSpPr>
          <p:cNvPr id="97" name="Rectangle 96">
            <a:hlinkClick r:id="" action="ppaction://noaction"/>
            <a:hlinkHover r:id="" action="ppaction://noaction" highlightClick="1"/>
            <a:extLst>
              <a:ext uri="{FF2B5EF4-FFF2-40B4-BE49-F238E27FC236}">
                <a16:creationId xmlns:a16="http://schemas.microsoft.com/office/drawing/2014/main" id="{D2D688FF-88DA-4E4C-8D73-A10A7B98511C}"/>
              </a:ext>
            </a:extLst>
          </p:cNvPr>
          <p:cNvSpPr/>
          <p:nvPr userDrawn="1"/>
        </p:nvSpPr>
        <p:spPr>
          <a:xfrm>
            <a:off x="8544692" y="6579908"/>
            <a:ext cx="994577"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GB" sz="800" b="0" noProof="0">
                <a:solidFill>
                  <a:schemeClr val="bg1">
                    <a:alpha val="50000"/>
                  </a:schemeClr>
                </a:solidFill>
                <a:latin typeface="Leelawadee" panose="020B0502040204020203" pitchFamily="34" charset="-34"/>
                <a:cs typeface="Leelawadee" panose="020B0502040204020203" pitchFamily="34" charset="-34"/>
              </a:rPr>
              <a:t>pep+ Customer Engagement</a:t>
            </a:r>
          </a:p>
        </p:txBody>
      </p:sp>
      <p:cxnSp>
        <p:nvCxnSpPr>
          <p:cNvPr id="98" name="Straight Connector 97">
            <a:extLst>
              <a:ext uri="{FF2B5EF4-FFF2-40B4-BE49-F238E27FC236}">
                <a16:creationId xmlns:a16="http://schemas.microsoft.com/office/drawing/2014/main" id="{3D16AE30-2F9F-4CAE-A4A0-7DE4D66E106D}"/>
              </a:ext>
            </a:extLst>
          </p:cNvPr>
          <p:cNvCxnSpPr/>
          <p:nvPr userDrawn="1"/>
        </p:nvCxnSpPr>
        <p:spPr>
          <a:xfrm>
            <a:off x="9539270"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A3906F2F-796D-4794-87C7-1E1B51CEDEE6}"/>
              </a:ext>
            </a:extLst>
          </p:cNvPr>
          <p:cNvCxnSpPr/>
          <p:nvPr userDrawn="1"/>
        </p:nvCxnSpPr>
        <p:spPr>
          <a:xfrm>
            <a:off x="848143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7B59154-4729-404B-9992-09DFD6846872}"/>
              </a:ext>
            </a:extLst>
          </p:cNvPr>
          <p:cNvCxnSpPr/>
          <p:nvPr userDrawn="1"/>
        </p:nvCxnSpPr>
        <p:spPr>
          <a:xfrm>
            <a:off x="7493596"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F6D093F-F0B8-4C0C-A30E-DC9A4056A1FA}"/>
              </a:ext>
            </a:extLst>
          </p:cNvPr>
          <p:cNvCxnSpPr/>
          <p:nvPr userDrawn="1"/>
        </p:nvCxnSpPr>
        <p:spPr>
          <a:xfrm>
            <a:off x="636702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E44D143C-137D-461B-85B3-6ABF1A0A924B}"/>
              </a:ext>
            </a:extLst>
          </p:cNvPr>
          <p:cNvCxnSpPr/>
          <p:nvPr userDrawn="1"/>
        </p:nvCxnSpPr>
        <p:spPr>
          <a:xfrm>
            <a:off x="11186336"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nvGrpSpPr>
          <p:cNvPr id="103" name="Group 102">
            <a:extLst>
              <a:ext uri="{FF2B5EF4-FFF2-40B4-BE49-F238E27FC236}">
                <a16:creationId xmlns:a16="http://schemas.microsoft.com/office/drawing/2014/main" id="{9C135204-71C8-4836-9846-FD86F6CB38E3}"/>
              </a:ext>
            </a:extLst>
          </p:cNvPr>
          <p:cNvGrpSpPr/>
          <p:nvPr userDrawn="1"/>
        </p:nvGrpSpPr>
        <p:grpSpPr>
          <a:xfrm>
            <a:off x="11393217" y="6628477"/>
            <a:ext cx="473369" cy="183554"/>
            <a:chOff x="11393217" y="6628477"/>
            <a:chExt cx="473369" cy="183554"/>
          </a:xfrm>
        </p:grpSpPr>
        <p:sp>
          <p:nvSpPr>
            <p:cNvPr id="104" name="Freeform: Shape 103">
              <a:extLst>
                <a:ext uri="{FF2B5EF4-FFF2-40B4-BE49-F238E27FC236}">
                  <a16:creationId xmlns:a16="http://schemas.microsoft.com/office/drawing/2014/main" id="{1D278B3C-FDF8-4BFE-B37A-0AD5889C3322}"/>
                </a:ext>
              </a:extLst>
            </p:cNvPr>
            <p:cNvSpPr/>
            <p:nvPr/>
          </p:nvSpPr>
          <p:spPr>
            <a:xfrm>
              <a:off x="11432435" y="6628477"/>
              <a:ext cx="90651" cy="18332"/>
            </a:xfrm>
            <a:custGeom>
              <a:avLst/>
              <a:gdLst>
                <a:gd name="connsiteX0" fmla="*/ 11746 w 160635"/>
                <a:gd name="connsiteY0" fmla="*/ 19438 h 32484"/>
                <a:gd name="connsiteX1" fmla="*/ 53842 w 160635"/>
                <a:gd name="connsiteY1" fmla="*/ 32138 h 32484"/>
                <a:gd name="connsiteX2" fmla="*/ 96443 w 160635"/>
                <a:gd name="connsiteY2" fmla="*/ 19438 h 32484"/>
                <a:gd name="connsiteX3" fmla="*/ 138646 w 160635"/>
                <a:gd name="connsiteY3" fmla="*/ 32138 h 32484"/>
                <a:gd name="connsiteX4" fmla="*/ 161624 w 160635"/>
                <a:gd name="connsiteY4" fmla="*/ 25721 h 32484"/>
                <a:gd name="connsiteX5" fmla="*/ 78205 w 160635"/>
                <a:gd name="connsiteY5" fmla="*/ -345 h 32484"/>
                <a:gd name="connsiteX6" fmla="*/ 989 w 160635"/>
                <a:gd name="connsiteY6" fmla="*/ 21648 h 32484"/>
                <a:gd name="connsiteX7" fmla="*/ 11879 w 160635"/>
                <a:gd name="connsiteY7" fmla="*/ 19438 h 3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635" h="32484">
                  <a:moveTo>
                    <a:pt x="11746" y="19438"/>
                  </a:moveTo>
                  <a:cubicBezTo>
                    <a:pt x="29798" y="19438"/>
                    <a:pt x="34671" y="32138"/>
                    <a:pt x="53842" y="32138"/>
                  </a:cubicBezTo>
                  <a:cubicBezTo>
                    <a:pt x="73012" y="32138"/>
                    <a:pt x="77645" y="19438"/>
                    <a:pt x="96443" y="19438"/>
                  </a:cubicBezTo>
                  <a:cubicBezTo>
                    <a:pt x="113644" y="19438"/>
                    <a:pt x="120700" y="32138"/>
                    <a:pt x="138646" y="32138"/>
                  </a:cubicBezTo>
                  <a:cubicBezTo>
                    <a:pt x="146732" y="32029"/>
                    <a:pt x="154651" y="29819"/>
                    <a:pt x="161624" y="25721"/>
                  </a:cubicBezTo>
                  <a:cubicBezTo>
                    <a:pt x="137136" y="8707"/>
                    <a:pt x="108023" y="-388"/>
                    <a:pt x="78205" y="-345"/>
                  </a:cubicBezTo>
                  <a:cubicBezTo>
                    <a:pt x="50915" y="-377"/>
                    <a:pt x="24164" y="7240"/>
                    <a:pt x="989" y="21648"/>
                  </a:cubicBezTo>
                  <a:cubicBezTo>
                    <a:pt x="4440" y="20210"/>
                    <a:pt x="8140" y="19459"/>
                    <a:pt x="11879" y="19438"/>
                  </a:cubicBezTo>
                </a:path>
              </a:pathLst>
            </a:custGeom>
            <a:solidFill>
              <a:srgbClr val="4FE3F2"/>
            </a:solidFill>
            <a:ln w="2661" cap="flat">
              <a:noFill/>
              <a:prstDash val="solid"/>
              <a:miter/>
            </a:ln>
          </p:spPr>
          <p:txBody>
            <a:bodyPr rtlCol="0" anchor="ctr"/>
            <a:lstStyle/>
            <a:p>
              <a:endParaRPr lang="pl-PL"/>
            </a:p>
          </p:txBody>
        </p:sp>
        <p:sp>
          <p:nvSpPr>
            <p:cNvPr id="105" name="Freeform: Shape 104">
              <a:extLst>
                <a:ext uri="{FF2B5EF4-FFF2-40B4-BE49-F238E27FC236}">
                  <a16:creationId xmlns:a16="http://schemas.microsoft.com/office/drawing/2014/main" id="{25D4B765-7C52-4E74-A3B3-8BE6C150650A}"/>
                </a:ext>
              </a:extLst>
            </p:cNvPr>
            <p:cNvSpPr/>
            <p:nvPr/>
          </p:nvSpPr>
          <p:spPr>
            <a:xfrm>
              <a:off x="11432374" y="6628522"/>
              <a:ext cx="90726" cy="18332"/>
            </a:xfrm>
            <a:custGeom>
              <a:avLst/>
              <a:gdLst>
                <a:gd name="connsiteX0" fmla="*/ 78205 w 160768"/>
                <a:gd name="connsiteY0" fmla="*/ -345 h 32484"/>
                <a:gd name="connsiteX1" fmla="*/ 989 w 160768"/>
                <a:gd name="connsiteY1" fmla="*/ 21648 h 32484"/>
                <a:gd name="connsiteX2" fmla="*/ 11879 w 160768"/>
                <a:gd name="connsiteY2" fmla="*/ 19438 h 32484"/>
                <a:gd name="connsiteX3" fmla="*/ 53975 w 160768"/>
                <a:gd name="connsiteY3" fmla="*/ 32138 h 32484"/>
                <a:gd name="connsiteX4" fmla="*/ 96577 w 160768"/>
                <a:gd name="connsiteY4" fmla="*/ 19438 h 32484"/>
                <a:gd name="connsiteX5" fmla="*/ 138806 w 160768"/>
                <a:gd name="connsiteY5" fmla="*/ 32138 h 32484"/>
                <a:gd name="connsiteX6" fmla="*/ 161757 w 160768"/>
                <a:gd name="connsiteY6" fmla="*/ 25722 h 32484"/>
                <a:gd name="connsiteX7" fmla="*/ 78338 w 160768"/>
                <a:gd name="connsiteY7" fmla="*/ -345 h 3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8" h="32484">
                  <a:moveTo>
                    <a:pt x="78205" y="-345"/>
                  </a:moveTo>
                  <a:cubicBezTo>
                    <a:pt x="50915" y="-377"/>
                    <a:pt x="24164" y="7240"/>
                    <a:pt x="989" y="21648"/>
                  </a:cubicBezTo>
                  <a:cubicBezTo>
                    <a:pt x="4439" y="20210"/>
                    <a:pt x="8140" y="19459"/>
                    <a:pt x="11879" y="19438"/>
                  </a:cubicBezTo>
                  <a:cubicBezTo>
                    <a:pt x="29931" y="19438"/>
                    <a:pt x="34804" y="32138"/>
                    <a:pt x="53975" y="32138"/>
                  </a:cubicBezTo>
                  <a:cubicBezTo>
                    <a:pt x="73146" y="32138"/>
                    <a:pt x="77778" y="19438"/>
                    <a:pt x="96577" y="19438"/>
                  </a:cubicBezTo>
                  <a:cubicBezTo>
                    <a:pt x="113777" y="19438"/>
                    <a:pt x="120833" y="32138"/>
                    <a:pt x="138806" y="32138"/>
                  </a:cubicBezTo>
                  <a:cubicBezTo>
                    <a:pt x="146884" y="32027"/>
                    <a:pt x="154792" y="29814"/>
                    <a:pt x="161757" y="25722"/>
                  </a:cubicBezTo>
                  <a:cubicBezTo>
                    <a:pt x="137269" y="8707"/>
                    <a:pt x="108156" y="-388"/>
                    <a:pt x="78338" y="-345"/>
                  </a:cubicBezTo>
                </a:path>
              </a:pathLst>
            </a:custGeom>
            <a:solidFill>
              <a:srgbClr val="BAF2FA"/>
            </a:solidFill>
            <a:ln w="2661" cap="flat">
              <a:noFill/>
              <a:prstDash val="solid"/>
              <a:miter/>
            </a:ln>
          </p:spPr>
          <p:txBody>
            <a:bodyPr rtlCol="0" anchor="ctr"/>
            <a:lstStyle/>
            <a:p>
              <a:endParaRPr lang="pl-PL"/>
            </a:p>
          </p:txBody>
        </p:sp>
        <p:sp>
          <p:nvSpPr>
            <p:cNvPr id="106" name="Freeform: Shape 105">
              <a:extLst>
                <a:ext uri="{FF2B5EF4-FFF2-40B4-BE49-F238E27FC236}">
                  <a16:creationId xmlns:a16="http://schemas.microsoft.com/office/drawing/2014/main" id="{1477C8AC-F64B-411D-A66A-FE0AB17A558E}"/>
                </a:ext>
              </a:extLst>
            </p:cNvPr>
            <p:cNvSpPr/>
            <p:nvPr/>
          </p:nvSpPr>
          <p:spPr>
            <a:xfrm>
              <a:off x="11427415" y="6639597"/>
              <a:ext cx="108562" cy="21802"/>
            </a:xfrm>
            <a:custGeom>
              <a:avLst/>
              <a:gdLst>
                <a:gd name="connsiteX0" fmla="*/ 105230 w 192373"/>
                <a:gd name="connsiteY0" fmla="*/ -266 h 38634"/>
                <a:gd name="connsiteX1" fmla="*/ 62628 w 192373"/>
                <a:gd name="connsiteY1" fmla="*/ 12435 h 38634"/>
                <a:gd name="connsiteX2" fmla="*/ 20532 w 192373"/>
                <a:gd name="connsiteY2" fmla="*/ -266 h 38634"/>
                <a:gd name="connsiteX3" fmla="*/ 9642 w 192373"/>
                <a:gd name="connsiteY3" fmla="*/ 1944 h 38634"/>
                <a:gd name="connsiteX4" fmla="*/ 989 w 192373"/>
                <a:gd name="connsiteY4" fmla="*/ 7775 h 38634"/>
                <a:gd name="connsiteX5" fmla="*/ 21171 w 192373"/>
                <a:gd name="connsiteY5" fmla="*/ 25615 h 38634"/>
                <a:gd name="connsiteX6" fmla="*/ 62628 w 192373"/>
                <a:gd name="connsiteY6" fmla="*/ 38289 h 38634"/>
                <a:gd name="connsiteX7" fmla="*/ 105230 w 192373"/>
                <a:gd name="connsiteY7" fmla="*/ 25588 h 38634"/>
                <a:gd name="connsiteX8" fmla="*/ 147459 w 192373"/>
                <a:gd name="connsiteY8" fmla="*/ 38289 h 38634"/>
                <a:gd name="connsiteX9" fmla="*/ 190700 w 192373"/>
                <a:gd name="connsiteY9" fmla="*/ 25588 h 38634"/>
                <a:gd name="connsiteX10" fmla="*/ 193363 w 192373"/>
                <a:gd name="connsiteY10" fmla="*/ 25588 h 38634"/>
                <a:gd name="connsiteX11" fmla="*/ 170438 w 192373"/>
                <a:gd name="connsiteY11" fmla="*/ 5938 h 38634"/>
                <a:gd name="connsiteX12" fmla="*/ 147486 w 192373"/>
                <a:gd name="connsiteY12" fmla="*/ 12355 h 38634"/>
                <a:gd name="connsiteX13" fmla="*/ 105257 w 192373"/>
                <a:gd name="connsiteY13" fmla="*/ -346 h 38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2373" h="38634">
                  <a:moveTo>
                    <a:pt x="105230" y="-266"/>
                  </a:moveTo>
                  <a:cubicBezTo>
                    <a:pt x="86592" y="-266"/>
                    <a:pt x="81799" y="12435"/>
                    <a:pt x="62628" y="12435"/>
                  </a:cubicBezTo>
                  <a:cubicBezTo>
                    <a:pt x="43457" y="12435"/>
                    <a:pt x="38665" y="-266"/>
                    <a:pt x="20532" y="-266"/>
                  </a:cubicBezTo>
                  <a:cubicBezTo>
                    <a:pt x="16794" y="-244"/>
                    <a:pt x="13093" y="506"/>
                    <a:pt x="9642" y="1944"/>
                  </a:cubicBezTo>
                  <a:cubicBezTo>
                    <a:pt x="6687" y="3781"/>
                    <a:pt x="3785" y="5725"/>
                    <a:pt x="989" y="7775"/>
                  </a:cubicBezTo>
                  <a:cubicBezTo>
                    <a:pt x="8031" y="13356"/>
                    <a:pt x="14768" y="19312"/>
                    <a:pt x="21171" y="25615"/>
                  </a:cubicBezTo>
                  <a:cubicBezTo>
                    <a:pt x="38691" y="25908"/>
                    <a:pt x="43697" y="38289"/>
                    <a:pt x="62628" y="38289"/>
                  </a:cubicBezTo>
                  <a:cubicBezTo>
                    <a:pt x="81559" y="38289"/>
                    <a:pt x="86432" y="25588"/>
                    <a:pt x="105230" y="25588"/>
                  </a:cubicBezTo>
                  <a:cubicBezTo>
                    <a:pt x="122431" y="25588"/>
                    <a:pt x="129487" y="38289"/>
                    <a:pt x="147459" y="38289"/>
                  </a:cubicBezTo>
                  <a:cubicBezTo>
                    <a:pt x="167456" y="38289"/>
                    <a:pt x="173872" y="25588"/>
                    <a:pt x="190700" y="25588"/>
                  </a:cubicBezTo>
                  <a:cubicBezTo>
                    <a:pt x="191632" y="25588"/>
                    <a:pt x="192484" y="25588"/>
                    <a:pt x="193363" y="25588"/>
                  </a:cubicBezTo>
                  <a:cubicBezTo>
                    <a:pt x="186416" y="18269"/>
                    <a:pt x="178734" y="11684"/>
                    <a:pt x="170438" y="5938"/>
                  </a:cubicBezTo>
                  <a:cubicBezTo>
                    <a:pt x="163472" y="10031"/>
                    <a:pt x="155564" y="12243"/>
                    <a:pt x="147486" y="12355"/>
                  </a:cubicBezTo>
                  <a:cubicBezTo>
                    <a:pt x="129513" y="12355"/>
                    <a:pt x="122457" y="-346"/>
                    <a:pt x="105257" y="-346"/>
                  </a:cubicBezTo>
                </a:path>
              </a:pathLst>
            </a:custGeom>
            <a:solidFill>
              <a:srgbClr val="4FE3F2"/>
            </a:solidFill>
            <a:ln w="2661" cap="flat">
              <a:noFill/>
              <a:prstDash val="solid"/>
              <a:miter/>
            </a:ln>
          </p:spPr>
          <p:txBody>
            <a:bodyPr rtlCol="0" anchor="ctr"/>
            <a:lstStyle/>
            <a:p>
              <a:endParaRPr lang="pl-PL"/>
            </a:p>
          </p:txBody>
        </p:sp>
        <p:sp>
          <p:nvSpPr>
            <p:cNvPr id="107" name="Freeform: Shape 106">
              <a:extLst>
                <a:ext uri="{FF2B5EF4-FFF2-40B4-BE49-F238E27FC236}">
                  <a16:creationId xmlns:a16="http://schemas.microsoft.com/office/drawing/2014/main" id="{2B748BC6-8F19-4349-A07C-B98431661EEE}"/>
                </a:ext>
              </a:extLst>
            </p:cNvPr>
            <p:cNvSpPr/>
            <p:nvPr/>
          </p:nvSpPr>
          <p:spPr>
            <a:xfrm>
              <a:off x="11438745" y="6654277"/>
              <a:ext cx="111537" cy="22389"/>
            </a:xfrm>
            <a:custGeom>
              <a:avLst/>
              <a:gdLst>
                <a:gd name="connsiteX0" fmla="*/ 127250 w 197645"/>
                <a:gd name="connsiteY0" fmla="*/ 12355 h 39673"/>
                <a:gd name="connsiteX1" fmla="*/ 85048 w 197645"/>
                <a:gd name="connsiteY1" fmla="*/ -346 h 39673"/>
                <a:gd name="connsiteX2" fmla="*/ 42446 w 197645"/>
                <a:gd name="connsiteY2" fmla="*/ 12355 h 39673"/>
                <a:gd name="connsiteX3" fmla="*/ 989 w 197645"/>
                <a:gd name="connsiteY3" fmla="*/ -319 h 39673"/>
                <a:gd name="connsiteX4" fmla="*/ 24233 w 197645"/>
                <a:gd name="connsiteY4" fmla="*/ 25881 h 39673"/>
                <a:gd name="connsiteX5" fmla="*/ 33100 w 197645"/>
                <a:gd name="connsiteY5" fmla="*/ 38209 h 39673"/>
                <a:gd name="connsiteX6" fmla="*/ 42446 w 197645"/>
                <a:gd name="connsiteY6" fmla="*/ 39327 h 39673"/>
                <a:gd name="connsiteX7" fmla="*/ 85048 w 197645"/>
                <a:gd name="connsiteY7" fmla="*/ 26627 h 39673"/>
                <a:gd name="connsiteX8" fmla="*/ 127250 w 197645"/>
                <a:gd name="connsiteY8" fmla="*/ 39327 h 39673"/>
                <a:gd name="connsiteX9" fmla="*/ 170517 w 197645"/>
                <a:gd name="connsiteY9" fmla="*/ 26627 h 39673"/>
                <a:gd name="connsiteX10" fmla="*/ 198635 w 197645"/>
                <a:gd name="connsiteY10" fmla="*/ 36478 h 39673"/>
                <a:gd name="connsiteX11" fmla="*/ 173153 w 197645"/>
                <a:gd name="connsiteY11" fmla="*/ -266 h 39673"/>
                <a:gd name="connsiteX12" fmla="*/ 170491 w 197645"/>
                <a:gd name="connsiteY12" fmla="*/ -266 h 39673"/>
                <a:gd name="connsiteX13" fmla="*/ 127223 w 197645"/>
                <a:gd name="connsiteY13" fmla="*/ 12435 h 39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7645" h="39673">
                  <a:moveTo>
                    <a:pt x="127250" y="12355"/>
                  </a:moveTo>
                  <a:cubicBezTo>
                    <a:pt x="109304" y="12355"/>
                    <a:pt x="102248" y="-346"/>
                    <a:pt x="85048" y="-346"/>
                  </a:cubicBezTo>
                  <a:cubicBezTo>
                    <a:pt x="66409" y="-346"/>
                    <a:pt x="61616" y="12355"/>
                    <a:pt x="42446" y="12355"/>
                  </a:cubicBezTo>
                  <a:cubicBezTo>
                    <a:pt x="23275" y="12355"/>
                    <a:pt x="18482" y="-26"/>
                    <a:pt x="989" y="-319"/>
                  </a:cubicBezTo>
                  <a:cubicBezTo>
                    <a:pt x="9333" y="7866"/>
                    <a:pt x="17100" y="16621"/>
                    <a:pt x="24233" y="25881"/>
                  </a:cubicBezTo>
                  <a:cubicBezTo>
                    <a:pt x="27295" y="29902"/>
                    <a:pt x="30277" y="34002"/>
                    <a:pt x="33100" y="38209"/>
                  </a:cubicBezTo>
                  <a:cubicBezTo>
                    <a:pt x="36157" y="38971"/>
                    <a:pt x="39296" y="39346"/>
                    <a:pt x="42446" y="39327"/>
                  </a:cubicBezTo>
                  <a:cubicBezTo>
                    <a:pt x="61510" y="39327"/>
                    <a:pt x="66249" y="26627"/>
                    <a:pt x="85048" y="26627"/>
                  </a:cubicBezTo>
                  <a:cubicBezTo>
                    <a:pt x="102248" y="26627"/>
                    <a:pt x="109304" y="39327"/>
                    <a:pt x="127250" y="39327"/>
                  </a:cubicBezTo>
                  <a:cubicBezTo>
                    <a:pt x="147273" y="39327"/>
                    <a:pt x="153690" y="26627"/>
                    <a:pt x="170517" y="26627"/>
                  </a:cubicBezTo>
                  <a:cubicBezTo>
                    <a:pt x="184283" y="26627"/>
                    <a:pt x="189635" y="32245"/>
                    <a:pt x="198635" y="36478"/>
                  </a:cubicBezTo>
                  <a:cubicBezTo>
                    <a:pt x="192063" y="23003"/>
                    <a:pt x="183471" y="10611"/>
                    <a:pt x="173153" y="-266"/>
                  </a:cubicBezTo>
                  <a:cubicBezTo>
                    <a:pt x="172301" y="-266"/>
                    <a:pt x="171449" y="-266"/>
                    <a:pt x="170491" y="-266"/>
                  </a:cubicBezTo>
                  <a:cubicBezTo>
                    <a:pt x="153663" y="-266"/>
                    <a:pt x="147246" y="12435"/>
                    <a:pt x="127223" y="12435"/>
                  </a:cubicBezTo>
                </a:path>
              </a:pathLst>
            </a:custGeom>
            <a:solidFill>
              <a:srgbClr val="0066E5"/>
            </a:solidFill>
            <a:ln w="2661" cap="flat">
              <a:noFill/>
              <a:prstDash val="solid"/>
              <a:miter/>
            </a:ln>
          </p:spPr>
          <p:txBody>
            <a:bodyPr rtlCol="0" anchor="ctr"/>
            <a:lstStyle/>
            <a:p>
              <a:endParaRPr lang="pl-PL"/>
            </a:p>
          </p:txBody>
        </p:sp>
        <p:sp>
          <p:nvSpPr>
            <p:cNvPr id="108" name="Freeform: Shape 107">
              <a:extLst>
                <a:ext uri="{FF2B5EF4-FFF2-40B4-BE49-F238E27FC236}">
                  <a16:creationId xmlns:a16="http://schemas.microsoft.com/office/drawing/2014/main" id="{4B8D85AF-92AA-44C9-9601-9E9EB3588344}"/>
                </a:ext>
              </a:extLst>
            </p:cNvPr>
            <p:cNvSpPr/>
            <p:nvPr/>
          </p:nvSpPr>
          <p:spPr>
            <a:xfrm>
              <a:off x="11456867" y="6669498"/>
              <a:ext cx="99186" cy="29390"/>
            </a:xfrm>
            <a:custGeom>
              <a:avLst/>
              <a:gdLst>
                <a:gd name="connsiteX0" fmla="*/ 95139 w 175759"/>
                <a:gd name="connsiteY0" fmla="*/ 12355 h 52080"/>
                <a:gd name="connsiteX1" fmla="*/ 52936 w 175759"/>
                <a:gd name="connsiteY1" fmla="*/ -346 h 52080"/>
                <a:gd name="connsiteX2" fmla="*/ 10335 w 175759"/>
                <a:gd name="connsiteY2" fmla="*/ 12355 h 52080"/>
                <a:gd name="connsiteX3" fmla="*/ 989 w 175759"/>
                <a:gd name="connsiteY3" fmla="*/ 11210 h 52080"/>
                <a:gd name="connsiteX4" fmla="*/ 23248 w 175759"/>
                <a:gd name="connsiteY4" fmla="*/ 51735 h 52080"/>
                <a:gd name="connsiteX5" fmla="*/ 22929 w 175759"/>
                <a:gd name="connsiteY5" fmla="*/ 50963 h 52080"/>
                <a:gd name="connsiteX6" fmla="*/ 110183 w 175759"/>
                <a:gd name="connsiteY6" fmla="*/ 22633 h 52080"/>
                <a:gd name="connsiteX7" fmla="*/ 176748 w 175759"/>
                <a:gd name="connsiteY7" fmla="*/ 38262 h 52080"/>
                <a:gd name="connsiteX8" fmla="*/ 166310 w 175759"/>
                <a:gd name="connsiteY8" fmla="*/ 9506 h 52080"/>
                <a:gd name="connsiteX9" fmla="*/ 138193 w 175759"/>
                <a:gd name="connsiteY9" fmla="*/ -346 h 52080"/>
                <a:gd name="connsiteX10" fmla="*/ 94926 w 175759"/>
                <a:gd name="connsiteY10" fmla="*/ 12355 h 52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5759" h="52080">
                  <a:moveTo>
                    <a:pt x="95139" y="12355"/>
                  </a:moveTo>
                  <a:cubicBezTo>
                    <a:pt x="77193" y="12355"/>
                    <a:pt x="70137" y="-346"/>
                    <a:pt x="52936" y="-346"/>
                  </a:cubicBezTo>
                  <a:cubicBezTo>
                    <a:pt x="34298" y="-346"/>
                    <a:pt x="29505" y="12355"/>
                    <a:pt x="10335" y="12355"/>
                  </a:cubicBezTo>
                  <a:cubicBezTo>
                    <a:pt x="7182" y="12379"/>
                    <a:pt x="4043" y="11993"/>
                    <a:pt x="989" y="11210"/>
                  </a:cubicBezTo>
                  <a:cubicBezTo>
                    <a:pt x="9634" y="24007"/>
                    <a:pt x="17087" y="37573"/>
                    <a:pt x="23248" y="51735"/>
                  </a:cubicBezTo>
                  <a:lnTo>
                    <a:pt x="22929" y="50963"/>
                  </a:lnTo>
                  <a:cubicBezTo>
                    <a:pt x="48205" y="32375"/>
                    <a:pt x="78806" y="22438"/>
                    <a:pt x="110183" y="22633"/>
                  </a:cubicBezTo>
                  <a:cubicBezTo>
                    <a:pt x="133286" y="22574"/>
                    <a:pt x="156083" y="27926"/>
                    <a:pt x="176748" y="38262"/>
                  </a:cubicBezTo>
                  <a:cubicBezTo>
                    <a:pt x="174298" y="28333"/>
                    <a:pt x="170800" y="18695"/>
                    <a:pt x="166310" y="9506"/>
                  </a:cubicBezTo>
                  <a:cubicBezTo>
                    <a:pt x="157311" y="5273"/>
                    <a:pt x="151959" y="-346"/>
                    <a:pt x="138193" y="-346"/>
                  </a:cubicBezTo>
                  <a:cubicBezTo>
                    <a:pt x="121365" y="-346"/>
                    <a:pt x="114949" y="12355"/>
                    <a:pt x="94926" y="12355"/>
                  </a:cubicBezTo>
                </a:path>
              </a:pathLst>
            </a:custGeom>
            <a:solidFill>
              <a:srgbClr val="143DCF"/>
            </a:solidFill>
            <a:ln w="2661" cap="flat">
              <a:noFill/>
              <a:prstDash val="solid"/>
              <a:miter/>
            </a:ln>
          </p:spPr>
          <p:txBody>
            <a:bodyPr rtlCol="0" anchor="ctr"/>
            <a:lstStyle/>
            <a:p>
              <a:endParaRPr lang="pl-PL"/>
            </a:p>
          </p:txBody>
        </p:sp>
        <p:sp>
          <p:nvSpPr>
            <p:cNvPr id="109" name="Freeform: Shape 108">
              <a:extLst>
                <a:ext uri="{FF2B5EF4-FFF2-40B4-BE49-F238E27FC236}">
                  <a16:creationId xmlns:a16="http://schemas.microsoft.com/office/drawing/2014/main" id="{262C662B-6D42-4F7C-A910-B96C3D7A9725}"/>
                </a:ext>
              </a:extLst>
            </p:cNvPr>
            <p:cNvSpPr/>
            <p:nvPr/>
          </p:nvSpPr>
          <p:spPr>
            <a:xfrm>
              <a:off x="11469428" y="6682464"/>
              <a:ext cx="88352" cy="28821"/>
            </a:xfrm>
            <a:custGeom>
              <a:avLst/>
              <a:gdLst>
                <a:gd name="connsiteX0" fmla="*/ 154808 w 156561"/>
                <a:gd name="connsiteY0" fmla="*/ 15287 h 51071"/>
                <a:gd name="connsiteX1" fmla="*/ 88243 w 156561"/>
                <a:gd name="connsiteY1" fmla="*/ -343 h 51071"/>
                <a:gd name="connsiteX2" fmla="*/ 989 w 156561"/>
                <a:gd name="connsiteY2" fmla="*/ 27987 h 51071"/>
                <a:gd name="connsiteX3" fmla="*/ 1308 w 156561"/>
                <a:gd name="connsiteY3" fmla="*/ 28760 h 51071"/>
                <a:gd name="connsiteX4" fmla="*/ 2533 w 156561"/>
                <a:gd name="connsiteY4" fmla="*/ 31635 h 51071"/>
                <a:gd name="connsiteX5" fmla="*/ 3172 w 156561"/>
                <a:gd name="connsiteY5" fmla="*/ 33153 h 51071"/>
                <a:gd name="connsiteX6" fmla="*/ 5568 w 156561"/>
                <a:gd name="connsiteY6" fmla="*/ 39170 h 51071"/>
                <a:gd name="connsiteX7" fmla="*/ 5888 w 156561"/>
                <a:gd name="connsiteY7" fmla="*/ 40049 h 51071"/>
                <a:gd name="connsiteX8" fmla="*/ 6740 w 156561"/>
                <a:gd name="connsiteY8" fmla="*/ 42339 h 51071"/>
                <a:gd name="connsiteX9" fmla="*/ 7619 w 156561"/>
                <a:gd name="connsiteY9" fmla="*/ 44709 h 51071"/>
                <a:gd name="connsiteX10" fmla="*/ 8364 w 156561"/>
                <a:gd name="connsiteY10" fmla="*/ 46892 h 51071"/>
                <a:gd name="connsiteX11" fmla="*/ 9269 w 156561"/>
                <a:gd name="connsiteY11" fmla="*/ 49555 h 51071"/>
                <a:gd name="connsiteX12" fmla="*/ 9669 w 156561"/>
                <a:gd name="connsiteY12" fmla="*/ 50726 h 51071"/>
                <a:gd name="connsiteX13" fmla="*/ 88243 w 156561"/>
                <a:gd name="connsiteY13" fmla="*/ 28360 h 51071"/>
                <a:gd name="connsiteX14" fmla="*/ 109544 w 156561"/>
                <a:gd name="connsiteY14" fmla="*/ 29825 h 51071"/>
                <a:gd name="connsiteX15" fmla="*/ 112606 w 156561"/>
                <a:gd name="connsiteY15" fmla="*/ 30038 h 51071"/>
                <a:gd name="connsiteX16" fmla="*/ 112925 w 156561"/>
                <a:gd name="connsiteY16" fmla="*/ 30038 h 51071"/>
                <a:gd name="connsiteX17" fmla="*/ 113378 w 156561"/>
                <a:gd name="connsiteY17" fmla="*/ 30038 h 51071"/>
                <a:gd name="connsiteX18" fmla="*/ 116040 w 156561"/>
                <a:gd name="connsiteY18" fmla="*/ 30677 h 51071"/>
                <a:gd name="connsiteX19" fmla="*/ 116040 w 156561"/>
                <a:gd name="connsiteY19" fmla="*/ 30677 h 51071"/>
                <a:gd name="connsiteX20" fmla="*/ 123256 w 156561"/>
                <a:gd name="connsiteY20" fmla="*/ 18722 h 51071"/>
                <a:gd name="connsiteX21" fmla="*/ 139232 w 156561"/>
                <a:gd name="connsiteY21" fmla="*/ 15873 h 51071"/>
                <a:gd name="connsiteX22" fmla="*/ 139232 w 156561"/>
                <a:gd name="connsiteY22" fmla="*/ 15873 h 51071"/>
                <a:gd name="connsiteX23" fmla="*/ 140536 w 156561"/>
                <a:gd name="connsiteY23" fmla="*/ 37520 h 51071"/>
                <a:gd name="connsiteX24" fmla="*/ 150015 w 156561"/>
                <a:gd name="connsiteY24" fmla="*/ 29691 h 51071"/>
                <a:gd name="connsiteX25" fmla="*/ 157550 w 156561"/>
                <a:gd name="connsiteY25" fmla="*/ 29212 h 51071"/>
                <a:gd name="connsiteX26" fmla="*/ 154888 w 156561"/>
                <a:gd name="connsiteY26" fmla="*/ 15180 h 5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6561" h="51071">
                  <a:moveTo>
                    <a:pt x="154808" y="15287"/>
                  </a:moveTo>
                  <a:cubicBezTo>
                    <a:pt x="134143" y="4950"/>
                    <a:pt x="111346" y="-401"/>
                    <a:pt x="88243" y="-343"/>
                  </a:cubicBezTo>
                  <a:cubicBezTo>
                    <a:pt x="56866" y="-537"/>
                    <a:pt x="26265" y="9400"/>
                    <a:pt x="989" y="27987"/>
                  </a:cubicBezTo>
                  <a:lnTo>
                    <a:pt x="1308" y="28760"/>
                  </a:lnTo>
                  <a:cubicBezTo>
                    <a:pt x="1734" y="29718"/>
                    <a:pt x="2134" y="30677"/>
                    <a:pt x="2533" y="31635"/>
                  </a:cubicBezTo>
                  <a:lnTo>
                    <a:pt x="3172" y="33153"/>
                  </a:lnTo>
                  <a:cubicBezTo>
                    <a:pt x="3997" y="35150"/>
                    <a:pt x="4796" y="37147"/>
                    <a:pt x="5568" y="39170"/>
                  </a:cubicBezTo>
                  <a:lnTo>
                    <a:pt x="5888" y="40049"/>
                  </a:lnTo>
                  <a:cubicBezTo>
                    <a:pt x="6181" y="40821"/>
                    <a:pt x="6474" y="41593"/>
                    <a:pt x="6740" y="42339"/>
                  </a:cubicBezTo>
                  <a:lnTo>
                    <a:pt x="7619" y="44709"/>
                  </a:lnTo>
                  <a:cubicBezTo>
                    <a:pt x="7858" y="45454"/>
                    <a:pt x="8124" y="46173"/>
                    <a:pt x="8364" y="46892"/>
                  </a:cubicBezTo>
                  <a:cubicBezTo>
                    <a:pt x="8604" y="47611"/>
                    <a:pt x="8977" y="48649"/>
                    <a:pt x="9269" y="49555"/>
                  </a:cubicBezTo>
                  <a:lnTo>
                    <a:pt x="9669" y="50726"/>
                  </a:lnTo>
                  <a:cubicBezTo>
                    <a:pt x="33212" y="35978"/>
                    <a:pt x="60461" y="28222"/>
                    <a:pt x="88243" y="28360"/>
                  </a:cubicBezTo>
                  <a:cubicBezTo>
                    <a:pt x="95368" y="28358"/>
                    <a:pt x="102485" y="28847"/>
                    <a:pt x="109544" y="29825"/>
                  </a:cubicBezTo>
                  <a:cubicBezTo>
                    <a:pt x="110569" y="29835"/>
                    <a:pt x="111591" y="29907"/>
                    <a:pt x="112606" y="30038"/>
                  </a:cubicBezTo>
                  <a:lnTo>
                    <a:pt x="112925" y="30038"/>
                  </a:lnTo>
                  <a:lnTo>
                    <a:pt x="113378" y="30038"/>
                  </a:lnTo>
                  <a:cubicBezTo>
                    <a:pt x="114278" y="30189"/>
                    <a:pt x="115170" y="30402"/>
                    <a:pt x="116040" y="30677"/>
                  </a:cubicBezTo>
                  <a:lnTo>
                    <a:pt x="116040" y="30677"/>
                  </a:lnTo>
                  <a:cubicBezTo>
                    <a:pt x="116123" y="25684"/>
                    <a:pt x="118879" y="21121"/>
                    <a:pt x="123256" y="18722"/>
                  </a:cubicBezTo>
                  <a:cubicBezTo>
                    <a:pt x="129460" y="14994"/>
                    <a:pt x="139232" y="15873"/>
                    <a:pt x="139232" y="15873"/>
                  </a:cubicBezTo>
                  <a:lnTo>
                    <a:pt x="139232" y="15873"/>
                  </a:lnTo>
                  <a:cubicBezTo>
                    <a:pt x="140068" y="23059"/>
                    <a:pt x="140504" y="30285"/>
                    <a:pt x="140536" y="37520"/>
                  </a:cubicBezTo>
                  <a:cubicBezTo>
                    <a:pt x="142291" y="33566"/>
                    <a:pt x="145800" y="30666"/>
                    <a:pt x="150015" y="29691"/>
                  </a:cubicBezTo>
                  <a:cubicBezTo>
                    <a:pt x="152483" y="29124"/>
                    <a:pt x="155029" y="28962"/>
                    <a:pt x="157550" y="29212"/>
                  </a:cubicBezTo>
                  <a:cubicBezTo>
                    <a:pt x="156858" y="24446"/>
                    <a:pt x="155953" y="19787"/>
                    <a:pt x="154888" y="15180"/>
                  </a:cubicBezTo>
                </a:path>
              </a:pathLst>
            </a:custGeom>
            <a:solidFill>
              <a:srgbClr val="00A652"/>
            </a:solidFill>
            <a:ln w="2661" cap="flat">
              <a:noFill/>
              <a:prstDash val="solid"/>
              <a:miter/>
            </a:ln>
          </p:spPr>
          <p:txBody>
            <a:bodyPr rtlCol="0" anchor="ctr"/>
            <a:lstStyle/>
            <a:p>
              <a:endParaRPr lang="pl-PL"/>
            </a:p>
          </p:txBody>
        </p:sp>
        <p:sp>
          <p:nvSpPr>
            <p:cNvPr id="110" name="Freeform: Shape 109">
              <a:extLst>
                <a:ext uri="{FF2B5EF4-FFF2-40B4-BE49-F238E27FC236}">
                  <a16:creationId xmlns:a16="http://schemas.microsoft.com/office/drawing/2014/main" id="{9AA254F4-DA73-4B34-8BF1-AF94EAD5DEBE}"/>
                </a:ext>
              </a:extLst>
            </p:cNvPr>
            <p:cNvSpPr/>
            <p:nvPr/>
          </p:nvSpPr>
          <p:spPr>
            <a:xfrm>
              <a:off x="11474267" y="6698648"/>
              <a:ext cx="56271" cy="28174"/>
            </a:xfrm>
            <a:custGeom>
              <a:avLst/>
              <a:gdLst>
                <a:gd name="connsiteX0" fmla="*/ 79563 w 99714"/>
                <a:gd name="connsiteY0" fmla="*/ -344 h 49925"/>
                <a:gd name="connsiteX1" fmla="*/ 989 w 99714"/>
                <a:gd name="connsiteY1" fmla="*/ 22022 h 49925"/>
                <a:gd name="connsiteX2" fmla="*/ 1228 w 99714"/>
                <a:gd name="connsiteY2" fmla="*/ 22821 h 49925"/>
                <a:gd name="connsiteX3" fmla="*/ 2373 w 99714"/>
                <a:gd name="connsiteY3" fmla="*/ 26442 h 49925"/>
                <a:gd name="connsiteX4" fmla="*/ 2773 w 99714"/>
                <a:gd name="connsiteY4" fmla="*/ 27694 h 49925"/>
                <a:gd name="connsiteX5" fmla="*/ 4184 w 99714"/>
                <a:gd name="connsiteY5" fmla="*/ 32540 h 49925"/>
                <a:gd name="connsiteX6" fmla="*/ 4610 w 99714"/>
                <a:gd name="connsiteY6" fmla="*/ 34137 h 49925"/>
                <a:gd name="connsiteX7" fmla="*/ 5515 w 99714"/>
                <a:gd name="connsiteY7" fmla="*/ 37545 h 49925"/>
                <a:gd name="connsiteX8" fmla="*/ 6021 w 99714"/>
                <a:gd name="connsiteY8" fmla="*/ 39542 h 49925"/>
                <a:gd name="connsiteX9" fmla="*/ 6767 w 99714"/>
                <a:gd name="connsiteY9" fmla="*/ 42658 h 49925"/>
                <a:gd name="connsiteX10" fmla="*/ 7246 w 99714"/>
                <a:gd name="connsiteY10" fmla="*/ 44708 h 49925"/>
                <a:gd name="connsiteX11" fmla="*/ 8231 w 99714"/>
                <a:gd name="connsiteY11" fmla="*/ 49128 h 49925"/>
                <a:gd name="connsiteX12" fmla="*/ 8231 w 99714"/>
                <a:gd name="connsiteY12" fmla="*/ 49580 h 49925"/>
                <a:gd name="connsiteX13" fmla="*/ 61936 w 99714"/>
                <a:gd name="connsiteY13" fmla="*/ 32566 h 49925"/>
                <a:gd name="connsiteX14" fmla="*/ 65877 w 99714"/>
                <a:gd name="connsiteY14" fmla="*/ 29904 h 49925"/>
                <a:gd name="connsiteX15" fmla="*/ 78125 w 99714"/>
                <a:gd name="connsiteY15" fmla="*/ 28732 h 49925"/>
                <a:gd name="connsiteX16" fmla="*/ 81373 w 99714"/>
                <a:gd name="connsiteY16" fmla="*/ 29478 h 49925"/>
                <a:gd name="connsiteX17" fmla="*/ 82278 w 99714"/>
                <a:gd name="connsiteY17" fmla="*/ 24339 h 49925"/>
                <a:gd name="connsiteX18" fmla="*/ 88509 w 99714"/>
                <a:gd name="connsiteY18" fmla="*/ 6579 h 49925"/>
                <a:gd name="connsiteX19" fmla="*/ 100704 w 99714"/>
                <a:gd name="connsiteY19" fmla="*/ 1254 h 49925"/>
                <a:gd name="connsiteX20" fmla="*/ 79403 w 99714"/>
                <a:gd name="connsiteY20" fmla="*/ -211 h 49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9714" h="49925">
                  <a:moveTo>
                    <a:pt x="79563" y="-344"/>
                  </a:moveTo>
                  <a:cubicBezTo>
                    <a:pt x="51781" y="-482"/>
                    <a:pt x="24532" y="7274"/>
                    <a:pt x="989" y="22022"/>
                  </a:cubicBezTo>
                  <a:lnTo>
                    <a:pt x="1228" y="22821"/>
                  </a:lnTo>
                  <a:cubicBezTo>
                    <a:pt x="1628" y="24019"/>
                    <a:pt x="2001" y="25244"/>
                    <a:pt x="2373" y="26442"/>
                  </a:cubicBezTo>
                  <a:lnTo>
                    <a:pt x="2773" y="27694"/>
                  </a:lnTo>
                  <a:cubicBezTo>
                    <a:pt x="3252" y="29318"/>
                    <a:pt x="3731" y="30915"/>
                    <a:pt x="4184" y="32540"/>
                  </a:cubicBezTo>
                  <a:cubicBezTo>
                    <a:pt x="4317" y="33072"/>
                    <a:pt x="4450" y="33605"/>
                    <a:pt x="4610" y="34137"/>
                  </a:cubicBezTo>
                  <a:cubicBezTo>
                    <a:pt x="4903" y="35282"/>
                    <a:pt x="5222" y="36400"/>
                    <a:pt x="5515" y="37545"/>
                  </a:cubicBezTo>
                  <a:cubicBezTo>
                    <a:pt x="5675" y="38211"/>
                    <a:pt x="5861" y="38877"/>
                    <a:pt x="6021" y="39542"/>
                  </a:cubicBezTo>
                  <a:cubicBezTo>
                    <a:pt x="6181" y="40208"/>
                    <a:pt x="6527" y="41619"/>
                    <a:pt x="6767" y="42658"/>
                  </a:cubicBezTo>
                  <a:lnTo>
                    <a:pt x="7246" y="44708"/>
                  </a:lnTo>
                  <a:cubicBezTo>
                    <a:pt x="7592" y="46172"/>
                    <a:pt x="7912" y="47663"/>
                    <a:pt x="8231" y="49128"/>
                  </a:cubicBezTo>
                  <a:lnTo>
                    <a:pt x="8231" y="49580"/>
                  </a:lnTo>
                  <a:cubicBezTo>
                    <a:pt x="24862" y="40482"/>
                    <a:pt x="43101" y="34704"/>
                    <a:pt x="61936" y="32566"/>
                  </a:cubicBezTo>
                  <a:cubicBezTo>
                    <a:pt x="63078" y="31451"/>
                    <a:pt x="64415" y="30548"/>
                    <a:pt x="65877" y="29904"/>
                  </a:cubicBezTo>
                  <a:cubicBezTo>
                    <a:pt x="69748" y="28287"/>
                    <a:pt x="74016" y="27880"/>
                    <a:pt x="78125" y="28732"/>
                  </a:cubicBezTo>
                  <a:cubicBezTo>
                    <a:pt x="79227" y="28892"/>
                    <a:pt x="80313" y="29139"/>
                    <a:pt x="81373" y="29478"/>
                  </a:cubicBezTo>
                  <a:cubicBezTo>
                    <a:pt x="81719" y="27773"/>
                    <a:pt x="82012" y="26069"/>
                    <a:pt x="82278" y="24339"/>
                  </a:cubicBezTo>
                  <a:cubicBezTo>
                    <a:pt x="82278" y="24339"/>
                    <a:pt x="84355" y="11558"/>
                    <a:pt x="88509" y="6579"/>
                  </a:cubicBezTo>
                  <a:cubicBezTo>
                    <a:pt x="91555" y="3043"/>
                    <a:pt x="96042" y="1086"/>
                    <a:pt x="100704" y="1254"/>
                  </a:cubicBezTo>
                  <a:cubicBezTo>
                    <a:pt x="93645" y="277"/>
                    <a:pt x="86528" y="-213"/>
                    <a:pt x="79403" y="-211"/>
                  </a:cubicBezTo>
                </a:path>
              </a:pathLst>
            </a:custGeom>
            <a:solidFill>
              <a:srgbClr val="8FD942"/>
            </a:solidFill>
            <a:ln w="2661" cap="flat">
              <a:noFill/>
              <a:prstDash val="solid"/>
              <a:miter/>
            </a:ln>
          </p:spPr>
          <p:txBody>
            <a:bodyPr rtlCol="0" anchor="ctr"/>
            <a:lstStyle/>
            <a:p>
              <a:endParaRPr lang="pl-PL"/>
            </a:p>
          </p:txBody>
        </p:sp>
        <p:sp>
          <p:nvSpPr>
            <p:cNvPr id="111" name="Freeform: Shape 110">
              <a:extLst>
                <a:ext uri="{FF2B5EF4-FFF2-40B4-BE49-F238E27FC236}">
                  <a16:creationId xmlns:a16="http://schemas.microsoft.com/office/drawing/2014/main" id="{0596576E-E4C6-4767-BC14-2453F86751E0}"/>
                </a:ext>
              </a:extLst>
            </p:cNvPr>
            <p:cNvSpPr/>
            <p:nvPr/>
          </p:nvSpPr>
          <p:spPr>
            <a:xfrm>
              <a:off x="11478444" y="6717190"/>
              <a:ext cx="30172" cy="26310"/>
            </a:xfrm>
            <a:custGeom>
              <a:avLst/>
              <a:gdLst>
                <a:gd name="connsiteX0" fmla="*/ 989 w 53465"/>
                <a:gd name="connsiteY0" fmla="*/ 16669 h 46622"/>
                <a:gd name="connsiteX1" fmla="*/ 1415 w 53465"/>
                <a:gd name="connsiteY1" fmla="*/ 18878 h 46622"/>
                <a:gd name="connsiteX2" fmla="*/ 1921 w 53465"/>
                <a:gd name="connsiteY2" fmla="*/ 21541 h 46622"/>
                <a:gd name="connsiteX3" fmla="*/ 2426 w 53465"/>
                <a:gd name="connsiteY3" fmla="*/ 24337 h 46622"/>
                <a:gd name="connsiteX4" fmla="*/ 2719 w 53465"/>
                <a:gd name="connsiteY4" fmla="*/ 26014 h 46622"/>
                <a:gd name="connsiteX5" fmla="*/ 2719 w 53465"/>
                <a:gd name="connsiteY5" fmla="*/ 26361 h 46622"/>
                <a:gd name="connsiteX6" fmla="*/ 2719 w 53465"/>
                <a:gd name="connsiteY6" fmla="*/ 26573 h 46622"/>
                <a:gd name="connsiteX7" fmla="*/ 3199 w 53465"/>
                <a:gd name="connsiteY7" fmla="*/ 29449 h 46622"/>
                <a:gd name="connsiteX8" fmla="*/ 3651 w 53465"/>
                <a:gd name="connsiteY8" fmla="*/ 32484 h 46622"/>
                <a:gd name="connsiteX9" fmla="*/ 3891 w 53465"/>
                <a:gd name="connsiteY9" fmla="*/ 34268 h 46622"/>
                <a:gd name="connsiteX10" fmla="*/ 4370 w 53465"/>
                <a:gd name="connsiteY10" fmla="*/ 38103 h 46622"/>
                <a:gd name="connsiteX11" fmla="*/ 4743 w 53465"/>
                <a:gd name="connsiteY11" fmla="*/ 41165 h 46622"/>
                <a:gd name="connsiteX12" fmla="*/ 4743 w 53465"/>
                <a:gd name="connsiteY12" fmla="*/ 41324 h 46622"/>
                <a:gd name="connsiteX13" fmla="*/ 4743 w 53465"/>
                <a:gd name="connsiteY13" fmla="*/ 41324 h 46622"/>
                <a:gd name="connsiteX14" fmla="*/ 4743 w 53465"/>
                <a:gd name="connsiteY14" fmla="*/ 41324 h 46622"/>
                <a:gd name="connsiteX15" fmla="*/ 4743 w 53465"/>
                <a:gd name="connsiteY15" fmla="*/ 41671 h 46622"/>
                <a:gd name="connsiteX16" fmla="*/ 4743 w 53465"/>
                <a:gd name="connsiteY16" fmla="*/ 42443 h 46622"/>
                <a:gd name="connsiteX17" fmla="*/ 4743 w 53465"/>
                <a:gd name="connsiteY17" fmla="*/ 42949 h 46622"/>
                <a:gd name="connsiteX18" fmla="*/ 5063 w 53465"/>
                <a:gd name="connsiteY18" fmla="*/ 46277 h 46622"/>
                <a:gd name="connsiteX19" fmla="*/ 5063 w 53465"/>
                <a:gd name="connsiteY19" fmla="*/ 46037 h 46622"/>
                <a:gd name="connsiteX20" fmla="*/ 24313 w 53465"/>
                <a:gd name="connsiteY20" fmla="*/ 38049 h 46622"/>
                <a:gd name="connsiteX21" fmla="*/ 36668 w 53465"/>
                <a:gd name="connsiteY21" fmla="*/ 34481 h 46622"/>
                <a:gd name="connsiteX22" fmla="*/ 44416 w 53465"/>
                <a:gd name="connsiteY22" fmla="*/ 21168 h 46622"/>
                <a:gd name="connsiteX23" fmla="*/ 50460 w 53465"/>
                <a:gd name="connsiteY23" fmla="*/ 6737 h 46622"/>
                <a:gd name="connsiteX24" fmla="*/ 50833 w 53465"/>
                <a:gd name="connsiteY24" fmla="*/ 5592 h 46622"/>
                <a:gd name="connsiteX25" fmla="*/ 54454 w 53465"/>
                <a:gd name="connsiteY25" fmla="*/ -346 h 46622"/>
                <a:gd name="connsiteX26" fmla="*/ 989 w 53465"/>
                <a:gd name="connsiteY26" fmla="*/ 16669 h 4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3465" h="46622">
                  <a:moveTo>
                    <a:pt x="989" y="16669"/>
                  </a:moveTo>
                  <a:cubicBezTo>
                    <a:pt x="1148" y="17414"/>
                    <a:pt x="1282" y="18160"/>
                    <a:pt x="1415" y="18878"/>
                  </a:cubicBezTo>
                  <a:cubicBezTo>
                    <a:pt x="1548" y="19597"/>
                    <a:pt x="1761" y="20609"/>
                    <a:pt x="1921" y="21541"/>
                  </a:cubicBezTo>
                  <a:cubicBezTo>
                    <a:pt x="2080" y="22473"/>
                    <a:pt x="2267" y="23405"/>
                    <a:pt x="2426" y="24337"/>
                  </a:cubicBezTo>
                  <a:cubicBezTo>
                    <a:pt x="2586" y="25269"/>
                    <a:pt x="2613" y="25455"/>
                    <a:pt x="2719" y="26014"/>
                  </a:cubicBezTo>
                  <a:cubicBezTo>
                    <a:pt x="2719" y="26147"/>
                    <a:pt x="2719" y="26254"/>
                    <a:pt x="2719" y="26361"/>
                  </a:cubicBezTo>
                  <a:lnTo>
                    <a:pt x="2719" y="26573"/>
                  </a:lnTo>
                  <a:lnTo>
                    <a:pt x="3199" y="29449"/>
                  </a:lnTo>
                  <a:cubicBezTo>
                    <a:pt x="3358" y="30461"/>
                    <a:pt x="3492" y="31473"/>
                    <a:pt x="3651" y="32484"/>
                  </a:cubicBezTo>
                  <a:lnTo>
                    <a:pt x="3891" y="34268"/>
                  </a:lnTo>
                  <a:cubicBezTo>
                    <a:pt x="4077" y="35546"/>
                    <a:pt x="4211" y="36931"/>
                    <a:pt x="4370" y="38103"/>
                  </a:cubicBezTo>
                  <a:cubicBezTo>
                    <a:pt x="4530" y="39274"/>
                    <a:pt x="4610" y="40153"/>
                    <a:pt x="4743" y="41165"/>
                  </a:cubicBezTo>
                  <a:lnTo>
                    <a:pt x="4743" y="41324"/>
                  </a:lnTo>
                  <a:lnTo>
                    <a:pt x="4743" y="41324"/>
                  </a:lnTo>
                  <a:lnTo>
                    <a:pt x="4743" y="41324"/>
                  </a:lnTo>
                  <a:cubicBezTo>
                    <a:pt x="4743" y="41324"/>
                    <a:pt x="4743" y="41564"/>
                    <a:pt x="4743" y="41671"/>
                  </a:cubicBezTo>
                  <a:lnTo>
                    <a:pt x="4743" y="42443"/>
                  </a:lnTo>
                  <a:cubicBezTo>
                    <a:pt x="4756" y="42610"/>
                    <a:pt x="4756" y="42781"/>
                    <a:pt x="4743" y="42949"/>
                  </a:cubicBezTo>
                  <a:cubicBezTo>
                    <a:pt x="4743" y="44067"/>
                    <a:pt x="4983" y="45185"/>
                    <a:pt x="5063" y="46277"/>
                  </a:cubicBezTo>
                  <a:lnTo>
                    <a:pt x="5063" y="46037"/>
                  </a:lnTo>
                  <a:cubicBezTo>
                    <a:pt x="11274" y="42906"/>
                    <a:pt x="17710" y="40235"/>
                    <a:pt x="24313" y="38049"/>
                  </a:cubicBezTo>
                  <a:cubicBezTo>
                    <a:pt x="28360" y="36691"/>
                    <a:pt x="32487" y="35387"/>
                    <a:pt x="36668" y="34481"/>
                  </a:cubicBezTo>
                  <a:cubicBezTo>
                    <a:pt x="39546" y="30224"/>
                    <a:pt x="42134" y="25775"/>
                    <a:pt x="44416" y="21168"/>
                  </a:cubicBezTo>
                  <a:cubicBezTo>
                    <a:pt x="46735" y="16493"/>
                    <a:pt x="48756" y="11671"/>
                    <a:pt x="50460" y="6737"/>
                  </a:cubicBezTo>
                  <a:cubicBezTo>
                    <a:pt x="50460" y="6338"/>
                    <a:pt x="50700" y="5965"/>
                    <a:pt x="50833" y="5592"/>
                  </a:cubicBezTo>
                  <a:cubicBezTo>
                    <a:pt x="51589" y="3371"/>
                    <a:pt x="52825" y="1343"/>
                    <a:pt x="54454" y="-346"/>
                  </a:cubicBezTo>
                  <a:cubicBezTo>
                    <a:pt x="35701" y="1822"/>
                    <a:pt x="17545" y="7600"/>
                    <a:pt x="989" y="16669"/>
                  </a:cubicBezTo>
                </a:path>
              </a:pathLst>
            </a:custGeom>
            <a:solidFill>
              <a:srgbClr val="00A652"/>
            </a:solidFill>
            <a:ln w="2661" cap="flat">
              <a:noFill/>
              <a:prstDash val="solid"/>
              <a:miter/>
            </a:ln>
          </p:spPr>
          <p:txBody>
            <a:bodyPr rtlCol="0" anchor="ctr"/>
            <a:lstStyle/>
            <a:p>
              <a:endParaRPr lang="pl-PL"/>
            </a:p>
          </p:txBody>
        </p:sp>
        <p:sp>
          <p:nvSpPr>
            <p:cNvPr id="112" name="Freeform: Shape 111">
              <a:extLst>
                <a:ext uri="{FF2B5EF4-FFF2-40B4-BE49-F238E27FC236}">
                  <a16:creationId xmlns:a16="http://schemas.microsoft.com/office/drawing/2014/main" id="{C9FD28F7-D786-4BE7-BE56-827E7C4F387D}"/>
                </a:ext>
              </a:extLst>
            </p:cNvPr>
            <p:cNvSpPr/>
            <p:nvPr/>
          </p:nvSpPr>
          <p:spPr>
            <a:xfrm>
              <a:off x="11480833" y="6736694"/>
              <a:ext cx="17385" cy="17249"/>
            </a:xfrm>
            <a:custGeom>
              <a:avLst/>
              <a:gdLst>
                <a:gd name="connsiteX0" fmla="*/ 20239 w 30806"/>
                <a:gd name="connsiteY0" fmla="*/ 3409 h 30566"/>
                <a:gd name="connsiteX1" fmla="*/ 989 w 30806"/>
                <a:gd name="connsiteY1" fmla="*/ 11397 h 30566"/>
                <a:gd name="connsiteX2" fmla="*/ 989 w 30806"/>
                <a:gd name="connsiteY2" fmla="*/ 11636 h 30566"/>
                <a:gd name="connsiteX3" fmla="*/ 989 w 30806"/>
                <a:gd name="connsiteY3" fmla="*/ 13154 h 30566"/>
                <a:gd name="connsiteX4" fmla="*/ 989 w 30806"/>
                <a:gd name="connsiteY4" fmla="*/ 13314 h 30566"/>
                <a:gd name="connsiteX5" fmla="*/ 1122 w 30806"/>
                <a:gd name="connsiteY5" fmla="*/ 15550 h 30566"/>
                <a:gd name="connsiteX6" fmla="*/ 1122 w 30806"/>
                <a:gd name="connsiteY6" fmla="*/ 16029 h 30566"/>
                <a:gd name="connsiteX7" fmla="*/ 1122 w 30806"/>
                <a:gd name="connsiteY7" fmla="*/ 16029 h 30566"/>
                <a:gd name="connsiteX8" fmla="*/ 1122 w 30806"/>
                <a:gd name="connsiteY8" fmla="*/ 16269 h 30566"/>
                <a:gd name="connsiteX9" fmla="*/ 1122 w 30806"/>
                <a:gd name="connsiteY9" fmla="*/ 18186 h 30566"/>
                <a:gd name="connsiteX10" fmla="*/ 1122 w 30806"/>
                <a:gd name="connsiteY10" fmla="*/ 19731 h 30566"/>
                <a:gd name="connsiteX11" fmla="*/ 1122 w 30806"/>
                <a:gd name="connsiteY11" fmla="*/ 19917 h 30566"/>
                <a:gd name="connsiteX12" fmla="*/ 1122 w 30806"/>
                <a:gd name="connsiteY12" fmla="*/ 21674 h 30566"/>
                <a:gd name="connsiteX13" fmla="*/ 1122 w 30806"/>
                <a:gd name="connsiteY13" fmla="*/ 23219 h 30566"/>
                <a:gd name="connsiteX14" fmla="*/ 1122 w 30806"/>
                <a:gd name="connsiteY14" fmla="*/ 23538 h 30566"/>
                <a:gd name="connsiteX15" fmla="*/ 1122 w 30806"/>
                <a:gd name="connsiteY15" fmla="*/ 23538 h 30566"/>
                <a:gd name="connsiteX16" fmla="*/ 1122 w 30806"/>
                <a:gd name="connsiteY16" fmla="*/ 24710 h 30566"/>
                <a:gd name="connsiteX17" fmla="*/ 1122 w 30806"/>
                <a:gd name="connsiteY17" fmla="*/ 26174 h 30566"/>
                <a:gd name="connsiteX18" fmla="*/ 1122 w 30806"/>
                <a:gd name="connsiteY18" fmla="*/ 26174 h 30566"/>
                <a:gd name="connsiteX19" fmla="*/ 1122 w 30806"/>
                <a:gd name="connsiteY19" fmla="*/ 26307 h 30566"/>
                <a:gd name="connsiteX20" fmla="*/ 1122 w 30806"/>
                <a:gd name="connsiteY20" fmla="*/ 27266 h 30566"/>
                <a:gd name="connsiteX21" fmla="*/ 1122 w 30806"/>
                <a:gd name="connsiteY21" fmla="*/ 29023 h 30566"/>
                <a:gd name="connsiteX22" fmla="*/ 1122 w 30806"/>
                <a:gd name="connsiteY22" fmla="*/ 30221 h 30566"/>
                <a:gd name="connsiteX23" fmla="*/ 1122 w 30806"/>
                <a:gd name="connsiteY23" fmla="*/ 30221 h 30566"/>
                <a:gd name="connsiteX24" fmla="*/ 2852 w 30806"/>
                <a:gd name="connsiteY24" fmla="*/ 29050 h 30566"/>
                <a:gd name="connsiteX25" fmla="*/ 12172 w 30806"/>
                <a:gd name="connsiteY25" fmla="*/ 22020 h 30566"/>
                <a:gd name="connsiteX26" fmla="*/ 27988 w 30806"/>
                <a:gd name="connsiteY26" fmla="*/ 5060 h 30566"/>
                <a:gd name="connsiteX27" fmla="*/ 29345 w 30806"/>
                <a:gd name="connsiteY27" fmla="*/ 3222 h 30566"/>
                <a:gd name="connsiteX28" fmla="*/ 31795 w 30806"/>
                <a:gd name="connsiteY28" fmla="*/ -346 h 30566"/>
                <a:gd name="connsiteX29" fmla="*/ 19441 w 30806"/>
                <a:gd name="connsiteY29" fmla="*/ 3222 h 30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0806" h="30566">
                  <a:moveTo>
                    <a:pt x="20239" y="3409"/>
                  </a:moveTo>
                  <a:cubicBezTo>
                    <a:pt x="13636" y="5600"/>
                    <a:pt x="7203" y="8268"/>
                    <a:pt x="989" y="11397"/>
                  </a:cubicBezTo>
                  <a:lnTo>
                    <a:pt x="989" y="11636"/>
                  </a:lnTo>
                  <a:cubicBezTo>
                    <a:pt x="989" y="12142"/>
                    <a:pt x="989" y="12648"/>
                    <a:pt x="989" y="13154"/>
                  </a:cubicBezTo>
                  <a:lnTo>
                    <a:pt x="989" y="13314"/>
                  </a:lnTo>
                  <a:cubicBezTo>
                    <a:pt x="989" y="14059"/>
                    <a:pt x="989" y="14805"/>
                    <a:pt x="1122" y="15550"/>
                  </a:cubicBezTo>
                  <a:lnTo>
                    <a:pt x="1122" y="16029"/>
                  </a:lnTo>
                  <a:lnTo>
                    <a:pt x="1122" y="16029"/>
                  </a:lnTo>
                  <a:lnTo>
                    <a:pt x="1122" y="16269"/>
                  </a:lnTo>
                  <a:cubicBezTo>
                    <a:pt x="1122" y="16908"/>
                    <a:pt x="1122" y="17547"/>
                    <a:pt x="1122" y="18186"/>
                  </a:cubicBezTo>
                  <a:cubicBezTo>
                    <a:pt x="1122" y="18825"/>
                    <a:pt x="1122" y="19225"/>
                    <a:pt x="1122" y="19731"/>
                  </a:cubicBezTo>
                  <a:lnTo>
                    <a:pt x="1122" y="19917"/>
                  </a:lnTo>
                  <a:lnTo>
                    <a:pt x="1122" y="21674"/>
                  </a:lnTo>
                  <a:cubicBezTo>
                    <a:pt x="1122" y="22207"/>
                    <a:pt x="1122" y="22713"/>
                    <a:pt x="1122" y="23219"/>
                  </a:cubicBezTo>
                  <a:cubicBezTo>
                    <a:pt x="1135" y="23325"/>
                    <a:pt x="1135" y="23432"/>
                    <a:pt x="1122" y="23538"/>
                  </a:cubicBezTo>
                  <a:lnTo>
                    <a:pt x="1122" y="23538"/>
                  </a:lnTo>
                  <a:cubicBezTo>
                    <a:pt x="1122" y="23937"/>
                    <a:pt x="1122" y="24310"/>
                    <a:pt x="1122" y="24710"/>
                  </a:cubicBezTo>
                  <a:cubicBezTo>
                    <a:pt x="1122" y="25109"/>
                    <a:pt x="1122" y="25695"/>
                    <a:pt x="1122" y="26174"/>
                  </a:cubicBezTo>
                  <a:lnTo>
                    <a:pt x="1122" y="26174"/>
                  </a:lnTo>
                  <a:lnTo>
                    <a:pt x="1122" y="26307"/>
                  </a:lnTo>
                  <a:cubicBezTo>
                    <a:pt x="1122" y="26627"/>
                    <a:pt x="1122" y="26946"/>
                    <a:pt x="1122" y="27266"/>
                  </a:cubicBezTo>
                  <a:cubicBezTo>
                    <a:pt x="1122" y="27585"/>
                    <a:pt x="1122" y="28437"/>
                    <a:pt x="1122" y="29023"/>
                  </a:cubicBezTo>
                  <a:cubicBezTo>
                    <a:pt x="1122" y="29609"/>
                    <a:pt x="1122" y="29822"/>
                    <a:pt x="1122" y="30221"/>
                  </a:cubicBezTo>
                  <a:lnTo>
                    <a:pt x="1122" y="30221"/>
                  </a:lnTo>
                  <a:lnTo>
                    <a:pt x="2852" y="29050"/>
                  </a:lnTo>
                  <a:cubicBezTo>
                    <a:pt x="6090" y="26888"/>
                    <a:pt x="9203" y="24539"/>
                    <a:pt x="12172" y="22020"/>
                  </a:cubicBezTo>
                  <a:cubicBezTo>
                    <a:pt x="18035" y="16948"/>
                    <a:pt x="23336" y="11263"/>
                    <a:pt x="27988" y="5060"/>
                  </a:cubicBezTo>
                  <a:lnTo>
                    <a:pt x="29345" y="3222"/>
                  </a:lnTo>
                  <a:cubicBezTo>
                    <a:pt x="30198" y="2024"/>
                    <a:pt x="31023" y="853"/>
                    <a:pt x="31795" y="-346"/>
                  </a:cubicBezTo>
                  <a:cubicBezTo>
                    <a:pt x="27615" y="666"/>
                    <a:pt x="23488" y="1864"/>
                    <a:pt x="19441" y="3222"/>
                  </a:cubicBezTo>
                </a:path>
              </a:pathLst>
            </a:custGeom>
            <a:solidFill>
              <a:srgbClr val="8FD942"/>
            </a:solidFill>
            <a:ln w="2661" cap="flat">
              <a:noFill/>
              <a:prstDash val="solid"/>
              <a:miter/>
            </a:ln>
          </p:spPr>
          <p:txBody>
            <a:bodyPr rtlCol="0" anchor="ctr"/>
            <a:lstStyle/>
            <a:p>
              <a:endParaRPr lang="pl-PL"/>
            </a:p>
          </p:txBody>
        </p:sp>
        <p:sp>
          <p:nvSpPr>
            <p:cNvPr id="113" name="Freeform: Shape 112">
              <a:extLst>
                <a:ext uri="{FF2B5EF4-FFF2-40B4-BE49-F238E27FC236}">
                  <a16:creationId xmlns:a16="http://schemas.microsoft.com/office/drawing/2014/main" id="{1689ED2B-0F9E-48AB-856E-B4ECCFCF7C5F}"/>
                </a:ext>
              </a:extLst>
            </p:cNvPr>
            <p:cNvSpPr/>
            <p:nvPr/>
          </p:nvSpPr>
          <p:spPr>
            <a:xfrm>
              <a:off x="11402788" y="6644225"/>
              <a:ext cx="49180" cy="59563"/>
            </a:xfrm>
            <a:custGeom>
              <a:avLst/>
              <a:gdLst>
                <a:gd name="connsiteX0" fmla="*/ 64918 w 87147"/>
                <a:gd name="connsiteY0" fmla="*/ 17494 h 105546"/>
                <a:gd name="connsiteX1" fmla="*/ 44735 w 87147"/>
                <a:gd name="connsiteY1" fmla="*/ -346 h 105546"/>
                <a:gd name="connsiteX2" fmla="*/ 14302 w 87147"/>
                <a:gd name="connsiteY2" fmla="*/ 29263 h 105546"/>
                <a:gd name="connsiteX3" fmla="*/ 989 w 87147"/>
                <a:gd name="connsiteY3" fmla="*/ 50111 h 105546"/>
                <a:gd name="connsiteX4" fmla="*/ 2160 w 87147"/>
                <a:gd name="connsiteY4" fmla="*/ 51602 h 105546"/>
                <a:gd name="connsiteX5" fmla="*/ 36774 w 87147"/>
                <a:gd name="connsiteY5" fmla="*/ 105200 h 105546"/>
                <a:gd name="connsiteX6" fmla="*/ 80015 w 87147"/>
                <a:gd name="connsiteY6" fmla="*/ 49286 h 105546"/>
                <a:gd name="connsiteX7" fmla="*/ 80894 w 87147"/>
                <a:gd name="connsiteY7" fmla="*/ 48647 h 105546"/>
                <a:gd name="connsiteX8" fmla="*/ 88136 w 87147"/>
                <a:gd name="connsiteY8" fmla="*/ 43641 h 105546"/>
                <a:gd name="connsiteX9" fmla="*/ 64891 w 87147"/>
                <a:gd name="connsiteY9" fmla="*/ 17441 h 105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147" h="105546">
                  <a:moveTo>
                    <a:pt x="64918" y="17494"/>
                  </a:moveTo>
                  <a:cubicBezTo>
                    <a:pt x="58514" y="11192"/>
                    <a:pt x="51778" y="5235"/>
                    <a:pt x="44735" y="-346"/>
                  </a:cubicBezTo>
                  <a:cubicBezTo>
                    <a:pt x="33206" y="7994"/>
                    <a:pt x="22955" y="17968"/>
                    <a:pt x="14302" y="29263"/>
                  </a:cubicBezTo>
                  <a:cubicBezTo>
                    <a:pt x="9269" y="35815"/>
                    <a:pt x="4815" y="42791"/>
                    <a:pt x="989" y="50111"/>
                  </a:cubicBezTo>
                  <a:cubicBezTo>
                    <a:pt x="1388" y="50590"/>
                    <a:pt x="1761" y="51096"/>
                    <a:pt x="2160" y="51602"/>
                  </a:cubicBezTo>
                  <a:cubicBezTo>
                    <a:pt x="15061" y="68552"/>
                    <a:pt x="26632" y="86472"/>
                    <a:pt x="36774" y="105200"/>
                  </a:cubicBezTo>
                  <a:cubicBezTo>
                    <a:pt x="45936" y="83034"/>
                    <a:pt x="60868" y="63728"/>
                    <a:pt x="80015" y="49286"/>
                  </a:cubicBezTo>
                  <a:lnTo>
                    <a:pt x="80894" y="48647"/>
                  </a:lnTo>
                  <a:cubicBezTo>
                    <a:pt x="83263" y="46916"/>
                    <a:pt x="85660" y="45238"/>
                    <a:pt x="88136" y="43641"/>
                  </a:cubicBezTo>
                  <a:cubicBezTo>
                    <a:pt x="81003" y="34380"/>
                    <a:pt x="73236" y="25626"/>
                    <a:pt x="64891" y="17441"/>
                  </a:cubicBezTo>
                </a:path>
              </a:pathLst>
            </a:custGeom>
            <a:solidFill>
              <a:srgbClr val="FAC200"/>
            </a:solidFill>
            <a:ln w="2661" cap="flat">
              <a:noFill/>
              <a:prstDash val="solid"/>
              <a:miter/>
            </a:ln>
          </p:spPr>
          <p:txBody>
            <a:bodyPr rtlCol="0" anchor="ctr"/>
            <a:lstStyle/>
            <a:p>
              <a:endParaRPr lang="pl-PL"/>
            </a:p>
          </p:txBody>
        </p:sp>
        <p:sp>
          <p:nvSpPr>
            <p:cNvPr id="114" name="Freeform: Shape 113">
              <a:extLst>
                <a:ext uri="{FF2B5EF4-FFF2-40B4-BE49-F238E27FC236}">
                  <a16:creationId xmlns:a16="http://schemas.microsoft.com/office/drawing/2014/main" id="{ECFC1F8B-FAF8-4AD5-8478-4674F775E035}"/>
                </a:ext>
              </a:extLst>
            </p:cNvPr>
            <p:cNvSpPr/>
            <p:nvPr/>
          </p:nvSpPr>
          <p:spPr>
            <a:xfrm>
              <a:off x="11393217" y="6700272"/>
              <a:ext cx="51283" cy="56601"/>
            </a:xfrm>
            <a:custGeom>
              <a:avLst/>
              <a:gdLst>
                <a:gd name="connsiteX0" fmla="*/ 90133 w 90874"/>
                <a:gd name="connsiteY0" fmla="*/ 93882 h 100298"/>
                <a:gd name="connsiteX1" fmla="*/ 81613 w 90874"/>
                <a:gd name="connsiteY1" fmla="*/ 68055 h 100298"/>
                <a:gd name="connsiteX2" fmla="*/ 53762 w 90874"/>
                <a:gd name="connsiteY2" fmla="*/ 5909 h 100298"/>
                <a:gd name="connsiteX3" fmla="*/ 53762 w 90874"/>
                <a:gd name="connsiteY3" fmla="*/ 5909 h 100298"/>
                <a:gd name="connsiteX4" fmla="*/ 34165 w 90874"/>
                <a:gd name="connsiteY4" fmla="*/ 1276 h 100298"/>
                <a:gd name="connsiteX5" fmla="*/ 2213 w 90874"/>
                <a:gd name="connsiteY5" fmla="*/ 132 h 100298"/>
                <a:gd name="connsiteX6" fmla="*/ 989 w 90874"/>
                <a:gd name="connsiteY6" fmla="*/ 19089 h 100298"/>
                <a:gd name="connsiteX7" fmla="*/ 9376 w 90874"/>
                <a:gd name="connsiteY7" fmla="*/ 68081 h 100298"/>
                <a:gd name="connsiteX8" fmla="*/ 14888 w 90874"/>
                <a:gd name="connsiteY8" fmla="*/ 81395 h 100298"/>
                <a:gd name="connsiteX9" fmla="*/ 27854 w 90874"/>
                <a:gd name="connsiteY9" fmla="*/ 81182 h 100298"/>
                <a:gd name="connsiteX10" fmla="*/ 80388 w 90874"/>
                <a:gd name="connsiteY10" fmla="*/ 93829 h 100298"/>
                <a:gd name="connsiteX11" fmla="*/ 91864 w 90874"/>
                <a:gd name="connsiteY11" fmla="*/ 99953 h 100298"/>
                <a:gd name="connsiteX12" fmla="*/ 90080 w 90874"/>
                <a:gd name="connsiteY12" fmla="*/ 93829 h 10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874" h="100298">
                  <a:moveTo>
                    <a:pt x="90133" y="93882"/>
                  </a:moveTo>
                  <a:cubicBezTo>
                    <a:pt x="87470" y="85008"/>
                    <a:pt x="84629" y="76397"/>
                    <a:pt x="81613" y="68055"/>
                  </a:cubicBezTo>
                  <a:cubicBezTo>
                    <a:pt x="73918" y="46663"/>
                    <a:pt x="64607" y="25890"/>
                    <a:pt x="53762" y="5909"/>
                  </a:cubicBezTo>
                  <a:lnTo>
                    <a:pt x="53762" y="5909"/>
                  </a:lnTo>
                  <a:cubicBezTo>
                    <a:pt x="47353" y="3883"/>
                    <a:pt x="40803" y="2336"/>
                    <a:pt x="34165" y="1276"/>
                  </a:cubicBezTo>
                  <a:cubicBezTo>
                    <a:pt x="23600" y="-390"/>
                    <a:pt x="12872" y="-774"/>
                    <a:pt x="2213" y="132"/>
                  </a:cubicBezTo>
                  <a:cubicBezTo>
                    <a:pt x="1401" y="6418"/>
                    <a:pt x="991" y="12750"/>
                    <a:pt x="989" y="19089"/>
                  </a:cubicBezTo>
                  <a:cubicBezTo>
                    <a:pt x="973" y="35779"/>
                    <a:pt x="3808" y="52348"/>
                    <a:pt x="9376" y="68081"/>
                  </a:cubicBezTo>
                  <a:cubicBezTo>
                    <a:pt x="10992" y="72627"/>
                    <a:pt x="12829" y="77063"/>
                    <a:pt x="14888" y="81395"/>
                  </a:cubicBezTo>
                  <a:cubicBezTo>
                    <a:pt x="19174" y="81128"/>
                    <a:pt x="23488" y="81048"/>
                    <a:pt x="27854" y="81182"/>
                  </a:cubicBezTo>
                  <a:cubicBezTo>
                    <a:pt x="46046" y="81775"/>
                    <a:pt x="63920" y="86078"/>
                    <a:pt x="80388" y="93829"/>
                  </a:cubicBezTo>
                  <a:cubicBezTo>
                    <a:pt x="84329" y="95605"/>
                    <a:pt x="88155" y="97645"/>
                    <a:pt x="91864" y="99953"/>
                  </a:cubicBezTo>
                  <a:cubicBezTo>
                    <a:pt x="91278" y="97903"/>
                    <a:pt x="90692" y="95853"/>
                    <a:pt x="90080" y="93829"/>
                  </a:cubicBezTo>
                </a:path>
              </a:pathLst>
            </a:custGeom>
            <a:solidFill>
              <a:srgbClr val="FAC200"/>
            </a:solidFill>
            <a:ln w="2661" cap="flat">
              <a:noFill/>
              <a:prstDash val="solid"/>
              <a:miter/>
            </a:ln>
          </p:spPr>
          <p:txBody>
            <a:bodyPr rtlCol="0" anchor="ctr"/>
            <a:lstStyle/>
            <a:p>
              <a:endParaRPr lang="pl-PL"/>
            </a:p>
          </p:txBody>
        </p:sp>
        <p:sp>
          <p:nvSpPr>
            <p:cNvPr id="115" name="Freeform: Shape 114">
              <a:extLst>
                <a:ext uri="{FF2B5EF4-FFF2-40B4-BE49-F238E27FC236}">
                  <a16:creationId xmlns:a16="http://schemas.microsoft.com/office/drawing/2014/main" id="{A60238C0-1631-4855-B56D-75F91EA8A2A8}"/>
                </a:ext>
              </a:extLst>
            </p:cNvPr>
            <p:cNvSpPr/>
            <p:nvPr/>
          </p:nvSpPr>
          <p:spPr>
            <a:xfrm>
              <a:off x="11444530" y="6711466"/>
              <a:ext cx="36834" cy="78871"/>
            </a:xfrm>
            <a:custGeom>
              <a:avLst/>
              <a:gdLst>
                <a:gd name="connsiteX0" fmla="*/ 64785 w 65270"/>
                <a:gd name="connsiteY0" fmla="*/ 76205 h 139760"/>
                <a:gd name="connsiteX1" fmla="*/ 66249 w 65270"/>
                <a:gd name="connsiteY1" fmla="*/ 75246 h 139760"/>
                <a:gd name="connsiteX2" fmla="*/ 66249 w 65270"/>
                <a:gd name="connsiteY2" fmla="*/ 74048 h 139760"/>
                <a:gd name="connsiteX3" fmla="*/ 66249 w 65270"/>
                <a:gd name="connsiteY3" fmla="*/ 72291 h 139760"/>
                <a:gd name="connsiteX4" fmla="*/ 66249 w 65270"/>
                <a:gd name="connsiteY4" fmla="*/ 71332 h 139760"/>
                <a:gd name="connsiteX5" fmla="*/ 66249 w 65270"/>
                <a:gd name="connsiteY5" fmla="*/ 71199 h 139760"/>
                <a:gd name="connsiteX6" fmla="*/ 66249 w 65270"/>
                <a:gd name="connsiteY6" fmla="*/ 71199 h 139760"/>
                <a:gd name="connsiteX7" fmla="*/ 66249 w 65270"/>
                <a:gd name="connsiteY7" fmla="*/ 69734 h 139760"/>
                <a:gd name="connsiteX8" fmla="*/ 66249 w 65270"/>
                <a:gd name="connsiteY8" fmla="*/ 68563 h 139760"/>
                <a:gd name="connsiteX9" fmla="*/ 66249 w 65270"/>
                <a:gd name="connsiteY9" fmla="*/ 68563 h 139760"/>
                <a:gd name="connsiteX10" fmla="*/ 66249 w 65270"/>
                <a:gd name="connsiteY10" fmla="*/ 68243 h 139760"/>
                <a:gd name="connsiteX11" fmla="*/ 66249 w 65270"/>
                <a:gd name="connsiteY11" fmla="*/ 66699 h 139760"/>
                <a:gd name="connsiteX12" fmla="*/ 66249 w 65270"/>
                <a:gd name="connsiteY12" fmla="*/ 64942 h 139760"/>
                <a:gd name="connsiteX13" fmla="*/ 66249 w 65270"/>
                <a:gd name="connsiteY13" fmla="*/ 64755 h 139760"/>
                <a:gd name="connsiteX14" fmla="*/ 66249 w 65270"/>
                <a:gd name="connsiteY14" fmla="*/ 63211 h 139760"/>
                <a:gd name="connsiteX15" fmla="*/ 66249 w 65270"/>
                <a:gd name="connsiteY15" fmla="*/ 61294 h 139760"/>
                <a:gd name="connsiteX16" fmla="*/ 66249 w 65270"/>
                <a:gd name="connsiteY16" fmla="*/ 61054 h 139760"/>
                <a:gd name="connsiteX17" fmla="*/ 66249 w 65270"/>
                <a:gd name="connsiteY17" fmla="*/ 61054 h 139760"/>
                <a:gd name="connsiteX18" fmla="*/ 66249 w 65270"/>
                <a:gd name="connsiteY18" fmla="*/ 60575 h 139760"/>
                <a:gd name="connsiteX19" fmla="*/ 66116 w 65270"/>
                <a:gd name="connsiteY19" fmla="*/ 58338 h 139760"/>
                <a:gd name="connsiteX20" fmla="*/ 66116 w 65270"/>
                <a:gd name="connsiteY20" fmla="*/ 58179 h 139760"/>
                <a:gd name="connsiteX21" fmla="*/ 66116 w 65270"/>
                <a:gd name="connsiteY21" fmla="*/ 56661 h 139760"/>
                <a:gd name="connsiteX22" fmla="*/ 65797 w 65270"/>
                <a:gd name="connsiteY22" fmla="*/ 53333 h 139760"/>
                <a:gd name="connsiteX23" fmla="*/ 65797 w 65270"/>
                <a:gd name="connsiteY23" fmla="*/ 52827 h 139760"/>
                <a:gd name="connsiteX24" fmla="*/ 65797 w 65270"/>
                <a:gd name="connsiteY24" fmla="*/ 51868 h 139760"/>
                <a:gd name="connsiteX25" fmla="*/ 65797 w 65270"/>
                <a:gd name="connsiteY25" fmla="*/ 51442 h 139760"/>
                <a:gd name="connsiteX26" fmla="*/ 65424 w 65270"/>
                <a:gd name="connsiteY26" fmla="*/ 48380 h 139760"/>
                <a:gd name="connsiteX27" fmla="*/ 64971 w 65270"/>
                <a:gd name="connsiteY27" fmla="*/ 44546 h 139760"/>
                <a:gd name="connsiteX28" fmla="*/ 64705 w 65270"/>
                <a:gd name="connsiteY28" fmla="*/ 42762 h 139760"/>
                <a:gd name="connsiteX29" fmla="*/ 64705 w 65270"/>
                <a:gd name="connsiteY29" fmla="*/ 41830 h 139760"/>
                <a:gd name="connsiteX30" fmla="*/ 64386 w 65270"/>
                <a:gd name="connsiteY30" fmla="*/ 39753 h 139760"/>
                <a:gd name="connsiteX31" fmla="*/ 64386 w 65270"/>
                <a:gd name="connsiteY31" fmla="*/ 39753 h 139760"/>
                <a:gd name="connsiteX32" fmla="*/ 63906 w 65270"/>
                <a:gd name="connsiteY32" fmla="*/ 36878 h 139760"/>
                <a:gd name="connsiteX33" fmla="*/ 63906 w 65270"/>
                <a:gd name="connsiteY33" fmla="*/ 36665 h 139760"/>
                <a:gd name="connsiteX34" fmla="*/ 63640 w 65270"/>
                <a:gd name="connsiteY34" fmla="*/ 35094 h 139760"/>
                <a:gd name="connsiteX35" fmla="*/ 63640 w 65270"/>
                <a:gd name="connsiteY35" fmla="*/ 34641 h 139760"/>
                <a:gd name="connsiteX36" fmla="*/ 63640 w 65270"/>
                <a:gd name="connsiteY36" fmla="*/ 33816 h 139760"/>
                <a:gd name="connsiteX37" fmla="*/ 63294 w 65270"/>
                <a:gd name="connsiteY37" fmla="*/ 31979 h 139760"/>
                <a:gd name="connsiteX38" fmla="*/ 63294 w 65270"/>
                <a:gd name="connsiteY38" fmla="*/ 31845 h 139760"/>
                <a:gd name="connsiteX39" fmla="*/ 62815 w 65270"/>
                <a:gd name="connsiteY39" fmla="*/ 29183 h 139760"/>
                <a:gd name="connsiteX40" fmla="*/ 62362 w 65270"/>
                <a:gd name="connsiteY40" fmla="*/ 26973 h 139760"/>
                <a:gd name="connsiteX41" fmla="*/ 62362 w 65270"/>
                <a:gd name="connsiteY41" fmla="*/ 26520 h 139760"/>
                <a:gd name="connsiteX42" fmla="*/ 61377 w 65270"/>
                <a:gd name="connsiteY42" fmla="*/ 22100 h 139760"/>
                <a:gd name="connsiteX43" fmla="*/ 61377 w 65270"/>
                <a:gd name="connsiteY43" fmla="*/ 22100 h 139760"/>
                <a:gd name="connsiteX44" fmla="*/ 60951 w 65270"/>
                <a:gd name="connsiteY44" fmla="*/ 20316 h 139760"/>
                <a:gd name="connsiteX45" fmla="*/ 60951 w 65270"/>
                <a:gd name="connsiteY45" fmla="*/ 20130 h 139760"/>
                <a:gd name="connsiteX46" fmla="*/ 60205 w 65270"/>
                <a:gd name="connsiteY46" fmla="*/ 17015 h 139760"/>
                <a:gd name="connsiteX47" fmla="*/ 60205 w 65270"/>
                <a:gd name="connsiteY47" fmla="*/ 17015 h 139760"/>
                <a:gd name="connsiteX48" fmla="*/ 59753 w 65270"/>
                <a:gd name="connsiteY48" fmla="*/ 15177 h 139760"/>
                <a:gd name="connsiteX49" fmla="*/ 59753 w 65270"/>
                <a:gd name="connsiteY49" fmla="*/ 15177 h 139760"/>
                <a:gd name="connsiteX50" fmla="*/ 58847 w 65270"/>
                <a:gd name="connsiteY50" fmla="*/ 11769 h 139760"/>
                <a:gd name="connsiteX51" fmla="*/ 58421 w 65270"/>
                <a:gd name="connsiteY51" fmla="*/ 10172 h 139760"/>
                <a:gd name="connsiteX52" fmla="*/ 57010 w 65270"/>
                <a:gd name="connsiteY52" fmla="*/ 5326 h 139760"/>
                <a:gd name="connsiteX53" fmla="*/ 57010 w 65270"/>
                <a:gd name="connsiteY53" fmla="*/ 5166 h 139760"/>
                <a:gd name="connsiteX54" fmla="*/ 56691 w 65270"/>
                <a:gd name="connsiteY54" fmla="*/ 4208 h 139760"/>
                <a:gd name="connsiteX55" fmla="*/ 56691 w 65270"/>
                <a:gd name="connsiteY55" fmla="*/ 4074 h 139760"/>
                <a:gd name="connsiteX56" fmla="*/ 55546 w 65270"/>
                <a:gd name="connsiteY56" fmla="*/ 453 h 139760"/>
                <a:gd name="connsiteX57" fmla="*/ 55306 w 65270"/>
                <a:gd name="connsiteY57" fmla="*/ -346 h 139760"/>
                <a:gd name="connsiteX58" fmla="*/ 55306 w 65270"/>
                <a:gd name="connsiteY58" fmla="*/ -346 h 139760"/>
                <a:gd name="connsiteX59" fmla="*/ 32141 w 65270"/>
                <a:gd name="connsiteY59" fmla="*/ 19597 h 139760"/>
                <a:gd name="connsiteX60" fmla="*/ 11293 w 65270"/>
                <a:gd name="connsiteY60" fmla="*/ 48114 h 139760"/>
                <a:gd name="connsiteX61" fmla="*/ 2320 w 65270"/>
                <a:gd name="connsiteY61" fmla="*/ 73941 h 139760"/>
                <a:gd name="connsiteX62" fmla="*/ 989 w 65270"/>
                <a:gd name="connsiteY62" fmla="*/ 80065 h 139760"/>
                <a:gd name="connsiteX63" fmla="*/ 5355 w 65270"/>
                <a:gd name="connsiteY63" fmla="*/ 96467 h 139760"/>
                <a:gd name="connsiteX64" fmla="*/ 6447 w 65270"/>
                <a:gd name="connsiteY64" fmla="*/ 100940 h 139760"/>
                <a:gd name="connsiteX65" fmla="*/ 14142 w 65270"/>
                <a:gd name="connsiteY65" fmla="*/ 139415 h 139760"/>
                <a:gd name="connsiteX66" fmla="*/ 35443 w 65270"/>
                <a:gd name="connsiteY66" fmla="*/ 100940 h 139760"/>
                <a:gd name="connsiteX67" fmla="*/ 64732 w 65270"/>
                <a:gd name="connsiteY67" fmla="*/ 76098 h 13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5270" h="139760">
                  <a:moveTo>
                    <a:pt x="64785" y="76205"/>
                  </a:moveTo>
                  <a:lnTo>
                    <a:pt x="66249" y="75246"/>
                  </a:lnTo>
                  <a:cubicBezTo>
                    <a:pt x="66249" y="74847"/>
                    <a:pt x="66249" y="74447"/>
                    <a:pt x="66249" y="74048"/>
                  </a:cubicBezTo>
                  <a:cubicBezTo>
                    <a:pt x="66249" y="73648"/>
                    <a:pt x="66249" y="72876"/>
                    <a:pt x="66249" y="72291"/>
                  </a:cubicBezTo>
                  <a:cubicBezTo>
                    <a:pt x="66249" y="71705"/>
                    <a:pt x="66249" y="71652"/>
                    <a:pt x="66249" y="71332"/>
                  </a:cubicBezTo>
                  <a:lnTo>
                    <a:pt x="66249" y="71199"/>
                  </a:lnTo>
                  <a:lnTo>
                    <a:pt x="66249" y="71199"/>
                  </a:lnTo>
                  <a:cubicBezTo>
                    <a:pt x="66249" y="70720"/>
                    <a:pt x="66249" y="70214"/>
                    <a:pt x="66249" y="69734"/>
                  </a:cubicBezTo>
                  <a:cubicBezTo>
                    <a:pt x="66249" y="69255"/>
                    <a:pt x="66249" y="68962"/>
                    <a:pt x="66249" y="68563"/>
                  </a:cubicBezTo>
                  <a:lnTo>
                    <a:pt x="66249" y="68563"/>
                  </a:lnTo>
                  <a:cubicBezTo>
                    <a:pt x="66263" y="68456"/>
                    <a:pt x="66263" y="68350"/>
                    <a:pt x="66249" y="68243"/>
                  </a:cubicBezTo>
                  <a:cubicBezTo>
                    <a:pt x="66249" y="67737"/>
                    <a:pt x="66249" y="67232"/>
                    <a:pt x="66249" y="66699"/>
                  </a:cubicBezTo>
                  <a:lnTo>
                    <a:pt x="66249" y="64942"/>
                  </a:lnTo>
                  <a:lnTo>
                    <a:pt x="66249" y="64755"/>
                  </a:lnTo>
                  <a:cubicBezTo>
                    <a:pt x="66249" y="64249"/>
                    <a:pt x="66249" y="63744"/>
                    <a:pt x="66249" y="63211"/>
                  </a:cubicBezTo>
                  <a:cubicBezTo>
                    <a:pt x="66249" y="62679"/>
                    <a:pt x="66249" y="61933"/>
                    <a:pt x="66249" y="61294"/>
                  </a:cubicBezTo>
                  <a:lnTo>
                    <a:pt x="66249" y="61054"/>
                  </a:lnTo>
                  <a:lnTo>
                    <a:pt x="66249" y="61054"/>
                  </a:lnTo>
                  <a:lnTo>
                    <a:pt x="66249" y="60575"/>
                  </a:lnTo>
                  <a:cubicBezTo>
                    <a:pt x="66249" y="59830"/>
                    <a:pt x="66249" y="59084"/>
                    <a:pt x="66116" y="58338"/>
                  </a:cubicBezTo>
                  <a:lnTo>
                    <a:pt x="66116" y="58179"/>
                  </a:lnTo>
                  <a:cubicBezTo>
                    <a:pt x="66116" y="57673"/>
                    <a:pt x="66116" y="57167"/>
                    <a:pt x="66116" y="56661"/>
                  </a:cubicBezTo>
                  <a:cubicBezTo>
                    <a:pt x="66116" y="55543"/>
                    <a:pt x="65930" y="54451"/>
                    <a:pt x="65797" y="53333"/>
                  </a:cubicBezTo>
                  <a:cubicBezTo>
                    <a:pt x="65797" y="53146"/>
                    <a:pt x="65797" y="52987"/>
                    <a:pt x="65797" y="52827"/>
                  </a:cubicBezTo>
                  <a:cubicBezTo>
                    <a:pt x="65797" y="52667"/>
                    <a:pt x="65797" y="52188"/>
                    <a:pt x="65797" y="51868"/>
                  </a:cubicBezTo>
                  <a:lnTo>
                    <a:pt x="65797" y="51442"/>
                  </a:lnTo>
                  <a:cubicBezTo>
                    <a:pt x="65797" y="50430"/>
                    <a:pt x="65557" y="49392"/>
                    <a:pt x="65424" y="48380"/>
                  </a:cubicBezTo>
                  <a:cubicBezTo>
                    <a:pt x="65291" y="47368"/>
                    <a:pt x="65131" y="45718"/>
                    <a:pt x="64971" y="44546"/>
                  </a:cubicBezTo>
                  <a:cubicBezTo>
                    <a:pt x="64971" y="43960"/>
                    <a:pt x="64785" y="43348"/>
                    <a:pt x="64705" y="42762"/>
                  </a:cubicBezTo>
                  <a:cubicBezTo>
                    <a:pt x="64625" y="42176"/>
                    <a:pt x="64705" y="42150"/>
                    <a:pt x="64705" y="41830"/>
                  </a:cubicBezTo>
                  <a:lnTo>
                    <a:pt x="64386" y="39753"/>
                  </a:lnTo>
                  <a:lnTo>
                    <a:pt x="64386" y="39753"/>
                  </a:lnTo>
                  <a:lnTo>
                    <a:pt x="63906" y="36878"/>
                  </a:lnTo>
                  <a:lnTo>
                    <a:pt x="63906" y="36665"/>
                  </a:lnTo>
                  <a:cubicBezTo>
                    <a:pt x="63906" y="36132"/>
                    <a:pt x="63720" y="35600"/>
                    <a:pt x="63640" y="35094"/>
                  </a:cubicBezTo>
                  <a:lnTo>
                    <a:pt x="63640" y="34641"/>
                  </a:lnTo>
                  <a:cubicBezTo>
                    <a:pt x="63640" y="34348"/>
                    <a:pt x="63640" y="34082"/>
                    <a:pt x="63640" y="33816"/>
                  </a:cubicBezTo>
                  <a:cubicBezTo>
                    <a:pt x="63640" y="33550"/>
                    <a:pt x="63400" y="32591"/>
                    <a:pt x="63294" y="31979"/>
                  </a:cubicBezTo>
                  <a:lnTo>
                    <a:pt x="63294" y="31845"/>
                  </a:lnTo>
                  <a:lnTo>
                    <a:pt x="62815" y="29183"/>
                  </a:lnTo>
                  <a:cubicBezTo>
                    <a:pt x="62655" y="28437"/>
                    <a:pt x="62522" y="27718"/>
                    <a:pt x="62362" y="26973"/>
                  </a:cubicBezTo>
                  <a:lnTo>
                    <a:pt x="62362" y="26520"/>
                  </a:lnTo>
                  <a:cubicBezTo>
                    <a:pt x="62042" y="25056"/>
                    <a:pt x="61723" y="23565"/>
                    <a:pt x="61377" y="22100"/>
                  </a:cubicBezTo>
                  <a:lnTo>
                    <a:pt x="61377" y="22100"/>
                  </a:lnTo>
                  <a:cubicBezTo>
                    <a:pt x="61244" y="21515"/>
                    <a:pt x="61084" y="20902"/>
                    <a:pt x="60951" y="20316"/>
                  </a:cubicBezTo>
                  <a:lnTo>
                    <a:pt x="60951" y="20130"/>
                  </a:lnTo>
                  <a:cubicBezTo>
                    <a:pt x="60711" y="19092"/>
                    <a:pt x="60472" y="18053"/>
                    <a:pt x="60205" y="17015"/>
                  </a:cubicBezTo>
                  <a:lnTo>
                    <a:pt x="60205" y="17015"/>
                  </a:lnTo>
                  <a:cubicBezTo>
                    <a:pt x="60046" y="16402"/>
                    <a:pt x="59912" y="15790"/>
                    <a:pt x="59753" y="15177"/>
                  </a:cubicBezTo>
                  <a:lnTo>
                    <a:pt x="59753" y="15177"/>
                  </a:lnTo>
                  <a:cubicBezTo>
                    <a:pt x="59460" y="14033"/>
                    <a:pt x="59140" y="12914"/>
                    <a:pt x="58847" y="11769"/>
                  </a:cubicBezTo>
                  <a:cubicBezTo>
                    <a:pt x="58688" y="11237"/>
                    <a:pt x="58554" y="10704"/>
                    <a:pt x="58421" y="10172"/>
                  </a:cubicBezTo>
                  <a:cubicBezTo>
                    <a:pt x="57969" y="8548"/>
                    <a:pt x="57489" y="6950"/>
                    <a:pt x="57010" y="5326"/>
                  </a:cubicBezTo>
                  <a:lnTo>
                    <a:pt x="57010" y="5166"/>
                  </a:lnTo>
                  <a:lnTo>
                    <a:pt x="56691" y="4208"/>
                  </a:lnTo>
                  <a:lnTo>
                    <a:pt x="56691" y="4074"/>
                  </a:lnTo>
                  <a:cubicBezTo>
                    <a:pt x="56318" y="2876"/>
                    <a:pt x="55945" y="1651"/>
                    <a:pt x="55546" y="453"/>
                  </a:cubicBezTo>
                  <a:lnTo>
                    <a:pt x="55306" y="-346"/>
                  </a:lnTo>
                  <a:lnTo>
                    <a:pt x="55306" y="-346"/>
                  </a:lnTo>
                  <a:cubicBezTo>
                    <a:pt x="46772" y="5297"/>
                    <a:pt x="38990" y="11998"/>
                    <a:pt x="32141" y="19597"/>
                  </a:cubicBezTo>
                  <a:cubicBezTo>
                    <a:pt x="23791" y="27995"/>
                    <a:pt x="16762" y="37610"/>
                    <a:pt x="11293" y="48114"/>
                  </a:cubicBezTo>
                  <a:cubicBezTo>
                    <a:pt x="7430" y="56395"/>
                    <a:pt x="4423" y="65048"/>
                    <a:pt x="2320" y="73941"/>
                  </a:cubicBezTo>
                  <a:cubicBezTo>
                    <a:pt x="1814" y="76071"/>
                    <a:pt x="1362" y="78122"/>
                    <a:pt x="989" y="80065"/>
                  </a:cubicBezTo>
                  <a:cubicBezTo>
                    <a:pt x="2533" y="85391"/>
                    <a:pt x="3971" y="90876"/>
                    <a:pt x="5355" y="96467"/>
                  </a:cubicBezTo>
                  <a:cubicBezTo>
                    <a:pt x="5728" y="97932"/>
                    <a:pt x="6101" y="99449"/>
                    <a:pt x="6447" y="100940"/>
                  </a:cubicBezTo>
                  <a:cubicBezTo>
                    <a:pt x="9376" y="113215"/>
                    <a:pt x="11985" y="126022"/>
                    <a:pt x="14142" y="139415"/>
                  </a:cubicBezTo>
                  <a:cubicBezTo>
                    <a:pt x="18559" y="125279"/>
                    <a:pt x="25807" y="112187"/>
                    <a:pt x="35443" y="100940"/>
                  </a:cubicBezTo>
                  <a:cubicBezTo>
                    <a:pt x="44062" y="91398"/>
                    <a:pt x="53911" y="83045"/>
                    <a:pt x="64732" y="76098"/>
                  </a:cubicBezTo>
                </a:path>
              </a:pathLst>
            </a:custGeom>
            <a:solidFill>
              <a:srgbClr val="FAC200"/>
            </a:solidFill>
            <a:ln w="2661" cap="flat">
              <a:noFill/>
              <a:prstDash val="solid"/>
              <a:miter/>
            </a:ln>
          </p:spPr>
          <p:txBody>
            <a:bodyPr rtlCol="0" anchor="ctr"/>
            <a:lstStyle/>
            <a:p>
              <a:endParaRPr lang="pl-PL"/>
            </a:p>
          </p:txBody>
        </p:sp>
        <p:sp>
          <p:nvSpPr>
            <p:cNvPr id="116" name="Freeform: Shape 115">
              <a:extLst>
                <a:ext uri="{FF2B5EF4-FFF2-40B4-BE49-F238E27FC236}">
                  <a16:creationId xmlns:a16="http://schemas.microsoft.com/office/drawing/2014/main" id="{57973709-3311-4531-BBEF-3E89E1FF602E}"/>
                </a:ext>
              </a:extLst>
            </p:cNvPr>
            <p:cNvSpPr/>
            <p:nvPr/>
          </p:nvSpPr>
          <p:spPr>
            <a:xfrm>
              <a:off x="11422998" y="6669063"/>
              <a:ext cx="51268" cy="87781"/>
            </a:xfrm>
            <a:custGeom>
              <a:avLst/>
              <a:gdLst>
                <a:gd name="connsiteX0" fmla="*/ 91837 w 90848"/>
                <a:gd name="connsiteY0" fmla="*/ 74447 h 155549"/>
                <a:gd name="connsiteX1" fmla="*/ 91438 w 90848"/>
                <a:gd name="connsiteY1" fmla="*/ 73276 h 155549"/>
                <a:gd name="connsiteX2" fmla="*/ 90532 w 90848"/>
                <a:gd name="connsiteY2" fmla="*/ 70613 h 155549"/>
                <a:gd name="connsiteX3" fmla="*/ 89787 w 90848"/>
                <a:gd name="connsiteY3" fmla="*/ 68430 h 155549"/>
                <a:gd name="connsiteX4" fmla="*/ 88908 w 90848"/>
                <a:gd name="connsiteY4" fmla="*/ 66060 h 155549"/>
                <a:gd name="connsiteX5" fmla="*/ 88056 w 90848"/>
                <a:gd name="connsiteY5" fmla="*/ 63770 h 155549"/>
                <a:gd name="connsiteX6" fmla="*/ 87737 w 90848"/>
                <a:gd name="connsiteY6" fmla="*/ 62892 h 155549"/>
                <a:gd name="connsiteX7" fmla="*/ 85341 w 90848"/>
                <a:gd name="connsiteY7" fmla="*/ 56874 h 155549"/>
                <a:gd name="connsiteX8" fmla="*/ 84701 w 90848"/>
                <a:gd name="connsiteY8" fmla="*/ 55356 h 155549"/>
                <a:gd name="connsiteX9" fmla="*/ 83477 w 90848"/>
                <a:gd name="connsiteY9" fmla="*/ 52481 h 155549"/>
                <a:gd name="connsiteX10" fmla="*/ 61217 w 90848"/>
                <a:gd name="connsiteY10" fmla="*/ 11956 h 155549"/>
                <a:gd name="connsiteX11" fmla="*/ 52351 w 90848"/>
                <a:gd name="connsiteY11" fmla="*/ -346 h 155549"/>
                <a:gd name="connsiteX12" fmla="*/ 45108 w 90848"/>
                <a:gd name="connsiteY12" fmla="*/ 4660 h 155549"/>
                <a:gd name="connsiteX13" fmla="*/ 44230 w 90848"/>
                <a:gd name="connsiteY13" fmla="*/ 5299 h 155549"/>
                <a:gd name="connsiteX14" fmla="*/ 989 w 90848"/>
                <a:gd name="connsiteY14" fmla="*/ 61214 h 155549"/>
                <a:gd name="connsiteX15" fmla="*/ 989 w 90848"/>
                <a:gd name="connsiteY15" fmla="*/ 61214 h 155549"/>
                <a:gd name="connsiteX16" fmla="*/ 28840 w 90848"/>
                <a:gd name="connsiteY16" fmla="*/ 123253 h 155549"/>
                <a:gd name="connsiteX17" fmla="*/ 37360 w 90848"/>
                <a:gd name="connsiteY17" fmla="*/ 149080 h 155549"/>
                <a:gd name="connsiteX18" fmla="*/ 39144 w 90848"/>
                <a:gd name="connsiteY18" fmla="*/ 155204 h 155549"/>
                <a:gd name="connsiteX19" fmla="*/ 40475 w 90848"/>
                <a:gd name="connsiteY19" fmla="*/ 149080 h 155549"/>
                <a:gd name="connsiteX20" fmla="*/ 49448 w 90848"/>
                <a:gd name="connsiteY20" fmla="*/ 123253 h 155549"/>
                <a:gd name="connsiteX21" fmla="*/ 68646 w 90848"/>
                <a:gd name="connsiteY21" fmla="*/ 94284 h 155549"/>
                <a:gd name="connsiteX22" fmla="*/ 91811 w 90848"/>
                <a:gd name="connsiteY22" fmla="*/ 74341 h 155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0848" h="155549">
                  <a:moveTo>
                    <a:pt x="91837" y="74447"/>
                  </a:moveTo>
                  <a:lnTo>
                    <a:pt x="91438" y="73276"/>
                  </a:lnTo>
                  <a:cubicBezTo>
                    <a:pt x="91145" y="72397"/>
                    <a:pt x="90852" y="71518"/>
                    <a:pt x="90532" y="70613"/>
                  </a:cubicBezTo>
                  <a:lnTo>
                    <a:pt x="89787" y="68430"/>
                  </a:lnTo>
                  <a:lnTo>
                    <a:pt x="88908" y="66060"/>
                  </a:lnTo>
                  <a:cubicBezTo>
                    <a:pt x="88642" y="65288"/>
                    <a:pt x="88349" y="64516"/>
                    <a:pt x="88056" y="63770"/>
                  </a:cubicBezTo>
                  <a:lnTo>
                    <a:pt x="87737" y="62892"/>
                  </a:lnTo>
                  <a:cubicBezTo>
                    <a:pt x="86965" y="60868"/>
                    <a:pt x="86166" y="58871"/>
                    <a:pt x="85341" y="56874"/>
                  </a:cubicBezTo>
                  <a:lnTo>
                    <a:pt x="84701" y="55356"/>
                  </a:lnTo>
                  <a:cubicBezTo>
                    <a:pt x="84302" y="54398"/>
                    <a:pt x="83903" y="53439"/>
                    <a:pt x="83477" y="52481"/>
                  </a:cubicBezTo>
                  <a:cubicBezTo>
                    <a:pt x="77315" y="38318"/>
                    <a:pt x="69863" y="24752"/>
                    <a:pt x="61217" y="11956"/>
                  </a:cubicBezTo>
                  <a:cubicBezTo>
                    <a:pt x="58395" y="7775"/>
                    <a:pt x="55413" y="3675"/>
                    <a:pt x="52351" y="-346"/>
                  </a:cubicBezTo>
                  <a:cubicBezTo>
                    <a:pt x="49874" y="1252"/>
                    <a:pt x="47478" y="2929"/>
                    <a:pt x="45108" y="4660"/>
                  </a:cubicBezTo>
                  <a:lnTo>
                    <a:pt x="44230" y="5299"/>
                  </a:lnTo>
                  <a:cubicBezTo>
                    <a:pt x="25083" y="19741"/>
                    <a:pt x="10151" y="39048"/>
                    <a:pt x="989" y="61214"/>
                  </a:cubicBezTo>
                  <a:lnTo>
                    <a:pt x="989" y="61214"/>
                  </a:lnTo>
                  <a:cubicBezTo>
                    <a:pt x="11823" y="81162"/>
                    <a:pt x="21134" y="101901"/>
                    <a:pt x="28840" y="123253"/>
                  </a:cubicBezTo>
                  <a:cubicBezTo>
                    <a:pt x="31822" y="131534"/>
                    <a:pt x="34698" y="140134"/>
                    <a:pt x="37360" y="149080"/>
                  </a:cubicBezTo>
                  <a:cubicBezTo>
                    <a:pt x="37972" y="151104"/>
                    <a:pt x="38558" y="153154"/>
                    <a:pt x="39144" y="155204"/>
                  </a:cubicBezTo>
                  <a:cubicBezTo>
                    <a:pt x="39517" y="153261"/>
                    <a:pt x="39969" y="151210"/>
                    <a:pt x="40475" y="149080"/>
                  </a:cubicBezTo>
                  <a:cubicBezTo>
                    <a:pt x="42579" y="140187"/>
                    <a:pt x="45585" y="131534"/>
                    <a:pt x="49448" y="123253"/>
                  </a:cubicBezTo>
                  <a:cubicBezTo>
                    <a:pt x="54372" y="112696"/>
                    <a:pt x="60842" y="102932"/>
                    <a:pt x="68646" y="94284"/>
                  </a:cubicBezTo>
                  <a:cubicBezTo>
                    <a:pt x="75494" y="86685"/>
                    <a:pt x="83277" y="79983"/>
                    <a:pt x="91811" y="74341"/>
                  </a:cubicBezTo>
                  <a:close/>
                </a:path>
              </a:pathLst>
            </a:custGeom>
            <a:solidFill>
              <a:srgbClr val="E09C00"/>
            </a:solidFill>
            <a:ln w="2661" cap="flat">
              <a:noFill/>
              <a:prstDash val="solid"/>
              <a:miter/>
            </a:ln>
          </p:spPr>
          <p:txBody>
            <a:bodyPr rtlCol="0" anchor="ctr"/>
            <a:lstStyle/>
            <a:p>
              <a:endParaRPr lang="pl-PL"/>
            </a:p>
          </p:txBody>
        </p:sp>
        <p:sp>
          <p:nvSpPr>
            <p:cNvPr id="117" name="Freeform: Shape 116">
              <a:extLst>
                <a:ext uri="{FF2B5EF4-FFF2-40B4-BE49-F238E27FC236}">
                  <a16:creationId xmlns:a16="http://schemas.microsoft.com/office/drawing/2014/main" id="{28FD53A0-5F12-44D9-81EC-C12F3954269D}"/>
                </a:ext>
              </a:extLst>
            </p:cNvPr>
            <p:cNvSpPr/>
            <p:nvPr/>
          </p:nvSpPr>
          <p:spPr>
            <a:xfrm>
              <a:off x="11393940" y="6672699"/>
              <a:ext cx="29090" cy="31088"/>
            </a:xfrm>
            <a:custGeom>
              <a:avLst/>
              <a:gdLst>
                <a:gd name="connsiteX0" fmla="*/ 17790 w 51548"/>
                <a:gd name="connsiteY0" fmla="*/ 1145 h 55089"/>
                <a:gd name="connsiteX1" fmla="*/ 16618 w 51548"/>
                <a:gd name="connsiteY1" fmla="*/ -346 h 55089"/>
                <a:gd name="connsiteX2" fmla="*/ 16272 w 51548"/>
                <a:gd name="connsiteY2" fmla="*/ 293 h 55089"/>
                <a:gd name="connsiteX3" fmla="*/ 989 w 51548"/>
                <a:gd name="connsiteY3" fmla="*/ 48939 h 55089"/>
                <a:gd name="connsiteX4" fmla="*/ 32940 w 51548"/>
                <a:gd name="connsiteY4" fmla="*/ 50111 h 55089"/>
                <a:gd name="connsiteX5" fmla="*/ 52537 w 51548"/>
                <a:gd name="connsiteY5" fmla="*/ 54744 h 55089"/>
                <a:gd name="connsiteX6" fmla="*/ 17923 w 51548"/>
                <a:gd name="connsiteY6" fmla="*/ 1145 h 55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48" h="55089">
                  <a:moveTo>
                    <a:pt x="17790" y="1145"/>
                  </a:moveTo>
                  <a:cubicBezTo>
                    <a:pt x="17390" y="640"/>
                    <a:pt x="17018" y="134"/>
                    <a:pt x="16618" y="-346"/>
                  </a:cubicBezTo>
                  <a:cubicBezTo>
                    <a:pt x="16618" y="-133"/>
                    <a:pt x="16405" y="80"/>
                    <a:pt x="16272" y="293"/>
                  </a:cubicBezTo>
                  <a:cubicBezTo>
                    <a:pt x="8353" y="15484"/>
                    <a:pt x="3180" y="31952"/>
                    <a:pt x="989" y="48939"/>
                  </a:cubicBezTo>
                  <a:cubicBezTo>
                    <a:pt x="11647" y="48055"/>
                    <a:pt x="22375" y="48449"/>
                    <a:pt x="32940" y="50111"/>
                  </a:cubicBezTo>
                  <a:cubicBezTo>
                    <a:pt x="39578" y="51171"/>
                    <a:pt x="46128" y="52718"/>
                    <a:pt x="52537" y="54744"/>
                  </a:cubicBezTo>
                  <a:cubicBezTo>
                    <a:pt x="42395" y="36015"/>
                    <a:pt x="30823" y="18096"/>
                    <a:pt x="17923" y="1145"/>
                  </a:cubicBezTo>
                </a:path>
              </a:pathLst>
            </a:custGeom>
            <a:solidFill>
              <a:srgbClr val="E09C00"/>
            </a:solidFill>
            <a:ln w="2661" cap="flat">
              <a:noFill/>
              <a:prstDash val="solid"/>
              <a:miter/>
            </a:ln>
          </p:spPr>
          <p:txBody>
            <a:bodyPr rtlCol="0" anchor="ctr"/>
            <a:lstStyle/>
            <a:p>
              <a:endParaRPr lang="pl-PL"/>
            </a:p>
          </p:txBody>
        </p:sp>
        <p:sp>
          <p:nvSpPr>
            <p:cNvPr id="118" name="Freeform: Shape 117">
              <a:extLst>
                <a:ext uri="{FF2B5EF4-FFF2-40B4-BE49-F238E27FC236}">
                  <a16:creationId xmlns:a16="http://schemas.microsoft.com/office/drawing/2014/main" id="{0A971D8F-8CA3-439D-91BB-B0206B5CC01D}"/>
                </a:ext>
              </a:extLst>
            </p:cNvPr>
            <p:cNvSpPr/>
            <p:nvPr/>
          </p:nvSpPr>
          <p:spPr>
            <a:xfrm>
              <a:off x="11401092" y="6746296"/>
              <a:ext cx="50862" cy="44116"/>
            </a:xfrm>
            <a:custGeom>
              <a:avLst/>
              <a:gdLst>
                <a:gd name="connsiteX0" fmla="*/ 83423 w 90129"/>
                <a:gd name="connsiteY0" fmla="*/ 39327 h 78174"/>
                <a:gd name="connsiteX1" fmla="*/ 82332 w 90129"/>
                <a:gd name="connsiteY1" fmla="*/ 34854 h 78174"/>
                <a:gd name="connsiteX2" fmla="*/ 77965 w 90129"/>
                <a:gd name="connsiteY2" fmla="*/ 18453 h 78174"/>
                <a:gd name="connsiteX3" fmla="*/ 66489 w 90129"/>
                <a:gd name="connsiteY3" fmla="*/ 12328 h 78174"/>
                <a:gd name="connsiteX4" fmla="*/ 13956 w 90129"/>
                <a:gd name="connsiteY4" fmla="*/ -292 h 78174"/>
                <a:gd name="connsiteX5" fmla="*/ 989 w 90129"/>
                <a:gd name="connsiteY5" fmla="*/ -79 h 78174"/>
                <a:gd name="connsiteX6" fmla="*/ 7619 w 90129"/>
                <a:gd name="connsiteY6" fmla="*/ 12355 h 78174"/>
                <a:gd name="connsiteX7" fmla="*/ 28227 w 90129"/>
                <a:gd name="connsiteY7" fmla="*/ 39354 h 78174"/>
                <a:gd name="connsiteX8" fmla="*/ 91118 w 90129"/>
                <a:gd name="connsiteY8" fmla="*/ 77829 h 78174"/>
                <a:gd name="connsiteX9" fmla="*/ 83423 w 90129"/>
                <a:gd name="connsiteY9" fmla="*/ 39354 h 78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129" h="78174">
                  <a:moveTo>
                    <a:pt x="83423" y="39327"/>
                  </a:moveTo>
                  <a:cubicBezTo>
                    <a:pt x="83077" y="37836"/>
                    <a:pt x="82704" y="36319"/>
                    <a:pt x="82332" y="34854"/>
                  </a:cubicBezTo>
                  <a:cubicBezTo>
                    <a:pt x="80947" y="29263"/>
                    <a:pt x="79509" y="23804"/>
                    <a:pt x="77965" y="18453"/>
                  </a:cubicBezTo>
                  <a:cubicBezTo>
                    <a:pt x="74272" y="16235"/>
                    <a:pt x="70448" y="14192"/>
                    <a:pt x="66489" y="12328"/>
                  </a:cubicBezTo>
                  <a:cubicBezTo>
                    <a:pt x="50021" y="4588"/>
                    <a:pt x="32144" y="293"/>
                    <a:pt x="13956" y="-292"/>
                  </a:cubicBezTo>
                  <a:cubicBezTo>
                    <a:pt x="9589" y="-425"/>
                    <a:pt x="5275" y="-292"/>
                    <a:pt x="989" y="-79"/>
                  </a:cubicBezTo>
                  <a:cubicBezTo>
                    <a:pt x="3012" y="4181"/>
                    <a:pt x="5222" y="8327"/>
                    <a:pt x="7619" y="12355"/>
                  </a:cubicBezTo>
                  <a:cubicBezTo>
                    <a:pt x="13418" y="22122"/>
                    <a:pt x="20335" y="31182"/>
                    <a:pt x="28227" y="39354"/>
                  </a:cubicBezTo>
                  <a:cubicBezTo>
                    <a:pt x="45566" y="57332"/>
                    <a:pt x="67216" y="70576"/>
                    <a:pt x="91118" y="77829"/>
                  </a:cubicBezTo>
                  <a:cubicBezTo>
                    <a:pt x="88961" y="64516"/>
                    <a:pt x="86352" y="51629"/>
                    <a:pt x="83423" y="39354"/>
                  </a:cubicBezTo>
                </a:path>
              </a:pathLst>
            </a:custGeom>
            <a:solidFill>
              <a:srgbClr val="E09C00"/>
            </a:solidFill>
            <a:ln w="2661" cap="flat">
              <a:noFill/>
              <a:prstDash val="solid"/>
              <a:miter/>
            </a:ln>
          </p:spPr>
          <p:txBody>
            <a:bodyPr rtlCol="0" anchor="ctr"/>
            <a:lstStyle/>
            <a:p>
              <a:endParaRPr lang="pl-PL"/>
            </a:p>
          </p:txBody>
        </p:sp>
        <p:sp>
          <p:nvSpPr>
            <p:cNvPr id="119" name="Freeform: Shape 118">
              <a:extLst>
                <a:ext uri="{FF2B5EF4-FFF2-40B4-BE49-F238E27FC236}">
                  <a16:creationId xmlns:a16="http://schemas.microsoft.com/office/drawing/2014/main" id="{052290C6-306E-4CB5-AE97-D93240878FB6}"/>
                </a:ext>
              </a:extLst>
            </p:cNvPr>
            <p:cNvSpPr/>
            <p:nvPr/>
          </p:nvSpPr>
          <p:spPr>
            <a:xfrm>
              <a:off x="11451983" y="6691629"/>
              <a:ext cx="106699" cy="102254"/>
            </a:xfrm>
            <a:custGeom>
              <a:avLst/>
              <a:gdLst>
                <a:gd name="connsiteX0" fmla="*/ 189954 w 189072"/>
                <a:gd name="connsiteY0" fmla="*/ 30014 h 181196"/>
                <a:gd name="connsiteX1" fmla="*/ 188463 w 189072"/>
                <a:gd name="connsiteY1" fmla="*/ 13159 h 181196"/>
                <a:gd name="connsiteX2" fmla="*/ 180928 w 189072"/>
                <a:gd name="connsiteY2" fmla="*/ 13639 h 181196"/>
                <a:gd name="connsiteX3" fmla="*/ 171449 w 189072"/>
                <a:gd name="connsiteY3" fmla="*/ 21467 h 181196"/>
                <a:gd name="connsiteX4" fmla="*/ 171449 w 189072"/>
                <a:gd name="connsiteY4" fmla="*/ 21467 h 181196"/>
                <a:gd name="connsiteX5" fmla="*/ 171449 w 189072"/>
                <a:gd name="connsiteY5" fmla="*/ 21467 h 181196"/>
                <a:gd name="connsiteX6" fmla="*/ 169080 w 189072"/>
                <a:gd name="connsiteY6" fmla="*/ 52513 h 181196"/>
                <a:gd name="connsiteX7" fmla="*/ 162370 w 189072"/>
                <a:gd name="connsiteY7" fmla="*/ 81988 h 181196"/>
                <a:gd name="connsiteX8" fmla="*/ 161944 w 189072"/>
                <a:gd name="connsiteY8" fmla="*/ 83373 h 181196"/>
                <a:gd name="connsiteX9" fmla="*/ 151773 w 189072"/>
                <a:gd name="connsiteY9" fmla="*/ 109200 h 181196"/>
                <a:gd name="connsiteX10" fmla="*/ 145169 w 189072"/>
                <a:gd name="connsiteY10" fmla="*/ 120649 h 181196"/>
                <a:gd name="connsiteX11" fmla="*/ 143785 w 189072"/>
                <a:gd name="connsiteY11" fmla="*/ 121395 h 181196"/>
                <a:gd name="connsiteX12" fmla="*/ 142853 w 189072"/>
                <a:gd name="connsiteY12" fmla="*/ 121102 h 181196"/>
                <a:gd name="connsiteX13" fmla="*/ 142400 w 189072"/>
                <a:gd name="connsiteY13" fmla="*/ 118785 h 181196"/>
                <a:gd name="connsiteX14" fmla="*/ 147992 w 189072"/>
                <a:gd name="connsiteY14" fmla="*/ 109200 h 181196"/>
                <a:gd name="connsiteX15" fmla="*/ 158323 w 189072"/>
                <a:gd name="connsiteY15" fmla="*/ 83373 h 181196"/>
                <a:gd name="connsiteX16" fmla="*/ 159042 w 189072"/>
                <a:gd name="connsiteY16" fmla="*/ 81030 h 181196"/>
                <a:gd name="connsiteX17" fmla="*/ 165725 w 189072"/>
                <a:gd name="connsiteY17" fmla="*/ 51315 h 181196"/>
                <a:gd name="connsiteX18" fmla="*/ 168121 w 189072"/>
                <a:gd name="connsiteY18" fmla="*/ 20215 h 181196"/>
                <a:gd name="connsiteX19" fmla="*/ 166763 w 189072"/>
                <a:gd name="connsiteY19" fmla="*/ -340 h 181196"/>
                <a:gd name="connsiteX20" fmla="*/ 166763 w 189072"/>
                <a:gd name="connsiteY20" fmla="*/ -340 h 181196"/>
                <a:gd name="connsiteX21" fmla="*/ 166763 w 189072"/>
                <a:gd name="connsiteY21" fmla="*/ -340 h 181196"/>
                <a:gd name="connsiteX22" fmla="*/ 154062 w 189072"/>
                <a:gd name="connsiteY22" fmla="*/ 2589 h 181196"/>
                <a:gd name="connsiteX23" fmla="*/ 146847 w 189072"/>
                <a:gd name="connsiteY23" fmla="*/ 14544 h 181196"/>
                <a:gd name="connsiteX24" fmla="*/ 146847 w 189072"/>
                <a:gd name="connsiteY24" fmla="*/ 14544 h 181196"/>
                <a:gd name="connsiteX25" fmla="*/ 144371 w 189072"/>
                <a:gd name="connsiteY25" fmla="*/ 46016 h 181196"/>
                <a:gd name="connsiteX26" fmla="*/ 137181 w 189072"/>
                <a:gd name="connsiteY26" fmla="*/ 76636 h 181196"/>
                <a:gd name="connsiteX27" fmla="*/ 134972 w 189072"/>
                <a:gd name="connsiteY27" fmla="*/ 83293 h 181196"/>
                <a:gd name="connsiteX28" fmla="*/ 123070 w 189072"/>
                <a:gd name="connsiteY28" fmla="*/ 109120 h 181196"/>
                <a:gd name="connsiteX29" fmla="*/ 120167 w 189072"/>
                <a:gd name="connsiteY29" fmla="*/ 113700 h 181196"/>
                <a:gd name="connsiteX30" fmla="*/ 118783 w 189072"/>
                <a:gd name="connsiteY30" fmla="*/ 114445 h 181196"/>
                <a:gd name="connsiteX31" fmla="*/ 117851 w 189072"/>
                <a:gd name="connsiteY31" fmla="*/ 114152 h 181196"/>
                <a:gd name="connsiteX32" fmla="*/ 117409 w 189072"/>
                <a:gd name="connsiteY32" fmla="*/ 111860 h 181196"/>
                <a:gd name="connsiteX33" fmla="*/ 117425 w 189072"/>
                <a:gd name="connsiteY33" fmla="*/ 111836 h 181196"/>
                <a:gd name="connsiteX34" fmla="*/ 119156 w 189072"/>
                <a:gd name="connsiteY34" fmla="*/ 109173 h 181196"/>
                <a:gd name="connsiteX35" fmla="*/ 131430 w 189072"/>
                <a:gd name="connsiteY35" fmla="*/ 83346 h 181196"/>
                <a:gd name="connsiteX36" fmla="*/ 133827 w 189072"/>
                <a:gd name="connsiteY36" fmla="*/ 76343 h 181196"/>
                <a:gd name="connsiteX37" fmla="*/ 141069 w 189072"/>
                <a:gd name="connsiteY37" fmla="*/ 45590 h 181196"/>
                <a:gd name="connsiteX38" fmla="*/ 143465 w 189072"/>
                <a:gd name="connsiteY38" fmla="*/ 14038 h 181196"/>
                <a:gd name="connsiteX39" fmla="*/ 143465 w 189072"/>
                <a:gd name="connsiteY39" fmla="*/ 13798 h 181196"/>
                <a:gd name="connsiteX40" fmla="*/ 143465 w 189072"/>
                <a:gd name="connsiteY40" fmla="*/ 13798 h 181196"/>
                <a:gd name="connsiteX41" fmla="*/ 140403 w 189072"/>
                <a:gd name="connsiteY41" fmla="*/ 13585 h 181196"/>
                <a:gd name="connsiteX42" fmla="*/ 128208 w 189072"/>
                <a:gd name="connsiteY42" fmla="*/ 18911 h 181196"/>
                <a:gd name="connsiteX43" fmla="*/ 121978 w 189072"/>
                <a:gd name="connsiteY43" fmla="*/ 36670 h 181196"/>
                <a:gd name="connsiteX44" fmla="*/ 121073 w 189072"/>
                <a:gd name="connsiteY44" fmla="*/ 41809 h 181196"/>
                <a:gd name="connsiteX45" fmla="*/ 120673 w 189072"/>
                <a:gd name="connsiteY45" fmla="*/ 43993 h 181196"/>
                <a:gd name="connsiteX46" fmla="*/ 110901 w 189072"/>
                <a:gd name="connsiteY46" fmla="*/ 75944 h 181196"/>
                <a:gd name="connsiteX47" fmla="*/ 107546 w 189072"/>
                <a:gd name="connsiteY47" fmla="*/ 83453 h 181196"/>
                <a:gd name="connsiteX48" fmla="*/ 93807 w 189072"/>
                <a:gd name="connsiteY48" fmla="*/ 106218 h 181196"/>
                <a:gd name="connsiteX49" fmla="*/ 92476 w 189072"/>
                <a:gd name="connsiteY49" fmla="*/ 106883 h 181196"/>
                <a:gd name="connsiteX50" fmla="*/ 91464 w 189072"/>
                <a:gd name="connsiteY50" fmla="*/ 106564 h 181196"/>
                <a:gd name="connsiteX51" fmla="*/ 91118 w 189072"/>
                <a:gd name="connsiteY51" fmla="*/ 104221 h 181196"/>
                <a:gd name="connsiteX52" fmla="*/ 103792 w 189072"/>
                <a:gd name="connsiteY52" fmla="*/ 83266 h 181196"/>
                <a:gd name="connsiteX53" fmla="*/ 107147 w 189072"/>
                <a:gd name="connsiteY53" fmla="*/ 76024 h 181196"/>
                <a:gd name="connsiteX54" fmla="*/ 117105 w 189072"/>
                <a:gd name="connsiteY54" fmla="*/ 44019 h 181196"/>
                <a:gd name="connsiteX55" fmla="*/ 117691 w 189072"/>
                <a:gd name="connsiteY55" fmla="*/ 41064 h 181196"/>
                <a:gd name="connsiteX56" fmla="*/ 105470 w 189072"/>
                <a:gd name="connsiteY56" fmla="*/ 42235 h 181196"/>
                <a:gd name="connsiteX57" fmla="*/ 101502 w 189072"/>
                <a:gd name="connsiteY57" fmla="*/ 44898 h 181196"/>
                <a:gd name="connsiteX58" fmla="*/ 97881 w 189072"/>
                <a:gd name="connsiteY58" fmla="*/ 50835 h 181196"/>
                <a:gd name="connsiteX59" fmla="*/ 97509 w 189072"/>
                <a:gd name="connsiteY59" fmla="*/ 51980 h 181196"/>
                <a:gd name="connsiteX60" fmla="*/ 91491 w 189072"/>
                <a:gd name="connsiteY60" fmla="*/ 66412 h 181196"/>
                <a:gd name="connsiteX61" fmla="*/ 83716 w 189072"/>
                <a:gd name="connsiteY61" fmla="*/ 79725 h 181196"/>
                <a:gd name="connsiteX62" fmla="*/ 81266 w 189072"/>
                <a:gd name="connsiteY62" fmla="*/ 83293 h 181196"/>
                <a:gd name="connsiteX63" fmla="*/ 79909 w 189072"/>
                <a:gd name="connsiteY63" fmla="*/ 85130 h 181196"/>
                <a:gd name="connsiteX64" fmla="*/ 64093 w 189072"/>
                <a:gd name="connsiteY64" fmla="*/ 102091 h 181196"/>
                <a:gd name="connsiteX65" fmla="*/ 54774 w 189072"/>
                <a:gd name="connsiteY65" fmla="*/ 109120 h 181196"/>
                <a:gd name="connsiteX66" fmla="*/ 53043 w 189072"/>
                <a:gd name="connsiteY66" fmla="*/ 110292 h 181196"/>
                <a:gd name="connsiteX67" fmla="*/ 53043 w 189072"/>
                <a:gd name="connsiteY67" fmla="*/ 110292 h 181196"/>
                <a:gd name="connsiteX68" fmla="*/ 51578 w 189072"/>
                <a:gd name="connsiteY68" fmla="*/ 111250 h 181196"/>
                <a:gd name="connsiteX69" fmla="*/ 22290 w 189072"/>
                <a:gd name="connsiteY69" fmla="*/ 136092 h 181196"/>
                <a:gd name="connsiteX70" fmla="*/ 989 w 189072"/>
                <a:gd name="connsiteY70" fmla="*/ 174567 h 181196"/>
                <a:gd name="connsiteX71" fmla="*/ 1468 w 189072"/>
                <a:gd name="connsiteY71" fmla="*/ 174700 h 181196"/>
                <a:gd name="connsiteX72" fmla="*/ 21065 w 189072"/>
                <a:gd name="connsiteY72" fmla="*/ 179120 h 181196"/>
                <a:gd name="connsiteX73" fmla="*/ 43511 w 189072"/>
                <a:gd name="connsiteY73" fmla="*/ 180851 h 181196"/>
                <a:gd name="connsiteX74" fmla="*/ 43910 w 189072"/>
                <a:gd name="connsiteY74" fmla="*/ 180851 h 181196"/>
                <a:gd name="connsiteX75" fmla="*/ 148924 w 189072"/>
                <a:gd name="connsiteY75" fmla="*/ 136119 h 181196"/>
                <a:gd name="connsiteX76" fmla="*/ 169559 w 189072"/>
                <a:gd name="connsiteY76" fmla="*/ 109120 h 181196"/>
                <a:gd name="connsiteX77" fmla="*/ 179783 w 189072"/>
                <a:gd name="connsiteY77" fmla="*/ 88325 h 181196"/>
                <a:gd name="connsiteX78" fmla="*/ 181674 w 189072"/>
                <a:gd name="connsiteY78" fmla="*/ 83293 h 181196"/>
                <a:gd name="connsiteX79" fmla="*/ 187718 w 189072"/>
                <a:gd name="connsiteY79" fmla="*/ 60527 h 181196"/>
                <a:gd name="connsiteX80" fmla="*/ 190061 w 189072"/>
                <a:gd name="connsiteY80" fmla="*/ 34301 h 181196"/>
                <a:gd name="connsiteX81" fmla="*/ 190061 w 189072"/>
                <a:gd name="connsiteY81" fmla="*/ 29854 h 181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89072" h="181196">
                  <a:moveTo>
                    <a:pt x="189954" y="30014"/>
                  </a:moveTo>
                  <a:cubicBezTo>
                    <a:pt x="189784" y="24372"/>
                    <a:pt x="189286" y="18743"/>
                    <a:pt x="188463" y="13159"/>
                  </a:cubicBezTo>
                  <a:cubicBezTo>
                    <a:pt x="185942" y="12909"/>
                    <a:pt x="183396" y="13072"/>
                    <a:pt x="180928" y="13639"/>
                  </a:cubicBezTo>
                  <a:cubicBezTo>
                    <a:pt x="176713" y="14613"/>
                    <a:pt x="173204" y="17513"/>
                    <a:pt x="171449" y="21467"/>
                  </a:cubicBezTo>
                  <a:lnTo>
                    <a:pt x="171449" y="21467"/>
                  </a:lnTo>
                  <a:lnTo>
                    <a:pt x="171449" y="21467"/>
                  </a:lnTo>
                  <a:cubicBezTo>
                    <a:pt x="171487" y="31862"/>
                    <a:pt x="170693" y="42243"/>
                    <a:pt x="169080" y="52513"/>
                  </a:cubicBezTo>
                  <a:cubicBezTo>
                    <a:pt x="167522" y="62479"/>
                    <a:pt x="165280" y="72328"/>
                    <a:pt x="162370" y="81988"/>
                  </a:cubicBezTo>
                  <a:cubicBezTo>
                    <a:pt x="162210" y="82441"/>
                    <a:pt x="162077" y="82893"/>
                    <a:pt x="161944" y="83373"/>
                  </a:cubicBezTo>
                  <a:cubicBezTo>
                    <a:pt x="159260" y="92244"/>
                    <a:pt x="155860" y="100882"/>
                    <a:pt x="151773" y="109200"/>
                  </a:cubicBezTo>
                  <a:cubicBezTo>
                    <a:pt x="149821" y="113154"/>
                    <a:pt x="147614" y="116980"/>
                    <a:pt x="145169" y="120649"/>
                  </a:cubicBezTo>
                  <a:cubicBezTo>
                    <a:pt x="144860" y="121112"/>
                    <a:pt x="144341" y="121392"/>
                    <a:pt x="143785" y="121395"/>
                  </a:cubicBezTo>
                  <a:cubicBezTo>
                    <a:pt x="143452" y="121387"/>
                    <a:pt x="143130" y="121286"/>
                    <a:pt x="142853" y="121102"/>
                  </a:cubicBezTo>
                  <a:cubicBezTo>
                    <a:pt x="142091" y="120585"/>
                    <a:pt x="141892" y="119552"/>
                    <a:pt x="142400" y="118785"/>
                  </a:cubicBezTo>
                  <a:cubicBezTo>
                    <a:pt x="144458" y="115707"/>
                    <a:pt x="146325" y="112507"/>
                    <a:pt x="147992" y="109200"/>
                  </a:cubicBezTo>
                  <a:cubicBezTo>
                    <a:pt x="152161" y="100898"/>
                    <a:pt x="155617" y="92258"/>
                    <a:pt x="158323" y="83373"/>
                  </a:cubicBezTo>
                  <a:lnTo>
                    <a:pt x="159042" y="81030"/>
                  </a:lnTo>
                  <a:cubicBezTo>
                    <a:pt x="161944" y="71290"/>
                    <a:pt x="164178" y="61361"/>
                    <a:pt x="165725" y="51315"/>
                  </a:cubicBezTo>
                  <a:cubicBezTo>
                    <a:pt x="167306" y="41024"/>
                    <a:pt x="168108" y="30626"/>
                    <a:pt x="168121" y="20215"/>
                  </a:cubicBezTo>
                  <a:cubicBezTo>
                    <a:pt x="168116" y="13341"/>
                    <a:pt x="167663" y="6474"/>
                    <a:pt x="166763" y="-340"/>
                  </a:cubicBezTo>
                  <a:lnTo>
                    <a:pt x="166763" y="-340"/>
                  </a:lnTo>
                  <a:lnTo>
                    <a:pt x="166763" y="-340"/>
                  </a:lnTo>
                  <a:cubicBezTo>
                    <a:pt x="162351" y="-431"/>
                    <a:pt x="157987" y="576"/>
                    <a:pt x="154062" y="2589"/>
                  </a:cubicBezTo>
                  <a:cubicBezTo>
                    <a:pt x="149685" y="4988"/>
                    <a:pt x="146929" y="9552"/>
                    <a:pt x="146847" y="14544"/>
                  </a:cubicBezTo>
                  <a:lnTo>
                    <a:pt x="146847" y="14544"/>
                  </a:lnTo>
                  <a:cubicBezTo>
                    <a:pt x="146868" y="25085"/>
                    <a:pt x="146040" y="35608"/>
                    <a:pt x="144371" y="46016"/>
                  </a:cubicBezTo>
                  <a:cubicBezTo>
                    <a:pt x="142752" y="56390"/>
                    <a:pt x="140347" y="66625"/>
                    <a:pt x="137181" y="76636"/>
                  </a:cubicBezTo>
                  <a:cubicBezTo>
                    <a:pt x="136489" y="78899"/>
                    <a:pt x="135744" y="81109"/>
                    <a:pt x="134972" y="83293"/>
                  </a:cubicBezTo>
                  <a:cubicBezTo>
                    <a:pt x="131840" y="92263"/>
                    <a:pt x="127854" y="100911"/>
                    <a:pt x="123070" y="109120"/>
                  </a:cubicBezTo>
                  <a:cubicBezTo>
                    <a:pt x="122111" y="110744"/>
                    <a:pt x="121153" y="112262"/>
                    <a:pt x="120167" y="113700"/>
                  </a:cubicBezTo>
                  <a:cubicBezTo>
                    <a:pt x="119861" y="114166"/>
                    <a:pt x="119342" y="114448"/>
                    <a:pt x="118783" y="114445"/>
                  </a:cubicBezTo>
                  <a:cubicBezTo>
                    <a:pt x="118450" y="114437"/>
                    <a:pt x="118128" y="114336"/>
                    <a:pt x="117851" y="114152"/>
                  </a:cubicBezTo>
                  <a:cubicBezTo>
                    <a:pt x="117095" y="113641"/>
                    <a:pt x="116898" y="112616"/>
                    <a:pt x="117409" y="111860"/>
                  </a:cubicBezTo>
                  <a:cubicBezTo>
                    <a:pt x="117414" y="111852"/>
                    <a:pt x="117419" y="111844"/>
                    <a:pt x="117425" y="111836"/>
                  </a:cubicBezTo>
                  <a:cubicBezTo>
                    <a:pt x="118011" y="110957"/>
                    <a:pt x="118570" y="110052"/>
                    <a:pt x="119156" y="109173"/>
                  </a:cubicBezTo>
                  <a:cubicBezTo>
                    <a:pt x="124127" y="101010"/>
                    <a:pt x="128240" y="92356"/>
                    <a:pt x="131430" y="83346"/>
                  </a:cubicBezTo>
                  <a:cubicBezTo>
                    <a:pt x="132256" y="81056"/>
                    <a:pt x="133054" y="78713"/>
                    <a:pt x="133827" y="76343"/>
                  </a:cubicBezTo>
                  <a:cubicBezTo>
                    <a:pt x="137027" y="66292"/>
                    <a:pt x="139447" y="56012"/>
                    <a:pt x="141069" y="45590"/>
                  </a:cubicBezTo>
                  <a:cubicBezTo>
                    <a:pt x="142738" y="35158"/>
                    <a:pt x="143540" y="24603"/>
                    <a:pt x="143465" y="14038"/>
                  </a:cubicBezTo>
                  <a:lnTo>
                    <a:pt x="143465" y="13798"/>
                  </a:lnTo>
                  <a:lnTo>
                    <a:pt x="143465" y="13798"/>
                  </a:lnTo>
                  <a:cubicBezTo>
                    <a:pt x="142451" y="13655"/>
                    <a:pt x="141428" y="13583"/>
                    <a:pt x="140403" y="13585"/>
                  </a:cubicBezTo>
                  <a:cubicBezTo>
                    <a:pt x="135741" y="13418"/>
                    <a:pt x="131255" y="15375"/>
                    <a:pt x="128208" y="18911"/>
                  </a:cubicBezTo>
                  <a:cubicBezTo>
                    <a:pt x="124055" y="23890"/>
                    <a:pt x="121978" y="36670"/>
                    <a:pt x="121978" y="36670"/>
                  </a:cubicBezTo>
                  <a:cubicBezTo>
                    <a:pt x="121712" y="38401"/>
                    <a:pt x="121419" y="40105"/>
                    <a:pt x="121073" y="41809"/>
                  </a:cubicBezTo>
                  <a:cubicBezTo>
                    <a:pt x="121073" y="41809"/>
                    <a:pt x="121073" y="42608"/>
                    <a:pt x="120673" y="43993"/>
                  </a:cubicBezTo>
                  <a:cubicBezTo>
                    <a:pt x="118469" y="54936"/>
                    <a:pt x="115196" y="65640"/>
                    <a:pt x="110901" y="75944"/>
                  </a:cubicBezTo>
                  <a:cubicBezTo>
                    <a:pt x="109871" y="78394"/>
                    <a:pt x="108753" y="80896"/>
                    <a:pt x="107546" y="83453"/>
                  </a:cubicBezTo>
                  <a:cubicBezTo>
                    <a:pt x="103744" y="91483"/>
                    <a:pt x="99141" y="99111"/>
                    <a:pt x="93807" y="106218"/>
                  </a:cubicBezTo>
                  <a:cubicBezTo>
                    <a:pt x="93488" y="106633"/>
                    <a:pt x="92998" y="106878"/>
                    <a:pt x="92476" y="106883"/>
                  </a:cubicBezTo>
                  <a:cubicBezTo>
                    <a:pt x="92114" y="106886"/>
                    <a:pt x="91760" y="106774"/>
                    <a:pt x="91464" y="106564"/>
                  </a:cubicBezTo>
                  <a:cubicBezTo>
                    <a:pt x="90724" y="106013"/>
                    <a:pt x="90567" y="104964"/>
                    <a:pt x="91118" y="104221"/>
                  </a:cubicBezTo>
                  <a:cubicBezTo>
                    <a:pt x="95956" y="97626"/>
                    <a:pt x="100198" y="90615"/>
                    <a:pt x="103792" y="83266"/>
                  </a:cubicBezTo>
                  <a:cubicBezTo>
                    <a:pt x="104964" y="80896"/>
                    <a:pt x="106082" y="78473"/>
                    <a:pt x="107147" y="76024"/>
                  </a:cubicBezTo>
                  <a:cubicBezTo>
                    <a:pt x="111572" y="65733"/>
                    <a:pt x="114911" y="55005"/>
                    <a:pt x="117105" y="44019"/>
                  </a:cubicBezTo>
                  <a:cubicBezTo>
                    <a:pt x="117318" y="43034"/>
                    <a:pt x="117505" y="42049"/>
                    <a:pt x="117691" y="41064"/>
                  </a:cubicBezTo>
                  <a:cubicBezTo>
                    <a:pt x="113593" y="40212"/>
                    <a:pt x="109333" y="40619"/>
                    <a:pt x="105470" y="42235"/>
                  </a:cubicBezTo>
                  <a:cubicBezTo>
                    <a:pt x="103995" y="42872"/>
                    <a:pt x="102650" y="43774"/>
                    <a:pt x="101502" y="44898"/>
                  </a:cubicBezTo>
                  <a:cubicBezTo>
                    <a:pt x="99868" y="46583"/>
                    <a:pt x="98632" y="48612"/>
                    <a:pt x="97881" y="50835"/>
                  </a:cubicBezTo>
                  <a:cubicBezTo>
                    <a:pt x="97881" y="51208"/>
                    <a:pt x="97615" y="51581"/>
                    <a:pt x="97509" y="51980"/>
                  </a:cubicBezTo>
                  <a:cubicBezTo>
                    <a:pt x="95812" y="56914"/>
                    <a:pt x="93802" y="61734"/>
                    <a:pt x="91491" y="66412"/>
                  </a:cubicBezTo>
                  <a:cubicBezTo>
                    <a:pt x="89190" y="71013"/>
                    <a:pt x="86594" y="75459"/>
                    <a:pt x="83716" y="79725"/>
                  </a:cubicBezTo>
                  <a:cubicBezTo>
                    <a:pt x="82944" y="80923"/>
                    <a:pt x="82119" y="82095"/>
                    <a:pt x="81266" y="83293"/>
                  </a:cubicBezTo>
                  <a:lnTo>
                    <a:pt x="79909" y="85130"/>
                  </a:lnTo>
                  <a:cubicBezTo>
                    <a:pt x="75257" y="91334"/>
                    <a:pt x="69956" y="97019"/>
                    <a:pt x="64093" y="102091"/>
                  </a:cubicBezTo>
                  <a:cubicBezTo>
                    <a:pt x="61124" y="104610"/>
                    <a:pt x="58011" y="106958"/>
                    <a:pt x="54774" y="109120"/>
                  </a:cubicBezTo>
                  <a:lnTo>
                    <a:pt x="53043" y="110292"/>
                  </a:lnTo>
                  <a:lnTo>
                    <a:pt x="53043" y="110292"/>
                  </a:lnTo>
                  <a:lnTo>
                    <a:pt x="51578" y="111250"/>
                  </a:lnTo>
                  <a:cubicBezTo>
                    <a:pt x="40757" y="118197"/>
                    <a:pt x="30909" y="126550"/>
                    <a:pt x="22290" y="136092"/>
                  </a:cubicBezTo>
                  <a:cubicBezTo>
                    <a:pt x="12654" y="147339"/>
                    <a:pt x="5406" y="160429"/>
                    <a:pt x="989" y="174567"/>
                  </a:cubicBezTo>
                  <a:lnTo>
                    <a:pt x="1468" y="174700"/>
                  </a:lnTo>
                  <a:cubicBezTo>
                    <a:pt x="7888" y="176636"/>
                    <a:pt x="14435" y="178114"/>
                    <a:pt x="21065" y="179120"/>
                  </a:cubicBezTo>
                  <a:cubicBezTo>
                    <a:pt x="28491" y="180278"/>
                    <a:pt x="35994" y="180856"/>
                    <a:pt x="43511" y="180851"/>
                  </a:cubicBezTo>
                  <a:lnTo>
                    <a:pt x="43910" y="180851"/>
                  </a:lnTo>
                  <a:cubicBezTo>
                    <a:pt x="83532" y="180798"/>
                    <a:pt x="121432" y="164652"/>
                    <a:pt x="148924" y="136119"/>
                  </a:cubicBezTo>
                  <a:cubicBezTo>
                    <a:pt x="156824" y="127947"/>
                    <a:pt x="163749" y="118889"/>
                    <a:pt x="169559" y="109120"/>
                  </a:cubicBezTo>
                  <a:cubicBezTo>
                    <a:pt x="173507" y="102466"/>
                    <a:pt x="176926" y="95514"/>
                    <a:pt x="179783" y="88325"/>
                  </a:cubicBezTo>
                  <a:cubicBezTo>
                    <a:pt x="180449" y="86674"/>
                    <a:pt x="181088" y="84970"/>
                    <a:pt x="181674" y="83293"/>
                  </a:cubicBezTo>
                  <a:cubicBezTo>
                    <a:pt x="184304" y="75880"/>
                    <a:pt x="186325" y="68268"/>
                    <a:pt x="187718" y="60527"/>
                  </a:cubicBezTo>
                  <a:cubicBezTo>
                    <a:pt x="189283" y="51874"/>
                    <a:pt x="190066" y="43095"/>
                    <a:pt x="190061" y="34301"/>
                  </a:cubicBezTo>
                  <a:cubicBezTo>
                    <a:pt x="190061" y="32810"/>
                    <a:pt x="190061" y="31318"/>
                    <a:pt x="190061" y="29854"/>
                  </a:cubicBezTo>
                </a:path>
              </a:pathLst>
            </a:custGeom>
            <a:solidFill>
              <a:srgbClr val="143DCF"/>
            </a:solidFill>
            <a:ln w="2661" cap="flat">
              <a:noFill/>
              <a:prstDash val="solid"/>
              <a:miter/>
            </a:ln>
          </p:spPr>
          <p:txBody>
            <a:bodyPr rtlCol="0" anchor="ctr"/>
            <a:lstStyle/>
            <a:p>
              <a:endParaRPr lang="pl-PL"/>
            </a:p>
          </p:txBody>
        </p:sp>
        <p:sp>
          <p:nvSpPr>
            <p:cNvPr id="120" name="Freeform: Shape 119">
              <a:extLst>
                <a:ext uri="{FF2B5EF4-FFF2-40B4-BE49-F238E27FC236}">
                  <a16:creationId xmlns:a16="http://schemas.microsoft.com/office/drawing/2014/main" id="{0A90F3B0-E2B7-4467-BF62-EEE1DE27100E}"/>
                </a:ext>
              </a:extLst>
            </p:cNvPr>
            <p:cNvSpPr/>
            <p:nvPr/>
          </p:nvSpPr>
          <p:spPr>
            <a:xfrm>
              <a:off x="11502581" y="6714997"/>
              <a:ext cx="17090" cy="37099"/>
            </a:xfrm>
            <a:custGeom>
              <a:avLst/>
              <a:gdLst>
                <a:gd name="connsiteX0" fmla="*/ 31273 w 30283"/>
                <a:gd name="connsiteY0" fmla="*/ 400 h 65740"/>
                <a:gd name="connsiteX1" fmla="*/ 28024 w 30283"/>
                <a:gd name="connsiteY1" fmla="*/ -346 h 65740"/>
                <a:gd name="connsiteX2" fmla="*/ 27438 w 30283"/>
                <a:gd name="connsiteY2" fmla="*/ 2610 h 65740"/>
                <a:gd name="connsiteX3" fmla="*/ 17374 w 30283"/>
                <a:gd name="connsiteY3" fmla="*/ 34721 h 65740"/>
                <a:gd name="connsiteX4" fmla="*/ 13992 w 30283"/>
                <a:gd name="connsiteY4" fmla="*/ 41963 h 65740"/>
                <a:gd name="connsiteX5" fmla="*/ 1318 w 30283"/>
                <a:gd name="connsiteY5" fmla="*/ 62732 h 65740"/>
                <a:gd name="connsiteX6" fmla="*/ 1664 w 30283"/>
                <a:gd name="connsiteY6" fmla="*/ 65075 h 65740"/>
                <a:gd name="connsiteX7" fmla="*/ 2650 w 30283"/>
                <a:gd name="connsiteY7" fmla="*/ 65394 h 65740"/>
                <a:gd name="connsiteX8" fmla="*/ 4007 w 30283"/>
                <a:gd name="connsiteY8" fmla="*/ 64729 h 65740"/>
                <a:gd name="connsiteX9" fmla="*/ 17747 w 30283"/>
                <a:gd name="connsiteY9" fmla="*/ 41963 h 65740"/>
                <a:gd name="connsiteX10" fmla="*/ 21101 w 30283"/>
                <a:gd name="connsiteY10" fmla="*/ 34481 h 65740"/>
                <a:gd name="connsiteX11" fmla="*/ 30873 w 30283"/>
                <a:gd name="connsiteY11" fmla="*/ 2530 h 65740"/>
                <a:gd name="connsiteX12" fmla="*/ 31273 w 30283"/>
                <a:gd name="connsiteY12" fmla="*/ 347 h 6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283" h="65740">
                  <a:moveTo>
                    <a:pt x="31273" y="400"/>
                  </a:moveTo>
                  <a:cubicBezTo>
                    <a:pt x="30213" y="62"/>
                    <a:pt x="29126" y="-186"/>
                    <a:pt x="28024" y="-346"/>
                  </a:cubicBezTo>
                  <a:cubicBezTo>
                    <a:pt x="27838" y="640"/>
                    <a:pt x="27652" y="1625"/>
                    <a:pt x="27438" y="2610"/>
                  </a:cubicBezTo>
                  <a:cubicBezTo>
                    <a:pt x="25218" y="13636"/>
                    <a:pt x="21844" y="24398"/>
                    <a:pt x="17374" y="34721"/>
                  </a:cubicBezTo>
                  <a:cubicBezTo>
                    <a:pt x="16309" y="37171"/>
                    <a:pt x="15190" y="39594"/>
                    <a:pt x="13992" y="41963"/>
                  </a:cubicBezTo>
                  <a:cubicBezTo>
                    <a:pt x="10400" y="49254"/>
                    <a:pt x="6159" y="56203"/>
                    <a:pt x="1318" y="62732"/>
                  </a:cubicBezTo>
                  <a:cubicBezTo>
                    <a:pt x="767" y="63475"/>
                    <a:pt x="924" y="64524"/>
                    <a:pt x="1664" y="65075"/>
                  </a:cubicBezTo>
                  <a:cubicBezTo>
                    <a:pt x="1952" y="65283"/>
                    <a:pt x="2295" y="65394"/>
                    <a:pt x="2650" y="65394"/>
                  </a:cubicBezTo>
                  <a:cubicBezTo>
                    <a:pt x="3182" y="65405"/>
                    <a:pt x="3688" y="65157"/>
                    <a:pt x="4007" y="64729"/>
                  </a:cubicBezTo>
                  <a:cubicBezTo>
                    <a:pt x="9341" y="57622"/>
                    <a:pt x="13944" y="49994"/>
                    <a:pt x="17747" y="41963"/>
                  </a:cubicBezTo>
                  <a:cubicBezTo>
                    <a:pt x="18945" y="39301"/>
                    <a:pt x="20063" y="36931"/>
                    <a:pt x="21101" y="34481"/>
                  </a:cubicBezTo>
                  <a:cubicBezTo>
                    <a:pt x="25380" y="24172"/>
                    <a:pt x="28653" y="13471"/>
                    <a:pt x="30873" y="2530"/>
                  </a:cubicBezTo>
                  <a:cubicBezTo>
                    <a:pt x="31140" y="1145"/>
                    <a:pt x="31273" y="347"/>
                    <a:pt x="31273" y="347"/>
                  </a:cubicBezTo>
                </a:path>
              </a:pathLst>
            </a:custGeom>
            <a:solidFill>
              <a:srgbClr val="8FD942"/>
            </a:solidFill>
            <a:ln w="2661" cap="flat">
              <a:noFill/>
              <a:prstDash val="solid"/>
              <a:miter/>
            </a:ln>
          </p:spPr>
          <p:txBody>
            <a:bodyPr rtlCol="0" anchor="ctr"/>
            <a:lstStyle/>
            <a:p>
              <a:endParaRPr lang="pl-PL"/>
            </a:p>
          </p:txBody>
        </p:sp>
        <p:sp>
          <p:nvSpPr>
            <p:cNvPr id="121" name="Freeform: Shape 120">
              <a:extLst>
                <a:ext uri="{FF2B5EF4-FFF2-40B4-BE49-F238E27FC236}">
                  <a16:creationId xmlns:a16="http://schemas.microsoft.com/office/drawing/2014/main" id="{0069DF9A-ACA1-413B-80A8-1229785AC116}"/>
                </a:ext>
              </a:extLst>
            </p:cNvPr>
            <p:cNvSpPr/>
            <p:nvPr/>
          </p:nvSpPr>
          <p:spPr>
            <a:xfrm>
              <a:off x="11517500" y="6699685"/>
              <a:ext cx="16773" cy="56738"/>
            </a:xfrm>
            <a:custGeom>
              <a:avLst/>
              <a:gdLst>
                <a:gd name="connsiteX0" fmla="*/ 27995 w 29722"/>
                <a:gd name="connsiteY0" fmla="*/ -239 h 100540"/>
                <a:gd name="connsiteX1" fmla="*/ 27542 w 29722"/>
                <a:gd name="connsiteY1" fmla="*/ -239 h 100540"/>
                <a:gd name="connsiteX2" fmla="*/ 27356 w 29722"/>
                <a:gd name="connsiteY2" fmla="*/ -239 h 100540"/>
                <a:gd name="connsiteX3" fmla="*/ 27356 w 29722"/>
                <a:gd name="connsiteY3" fmla="*/ -239 h 100540"/>
                <a:gd name="connsiteX4" fmla="*/ 24959 w 29722"/>
                <a:gd name="connsiteY4" fmla="*/ 31313 h 100540"/>
                <a:gd name="connsiteX5" fmla="*/ 17691 w 29722"/>
                <a:gd name="connsiteY5" fmla="*/ 62093 h 100540"/>
                <a:gd name="connsiteX6" fmla="*/ 15294 w 29722"/>
                <a:gd name="connsiteY6" fmla="*/ 69095 h 100540"/>
                <a:gd name="connsiteX7" fmla="*/ 3020 w 29722"/>
                <a:gd name="connsiteY7" fmla="*/ 94923 h 100540"/>
                <a:gd name="connsiteX8" fmla="*/ 1289 w 29722"/>
                <a:gd name="connsiteY8" fmla="*/ 97585 h 100540"/>
                <a:gd name="connsiteX9" fmla="*/ 1691 w 29722"/>
                <a:gd name="connsiteY9" fmla="*/ 99886 h 100540"/>
                <a:gd name="connsiteX10" fmla="*/ 1715 w 29722"/>
                <a:gd name="connsiteY10" fmla="*/ 99902 h 100540"/>
                <a:gd name="connsiteX11" fmla="*/ 2647 w 29722"/>
                <a:gd name="connsiteY11" fmla="*/ 100195 h 100540"/>
                <a:gd name="connsiteX12" fmla="*/ 4031 w 29722"/>
                <a:gd name="connsiteY12" fmla="*/ 99449 h 100540"/>
                <a:gd name="connsiteX13" fmla="*/ 6933 w 29722"/>
                <a:gd name="connsiteY13" fmla="*/ 94870 h 100540"/>
                <a:gd name="connsiteX14" fmla="*/ 18835 w 29722"/>
                <a:gd name="connsiteY14" fmla="*/ 69042 h 100540"/>
                <a:gd name="connsiteX15" fmla="*/ 21045 w 29722"/>
                <a:gd name="connsiteY15" fmla="*/ 62386 h 100540"/>
                <a:gd name="connsiteX16" fmla="*/ 28234 w 29722"/>
                <a:gd name="connsiteY16" fmla="*/ 31766 h 100540"/>
                <a:gd name="connsiteX17" fmla="*/ 30711 w 29722"/>
                <a:gd name="connsiteY17" fmla="*/ 293 h 100540"/>
                <a:gd name="connsiteX18" fmla="*/ 30711 w 29722"/>
                <a:gd name="connsiteY18" fmla="*/ 293 h 100540"/>
                <a:gd name="connsiteX19" fmla="*/ 30711 w 29722"/>
                <a:gd name="connsiteY19" fmla="*/ 293 h 100540"/>
                <a:gd name="connsiteX20" fmla="*/ 28048 w 29722"/>
                <a:gd name="connsiteY20" fmla="*/ -346 h 100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722" h="100540">
                  <a:moveTo>
                    <a:pt x="27995" y="-239"/>
                  </a:moveTo>
                  <a:lnTo>
                    <a:pt x="27542" y="-239"/>
                  </a:lnTo>
                  <a:lnTo>
                    <a:pt x="27356" y="-239"/>
                  </a:lnTo>
                  <a:lnTo>
                    <a:pt x="27356" y="-239"/>
                  </a:lnTo>
                  <a:cubicBezTo>
                    <a:pt x="27430" y="10326"/>
                    <a:pt x="26629" y="20881"/>
                    <a:pt x="24959" y="31313"/>
                  </a:cubicBezTo>
                  <a:cubicBezTo>
                    <a:pt x="23330" y="41745"/>
                    <a:pt x="20899" y="52033"/>
                    <a:pt x="17691" y="62093"/>
                  </a:cubicBezTo>
                  <a:cubicBezTo>
                    <a:pt x="16918" y="64462"/>
                    <a:pt x="16120" y="66806"/>
                    <a:pt x="15294" y="69095"/>
                  </a:cubicBezTo>
                  <a:cubicBezTo>
                    <a:pt x="12104" y="78106"/>
                    <a:pt x="7991" y="86759"/>
                    <a:pt x="3020" y="94923"/>
                  </a:cubicBezTo>
                  <a:cubicBezTo>
                    <a:pt x="2434" y="95855"/>
                    <a:pt x="1875" y="96760"/>
                    <a:pt x="1289" y="97585"/>
                  </a:cubicBezTo>
                  <a:cubicBezTo>
                    <a:pt x="764" y="98331"/>
                    <a:pt x="945" y="99361"/>
                    <a:pt x="1691" y="99886"/>
                  </a:cubicBezTo>
                  <a:cubicBezTo>
                    <a:pt x="1699" y="99891"/>
                    <a:pt x="1707" y="99897"/>
                    <a:pt x="1715" y="99902"/>
                  </a:cubicBezTo>
                  <a:cubicBezTo>
                    <a:pt x="1992" y="100086"/>
                    <a:pt x="2314" y="100187"/>
                    <a:pt x="2647" y="100195"/>
                  </a:cubicBezTo>
                  <a:cubicBezTo>
                    <a:pt x="3203" y="100195"/>
                    <a:pt x="3725" y="99915"/>
                    <a:pt x="4031" y="99449"/>
                  </a:cubicBezTo>
                  <a:cubicBezTo>
                    <a:pt x="5016" y="98011"/>
                    <a:pt x="5975" y="96494"/>
                    <a:pt x="6933" y="94870"/>
                  </a:cubicBezTo>
                  <a:cubicBezTo>
                    <a:pt x="11718" y="86661"/>
                    <a:pt x="15704" y="78013"/>
                    <a:pt x="18835" y="69042"/>
                  </a:cubicBezTo>
                  <a:cubicBezTo>
                    <a:pt x="19608" y="66859"/>
                    <a:pt x="20327" y="64649"/>
                    <a:pt x="21045" y="62386"/>
                  </a:cubicBezTo>
                  <a:cubicBezTo>
                    <a:pt x="24211" y="52374"/>
                    <a:pt x="26616" y="42139"/>
                    <a:pt x="28234" y="31766"/>
                  </a:cubicBezTo>
                  <a:cubicBezTo>
                    <a:pt x="29904" y="21357"/>
                    <a:pt x="30732" y="10835"/>
                    <a:pt x="30711" y="293"/>
                  </a:cubicBezTo>
                  <a:lnTo>
                    <a:pt x="30711" y="293"/>
                  </a:lnTo>
                  <a:lnTo>
                    <a:pt x="30711" y="293"/>
                  </a:lnTo>
                  <a:cubicBezTo>
                    <a:pt x="29840" y="19"/>
                    <a:pt x="28948" y="-194"/>
                    <a:pt x="28048" y="-346"/>
                  </a:cubicBezTo>
                </a:path>
              </a:pathLst>
            </a:custGeom>
            <a:solidFill>
              <a:srgbClr val="8FD942"/>
            </a:solidFill>
            <a:ln w="2661" cap="flat">
              <a:noFill/>
              <a:prstDash val="solid"/>
              <a:miter/>
            </a:ln>
          </p:spPr>
          <p:txBody>
            <a:bodyPr rtlCol="0" anchor="ctr"/>
            <a:lstStyle/>
            <a:p>
              <a:endParaRPr lang="pl-PL"/>
            </a:p>
          </p:txBody>
        </p:sp>
        <p:sp>
          <p:nvSpPr>
            <p:cNvPr id="122" name="Freeform: Shape 121">
              <a:extLst>
                <a:ext uri="{FF2B5EF4-FFF2-40B4-BE49-F238E27FC236}">
                  <a16:creationId xmlns:a16="http://schemas.microsoft.com/office/drawing/2014/main" id="{E4D54DEF-F391-4FC6-8198-CA87A4DB6822}"/>
                </a:ext>
              </a:extLst>
            </p:cNvPr>
            <p:cNvSpPr/>
            <p:nvPr/>
          </p:nvSpPr>
          <p:spPr>
            <a:xfrm>
              <a:off x="11531661" y="6691648"/>
              <a:ext cx="16507" cy="68726"/>
            </a:xfrm>
            <a:custGeom>
              <a:avLst/>
              <a:gdLst>
                <a:gd name="connsiteX0" fmla="*/ 30239 w 29251"/>
                <a:gd name="connsiteY0" fmla="*/ 21351 h 121784"/>
                <a:gd name="connsiteX1" fmla="*/ 28934 w 29251"/>
                <a:gd name="connsiteY1" fmla="*/ -296 h 121784"/>
                <a:gd name="connsiteX2" fmla="*/ 25526 w 29251"/>
                <a:gd name="connsiteY2" fmla="*/ -296 h 121784"/>
                <a:gd name="connsiteX3" fmla="*/ 26911 w 29251"/>
                <a:gd name="connsiteY3" fmla="*/ 20313 h 121784"/>
                <a:gd name="connsiteX4" fmla="*/ 24514 w 29251"/>
                <a:gd name="connsiteY4" fmla="*/ 51412 h 121784"/>
                <a:gd name="connsiteX5" fmla="*/ 17911 w 29251"/>
                <a:gd name="connsiteY5" fmla="*/ 81074 h 121784"/>
                <a:gd name="connsiteX6" fmla="*/ 17192 w 29251"/>
                <a:gd name="connsiteY6" fmla="*/ 83417 h 121784"/>
                <a:gd name="connsiteX7" fmla="*/ 6861 w 29251"/>
                <a:gd name="connsiteY7" fmla="*/ 109244 h 121784"/>
                <a:gd name="connsiteX8" fmla="*/ 1270 w 29251"/>
                <a:gd name="connsiteY8" fmla="*/ 118830 h 121784"/>
                <a:gd name="connsiteX9" fmla="*/ 1722 w 29251"/>
                <a:gd name="connsiteY9" fmla="*/ 121146 h 121784"/>
                <a:gd name="connsiteX10" fmla="*/ 2654 w 29251"/>
                <a:gd name="connsiteY10" fmla="*/ 121439 h 121784"/>
                <a:gd name="connsiteX11" fmla="*/ 4039 w 29251"/>
                <a:gd name="connsiteY11" fmla="*/ 120694 h 121784"/>
                <a:gd name="connsiteX12" fmla="*/ 10642 w 29251"/>
                <a:gd name="connsiteY12" fmla="*/ 109244 h 121784"/>
                <a:gd name="connsiteX13" fmla="*/ 20813 w 29251"/>
                <a:gd name="connsiteY13" fmla="*/ 83417 h 121784"/>
                <a:gd name="connsiteX14" fmla="*/ 21239 w 29251"/>
                <a:gd name="connsiteY14" fmla="*/ 82032 h 121784"/>
                <a:gd name="connsiteX15" fmla="*/ 27869 w 29251"/>
                <a:gd name="connsiteY15" fmla="*/ 52557 h 121784"/>
                <a:gd name="connsiteX16" fmla="*/ 30239 w 29251"/>
                <a:gd name="connsiteY16" fmla="*/ 21511 h 121784"/>
                <a:gd name="connsiteX17" fmla="*/ 30239 w 29251"/>
                <a:gd name="connsiteY17" fmla="*/ 21511 h 121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251" h="121784">
                  <a:moveTo>
                    <a:pt x="30239" y="21351"/>
                  </a:moveTo>
                  <a:cubicBezTo>
                    <a:pt x="30207" y="14117"/>
                    <a:pt x="29770" y="6891"/>
                    <a:pt x="28934" y="-296"/>
                  </a:cubicBezTo>
                  <a:cubicBezTo>
                    <a:pt x="27800" y="-362"/>
                    <a:pt x="26660" y="-362"/>
                    <a:pt x="25526" y="-296"/>
                  </a:cubicBezTo>
                  <a:cubicBezTo>
                    <a:pt x="26448" y="6534"/>
                    <a:pt x="26911" y="13419"/>
                    <a:pt x="26911" y="20313"/>
                  </a:cubicBezTo>
                  <a:cubicBezTo>
                    <a:pt x="26898" y="30724"/>
                    <a:pt x="26096" y="41121"/>
                    <a:pt x="24514" y="51412"/>
                  </a:cubicBezTo>
                  <a:cubicBezTo>
                    <a:pt x="22991" y="61437"/>
                    <a:pt x="20784" y="71347"/>
                    <a:pt x="17911" y="81074"/>
                  </a:cubicBezTo>
                  <a:lnTo>
                    <a:pt x="17192" y="83417"/>
                  </a:lnTo>
                  <a:cubicBezTo>
                    <a:pt x="14487" y="92302"/>
                    <a:pt x="11031" y="100942"/>
                    <a:pt x="6861" y="109244"/>
                  </a:cubicBezTo>
                  <a:cubicBezTo>
                    <a:pt x="5189" y="112549"/>
                    <a:pt x="3323" y="115749"/>
                    <a:pt x="1270" y="118830"/>
                  </a:cubicBezTo>
                  <a:cubicBezTo>
                    <a:pt x="761" y="119596"/>
                    <a:pt x="961" y="120630"/>
                    <a:pt x="1722" y="121146"/>
                  </a:cubicBezTo>
                  <a:cubicBezTo>
                    <a:pt x="1999" y="121330"/>
                    <a:pt x="2321" y="121431"/>
                    <a:pt x="2654" y="121439"/>
                  </a:cubicBezTo>
                  <a:cubicBezTo>
                    <a:pt x="3211" y="121436"/>
                    <a:pt x="3730" y="121157"/>
                    <a:pt x="4039" y="120694"/>
                  </a:cubicBezTo>
                  <a:cubicBezTo>
                    <a:pt x="6483" y="117024"/>
                    <a:pt x="8691" y="113198"/>
                    <a:pt x="10642" y="109244"/>
                  </a:cubicBezTo>
                  <a:cubicBezTo>
                    <a:pt x="14729" y="100926"/>
                    <a:pt x="18129" y="92289"/>
                    <a:pt x="20813" y="83417"/>
                  </a:cubicBezTo>
                  <a:cubicBezTo>
                    <a:pt x="20813" y="82938"/>
                    <a:pt x="21080" y="82485"/>
                    <a:pt x="21239" y="82032"/>
                  </a:cubicBezTo>
                  <a:cubicBezTo>
                    <a:pt x="24123" y="72370"/>
                    <a:pt x="26338" y="62523"/>
                    <a:pt x="27869" y="52557"/>
                  </a:cubicBezTo>
                  <a:cubicBezTo>
                    <a:pt x="29483" y="42287"/>
                    <a:pt x="30276" y="31906"/>
                    <a:pt x="30239" y="21511"/>
                  </a:cubicBezTo>
                  <a:lnTo>
                    <a:pt x="30239" y="21511"/>
                  </a:lnTo>
                  <a:close/>
                </a:path>
              </a:pathLst>
            </a:custGeom>
            <a:solidFill>
              <a:srgbClr val="8FD942"/>
            </a:solidFill>
            <a:ln w="2661" cap="flat">
              <a:noFill/>
              <a:prstDash val="solid"/>
              <a:miter/>
            </a:ln>
          </p:spPr>
          <p:txBody>
            <a:bodyPr rtlCol="0" anchor="ctr"/>
            <a:lstStyle/>
            <a:p>
              <a:endParaRPr lang="pl-PL"/>
            </a:p>
          </p:txBody>
        </p:sp>
        <p:sp>
          <p:nvSpPr>
            <p:cNvPr id="123" name="Freeform: Shape 122">
              <a:extLst>
                <a:ext uri="{FF2B5EF4-FFF2-40B4-BE49-F238E27FC236}">
                  <a16:creationId xmlns:a16="http://schemas.microsoft.com/office/drawing/2014/main" id="{E9A913E9-B2EC-4DBA-B31B-996F4CBEA249}"/>
                </a:ext>
              </a:extLst>
            </p:cNvPr>
            <p:cNvSpPr/>
            <p:nvPr/>
          </p:nvSpPr>
          <p:spPr>
            <a:xfrm>
              <a:off x="11646242" y="6644465"/>
              <a:ext cx="64654" cy="65032"/>
            </a:xfrm>
            <a:custGeom>
              <a:avLst/>
              <a:gdLst>
                <a:gd name="connsiteX0" fmla="*/ 989 w 114568"/>
                <a:gd name="connsiteY0" fmla="*/ 56475 h 115237"/>
                <a:gd name="connsiteX1" fmla="*/ 60738 w 114568"/>
                <a:gd name="connsiteY1" fmla="*/ 114892 h 115237"/>
                <a:gd name="connsiteX2" fmla="*/ 112233 w 114568"/>
                <a:gd name="connsiteY2" fmla="*/ 83340 h 115237"/>
                <a:gd name="connsiteX3" fmla="*/ 105550 w 114568"/>
                <a:gd name="connsiteY3" fmla="*/ 75219 h 115237"/>
                <a:gd name="connsiteX4" fmla="*/ 87870 w 114568"/>
                <a:gd name="connsiteY4" fmla="*/ 75219 h 115237"/>
                <a:gd name="connsiteX5" fmla="*/ 79057 w 114568"/>
                <a:gd name="connsiteY5" fmla="*/ 80545 h 115237"/>
                <a:gd name="connsiteX6" fmla="*/ 59833 w 114568"/>
                <a:gd name="connsiteY6" fmla="*/ 87361 h 115237"/>
                <a:gd name="connsiteX7" fmla="*/ 37440 w 114568"/>
                <a:gd name="connsiteY7" fmla="*/ 72850 h 115237"/>
                <a:gd name="connsiteX8" fmla="*/ 35523 w 114568"/>
                <a:gd name="connsiteY8" fmla="*/ 66646 h 115237"/>
                <a:gd name="connsiteX9" fmla="*/ 109011 w 114568"/>
                <a:gd name="connsiteY9" fmla="*/ 66646 h 115237"/>
                <a:gd name="connsiteX10" fmla="*/ 115447 w 114568"/>
                <a:gd name="connsiteY10" fmla="*/ 61488 h 115237"/>
                <a:gd name="connsiteX11" fmla="*/ 115481 w 114568"/>
                <a:gd name="connsiteY11" fmla="*/ 60895 h 115237"/>
                <a:gd name="connsiteX12" fmla="*/ 60685 w 114568"/>
                <a:gd name="connsiteY12" fmla="*/ -346 h 115237"/>
                <a:gd name="connsiteX13" fmla="*/ 989 w 114568"/>
                <a:gd name="connsiteY13" fmla="*/ 56368 h 115237"/>
                <a:gd name="connsiteX14" fmla="*/ 59380 w 114568"/>
                <a:gd name="connsiteY14" fmla="*/ 26946 h 115237"/>
                <a:gd name="connsiteX15" fmla="*/ 81533 w 114568"/>
                <a:gd name="connsiteY15" fmla="*/ 46303 h 115237"/>
                <a:gd name="connsiteX16" fmla="*/ 42605 w 114568"/>
                <a:gd name="connsiteY16" fmla="*/ 46303 h 115237"/>
                <a:gd name="connsiteX17" fmla="*/ 35683 w 114568"/>
                <a:gd name="connsiteY17" fmla="*/ 46303 h 115237"/>
                <a:gd name="connsiteX18" fmla="*/ 59380 w 114568"/>
                <a:gd name="connsiteY18" fmla="*/ 26973 h 11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4568" h="115237">
                  <a:moveTo>
                    <a:pt x="989" y="56475"/>
                  </a:moveTo>
                  <a:cubicBezTo>
                    <a:pt x="989" y="91089"/>
                    <a:pt x="27322" y="114892"/>
                    <a:pt x="60738" y="114892"/>
                  </a:cubicBezTo>
                  <a:cubicBezTo>
                    <a:pt x="87364" y="114892"/>
                    <a:pt x="105789" y="101446"/>
                    <a:pt x="112233" y="83340"/>
                  </a:cubicBezTo>
                  <a:cubicBezTo>
                    <a:pt x="113963" y="78415"/>
                    <a:pt x="110742" y="75219"/>
                    <a:pt x="105550" y="75219"/>
                  </a:cubicBezTo>
                  <a:lnTo>
                    <a:pt x="87870" y="75219"/>
                  </a:lnTo>
                  <a:cubicBezTo>
                    <a:pt x="83796" y="75219"/>
                    <a:pt x="81639" y="77350"/>
                    <a:pt x="79057" y="80545"/>
                  </a:cubicBezTo>
                  <a:cubicBezTo>
                    <a:pt x="75808" y="84379"/>
                    <a:pt x="69098" y="87361"/>
                    <a:pt x="59833" y="87361"/>
                  </a:cubicBezTo>
                  <a:cubicBezTo>
                    <a:pt x="50034" y="87806"/>
                    <a:pt x="41037" y="81975"/>
                    <a:pt x="37440" y="72850"/>
                  </a:cubicBezTo>
                  <a:cubicBezTo>
                    <a:pt x="36641" y="70834"/>
                    <a:pt x="35999" y="68760"/>
                    <a:pt x="35523" y="66646"/>
                  </a:cubicBezTo>
                  <a:lnTo>
                    <a:pt x="109011" y="66646"/>
                  </a:lnTo>
                  <a:cubicBezTo>
                    <a:pt x="112212" y="67000"/>
                    <a:pt x="115092" y="64689"/>
                    <a:pt x="115447" y="61488"/>
                  </a:cubicBezTo>
                  <a:cubicBezTo>
                    <a:pt x="115468" y="61291"/>
                    <a:pt x="115479" y="61094"/>
                    <a:pt x="115481" y="60895"/>
                  </a:cubicBezTo>
                  <a:cubicBezTo>
                    <a:pt x="117185" y="22926"/>
                    <a:pt x="89787" y="-346"/>
                    <a:pt x="60685" y="-346"/>
                  </a:cubicBezTo>
                  <a:cubicBezTo>
                    <a:pt x="26070" y="-346"/>
                    <a:pt x="989" y="22233"/>
                    <a:pt x="989" y="56368"/>
                  </a:cubicBezTo>
                  <a:moveTo>
                    <a:pt x="59380" y="26946"/>
                  </a:moveTo>
                  <a:cubicBezTo>
                    <a:pt x="79616" y="26946"/>
                    <a:pt x="81533" y="46303"/>
                    <a:pt x="81533" y="46303"/>
                  </a:cubicBezTo>
                  <a:lnTo>
                    <a:pt x="42605" y="46303"/>
                  </a:lnTo>
                  <a:lnTo>
                    <a:pt x="35683" y="46303"/>
                  </a:lnTo>
                  <a:cubicBezTo>
                    <a:pt x="35683" y="46303"/>
                    <a:pt x="39171" y="26973"/>
                    <a:pt x="59380" y="26973"/>
                  </a:cubicBezTo>
                </a:path>
              </a:pathLst>
            </a:custGeom>
            <a:solidFill>
              <a:srgbClr val="FFFFFF"/>
            </a:solidFill>
            <a:ln w="2661" cap="flat">
              <a:noFill/>
              <a:prstDash val="solid"/>
              <a:miter/>
            </a:ln>
          </p:spPr>
          <p:txBody>
            <a:bodyPr rtlCol="0" anchor="ctr"/>
            <a:lstStyle/>
            <a:p>
              <a:endParaRPr lang="pl-PL"/>
            </a:p>
          </p:txBody>
        </p:sp>
        <p:sp>
          <p:nvSpPr>
            <p:cNvPr id="124" name="Freeform: Shape 123">
              <a:extLst>
                <a:ext uri="{FF2B5EF4-FFF2-40B4-BE49-F238E27FC236}">
                  <a16:creationId xmlns:a16="http://schemas.microsoft.com/office/drawing/2014/main" id="{A66EDCEE-BFF5-4FE3-8C4A-97F5C80796F1}"/>
                </a:ext>
              </a:extLst>
            </p:cNvPr>
            <p:cNvSpPr/>
            <p:nvPr/>
          </p:nvSpPr>
          <p:spPr>
            <a:xfrm>
              <a:off x="11719462" y="6644495"/>
              <a:ext cx="64897" cy="89810"/>
            </a:xfrm>
            <a:custGeom>
              <a:avLst/>
              <a:gdLst>
                <a:gd name="connsiteX0" fmla="*/ 115987 w 114998"/>
                <a:gd name="connsiteY0" fmla="*/ 57140 h 159144"/>
                <a:gd name="connsiteX1" fmla="*/ 58501 w 114998"/>
                <a:gd name="connsiteY1" fmla="*/ -346 h 159144"/>
                <a:gd name="connsiteX2" fmla="*/ 58475 w 114998"/>
                <a:gd name="connsiteY2" fmla="*/ -346 h 159144"/>
                <a:gd name="connsiteX3" fmla="*/ 29958 w 114998"/>
                <a:gd name="connsiteY3" fmla="*/ 7269 h 159144"/>
                <a:gd name="connsiteX4" fmla="*/ 23142 w 114998"/>
                <a:gd name="connsiteY4" fmla="*/ 1784 h 159144"/>
                <a:gd name="connsiteX5" fmla="*/ 8178 w 114998"/>
                <a:gd name="connsiteY5" fmla="*/ 1784 h 159144"/>
                <a:gd name="connsiteX6" fmla="*/ 989 w 114998"/>
                <a:gd name="connsiteY6" fmla="*/ 8947 h 159144"/>
                <a:gd name="connsiteX7" fmla="*/ 989 w 114998"/>
                <a:gd name="connsiteY7" fmla="*/ 57114 h 159144"/>
                <a:gd name="connsiteX8" fmla="*/ 989 w 114998"/>
                <a:gd name="connsiteY8" fmla="*/ 57114 h 159144"/>
                <a:gd name="connsiteX9" fmla="*/ 989 w 114998"/>
                <a:gd name="connsiteY9" fmla="*/ 151610 h 159144"/>
                <a:gd name="connsiteX10" fmla="*/ 8178 w 114998"/>
                <a:gd name="connsiteY10" fmla="*/ 158799 h 159144"/>
                <a:gd name="connsiteX11" fmla="*/ 23142 w 114998"/>
                <a:gd name="connsiteY11" fmla="*/ 158799 h 159144"/>
                <a:gd name="connsiteX12" fmla="*/ 30304 w 114998"/>
                <a:gd name="connsiteY12" fmla="*/ 151610 h 159144"/>
                <a:gd name="connsiteX13" fmla="*/ 30304 w 114998"/>
                <a:gd name="connsiteY13" fmla="*/ 107197 h 159144"/>
                <a:gd name="connsiteX14" fmla="*/ 58475 w 114998"/>
                <a:gd name="connsiteY14" fmla="*/ 114599 h 159144"/>
                <a:gd name="connsiteX15" fmla="*/ 115934 w 114998"/>
                <a:gd name="connsiteY15" fmla="*/ 57140 h 159144"/>
                <a:gd name="connsiteX16" fmla="*/ 86432 w 114998"/>
                <a:gd name="connsiteY16" fmla="*/ 57140 h 159144"/>
                <a:gd name="connsiteX17" fmla="*/ 58475 w 114998"/>
                <a:gd name="connsiteY17" fmla="*/ 85098 h 159144"/>
                <a:gd name="connsiteX18" fmla="*/ 30491 w 114998"/>
                <a:gd name="connsiteY18" fmla="*/ 57140 h 159144"/>
                <a:gd name="connsiteX19" fmla="*/ 58475 w 114998"/>
                <a:gd name="connsiteY19" fmla="*/ 29156 h 159144"/>
                <a:gd name="connsiteX20" fmla="*/ 86432 w 114998"/>
                <a:gd name="connsiteY20" fmla="*/ 57140 h 159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998" h="159144">
                  <a:moveTo>
                    <a:pt x="115987" y="57140"/>
                  </a:moveTo>
                  <a:cubicBezTo>
                    <a:pt x="115987" y="25391"/>
                    <a:pt x="90250" y="-346"/>
                    <a:pt x="58501" y="-346"/>
                  </a:cubicBezTo>
                  <a:cubicBezTo>
                    <a:pt x="58493" y="-346"/>
                    <a:pt x="58483" y="-346"/>
                    <a:pt x="58475" y="-346"/>
                  </a:cubicBezTo>
                  <a:cubicBezTo>
                    <a:pt x="48466" y="-346"/>
                    <a:pt x="38633" y="2280"/>
                    <a:pt x="29958" y="7269"/>
                  </a:cubicBezTo>
                  <a:cubicBezTo>
                    <a:pt x="29220" y="4088"/>
                    <a:pt x="26406" y="1824"/>
                    <a:pt x="23142" y="1784"/>
                  </a:cubicBezTo>
                  <a:lnTo>
                    <a:pt x="8178" y="1784"/>
                  </a:lnTo>
                  <a:cubicBezTo>
                    <a:pt x="4224" y="1798"/>
                    <a:pt x="1018" y="4993"/>
                    <a:pt x="989" y="8947"/>
                  </a:cubicBezTo>
                  <a:lnTo>
                    <a:pt x="989" y="57114"/>
                  </a:lnTo>
                  <a:lnTo>
                    <a:pt x="989" y="57114"/>
                  </a:lnTo>
                  <a:lnTo>
                    <a:pt x="989" y="151610"/>
                  </a:lnTo>
                  <a:cubicBezTo>
                    <a:pt x="1002" y="155574"/>
                    <a:pt x="4213" y="158786"/>
                    <a:pt x="8178" y="158799"/>
                  </a:cubicBezTo>
                  <a:lnTo>
                    <a:pt x="23142" y="158799"/>
                  </a:lnTo>
                  <a:cubicBezTo>
                    <a:pt x="27096" y="158770"/>
                    <a:pt x="30291" y="155564"/>
                    <a:pt x="30304" y="151610"/>
                  </a:cubicBezTo>
                  <a:lnTo>
                    <a:pt x="30304" y="107197"/>
                  </a:lnTo>
                  <a:cubicBezTo>
                    <a:pt x="38899" y="112051"/>
                    <a:pt x="48604" y="114602"/>
                    <a:pt x="58475" y="114599"/>
                  </a:cubicBezTo>
                  <a:cubicBezTo>
                    <a:pt x="90208" y="114599"/>
                    <a:pt x="115934" y="88873"/>
                    <a:pt x="115934" y="57140"/>
                  </a:cubicBezTo>
                  <a:moveTo>
                    <a:pt x="86432" y="57140"/>
                  </a:moveTo>
                  <a:cubicBezTo>
                    <a:pt x="86432" y="72581"/>
                    <a:pt x="73915" y="85098"/>
                    <a:pt x="58475" y="85098"/>
                  </a:cubicBezTo>
                  <a:cubicBezTo>
                    <a:pt x="43029" y="85098"/>
                    <a:pt x="30506" y="72586"/>
                    <a:pt x="30491" y="57140"/>
                  </a:cubicBezTo>
                  <a:cubicBezTo>
                    <a:pt x="30504" y="41692"/>
                    <a:pt x="43026" y="29172"/>
                    <a:pt x="58475" y="29156"/>
                  </a:cubicBezTo>
                  <a:cubicBezTo>
                    <a:pt x="73921" y="29172"/>
                    <a:pt x="86432" y="41694"/>
                    <a:pt x="86432" y="57140"/>
                  </a:cubicBezTo>
                </a:path>
              </a:pathLst>
            </a:custGeom>
            <a:solidFill>
              <a:srgbClr val="FFFFFF"/>
            </a:solidFill>
            <a:ln w="2661" cap="flat">
              <a:noFill/>
              <a:prstDash val="solid"/>
              <a:miter/>
            </a:ln>
          </p:spPr>
          <p:txBody>
            <a:bodyPr rtlCol="0" anchor="ctr"/>
            <a:lstStyle/>
            <a:p>
              <a:endParaRPr lang="pl-PL"/>
            </a:p>
          </p:txBody>
        </p:sp>
        <p:sp>
          <p:nvSpPr>
            <p:cNvPr id="125" name="Freeform: Shape 124">
              <a:extLst>
                <a:ext uri="{FF2B5EF4-FFF2-40B4-BE49-F238E27FC236}">
                  <a16:creationId xmlns:a16="http://schemas.microsoft.com/office/drawing/2014/main" id="{434F5EA5-9728-494A-B3FC-6C00B2EF457F}"/>
                </a:ext>
              </a:extLst>
            </p:cNvPr>
            <p:cNvSpPr/>
            <p:nvPr/>
          </p:nvSpPr>
          <p:spPr>
            <a:xfrm>
              <a:off x="11792669" y="6644495"/>
              <a:ext cx="64867" cy="64867"/>
            </a:xfrm>
            <a:custGeom>
              <a:avLst/>
              <a:gdLst>
                <a:gd name="connsiteX0" fmla="*/ 115934 w 114945"/>
                <a:gd name="connsiteY0" fmla="*/ 64596 h 114945"/>
                <a:gd name="connsiteX1" fmla="*/ 115934 w 114945"/>
                <a:gd name="connsiteY1" fmla="*/ 49632 h 114945"/>
                <a:gd name="connsiteX2" fmla="*/ 108745 w 114945"/>
                <a:gd name="connsiteY2" fmla="*/ 42443 h 114945"/>
                <a:gd name="connsiteX3" fmla="*/ 73119 w 114945"/>
                <a:gd name="connsiteY3" fmla="*/ 42443 h 114945"/>
                <a:gd name="connsiteX4" fmla="*/ 73119 w 114945"/>
                <a:gd name="connsiteY4" fmla="*/ 6843 h 114945"/>
                <a:gd name="connsiteX5" fmla="*/ 65930 w 114945"/>
                <a:gd name="connsiteY5" fmla="*/ -346 h 114945"/>
                <a:gd name="connsiteX6" fmla="*/ 50993 w 114945"/>
                <a:gd name="connsiteY6" fmla="*/ -346 h 114945"/>
                <a:gd name="connsiteX7" fmla="*/ 43804 w 114945"/>
                <a:gd name="connsiteY7" fmla="*/ 6843 h 114945"/>
                <a:gd name="connsiteX8" fmla="*/ 43804 w 114945"/>
                <a:gd name="connsiteY8" fmla="*/ 42469 h 114945"/>
                <a:gd name="connsiteX9" fmla="*/ 8178 w 114945"/>
                <a:gd name="connsiteY9" fmla="*/ 42469 h 114945"/>
                <a:gd name="connsiteX10" fmla="*/ 989 w 114945"/>
                <a:gd name="connsiteY10" fmla="*/ 49658 h 114945"/>
                <a:gd name="connsiteX11" fmla="*/ 989 w 114945"/>
                <a:gd name="connsiteY11" fmla="*/ 64596 h 114945"/>
                <a:gd name="connsiteX12" fmla="*/ 8178 w 114945"/>
                <a:gd name="connsiteY12" fmla="*/ 71785 h 114945"/>
                <a:gd name="connsiteX13" fmla="*/ 43804 w 114945"/>
                <a:gd name="connsiteY13" fmla="*/ 71785 h 114945"/>
                <a:gd name="connsiteX14" fmla="*/ 43804 w 114945"/>
                <a:gd name="connsiteY14" fmla="*/ 107410 h 114945"/>
                <a:gd name="connsiteX15" fmla="*/ 50993 w 114945"/>
                <a:gd name="connsiteY15" fmla="*/ 114599 h 114945"/>
                <a:gd name="connsiteX16" fmla="*/ 65930 w 114945"/>
                <a:gd name="connsiteY16" fmla="*/ 114599 h 114945"/>
                <a:gd name="connsiteX17" fmla="*/ 73119 w 114945"/>
                <a:gd name="connsiteY17" fmla="*/ 107410 h 114945"/>
                <a:gd name="connsiteX18" fmla="*/ 73119 w 114945"/>
                <a:gd name="connsiteY18" fmla="*/ 71785 h 114945"/>
                <a:gd name="connsiteX19" fmla="*/ 108745 w 114945"/>
                <a:gd name="connsiteY19" fmla="*/ 71785 h 114945"/>
                <a:gd name="connsiteX20" fmla="*/ 115934 w 114945"/>
                <a:gd name="connsiteY20" fmla="*/ 64596 h 114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945" h="114945">
                  <a:moveTo>
                    <a:pt x="115934" y="64596"/>
                  </a:moveTo>
                  <a:lnTo>
                    <a:pt x="115934" y="49632"/>
                  </a:lnTo>
                  <a:cubicBezTo>
                    <a:pt x="115918" y="45667"/>
                    <a:pt x="112709" y="42456"/>
                    <a:pt x="108745" y="42443"/>
                  </a:cubicBezTo>
                  <a:lnTo>
                    <a:pt x="73119" y="42443"/>
                  </a:lnTo>
                  <a:lnTo>
                    <a:pt x="73119" y="6843"/>
                  </a:lnTo>
                  <a:cubicBezTo>
                    <a:pt x="73103" y="2879"/>
                    <a:pt x="69894" y="-332"/>
                    <a:pt x="65930" y="-346"/>
                  </a:cubicBezTo>
                  <a:lnTo>
                    <a:pt x="50993" y="-346"/>
                  </a:lnTo>
                  <a:cubicBezTo>
                    <a:pt x="47028" y="-330"/>
                    <a:pt x="43817" y="2879"/>
                    <a:pt x="43804" y="6843"/>
                  </a:cubicBezTo>
                  <a:lnTo>
                    <a:pt x="43804" y="42469"/>
                  </a:lnTo>
                  <a:lnTo>
                    <a:pt x="8178" y="42469"/>
                  </a:lnTo>
                  <a:cubicBezTo>
                    <a:pt x="4213" y="42483"/>
                    <a:pt x="1002" y="45694"/>
                    <a:pt x="989" y="49658"/>
                  </a:cubicBezTo>
                  <a:lnTo>
                    <a:pt x="989" y="64596"/>
                  </a:lnTo>
                  <a:cubicBezTo>
                    <a:pt x="1002" y="68560"/>
                    <a:pt x="4213" y="71771"/>
                    <a:pt x="8178" y="71785"/>
                  </a:cubicBezTo>
                  <a:lnTo>
                    <a:pt x="43804" y="71785"/>
                  </a:lnTo>
                  <a:lnTo>
                    <a:pt x="43804" y="107410"/>
                  </a:lnTo>
                  <a:cubicBezTo>
                    <a:pt x="43820" y="111375"/>
                    <a:pt x="47028" y="114586"/>
                    <a:pt x="50993" y="114599"/>
                  </a:cubicBezTo>
                  <a:lnTo>
                    <a:pt x="65930" y="114599"/>
                  </a:lnTo>
                  <a:cubicBezTo>
                    <a:pt x="69900" y="114599"/>
                    <a:pt x="73119" y="111380"/>
                    <a:pt x="73119" y="107410"/>
                  </a:cubicBezTo>
                  <a:lnTo>
                    <a:pt x="73119" y="71785"/>
                  </a:lnTo>
                  <a:lnTo>
                    <a:pt x="108745" y="71785"/>
                  </a:lnTo>
                  <a:cubicBezTo>
                    <a:pt x="112709" y="71771"/>
                    <a:pt x="115918" y="68560"/>
                    <a:pt x="115934" y="64596"/>
                  </a:cubicBezTo>
                </a:path>
              </a:pathLst>
            </a:custGeom>
            <a:solidFill>
              <a:srgbClr val="8FDB42"/>
            </a:solidFill>
            <a:ln w="2661" cap="flat">
              <a:noFill/>
              <a:prstDash val="solid"/>
              <a:miter/>
            </a:ln>
          </p:spPr>
          <p:txBody>
            <a:bodyPr rtlCol="0" anchor="ctr"/>
            <a:lstStyle/>
            <a:p>
              <a:endParaRPr lang="pl-PL"/>
            </a:p>
          </p:txBody>
        </p:sp>
        <p:sp>
          <p:nvSpPr>
            <p:cNvPr id="126" name="Freeform: Shape 125">
              <a:extLst>
                <a:ext uri="{FF2B5EF4-FFF2-40B4-BE49-F238E27FC236}">
                  <a16:creationId xmlns:a16="http://schemas.microsoft.com/office/drawing/2014/main" id="{7033FBB1-AC24-4484-AB26-C8BFDDDEB074}"/>
                </a:ext>
              </a:extLst>
            </p:cNvPr>
            <p:cNvSpPr/>
            <p:nvPr/>
          </p:nvSpPr>
          <p:spPr>
            <a:xfrm>
              <a:off x="11574954" y="6644781"/>
              <a:ext cx="64867" cy="89524"/>
            </a:xfrm>
            <a:custGeom>
              <a:avLst/>
              <a:gdLst>
                <a:gd name="connsiteX0" fmla="*/ 115934 w 114945"/>
                <a:gd name="connsiteY0" fmla="*/ 57114 h 158638"/>
                <a:gd name="connsiteX1" fmla="*/ 58475 w 114945"/>
                <a:gd name="connsiteY1" fmla="*/ -346 h 158638"/>
                <a:gd name="connsiteX2" fmla="*/ 29905 w 114945"/>
                <a:gd name="connsiteY2" fmla="*/ 7296 h 158638"/>
                <a:gd name="connsiteX3" fmla="*/ 23115 w 114945"/>
                <a:gd name="connsiteY3" fmla="*/ 2131 h 158638"/>
                <a:gd name="connsiteX4" fmla="*/ 8178 w 114945"/>
                <a:gd name="connsiteY4" fmla="*/ 2131 h 158638"/>
                <a:gd name="connsiteX5" fmla="*/ 989 w 114945"/>
                <a:gd name="connsiteY5" fmla="*/ 9320 h 158638"/>
                <a:gd name="connsiteX6" fmla="*/ 989 w 114945"/>
                <a:gd name="connsiteY6" fmla="*/ 57114 h 158638"/>
                <a:gd name="connsiteX7" fmla="*/ 989 w 114945"/>
                <a:gd name="connsiteY7" fmla="*/ 57114 h 158638"/>
                <a:gd name="connsiteX8" fmla="*/ 989 w 114945"/>
                <a:gd name="connsiteY8" fmla="*/ 151104 h 158638"/>
                <a:gd name="connsiteX9" fmla="*/ 8178 w 114945"/>
                <a:gd name="connsiteY9" fmla="*/ 158293 h 158638"/>
                <a:gd name="connsiteX10" fmla="*/ 23115 w 114945"/>
                <a:gd name="connsiteY10" fmla="*/ 158293 h 158638"/>
                <a:gd name="connsiteX11" fmla="*/ 30304 w 114945"/>
                <a:gd name="connsiteY11" fmla="*/ 151104 h 158638"/>
                <a:gd name="connsiteX12" fmla="*/ 30304 w 114945"/>
                <a:gd name="connsiteY12" fmla="*/ 107171 h 158638"/>
                <a:gd name="connsiteX13" fmla="*/ 58475 w 114945"/>
                <a:gd name="connsiteY13" fmla="*/ 114573 h 158638"/>
                <a:gd name="connsiteX14" fmla="*/ 115934 w 114945"/>
                <a:gd name="connsiteY14" fmla="*/ 57114 h 158638"/>
                <a:gd name="connsiteX15" fmla="*/ 86432 w 114945"/>
                <a:gd name="connsiteY15" fmla="*/ 57114 h 158638"/>
                <a:gd name="connsiteX16" fmla="*/ 58475 w 114945"/>
                <a:gd name="connsiteY16" fmla="*/ 85098 h 158638"/>
                <a:gd name="connsiteX17" fmla="*/ 30491 w 114945"/>
                <a:gd name="connsiteY17" fmla="*/ 57114 h 158638"/>
                <a:gd name="connsiteX18" fmla="*/ 58475 w 114945"/>
                <a:gd name="connsiteY18" fmla="*/ 29156 h 158638"/>
                <a:gd name="connsiteX19" fmla="*/ 86432 w 114945"/>
                <a:gd name="connsiteY19" fmla="*/ 57114 h 158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4945" h="158638">
                  <a:moveTo>
                    <a:pt x="115934" y="57114"/>
                  </a:moveTo>
                  <a:cubicBezTo>
                    <a:pt x="115934" y="25381"/>
                    <a:pt x="90208" y="-346"/>
                    <a:pt x="58475" y="-346"/>
                  </a:cubicBezTo>
                  <a:cubicBezTo>
                    <a:pt x="48447" y="-340"/>
                    <a:pt x="38596" y="2293"/>
                    <a:pt x="29905" y="7296"/>
                  </a:cubicBezTo>
                  <a:cubicBezTo>
                    <a:pt x="29034" y="4261"/>
                    <a:pt x="26273" y="2160"/>
                    <a:pt x="23115" y="2131"/>
                  </a:cubicBezTo>
                  <a:lnTo>
                    <a:pt x="8178" y="2131"/>
                  </a:lnTo>
                  <a:cubicBezTo>
                    <a:pt x="4213" y="2144"/>
                    <a:pt x="1002" y="5355"/>
                    <a:pt x="989" y="9320"/>
                  </a:cubicBezTo>
                  <a:lnTo>
                    <a:pt x="989" y="57114"/>
                  </a:lnTo>
                  <a:lnTo>
                    <a:pt x="989" y="57114"/>
                  </a:lnTo>
                  <a:lnTo>
                    <a:pt x="989" y="151104"/>
                  </a:lnTo>
                  <a:cubicBezTo>
                    <a:pt x="1002" y="155069"/>
                    <a:pt x="4213" y="158280"/>
                    <a:pt x="8178" y="158293"/>
                  </a:cubicBezTo>
                  <a:lnTo>
                    <a:pt x="23115" y="158293"/>
                  </a:lnTo>
                  <a:cubicBezTo>
                    <a:pt x="27080" y="158280"/>
                    <a:pt x="30291" y="155069"/>
                    <a:pt x="30304" y="151104"/>
                  </a:cubicBezTo>
                  <a:lnTo>
                    <a:pt x="30304" y="107171"/>
                  </a:lnTo>
                  <a:cubicBezTo>
                    <a:pt x="38899" y="112025"/>
                    <a:pt x="48604" y="114575"/>
                    <a:pt x="58475" y="114573"/>
                  </a:cubicBezTo>
                  <a:cubicBezTo>
                    <a:pt x="90202" y="114557"/>
                    <a:pt x="115918" y="88841"/>
                    <a:pt x="115934" y="57114"/>
                  </a:cubicBezTo>
                  <a:moveTo>
                    <a:pt x="86432" y="57114"/>
                  </a:moveTo>
                  <a:cubicBezTo>
                    <a:pt x="86432" y="72559"/>
                    <a:pt x="73920" y="85082"/>
                    <a:pt x="58475" y="85098"/>
                  </a:cubicBezTo>
                  <a:cubicBezTo>
                    <a:pt x="43026" y="85082"/>
                    <a:pt x="30506" y="72562"/>
                    <a:pt x="30491" y="57114"/>
                  </a:cubicBezTo>
                  <a:cubicBezTo>
                    <a:pt x="30506" y="41668"/>
                    <a:pt x="43029" y="29156"/>
                    <a:pt x="58475" y="29156"/>
                  </a:cubicBezTo>
                  <a:cubicBezTo>
                    <a:pt x="73915" y="29156"/>
                    <a:pt x="86432" y="41673"/>
                    <a:pt x="86432" y="57114"/>
                  </a:cubicBezTo>
                </a:path>
              </a:pathLst>
            </a:custGeom>
            <a:solidFill>
              <a:srgbClr val="FFFFFF"/>
            </a:solidFill>
            <a:ln w="2661" cap="flat">
              <a:noFill/>
              <a:prstDash val="solid"/>
              <a:miter/>
            </a:ln>
          </p:spPr>
          <p:txBody>
            <a:bodyPr rtlCol="0" anchor="ctr"/>
            <a:lstStyle/>
            <a:p>
              <a:endParaRPr lang="pl-PL"/>
            </a:p>
          </p:txBody>
        </p:sp>
        <p:sp>
          <p:nvSpPr>
            <p:cNvPr id="127" name="Freeform: Shape 126">
              <a:extLst>
                <a:ext uri="{FF2B5EF4-FFF2-40B4-BE49-F238E27FC236}">
                  <a16:creationId xmlns:a16="http://schemas.microsoft.com/office/drawing/2014/main" id="{960E4C65-07A0-426B-B5B8-414CC254B107}"/>
                </a:ext>
              </a:extLst>
            </p:cNvPr>
            <p:cNvSpPr/>
            <p:nvPr/>
          </p:nvSpPr>
          <p:spPr>
            <a:xfrm>
              <a:off x="11574969" y="6750860"/>
              <a:ext cx="19691" cy="26558"/>
            </a:xfrm>
            <a:custGeom>
              <a:avLst/>
              <a:gdLst>
                <a:gd name="connsiteX0" fmla="*/ 1103 w 34893"/>
                <a:gd name="connsiteY0" fmla="*/ 44632 h 47062"/>
                <a:gd name="connsiteX1" fmla="*/ 1103 w 34893"/>
                <a:gd name="connsiteY1" fmla="*/ 2270 h 47062"/>
                <a:gd name="connsiteX2" fmla="*/ 2765 w 34893"/>
                <a:gd name="connsiteY2" fmla="*/ 273 h 47062"/>
                <a:gd name="connsiteX3" fmla="*/ 3100 w 34893"/>
                <a:gd name="connsiteY3" fmla="*/ 273 h 47062"/>
                <a:gd name="connsiteX4" fmla="*/ 5124 w 34893"/>
                <a:gd name="connsiteY4" fmla="*/ 273 h 47062"/>
                <a:gd name="connsiteX5" fmla="*/ 7387 w 34893"/>
                <a:gd name="connsiteY5" fmla="*/ 1897 h 47062"/>
                <a:gd name="connsiteX6" fmla="*/ 9704 w 34893"/>
                <a:gd name="connsiteY6" fmla="*/ 2589 h 47062"/>
                <a:gd name="connsiteX7" fmla="*/ 19316 w 34893"/>
                <a:gd name="connsiteY7" fmla="*/ -339 h 47062"/>
                <a:gd name="connsiteX8" fmla="*/ 35880 w 34893"/>
                <a:gd name="connsiteY8" fmla="*/ 16060 h 47062"/>
                <a:gd name="connsiteX9" fmla="*/ 35877 w 34893"/>
                <a:gd name="connsiteY9" fmla="*/ 16462 h 47062"/>
                <a:gd name="connsiteX10" fmla="*/ 19667 w 34893"/>
                <a:gd name="connsiteY10" fmla="*/ 33524 h 47062"/>
                <a:gd name="connsiteX11" fmla="*/ 19182 w 34893"/>
                <a:gd name="connsiteY11" fmla="*/ 33529 h 47062"/>
                <a:gd name="connsiteX12" fmla="*/ 11195 w 34893"/>
                <a:gd name="connsiteY12" fmla="*/ 31585 h 47062"/>
                <a:gd name="connsiteX13" fmla="*/ 9118 w 34893"/>
                <a:gd name="connsiteY13" fmla="*/ 32597 h 47062"/>
                <a:gd name="connsiteX14" fmla="*/ 9118 w 34893"/>
                <a:gd name="connsiteY14" fmla="*/ 44712 h 47062"/>
                <a:gd name="connsiteX15" fmla="*/ 7456 w 34893"/>
                <a:gd name="connsiteY15" fmla="*/ 46709 h 47062"/>
                <a:gd name="connsiteX16" fmla="*/ 7121 w 34893"/>
                <a:gd name="connsiteY16" fmla="*/ 46709 h 47062"/>
                <a:gd name="connsiteX17" fmla="*/ 2994 w 34893"/>
                <a:gd name="connsiteY17" fmla="*/ 46709 h 47062"/>
                <a:gd name="connsiteX18" fmla="*/ 997 w 34893"/>
                <a:gd name="connsiteY18" fmla="*/ 45048 h 47062"/>
                <a:gd name="connsiteX19" fmla="*/ 997 w 34893"/>
                <a:gd name="connsiteY19" fmla="*/ 44712 h 47062"/>
                <a:gd name="connsiteX20" fmla="*/ 10236 w 34893"/>
                <a:gd name="connsiteY20" fmla="*/ 22106 h 47062"/>
                <a:gd name="connsiteX21" fmla="*/ 18224 w 34893"/>
                <a:gd name="connsiteY21" fmla="*/ 26127 h 47062"/>
                <a:gd name="connsiteX22" fmla="*/ 26968 w 34893"/>
                <a:gd name="connsiteY22" fmla="*/ 16571 h 47062"/>
                <a:gd name="connsiteX23" fmla="*/ 26957 w 34893"/>
                <a:gd name="connsiteY23" fmla="*/ 16382 h 47062"/>
                <a:gd name="connsiteX24" fmla="*/ 18250 w 34893"/>
                <a:gd name="connsiteY24" fmla="*/ 6983 h 47062"/>
                <a:gd name="connsiteX25" fmla="*/ 10263 w 34893"/>
                <a:gd name="connsiteY25" fmla="*/ 10977 h 47062"/>
                <a:gd name="connsiteX26" fmla="*/ 9677 w 34893"/>
                <a:gd name="connsiteY26" fmla="*/ 13133 h 47062"/>
                <a:gd name="connsiteX27" fmla="*/ 9677 w 34893"/>
                <a:gd name="connsiteY27" fmla="*/ 19896 h 47062"/>
                <a:gd name="connsiteX28" fmla="*/ 10263 w 34893"/>
                <a:gd name="connsiteY28" fmla="*/ 22027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893" h="47062">
                  <a:moveTo>
                    <a:pt x="1103" y="44632"/>
                  </a:moveTo>
                  <a:lnTo>
                    <a:pt x="1103" y="2270"/>
                  </a:lnTo>
                  <a:cubicBezTo>
                    <a:pt x="1010" y="1261"/>
                    <a:pt x="1756" y="366"/>
                    <a:pt x="2765" y="273"/>
                  </a:cubicBezTo>
                  <a:cubicBezTo>
                    <a:pt x="2877" y="262"/>
                    <a:pt x="2988" y="262"/>
                    <a:pt x="3100" y="273"/>
                  </a:cubicBezTo>
                  <a:lnTo>
                    <a:pt x="5124" y="273"/>
                  </a:lnTo>
                  <a:cubicBezTo>
                    <a:pt x="6170" y="201"/>
                    <a:pt x="7121" y="883"/>
                    <a:pt x="7387" y="1897"/>
                  </a:cubicBezTo>
                  <a:cubicBezTo>
                    <a:pt x="7707" y="3228"/>
                    <a:pt x="8638" y="3415"/>
                    <a:pt x="9704" y="2589"/>
                  </a:cubicBezTo>
                  <a:cubicBezTo>
                    <a:pt x="12502" y="592"/>
                    <a:pt x="15878" y="-435"/>
                    <a:pt x="19316" y="-339"/>
                  </a:cubicBezTo>
                  <a:cubicBezTo>
                    <a:pt x="28419" y="-385"/>
                    <a:pt x="35834" y="6956"/>
                    <a:pt x="35880" y="16060"/>
                  </a:cubicBezTo>
                  <a:cubicBezTo>
                    <a:pt x="35880" y="16193"/>
                    <a:pt x="35880" y="16329"/>
                    <a:pt x="35877" y="16462"/>
                  </a:cubicBezTo>
                  <a:cubicBezTo>
                    <a:pt x="36111" y="25650"/>
                    <a:pt x="28856" y="33289"/>
                    <a:pt x="19667" y="33524"/>
                  </a:cubicBezTo>
                  <a:cubicBezTo>
                    <a:pt x="19505" y="33529"/>
                    <a:pt x="19345" y="33529"/>
                    <a:pt x="19182" y="33529"/>
                  </a:cubicBezTo>
                  <a:cubicBezTo>
                    <a:pt x="16397" y="33582"/>
                    <a:pt x="13644" y="32914"/>
                    <a:pt x="11195" y="31585"/>
                  </a:cubicBezTo>
                  <a:cubicBezTo>
                    <a:pt x="9943" y="30840"/>
                    <a:pt x="9118" y="31213"/>
                    <a:pt x="9118" y="32597"/>
                  </a:cubicBezTo>
                  <a:lnTo>
                    <a:pt x="9118" y="44712"/>
                  </a:lnTo>
                  <a:cubicBezTo>
                    <a:pt x="9211" y="45721"/>
                    <a:pt x="8465" y="46616"/>
                    <a:pt x="7456" y="46709"/>
                  </a:cubicBezTo>
                  <a:cubicBezTo>
                    <a:pt x="7344" y="46720"/>
                    <a:pt x="7233" y="46720"/>
                    <a:pt x="7121" y="46709"/>
                  </a:cubicBezTo>
                  <a:lnTo>
                    <a:pt x="2994" y="46709"/>
                  </a:lnTo>
                  <a:cubicBezTo>
                    <a:pt x="1982" y="46802"/>
                    <a:pt x="1090" y="46057"/>
                    <a:pt x="997" y="45048"/>
                  </a:cubicBezTo>
                  <a:cubicBezTo>
                    <a:pt x="986" y="44936"/>
                    <a:pt x="986" y="44824"/>
                    <a:pt x="997" y="44712"/>
                  </a:cubicBezTo>
                  <a:moveTo>
                    <a:pt x="10236" y="22106"/>
                  </a:moveTo>
                  <a:cubicBezTo>
                    <a:pt x="12039" y="24721"/>
                    <a:pt x="15050" y="26236"/>
                    <a:pt x="18224" y="26127"/>
                  </a:cubicBezTo>
                  <a:cubicBezTo>
                    <a:pt x="23277" y="25903"/>
                    <a:pt x="27192" y="21625"/>
                    <a:pt x="26968" y="16571"/>
                  </a:cubicBezTo>
                  <a:cubicBezTo>
                    <a:pt x="26965" y="16507"/>
                    <a:pt x="26963" y="16446"/>
                    <a:pt x="26957" y="16382"/>
                  </a:cubicBezTo>
                  <a:cubicBezTo>
                    <a:pt x="27122" y="11392"/>
                    <a:pt x="23238" y="7198"/>
                    <a:pt x="18250" y="6983"/>
                  </a:cubicBezTo>
                  <a:cubicBezTo>
                    <a:pt x="15085" y="6884"/>
                    <a:pt x="12081" y="8386"/>
                    <a:pt x="10263" y="10977"/>
                  </a:cubicBezTo>
                  <a:cubicBezTo>
                    <a:pt x="9837" y="11613"/>
                    <a:pt x="9632" y="12369"/>
                    <a:pt x="9677" y="13133"/>
                  </a:cubicBezTo>
                  <a:lnTo>
                    <a:pt x="9677" y="19896"/>
                  </a:lnTo>
                  <a:cubicBezTo>
                    <a:pt x="9650" y="20650"/>
                    <a:pt x="9855" y="21393"/>
                    <a:pt x="10263" y="22027"/>
                  </a:cubicBezTo>
                </a:path>
              </a:pathLst>
            </a:custGeom>
            <a:solidFill>
              <a:srgbClr val="FFFFFF"/>
            </a:solidFill>
            <a:ln w="2661" cap="flat">
              <a:noFill/>
              <a:prstDash val="solid"/>
              <a:miter/>
            </a:ln>
          </p:spPr>
          <p:txBody>
            <a:bodyPr rtlCol="0" anchor="ctr"/>
            <a:lstStyle/>
            <a:p>
              <a:endParaRPr lang="pl-PL"/>
            </a:p>
          </p:txBody>
        </p:sp>
        <p:sp>
          <p:nvSpPr>
            <p:cNvPr id="128" name="Freeform: Shape 127">
              <a:extLst>
                <a:ext uri="{FF2B5EF4-FFF2-40B4-BE49-F238E27FC236}">
                  <a16:creationId xmlns:a16="http://schemas.microsoft.com/office/drawing/2014/main" id="{7CF4788E-5C64-4CCC-A40B-FC77A3B3331D}"/>
                </a:ext>
              </a:extLst>
            </p:cNvPr>
            <p:cNvSpPr/>
            <p:nvPr/>
          </p:nvSpPr>
          <p:spPr>
            <a:xfrm>
              <a:off x="11597252" y="6750822"/>
              <a:ext cx="18514" cy="19157"/>
            </a:xfrm>
            <a:custGeom>
              <a:avLst/>
              <a:gdLst>
                <a:gd name="connsiteX0" fmla="*/ 18038 w 32808"/>
                <a:gd name="connsiteY0" fmla="*/ -324 h 33946"/>
                <a:gd name="connsiteX1" fmla="*/ 33795 w 32808"/>
                <a:gd name="connsiteY1" fmla="*/ 15867 h 33946"/>
                <a:gd name="connsiteX2" fmla="*/ 33721 w 32808"/>
                <a:gd name="connsiteY2" fmla="*/ 17196 h 33946"/>
                <a:gd name="connsiteX3" fmla="*/ 31915 w 32808"/>
                <a:gd name="connsiteY3" fmla="*/ 19012 h 33946"/>
                <a:gd name="connsiteX4" fmla="*/ 31777 w 32808"/>
                <a:gd name="connsiteY4" fmla="*/ 19006 h 33946"/>
                <a:gd name="connsiteX5" fmla="*/ 11568 w 32808"/>
                <a:gd name="connsiteY5" fmla="*/ 19006 h 33946"/>
                <a:gd name="connsiteX6" fmla="*/ 10130 w 32808"/>
                <a:gd name="connsiteY6" fmla="*/ 20950 h 33946"/>
                <a:gd name="connsiteX7" fmla="*/ 18118 w 32808"/>
                <a:gd name="connsiteY7" fmla="*/ 26488 h 33946"/>
                <a:gd name="connsiteX8" fmla="*/ 24455 w 32808"/>
                <a:gd name="connsiteY8" fmla="*/ 23613 h 33946"/>
                <a:gd name="connsiteX9" fmla="*/ 26771 w 32808"/>
                <a:gd name="connsiteY9" fmla="*/ 22148 h 33946"/>
                <a:gd name="connsiteX10" fmla="*/ 31058 w 32808"/>
                <a:gd name="connsiteY10" fmla="*/ 22148 h 33946"/>
                <a:gd name="connsiteX11" fmla="*/ 32815 w 32808"/>
                <a:gd name="connsiteY11" fmla="*/ 24358 h 33946"/>
                <a:gd name="connsiteX12" fmla="*/ 18118 w 32808"/>
                <a:gd name="connsiteY12" fmla="*/ 33571 h 33946"/>
                <a:gd name="connsiteX13" fmla="*/ 994 w 32808"/>
                <a:gd name="connsiteY13" fmla="*/ 17371 h 33946"/>
                <a:gd name="connsiteX14" fmla="*/ 997 w 32808"/>
                <a:gd name="connsiteY14" fmla="*/ 16370 h 33946"/>
                <a:gd name="connsiteX15" fmla="*/ 16866 w 32808"/>
                <a:gd name="connsiteY15" fmla="*/ -340 h 33946"/>
                <a:gd name="connsiteX16" fmla="*/ 18118 w 32808"/>
                <a:gd name="connsiteY16" fmla="*/ -324 h 33946"/>
                <a:gd name="connsiteX17" fmla="*/ 12020 w 32808"/>
                <a:gd name="connsiteY17" fmla="*/ 13362 h 33946"/>
                <a:gd name="connsiteX18" fmla="*/ 23257 w 32808"/>
                <a:gd name="connsiteY18" fmla="*/ 13362 h 33946"/>
                <a:gd name="connsiteX19" fmla="*/ 24774 w 32808"/>
                <a:gd name="connsiteY19" fmla="*/ 11365 h 33946"/>
                <a:gd name="connsiteX20" fmla="*/ 17985 w 32808"/>
                <a:gd name="connsiteY20" fmla="*/ 6705 h 33946"/>
                <a:gd name="connsiteX21" fmla="*/ 10582 w 32808"/>
                <a:gd name="connsiteY21" fmla="*/ 11285 h 33946"/>
                <a:gd name="connsiteX22" fmla="*/ 12020 w 32808"/>
                <a:gd name="connsiteY22" fmla="*/ 13362 h 3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808" h="33946">
                  <a:moveTo>
                    <a:pt x="18038" y="-324"/>
                  </a:moveTo>
                  <a:cubicBezTo>
                    <a:pt x="26859" y="-204"/>
                    <a:pt x="33915" y="7046"/>
                    <a:pt x="33795" y="15867"/>
                  </a:cubicBezTo>
                  <a:cubicBezTo>
                    <a:pt x="33787" y="16312"/>
                    <a:pt x="33763" y="16754"/>
                    <a:pt x="33721" y="17196"/>
                  </a:cubicBezTo>
                  <a:cubicBezTo>
                    <a:pt x="33723" y="18197"/>
                    <a:pt x="32914" y="19009"/>
                    <a:pt x="31915" y="19012"/>
                  </a:cubicBezTo>
                  <a:cubicBezTo>
                    <a:pt x="31870" y="19012"/>
                    <a:pt x="31822" y="19009"/>
                    <a:pt x="31777" y="19006"/>
                  </a:cubicBezTo>
                  <a:lnTo>
                    <a:pt x="11568" y="19006"/>
                  </a:lnTo>
                  <a:cubicBezTo>
                    <a:pt x="10396" y="19006"/>
                    <a:pt x="9624" y="19778"/>
                    <a:pt x="10130" y="20950"/>
                  </a:cubicBezTo>
                  <a:cubicBezTo>
                    <a:pt x="11272" y="24361"/>
                    <a:pt x="14523" y="26616"/>
                    <a:pt x="18118" y="26488"/>
                  </a:cubicBezTo>
                  <a:cubicBezTo>
                    <a:pt x="20589" y="26709"/>
                    <a:pt x="22996" y="25618"/>
                    <a:pt x="24455" y="23613"/>
                  </a:cubicBezTo>
                  <a:cubicBezTo>
                    <a:pt x="24897" y="22734"/>
                    <a:pt x="25789" y="22172"/>
                    <a:pt x="26771" y="22148"/>
                  </a:cubicBezTo>
                  <a:lnTo>
                    <a:pt x="31058" y="22148"/>
                  </a:lnTo>
                  <a:cubicBezTo>
                    <a:pt x="32443" y="22148"/>
                    <a:pt x="33295" y="23027"/>
                    <a:pt x="32815" y="24358"/>
                  </a:cubicBezTo>
                  <a:cubicBezTo>
                    <a:pt x="30403" y="30267"/>
                    <a:pt x="24487" y="33975"/>
                    <a:pt x="18118" y="33571"/>
                  </a:cubicBezTo>
                  <a:cubicBezTo>
                    <a:pt x="8916" y="33826"/>
                    <a:pt x="1250" y="26573"/>
                    <a:pt x="994" y="17371"/>
                  </a:cubicBezTo>
                  <a:cubicBezTo>
                    <a:pt x="986" y="17036"/>
                    <a:pt x="986" y="16703"/>
                    <a:pt x="997" y="16370"/>
                  </a:cubicBezTo>
                  <a:cubicBezTo>
                    <a:pt x="765" y="7373"/>
                    <a:pt x="7869" y="-109"/>
                    <a:pt x="16866" y="-340"/>
                  </a:cubicBezTo>
                  <a:cubicBezTo>
                    <a:pt x="17284" y="-351"/>
                    <a:pt x="17702" y="-346"/>
                    <a:pt x="18118" y="-324"/>
                  </a:cubicBezTo>
                  <a:moveTo>
                    <a:pt x="12020" y="13362"/>
                  </a:moveTo>
                  <a:lnTo>
                    <a:pt x="23257" y="13362"/>
                  </a:lnTo>
                  <a:cubicBezTo>
                    <a:pt x="24508" y="13362"/>
                    <a:pt x="25280" y="12616"/>
                    <a:pt x="24774" y="11365"/>
                  </a:cubicBezTo>
                  <a:cubicBezTo>
                    <a:pt x="23707" y="8545"/>
                    <a:pt x="20999" y="6686"/>
                    <a:pt x="17985" y="6705"/>
                  </a:cubicBezTo>
                  <a:cubicBezTo>
                    <a:pt x="14859" y="6737"/>
                    <a:pt x="12007" y="8502"/>
                    <a:pt x="10582" y="11285"/>
                  </a:cubicBezTo>
                  <a:cubicBezTo>
                    <a:pt x="10023" y="12483"/>
                    <a:pt x="10716" y="13362"/>
                    <a:pt x="12020" y="13362"/>
                  </a:cubicBezTo>
                </a:path>
              </a:pathLst>
            </a:custGeom>
            <a:solidFill>
              <a:srgbClr val="FFFFFF"/>
            </a:solidFill>
            <a:ln w="2661" cap="flat">
              <a:noFill/>
              <a:prstDash val="solid"/>
              <a:miter/>
            </a:ln>
          </p:spPr>
          <p:txBody>
            <a:bodyPr rtlCol="0" anchor="ctr"/>
            <a:lstStyle/>
            <a:p>
              <a:endParaRPr lang="pl-PL"/>
            </a:p>
          </p:txBody>
        </p:sp>
        <p:sp>
          <p:nvSpPr>
            <p:cNvPr id="129" name="Freeform: Shape 128">
              <a:extLst>
                <a:ext uri="{FF2B5EF4-FFF2-40B4-BE49-F238E27FC236}">
                  <a16:creationId xmlns:a16="http://schemas.microsoft.com/office/drawing/2014/main" id="{0F876CBA-8496-4A9B-994E-B71FD5192B31}"/>
                </a:ext>
              </a:extLst>
            </p:cNvPr>
            <p:cNvSpPr/>
            <p:nvPr/>
          </p:nvSpPr>
          <p:spPr>
            <a:xfrm>
              <a:off x="11619475" y="6750860"/>
              <a:ext cx="19631" cy="26558"/>
            </a:xfrm>
            <a:custGeom>
              <a:avLst/>
              <a:gdLst>
                <a:gd name="connsiteX0" fmla="*/ 997 w 34787"/>
                <a:gd name="connsiteY0" fmla="*/ 44632 h 47062"/>
                <a:gd name="connsiteX1" fmla="*/ 997 w 34787"/>
                <a:gd name="connsiteY1" fmla="*/ 2270 h 47062"/>
                <a:gd name="connsiteX2" fmla="*/ 2658 w 34787"/>
                <a:gd name="connsiteY2" fmla="*/ 273 h 47062"/>
                <a:gd name="connsiteX3" fmla="*/ 2994 w 34787"/>
                <a:gd name="connsiteY3" fmla="*/ 273 h 47062"/>
                <a:gd name="connsiteX4" fmla="*/ 5017 w 34787"/>
                <a:gd name="connsiteY4" fmla="*/ 273 h 47062"/>
                <a:gd name="connsiteX5" fmla="*/ 7280 w 34787"/>
                <a:gd name="connsiteY5" fmla="*/ 1897 h 47062"/>
                <a:gd name="connsiteX6" fmla="*/ 9597 w 34787"/>
                <a:gd name="connsiteY6" fmla="*/ 2589 h 47062"/>
                <a:gd name="connsiteX7" fmla="*/ 19209 w 34787"/>
                <a:gd name="connsiteY7" fmla="*/ -339 h 47062"/>
                <a:gd name="connsiteX8" fmla="*/ 35773 w 34787"/>
                <a:gd name="connsiteY8" fmla="*/ 16060 h 47062"/>
                <a:gd name="connsiteX9" fmla="*/ 35770 w 34787"/>
                <a:gd name="connsiteY9" fmla="*/ 16462 h 47062"/>
                <a:gd name="connsiteX10" fmla="*/ 19560 w 34787"/>
                <a:gd name="connsiteY10" fmla="*/ 33524 h 47062"/>
                <a:gd name="connsiteX11" fmla="*/ 19076 w 34787"/>
                <a:gd name="connsiteY11" fmla="*/ 33529 h 47062"/>
                <a:gd name="connsiteX12" fmla="*/ 11088 w 34787"/>
                <a:gd name="connsiteY12" fmla="*/ 31585 h 47062"/>
                <a:gd name="connsiteX13" fmla="*/ 9011 w 34787"/>
                <a:gd name="connsiteY13" fmla="*/ 32597 h 47062"/>
                <a:gd name="connsiteX14" fmla="*/ 9011 w 34787"/>
                <a:gd name="connsiteY14" fmla="*/ 44712 h 47062"/>
                <a:gd name="connsiteX15" fmla="*/ 7350 w 34787"/>
                <a:gd name="connsiteY15" fmla="*/ 46709 h 47062"/>
                <a:gd name="connsiteX16" fmla="*/ 7014 w 34787"/>
                <a:gd name="connsiteY16" fmla="*/ 46709 h 47062"/>
                <a:gd name="connsiteX17" fmla="*/ 3100 w 34787"/>
                <a:gd name="connsiteY17" fmla="*/ 46709 h 47062"/>
                <a:gd name="connsiteX18" fmla="*/ 1103 w 34787"/>
                <a:gd name="connsiteY18" fmla="*/ 45048 h 47062"/>
                <a:gd name="connsiteX19" fmla="*/ 1103 w 34787"/>
                <a:gd name="connsiteY19" fmla="*/ 44712 h 47062"/>
                <a:gd name="connsiteX20" fmla="*/ 10342 w 34787"/>
                <a:gd name="connsiteY20" fmla="*/ 22106 h 47062"/>
                <a:gd name="connsiteX21" fmla="*/ 18330 w 34787"/>
                <a:gd name="connsiteY21" fmla="*/ 26127 h 47062"/>
                <a:gd name="connsiteX22" fmla="*/ 27042 w 34787"/>
                <a:gd name="connsiteY22" fmla="*/ 16539 h 47062"/>
                <a:gd name="connsiteX23" fmla="*/ 27037 w 34787"/>
                <a:gd name="connsiteY23" fmla="*/ 16462 h 47062"/>
                <a:gd name="connsiteX24" fmla="*/ 18330 w 34787"/>
                <a:gd name="connsiteY24" fmla="*/ 7063 h 47062"/>
                <a:gd name="connsiteX25" fmla="*/ 10342 w 34787"/>
                <a:gd name="connsiteY25" fmla="*/ 11057 h 47062"/>
                <a:gd name="connsiteX26" fmla="*/ 9757 w 34787"/>
                <a:gd name="connsiteY26" fmla="*/ 13213 h 47062"/>
                <a:gd name="connsiteX27" fmla="*/ 9757 w 34787"/>
                <a:gd name="connsiteY27" fmla="*/ 19976 h 47062"/>
                <a:gd name="connsiteX28" fmla="*/ 10342 w 34787"/>
                <a:gd name="connsiteY28" fmla="*/ 22106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787" h="47062">
                  <a:moveTo>
                    <a:pt x="997" y="44632"/>
                  </a:moveTo>
                  <a:lnTo>
                    <a:pt x="997" y="2270"/>
                  </a:lnTo>
                  <a:cubicBezTo>
                    <a:pt x="903" y="1261"/>
                    <a:pt x="1649" y="366"/>
                    <a:pt x="2658" y="273"/>
                  </a:cubicBezTo>
                  <a:cubicBezTo>
                    <a:pt x="2770" y="262"/>
                    <a:pt x="2882" y="262"/>
                    <a:pt x="2994" y="273"/>
                  </a:cubicBezTo>
                  <a:lnTo>
                    <a:pt x="5017" y="273"/>
                  </a:lnTo>
                  <a:cubicBezTo>
                    <a:pt x="6064" y="201"/>
                    <a:pt x="7014" y="883"/>
                    <a:pt x="7280" y="1897"/>
                  </a:cubicBezTo>
                  <a:cubicBezTo>
                    <a:pt x="7600" y="3228"/>
                    <a:pt x="8532" y="3415"/>
                    <a:pt x="9597" y="2589"/>
                  </a:cubicBezTo>
                  <a:cubicBezTo>
                    <a:pt x="12395" y="592"/>
                    <a:pt x="15771" y="-435"/>
                    <a:pt x="19209" y="-339"/>
                  </a:cubicBezTo>
                  <a:cubicBezTo>
                    <a:pt x="28312" y="-385"/>
                    <a:pt x="35728" y="6956"/>
                    <a:pt x="35773" y="16060"/>
                  </a:cubicBezTo>
                  <a:cubicBezTo>
                    <a:pt x="35773" y="16193"/>
                    <a:pt x="35773" y="16329"/>
                    <a:pt x="35770" y="16462"/>
                  </a:cubicBezTo>
                  <a:cubicBezTo>
                    <a:pt x="36005" y="25650"/>
                    <a:pt x="28749" y="33289"/>
                    <a:pt x="19560" y="33524"/>
                  </a:cubicBezTo>
                  <a:cubicBezTo>
                    <a:pt x="19398" y="33529"/>
                    <a:pt x="19238" y="33529"/>
                    <a:pt x="19076" y="33529"/>
                  </a:cubicBezTo>
                  <a:cubicBezTo>
                    <a:pt x="16291" y="33582"/>
                    <a:pt x="13538" y="32914"/>
                    <a:pt x="11088" y="31585"/>
                  </a:cubicBezTo>
                  <a:cubicBezTo>
                    <a:pt x="9836" y="30840"/>
                    <a:pt x="9011" y="31213"/>
                    <a:pt x="9011" y="32597"/>
                  </a:cubicBezTo>
                  <a:lnTo>
                    <a:pt x="9011" y="44712"/>
                  </a:lnTo>
                  <a:cubicBezTo>
                    <a:pt x="9104" y="45721"/>
                    <a:pt x="8359" y="46616"/>
                    <a:pt x="7350" y="46709"/>
                  </a:cubicBezTo>
                  <a:cubicBezTo>
                    <a:pt x="7238" y="46720"/>
                    <a:pt x="7126" y="46720"/>
                    <a:pt x="7014" y="46709"/>
                  </a:cubicBezTo>
                  <a:lnTo>
                    <a:pt x="3100" y="46709"/>
                  </a:lnTo>
                  <a:cubicBezTo>
                    <a:pt x="2088" y="46802"/>
                    <a:pt x="1196" y="46057"/>
                    <a:pt x="1103" y="45048"/>
                  </a:cubicBezTo>
                  <a:cubicBezTo>
                    <a:pt x="1092" y="44936"/>
                    <a:pt x="1092" y="44824"/>
                    <a:pt x="1103" y="44712"/>
                  </a:cubicBezTo>
                  <a:moveTo>
                    <a:pt x="10342" y="22106"/>
                  </a:moveTo>
                  <a:cubicBezTo>
                    <a:pt x="12145" y="24721"/>
                    <a:pt x="15156" y="26236"/>
                    <a:pt x="18330" y="26127"/>
                  </a:cubicBezTo>
                  <a:cubicBezTo>
                    <a:pt x="23384" y="25885"/>
                    <a:pt x="27282" y="21592"/>
                    <a:pt x="27042" y="16539"/>
                  </a:cubicBezTo>
                  <a:cubicBezTo>
                    <a:pt x="27040" y="16515"/>
                    <a:pt x="27040" y="16488"/>
                    <a:pt x="27037" y="16462"/>
                  </a:cubicBezTo>
                  <a:cubicBezTo>
                    <a:pt x="27202" y="11472"/>
                    <a:pt x="23317" y="7278"/>
                    <a:pt x="18330" y="7063"/>
                  </a:cubicBezTo>
                  <a:cubicBezTo>
                    <a:pt x="15164" y="6964"/>
                    <a:pt x="12161" y="8466"/>
                    <a:pt x="10342" y="11057"/>
                  </a:cubicBezTo>
                  <a:cubicBezTo>
                    <a:pt x="9919" y="11693"/>
                    <a:pt x="9711" y="12449"/>
                    <a:pt x="9757" y="13213"/>
                  </a:cubicBezTo>
                  <a:lnTo>
                    <a:pt x="9757" y="19976"/>
                  </a:lnTo>
                  <a:cubicBezTo>
                    <a:pt x="9730" y="20730"/>
                    <a:pt x="9935" y="21473"/>
                    <a:pt x="10342" y="22106"/>
                  </a:cubicBezTo>
                </a:path>
              </a:pathLst>
            </a:custGeom>
            <a:solidFill>
              <a:srgbClr val="FFFFFF"/>
            </a:solidFill>
            <a:ln w="2661" cap="flat">
              <a:noFill/>
              <a:prstDash val="solid"/>
              <a:miter/>
            </a:ln>
          </p:spPr>
          <p:txBody>
            <a:bodyPr rtlCol="0" anchor="ctr"/>
            <a:lstStyle/>
            <a:p>
              <a:endParaRPr lang="pl-PL"/>
            </a:p>
          </p:txBody>
        </p:sp>
        <p:sp>
          <p:nvSpPr>
            <p:cNvPr id="130" name="Freeform: Shape 129">
              <a:extLst>
                <a:ext uri="{FF2B5EF4-FFF2-40B4-BE49-F238E27FC236}">
                  <a16:creationId xmlns:a16="http://schemas.microsoft.com/office/drawing/2014/main" id="{E9162674-52CD-4619-9174-05FD5527CF27}"/>
                </a:ext>
              </a:extLst>
            </p:cNvPr>
            <p:cNvSpPr/>
            <p:nvPr/>
          </p:nvSpPr>
          <p:spPr>
            <a:xfrm>
              <a:off x="11641544" y="6750833"/>
              <a:ext cx="16868" cy="19128"/>
            </a:xfrm>
            <a:custGeom>
              <a:avLst/>
              <a:gdLst>
                <a:gd name="connsiteX0" fmla="*/ 16181 w 29890"/>
                <a:gd name="connsiteY0" fmla="*/ -346 h 33895"/>
                <a:gd name="connsiteX1" fmla="*/ 30186 w 29890"/>
                <a:gd name="connsiteY1" fmla="*/ 9400 h 33895"/>
                <a:gd name="connsiteX2" fmla="*/ 28296 w 29890"/>
                <a:gd name="connsiteY2" fmla="*/ 11476 h 33895"/>
                <a:gd name="connsiteX3" fmla="*/ 24275 w 29890"/>
                <a:gd name="connsiteY3" fmla="*/ 11476 h 33895"/>
                <a:gd name="connsiteX4" fmla="*/ 22092 w 29890"/>
                <a:gd name="connsiteY4" fmla="*/ 9719 h 33895"/>
                <a:gd name="connsiteX5" fmla="*/ 16048 w 29890"/>
                <a:gd name="connsiteY5" fmla="*/ 6444 h 33895"/>
                <a:gd name="connsiteX6" fmla="*/ 10723 w 29890"/>
                <a:gd name="connsiteY6" fmla="*/ 9266 h 33895"/>
                <a:gd name="connsiteX7" fmla="*/ 30879 w 29890"/>
                <a:gd name="connsiteY7" fmla="*/ 23591 h 33895"/>
                <a:gd name="connsiteX8" fmla="*/ 16687 w 29890"/>
                <a:gd name="connsiteY8" fmla="*/ 33550 h 33895"/>
                <a:gd name="connsiteX9" fmla="*/ 1057 w 29890"/>
                <a:gd name="connsiteY9" fmla="*/ 23511 h 33895"/>
                <a:gd name="connsiteX10" fmla="*/ 2895 w 29890"/>
                <a:gd name="connsiteY10" fmla="*/ 21381 h 33895"/>
                <a:gd name="connsiteX11" fmla="*/ 7155 w 29890"/>
                <a:gd name="connsiteY11" fmla="*/ 21381 h 33895"/>
                <a:gd name="connsiteX12" fmla="*/ 9338 w 29890"/>
                <a:gd name="connsiteY12" fmla="*/ 23006 h 33895"/>
                <a:gd name="connsiteX13" fmla="*/ 16873 w 29890"/>
                <a:gd name="connsiteY13" fmla="*/ 26786 h 33895"/>
                <a:gd name="connsiteX14" fmla="*/ 22411 w 29890"/>
                <a:gd name="connsiteY14" fmla="*/ 23645 h 33895"/>
                <a:gd name="connsiteX15" fmla="*/ 2256 w 29890"/>
                <a:gd name="connsiteY15" fmla="*/ 9453 h 33895"/>
                <a:gd name="connsiteX16" fmla="*/ 16128 w 29890"/>
                <a:gd name="connsiteY16" fmla="*/ -346 h 3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890" h="33895">
                  <a:moveTo>
                    <a:pt x="16181" y="-346"/>
                  </a:moveTo>
                  <a:cubicBezTo>
                    <a:pt x="24169" y="-346"/>
                    <a:pt x="28855" y="3622"/>
                    <a:pt x="30186" y="9400"/>
                  </a:cubicBezTo>
                  <a:cubicBezTo>
                    <a:pt x="30479" y="10704"/>
                    <a:pt x="29681" y="11476"/>
                    <a:pt x="28296" y="11476"/>
                  </a:cubicBezTo>
                  <a:lnTo>
                    <a:pt x="24275" y="11476"/>
                  </a:lnTo>
                  <a:cubicBezTo>
                    <a:pt x="23077" y="11476"/>
                    <a:pt x="22518" y="10837"/>
                    <a:pt x="22092" y="9719"/>
                  </a:cubicBezTo>
                  <a:cubicBezTo>
                    <a:pt x="21320" y="7642"/>
                    <a:pt x="19429" y="6444"/>
                    <a:pt x="16048" y="6444"/>
                  </a:cubicBezTo>
                  <a:cubicBezTo>
                    <a:pt x="12666" y="6444"/>
                    <a:pt x="10723" y="7562"/>
                    <a:pt x="10723" y="9266"/>
                  </a:cubicBezTo>
                  <a:cubicBezTo>
                    <a:pt x="10723" y="15364"/>
                    <a:pt x="30879" y="10971"/>
                    <a:pt x="30879" y="23591"/>
                  </a:cubicBezTo>
                  <a:cubicBezTo>
                    <a:pt x="30879" y="29982"/>
                    <a:pt x="25048" y="33550"/>
                    <a:pt x="16687" y="33550"/>
                  </a:cubicBezTo>
                  <a:cubicBezTo>
                    <a:pt x="8326" y="33550"/>
                    <a:pt x="2389" y="29928"/>
                    <a:pt x="1057" y="23511"/>
                  </a:cubicBezTo>
                  <a:cubicBezTo>
                    <a:pt x="738" y="22127"/>
                    <a:pt x="1563" y="21381"/>
                    <a:pt x="2895" y="21381"/>
                  </a:cubicBezTo>
                  <a:lnTo>
                    <a:pt x="7155" y="21381"/>
                  </a:lnTo>
                  <a:cubicBezTo>
                    <a:pt x="8172" y="21347"/>
                    <a:pt x="9077" y="22020"/>
                    <a:pt x="9338" y="23006"/>
                  </a:cubicBezTo>
                  <a:cubicBezTo>
                    <a:pt x="10858" y="25668"/>
                    <a:pt x="13830" y="27159"/>
                    <a:pt x="16873" y="26786"/>
                  </a:cubicBezTo>
                  <a:cubicBezTo>
                    <a:pt x="20281" y="26786"/>
                    <a:pt x="22411" y="25721"/>
                    <a:pt x="22411" y="23645"/>
                  </a:cubicBezTo>
                  <a:cubicBezTo>
                    <a:pt x="22411" y="17494"/>
                    <a:pt x="2256" y="22127"/>
                    <a:pt x="2256" y="9453"/>
                  </a:cubicBezTo>
                  <a:cubicBezTo>
                    <a:pt x="2256" y="3808"/>
                    <a:pt x="7101" y="-346"/>
                    <a:pt x="16128" y="-346"/>
                  </a:cubicBezTo>
                </a:path>
              </a:pathLst>
            </a:custGeom>
            <a:solidFill>
              <a:srgbClr val="FFFFFF"/>
            </a:solidFill>
            <a:ln w="2661" cap="flat">
              <a:noFill/>
              <a:prstDash val="solid"/>
              <a:miter/>
            </a:ln>
          </p:spPr>
          <p:txBody>
            <a:bodyPr rtlCol="0" anchor="ctr"/>
            <a:lstStyle/>
            <a:p>
              <a:endParaRPr lang="pl-PL"/>
            </a:p>
          </p:txBody>
        </p:sp>
        <p:sp>
          <p:nvSpPr>
            <p:cNvPr id="131" name="Freeform: Shape 130">
              <a:extLst>
                <a:ext uri="{FF2B5EF4-FFF2-40B4-BE49-F238E27FC236}">
                  <a16:creationId xmlns:a16="http://schemas.microsoft.com/office/drawing/2014/main" id="{27B4C002-FEC4-41C9-A0DC-26A979F5CD18}"/>
                </a:ext>
              </a:extLst>
            </p:cNvPr>
            <p:cNvSpPr/>
            <p:nvPr/>
          </p:nvSpPr>
          <p:spPr>
            <a:xfrm>
              <a:off x="11661657" y="6742209"/>
              <a:ext cx="6551" cy="27381"/>
            </a:xfrm>
            <a:custGeom>
              <a:avLst/>
              <a:gdLst>
                <a:gd name="connsiteX0" fmla="*/ 989 w 11609"/>
                <a:gd name="connsiteY0" fmla="*/ 5352 h 48520"/>
                <a:gd name="connsiteX1" fmla="*/ 6687 w 11609"/>
                <a:gd name="connsiteY1" fmla="*/ -346 h 48520"/>
                <a:gd name="connsiteX2" fmla="*/ 6767 w 11609"/>
                <a:gd name="connsiteY2" fmla="*/ -346 h 48520"/>
                <a:gd name="connsiteX3" fmla="*/ 12598 w 11609"/>
                <a:gd name="connsiteY3" fmla="*/ 5352 h 48520"/>
                <a:gd name="connsiteX4" fmla="*/ 6767 w 11609"/>
                <a:gd name="connsiteY4" fmla="*/ 11263 h 48520"/>
                <a:gd name="connsiteX5" fmla="*/ 989 w 11609"/>
                <a:gd name="connsiteY5" fmla="*/ 5432 h 48520"/>
                <a:gd name="connsiteX6" fmla="*/ 989 w 11609"/>
                <a:gd name="connsiteY6" fmla="*/ 5352 h 48520"/>
                <a:gd name="connsiteX7" fmla="*/ 10734 w 11609"/>
                <a:gd name="connsiteY7" fmla="*/ 17521 h 48520"/>
                <a:gd name="connsiteX8" fmla="*/ 10734 w 11609"/>
                <a:gd name="connsiteY8" fmla="*/ 46144 h 48520"/>
                <a:gd name="connsiteX9" fmla="*/ 9046 w 11609"/>
                <a:gd name="connsiteY9" fmla="*/ 48167 h 48520"/>
                <a:gd name="connsiteX10" fmla="*/ 8710 w 11609"/>
                <a:gd name="connsiteY10" fmla="*/ 48167 h 48520"/>
                <a:gd name="connsiteX11" fmla="*/ 3998 w 11609"/>
                <a:gd name="connsiteY11" fmla="*/ 48167 h 48520"/>
                <a:gd name="connsiteX12" fmla="*/ 1998 w 11609"/>
                <a:gd name="connsiteY12" fmla="*/ 46450 h 48520"/>
                <a:gd name="connsiteX13" fmla="*/ 2001 w 11609"/>
                <a:gd name="connsiteY13" fmla="*/ 46144 h 48520"/>
                <a:gd name="connsiteX14" fmla="*/ 2001 w 11609"/>
                <a:gd name="connsiteY14" fmla="*/ 17600 h 48520"/>
                <a:gd name="connsiteX15" fmla="*/ 3662 w 11609"/>
                <a:gd name="connsiteY15" fmla="*/ 15603 h 48520"/>
                <a:gd name="connsiteX16" fmla="*/ 3998 w 11609"/>
                <a:gd name="connsiteY16" fmla="*/ 15603 h 48520"/>
                <a:gd name="connsiteX17" fmla="*/ 8710 w 11609"/>
                <a:gd name="connsiteY17" fmla="*/ 15603 h 48520"/>
                <a:gd name="connsiteX18" fmla="*/ 10731 w 11609"/>
                <a:gd name="connsiteY18" fmla="*/ 17294 h 48520"/>
                <a:gd name="connsiteX19" fmla="*/ 10734 w 11609"/>
                <a:gd name="connsiteY19" fmla="*/ 17600 h 48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09" h="48520">
                  <a:moveTo>
                    <a:pt x="989" y="5352"/>
                  </a:moveTo>
                  <a:cubicBezTo>
                    <a:pt x="989" y="2205"/>
                    <a:pt x="3540" y="-346"/>
                    <a:pt x="6687" y="-346"/>
                  </a:cubicBezTo>
                  <a:cubicBezTo>
                    <a:pt x="6713" y="-346"/>
                    <a:pt x="6740" y="-346"/>
                    <a:pt x="6767" y="-346"/>
                  </a:cubicBezTo>
                  <a:cubicBezTo>
                    <a:pt x="9935" y="-346"/>
                    <a:pt x="12526" y="2184"/>
                    <a:pt x="12598" y="5352"/>
                  </a:cubicBezTo>
                  <a:cubicBezTo>
                    <a:pt x="12598" y="8585"/>
                    <a:pt x="9999" y="11221"/>
                    <a:pt x="6767" y="11263"/>
                  </a:cubicBezTo>
                  <a:cubicBezTo>
                    <a:pt x="3561" y="11250"/>
                    <a:pt x="973" y="8638"/>
                    <a:pt x="989" y="5432"/>
                  </a:cubicBezTo>
                  <a:cubicBezTo>
                    <a:pt x="989" y="5406"/>
                    <a:pt x="989" y="5379"/>
                    <a:pt x="989" y="5352"/>
                  </a:cubicBezTo>
                  <a:moveTo>
                    <a:pt x="10734" y="17521"/>
                  </a:moveTo>
                  <a:lnTo>
                    <a:pt x="10734" y="46144"/>
                  </a:lnTo>
                  <a:cubicBezTo>
                    <a:pt x="10827" y="47169"/>
                    <a:pt x="10071" y="48074"/>
                    <a:pt x="9046" y="48167"/>
                  </a:cubicBezTo>
                  <a:cubicBezTo>
                    <a:pt x="8934" y="48178"/>
                    <a:pt x="8822" y="48178"/>
                    <a:pt x="8710" y="48167"/>
                  </a:cubicBezTo>
                  <a:lnTo>
                    <a:pt x="3998" y="48167"/>
                  </a:lnTo>
                  <a:cubicBezTo>
                    <a:pt x="2972" y="48244"/>
                    <a:pt x="2075" y="47475"/>
                    <a:pt x="1998" y="46450"/>
                  </a:cubicBezTo>
                  <a:cubicBezTo>
                    <a:pt x="1990" y="46349"/>
                    <a:pt x="1993" y="46245"/>
                    <a:pt x="2001" y="46144"/>
                  </a:cubicBezTo>
                  <a:lnTo>
                    <a:pt x="2001" y="17600"/>
                  </a:lnTo>
                  <a:cubicBezTo>
                    <a:pt x="1907" y="16591"/>
                    <a:pt x="2653" y="15697"/>
                    <a:pt x="3662" y="15603"/>
                  </a:cubicBezTo>
                  <a:cubicBezTo>
                    <a:pt x="3774" y="15593"/>
                    <a:pt x="3886" y="15593"/>
                    <a:pt x="3998" y="15603"/>
                  </a:cubicBezTo>
                  <a:lnTo>
                    <a:pt x="8710" y="15603"/>
                  </a:lnTo>
                  <a:cubicBezTo>
                    <a:pt x="9735" y="15513"/>
                    <a:pt x="10641" y="16269"/>
                    <a:pt x="10731" y="17294"/>
                  </a:cubicBezTo>
                  <a:cubicBezTo>
                    <a:pt x="10742" y="17395"/>
                    <a:pt x="10742" y="17499"/>
                    <a:pt x="10734" y="17600"/>
                  </a:cubicBezTo>
                </a:path>
              </a:pathLst>
            </a:custGeom>
            <a:solidFill>
              <a:srgbClr val="FFFFFF"/>
            </a:solidFill>
            <a:ln w="2661" cap="flat">
              <a:noFill/>
              <a:prstDash val="solid"/>
              <a:miter/>
            </a:ln>
          </p:spPr>
          <p:txBody>
            <a:bodyPr rtlCol="0" anchor="ctr"/>
            <a:lstStyle/>
            <a:p>
              <a:endParaRPr lang="pl-PL"/>
            </a:p>
          </p:txBody>
        </p:sp>
        <p:sp>
          <p:nvSpPr>
            <p:cNvPr id="132" name="Freeform: Shape 131">
              <a:extLst>
                <a:ext uri="{FF2B5EF4-FFF2-40B4-BE49-F238E27FC236}">
                  <a16:creationId xmlns:a16="http://schemas.microsoft.com/office/drawing/2014/main" id="{F458713A-97C8-4A62-B644-353222B06B8C}"/>
                </a:ext>
              </a:extLst>
            </p:cNvPr>
            <p:cNvSpPr/>
            <p:nvPr/>
          </p:nvSpPr>
          <p:spPr>
            <a:xfrm>
              <a:off x="11670912" y="6750850"/>
              <a:ext cx="18928" cy="19154"/>
            </a:xfrm>
            <a:custGeom>
              <a:avLst/>
              <a:gdLst>
                <a:gd name="connsiteX0" fmla="*/ 25781 w 33540"/>
                <a:gd name="connsiteY0" fmla="*/ 11128 h 33942"/>
                <a:gd name="connsiteX1" fmla="*/ 18672 w 33540"/>
                <a:gd name="connsiteY1" fmla="*/ 7001 h 33942"/>
                <a:gd name="connsiteX2" fmla="*/ 9850 w 33540"/>
                <a:gd name="connsiteY2" fmla="*/ 15699 h 33942"/>
                <a:gd name="connsiteX3" fmla="*/ 9885 w 33540"/>
                <a:gd name="connsiteY3" fmla="*/ 16533 h 33942"/>
                <a:gd name="connsiteX4" fmla="*/ 17838 w 33540"/>
                <a:gd name="connsiteY4" fmla="*/ 26030 h 33942"/>
                <a:gd name="connsiteX5" fmla="*/ 18618 w 33540"/>
                <a:gd name="connsiteY5" fmla="*/ 26065 h 33942"/>
                <a:gd name="connsiteX6" fmla="*/ 25514 w 33540"/>
                <a:gd name="connsiteY6" fmla="*/ 22364 h 33942"/>
                <a:gd name="connsiteX7" fmla="*/ 27778 w 33540"/>
                <a:gd name="connsiteY7" fmla="*/ 20793 h 33942"/>
                <a:gd name="connsiteX8" fmla="*/ 32411 w 33540"/>
                <a:gd name="connsiteY8" fmla="*/ 20793 h 33942"/>
                <a:gd name="connsiteX9" fmla="*/ 34301 w 33540"/>
                <a:gd name="connsiteY9" fmla="*/ 22923 h 33942"/>
                <a:gd name="connsiteX10" fmla="*/ 18805 w 33540"/>
                <a:gd name="connsiteY10" fmla="*/ 33573 h 33942"/>
                <a:gd name="connsiteX11" fmla="*/ 1013 w 33540"/>
                <a:gd name="connsiteY11" fmla="*/ 17545 h 33942"/>
                <a:gd name="connsiteX12" fmla="*/ 992 w 33540"/>
                <a:gd name="connsiteY12" fmla="*/ 16373 h 33942"/>
                <a:gd name="connsiteX13" fmla="*/ 17503 w 33540"/>
                <a:gd name="connsiteY13" fmla="*/ -346 h 33942"/>
                <a:gd name="connsiteX14" fmla="*/ 18485 w 33540"/>
                <a:gd name="connsiteY14" fmla="*/ -322 h 33942"/>
                <a:gd name="connsiteX15" fmla="*/ 34461 w 33540"/>
                <a:gd name="connsiteY15" fmla="*/ 10728 h 33942"/>
                <a:gd name="connsiteX16" fmla="*/ 33324 w 33540"/>
                <a:gd name="connsiteY16" fmla="*/ 12810 h 33942"/>
                <a:gd name="connsiteX17" fmla="*/ 32597 w 33540"/>
                <a:gd name="connsiteY17" fmla="*/ 12858 h 33942"/>
                <a:gd name="connsiteX18" fmla="*/ 28124 w 33540"/>
                <a:gd name="connsiteY18" fmla="*/ 12858 h 33942"/>
                <a:gd name="connsiteX19" fmla="*/ 25887 w 33540"/>
                <a:gd name="connsiteY19" fmla="*/ 11234 h 33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3540" h="33942">
                  <a:moveTo>
                    <a:pt x="25781" y="11128"/>
                  </a:moveTo>
                  <a:cubicBezTo>
                    <a:pt x="24463" y="8441"/>
                    <a:pt x="21656" y="6814"/>
                    <a:pt x="18672" y="7001"/>
                  </a:cubicBezTo>
                  <a:cubicBezTo>
                    <a:pt x="13834" y="6966"/>
                    <a:pt x="9885" y="10861"/>
                    <a:pt x="9850" y="15699"/>
                  </a:cubicBezTo>
                  <a:cubicBezTo>
                    <a:pt x="9850" y="15979"/>
                    <a:pt x="9861" y="16256"/>
                    <a:pt x="9885" y="16533"/>
                  </a:cubicBezTo>
                  <a:cubicBezTo>
                    <a:pt x="9459" y="21352"/>
                    <a:pt x="13019" y="25604"/>
                    <a:pt x="17838" y="26030"/>
                  </a:cubicBezTo>
                  <a:cubicBezTo>
                    <a:pt x="18099" y="26054"/>
                    <a:pt x="18357" y="26065"/>
                    <a:pt x="18618" y="26065"/>
                  </a:cubicBezTo>
                  <a:cubicBezTo>
                    <a:pt x="21441" y="26281"/>
                    <a:pt x="24133" y="24835"/>
                    <a:pt x="25514" y="22364"/>
                  </a:cubicBezTo>
                  <a:cubicBezTo>
                    <a:pt x="25869" y="21421"/>
                    <a:pt x="26771" y="20796"/>
                    <a:pt x="27778" y="20793"/>
                  </a:cubicBezTo>
                  <a:lnTo>
                    <a:pt x="32411" y="20793"/>
                  </a:lnTo>
                  <a:cubicBezTo>
                    <a:pt x="33742" y="20793"/>
                    <a:pt x="34621" y="21618"/>
                    <a:pt x="34301" y="22923"/>
                  </a:cubicBezTo>
                  <a:cubicBezTo>
                    <a:pt x="32810" y="29340"/>
                    <a:pt x="26313" y="33573"/>
                    <a:pt x="18805" y="33573"/>
                  </a:cubicBezTo>
                  <a:cubicBezTo>
                    <a:pt x="9464" y="34061"/>
                    <a:pt x="1498" y="26882"/>
                    <a:pt x="1013" y="17545"/>
                  </a:cubicBezTo>
                  <a:cubicBezTo>
                    <a:pt x="992" y="17153"/>
                    <a:pt x="984" y="16764"/>
                    <a:pt x="992" y="16373"/>
                  </a:cubicBezTo>
                  <a:cubicBezTo>
                    <a:pt x="936" y="7198"/>
                    <a:pt x="8327" y="-287"/>
                    <a:pt x="17503" y="-346"/>
                  </a:cubicBezTo>
                  <a:cubicBezTo>
                    <a:pt x="17830" y="-346"/>
                    <a:pt x="18158" y="-340"/>
                    <a:pt x="18485" y="-322"/>
                  </a:cubicBezTo>
                  <a:cubicBezTo>
                    <a:pt x="27724" y="-322"/>
                    <a:pt x="32996" y="4578"/>
                    <a:pt x="34461" y="10728"/>
                  </a:cubicBezTo>
                  <a:cubicBezTo>
                    <a:pt x="34722" y="11618"/>
                    <a:pt x="34213" y="12549"/>
                    <a:pt x="33324" y="12810"/>
                  </a:cubicBezTo>
                  <a:cubicBezTo>
                    <a:pt x="33087" y="12880"/>
                    <a:pt x="32839" y="12896"/>
                    <a:pt x="32597" y="12858"/>
                  </a:cubicBezTo>
                  <a:lnTo>
                    <a:pt x="28124" y="12858"/>
                  </a:lnTo>
                  <a:cubicBezTo>
                    <a:pt x="27006" y="12858"/>
                    <a:pt x="26446" y="12299"/>
                    <a:pt x="25887" y="11234"/>
                  </a:cubicBezTo>
                </a:path>
              </a:pathLst>
            </a:custGeom>
            <a:solidFill>
              <a:srgbClr val="FFFFFF"/>
            </a:solidFill>
            <a:ln w="2661" cap="flat">
              <a:noFill/>
              <a:prstDash val="solid"/>
              <a:miter/>
            </a:ln>
          </p:spPr>
          <p:txBody>
            <a:bodyPr rtlCol="0" anchor="ctr"/>
            <a:lstStyle/>
            <a:p>
              <a:endParaRPr lang="pl-PL"/>
            </a:p>
          </p:txBody>
        </p:sp>
        <p:sp>
          <p:nvSpPr>
            <p:cNvPr id="133" name="Freeform: Shape 132">
              <a:extLst>
                <a:ext uri="{FF2B5EF4-FFF2-40B4-BE49-F238E27FC236}">
                  <a16:creationId xmlns:a16="http://schemas.microsoft.com/office/drawing/2014/main" id="{6D147EEF-D55E-4F33-B989-567523E3797A}"/>
                </a:ext>
              </a:extLst>
            </p:cNvPr>
            <p:cNvSpPr/>
            <p:nvPr/>
          </p:nvSpPr>
          <p:spPr>
            <a:xfrm>
              <a:off x="11692340" y="6750833"/>
              <a:ext cx="20150" cy="19139"/>
            </a:xfrm>
            <a:custGeom>
              <a:avLst/>
              <a:gdLst>
                <a:gd name="connsiteX0" fmla="*/ 18856 w 35707"/>
                <a:gd name="connsiteY0" fmla="*/ -346 h 33914"/>
                <a:gd name="connsiteX1" fmla="*/ 36695 w 35707"/>
                <a:gd name="connsiteY1" fmla="*/ 16349 h 33914"/>
                <a:gd name="connsiteX2" fmla="*/ 19833 w 35707"/>
                <a:gd name="connsiteY2" fmla="*/ 33568 h 33914"/>
                <a:gd name="connsiteX3" fmla="*/ 18856 w 35707"/>
                <a:gd name="connsiteY3" fmla="*/ 33550 h 33914"/>
                <a:gd name="connsiteX4" fmla="*/ 1008 w 35707"/>
                <a:gd name="connsiteY4" fmla="*/ 17300 h 33914"/>
                <a:gd name="connsiteX5" fmla="*/ 989 w 35707"/>
                <a:gd name="connsiteY5" fmla="*/ 16349 h 33914"/>
                <a:gd name="connsiteX6" fmla="*/ 18856 w 35707"/>
                <a:gd name="connsiteY6" fmla="*/ -346 h 33914"/>
                <a:gd name="connsiteX7" fmla="*/ 18856 w 35707"/>
                <a:gd name="connsiteY7" fmla="*/ 26147 h 33914"/>
                <a:gd name="connsiteX8" fmla="*/ 28028 w 35707"/>
                <a:gd name="connsiteY8" fmla="*/ 17214 h 33914"/>
                <a:gd name="connsiteX9" fmla="*/ 28015 w 35707"/>
                <a:gd name="connsiteY9" fmla="*/ 16615 h 33914"/>
                <a:gd name="connsiteX10" fmla="*/ 19455 w 35707"/>
                <a:gd name="connsiteY10" fmla="*/ 7096 h 33914"/>
                <a:gd name="connsiteX11" fmla="*/ 18856 w 35707"/>
                <a:gd name="connsiteY11" fmla="*/ 7083 h 33914"/>
                <a:gd name="connsiteX12" fmla="*/ 9683 w 35707"/>
                <a:gd name="connsiteY12" fmla="*/ 15960 h 33914"/>
                <a:gd name="connsiteX13" fmla="*/ 9696 w 35707"/>
                <a:gd name="connsiteY13" fmla="*/ 16615 h 33914"/>
                <a:gd name="connsiteX14" fmla="*/ 18200 w 35707"/>
                <a:gd name="connsiteY14" fmla="*/ 26134 h 33914"/>
                <a:gd name="connsiteX15" fmla="*/ 18856 w 35707"/>
                <a:gd name="connsiteY15" fmla="*/ 26147 h 33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07" h="33914">
                  <a:moveTo>
                    <a:pt x="18856" y="-346"/>
                  </a:moveTo>
                  <a:cubicBezTo>
                    <a:pt x="29346" y="-346"/>
                    <a:pt x="36695" y="7003"/>
                    <a:pt x="36695" y="16349"/>
                  </a:cubicBezTo>
                  <a:cubicBezTo>
                    <a:pt x="36794" y="25759"/>
                    <a:pt x="29245" y="33470"/>
                    <a:pt x="19833" y="33568"/>
                  </a:cubicBezTo>
                  <a:cubicBezTo>
                    <a:pt x="19508" y="33571"/>
                    <a:pt x="19180" y="33565"/>
                    <a:pt x="18856" y="33550"/>
                  </a:cubicBezTo>
                  <a:cubicBezTo>
                    <a:pt x="9440" y="33991"/>
                    <a:pt x="1450" y="26717"/>
                    <a:pt x="1008" y="17300"/>
                  </a:cubicBezTo>
                  <a:cubicBezTo>
                    <a:pt x="992" y="16983"/>
                    <a:pt x="987" y="16666"/>
                    <a:pt x="989" y="16349"/>
                  </a:cubicBezTo>
                  <a:cubicBezTo>
                    <a:pt x="989" y="7003"/>
                    <a:pt x="8391" y="-346"/>
                    <a:pt x="18856" y="-346"/>
                  </a:cubicBezTo>
                  <a:moveTo>
                    <a:pt x="18856" y="26147"/>
                  </a:moveTo>
                  <a:cubicBezTo>
                    <a:pt x="23856" y="26214"/>
                    <a:pt x="27962" y="22215"/>
                    <a:pt x="28028" y="17214"/>
                  </a:cubicBezTo>
                  <a:cubicBezTo>
                    <a:pt x="28031" y="17015"/>
                    <a:pt x="28026" y="16815"/>
                    <a:pt x="28015" y="16615"/>
                  </a:cubicBezTo>
                  <a:cubicBezTo>
                    <a:pt x="28281" y="11623"/>
                    <a:pt x="24447" y="7360"/>
                    <a:pt x="19455" y="7096"/>
                  </a:cubicBezTo>
                  <a:cubicBezTo>
                    <a:pt x="19255" y="7086"/>
                    <a:pt x="19055" y="7080"/>
                    <a:pt x="18856" y="7083"/>
                  </a:cubicBezTo>
                  <a:cubicBezTo>
                    <a:pt x="13871" y="7001"/>
                    <a:pt x="9765" y="10976"/>
                    <a:pt x="9683" y="15960"/>
                  </a:cubicBezTo>
                  <a:cubicBezTo>
                    <a:pt x="9680" y="16179"/>
                    <a:pt x="9683" y="16397"/>
                    <a:pt x="9696" y="16615"/>
                  </a:cubicBezTo>
                  <a:cubicBezTo>
                    <a:pt x="9417" y="21592"/>
                    <a:pt x="13224" y="25855"/>
                    <a:pt x="18200" y="26134"/>
                  </a:cubicBezTo>
                  <a:cubicBezTo>
                    <a:pt x="18419" y="26147"/>
                    <a:pt x="18637" y="26150"/>
                    <a:pt x="18856" y="26147"/>
                  </a:cubicBezTo>
                </a:path>
              </a:pathLst>
            </a:custGeom>
            <a:solidFill>
              <a:srgbClr val="FFFFFF"/>
            </a:solidFill>
            <a:ln w="2661" cap="flat">
              <a:noFill/>
              <a:prstDash val="solid"/>
              <a:miter/>
            </a:ln>
          </p:spPr>
          <p:txBody>
            <a:bodyPr rtlCol="0" anchor="ctr"/>
            <a:lstStyle/>
            <a:p>
              <a:endParaRPr lang="pl-PL"/>
            </a:p>
          </p:txBody>
        </p:sp>
        <p:sp>
          <p:nvSpPr>
            <p:cNvPr id="134" name="Freeform: Shape 133">
              <a:extLst>
                <a:ext uri="{FF2B5EF4-FFF2-40B4-BE49-F238E27FC236}">
                  <a16:creationId xmlns:a16="http://schemas.microsoft.com/office/drawing/2014/main" id="{251E0F54-E6DE-453E-8882-A6B748B629D6}"/>
                </a:ext>
              </a:extLst>
            </p:cNvPr>
            <p:cNvSpPr/>
            <p:nvPr/>
          </p:nvSpPr>
          <p:spPr>
            <a:xfrm>
              <a:off x="11719549" y="6750860"/>
              <a:ext cx="19630" cy="26558"/>
            </a:xfrm>
            <a:custGeom>
              <a:avLst/>
              <a:gdLst>
                <a:gd name="connsiteX0" fmla="*/ 994 w 34784"/>
                <a:gd name="connsiteY0" fmla="*/ 44632 h 47062"/>
                <a:gd name="connsiteX1" fmla="*/ 994 w 34784"/>
                <a:gd name="connsiteY1" fmla="*/ 2270 h 47062"/>
                <a:gd name="connsiteX2" fmla="*/ 2711 w 34784"/>
                <a:gd name="connsiteY2" fmla="*/ 270 h 47062"/>
                <a:gd name="connsiteX3" fmla="*/ 3018 w 34784"/>
                <a:gd name="connsiteY3" fmla="*/ 273 h 47062"/>
                <a:gd name="connsiteX4" fmla="*/ 5015 w 34784"/>
                <a:gd name="connsiteY4" fmla="*/ 273 h 47062"/>
                <a:gd name="connsiteX5" fmla="*/ 7278 w 34784"/>
                <a:gd name="connsiteY5" fmla="*/ 1897 h 47062"/>
                <a:gd name="connsiteX6" fmla="*/ 9594 w 34784"/>
                <a:gd name="connsiteY6" fmla="*/ 2589 h 47062"/>
                <a:gd name="connsiteX7" fmla="*/ 19206 w 34784"/>
                <a:gd name="connsiteY7" fmla="*/ -339 h 47062"/>
                <a:gd name="connsiteX8" fmla="*/ 35771 w 34784"/>
                <a:gd name="connsiteY8" fmla="*/ 16060 h 47062"/>
                <a:gd name="connsiteX9" fmla="*/ 35768 w 34784"/>
                <a:gd name="connsiteY9" fmla="*/ 16462 h 47062"/>
                <a:gd name="connsiteX10" fmla="*/ 19558 w 34784"/>
                <a:gd name="connsiteY10" fmla="*/ 33524 h 47062"/>
                <a:gd name="connsiteX11" fmla="*/ 19073 w 34784"/>
                <a:gd name="connsiteY11" fmla="*/ 33529 h 47062"/>
                <a:gd name="connsiteX12" fmla="*/ 11085 w 34784"/>
                <a:gd name="connsiteY12" fmla="*/ 31585 h 47062"/>
                <a:gd name="connsiteX13" fmla="*/ 9009 w 34784"/>
                <a:gd name="connsiteY13" fmla="*/ 32597 h 47062"/>
                <a:gd name="connsiteX14" fmla="*/ 9009 w 34784"/>
                <a:gd name="connsiteY14" fmla="*/ 44712 h 47062"/>
                <a:gd name="connsiteX15" fmla="*/ 7347 w 34784"/>
                <a:gd name="connsiteY15" fmla="*/ 46709 h 47062"/>
                <a:gd name="connsiteX16" fmla="*/ 7012 w 34784"/>
                <a:gd name="connsiteY16" fmla="*/ 46709 h 47062"/>
                <a:gd name="connsiteX17" fmla="*/ 3124 w 34784"/>
                <a:gd name="connsiteY17" fmla="*/ 46709 h 47062"/>
                <a:gd name="connsiteX18" fmla="*/ 1103 w 34784"/>
                <a:gd name="connsiteY18" fmla="*/ 45018 h 47062"/>
                <a:gd name="connsiteX19" fmla="*/ 1101 w 34784"/>
                <a:gd name="connsiteY19" fmla="*/ 44712 h 47062"/>
                <a:gd name="connsiteX20" fmla="*/ 10340 w 34784"/>
                <a:gd name="connsiteY20" fmla="*/ 22106 h 47062"/>
                <a:gd name="connsiteX21" fmla="*/ 18328 w 34784"/>
                <a:gd name="connsiteY21" fmla="*/ 26127 h 47062"/>
                <a:gd name="connsiteX22" fmla="*/ 27064 w 34784"/>
                <a:gd name="connsiteY22" fmla="*/ 16512 h 47062"/>
                <a:gd name="connsiteX23" fmla="*/ 27061 w 34784"/>
                <a:gd name="connsiteY23" fmla="*/ 16462 h 47062"/>
                <a:gd name="connsiteX24" fmla="*/ 18328 w 34784"/>
                <a:gd name="connsiteY24" fmla="*/ 7063 h 47062"/>
                <a:gd name="connsiteX25" fmla="*/ 10340 w 34784"/>
                <a:gd name="connsiteY25" fmla="*/ 11057 h 47062"/>
                <a:gd name="connsiteX26" fmla="*/ 9781 w 34784"/>
                <a:gd name="connsiteY26" fmla="*/ 13213 h 47062"/>
                <a:gd name="connsiteX27" fmla="*/ 9781 w 34784"/>
                <a:gd name="connsiteY27" fmla="*/ 19976 h 47062"/>
                <a:gd name="connsiteX28" fmla="*/ 10340 w 34784"/>
                <a:gd name="connsiteY28" fmla="*/ 22106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784" h="47062">
                  <a:moveTo>
                    <a:pt x="994" y="44632"/>
                  </a:moveTo>
                  <a:lnTo>
                    <a:pt x="994" y="2270"/>
                  </a:lnTo>
                  <a:cubicBezTo>
                    <a:pt x="917" y="1245"/>
                    <a:pt x="1686" y="348"/>
                    <a:pt x="2711" y="270"/>
                  </a:cubicBezTo>
                  <a:cubicBezTo>
                    <a:pt x="2813" y="262"/>
                    <a:pt x="2917" y="265"/>
                    <a:pt x="3018" y="273"/>
                  </a:cubicBezTo>
                  <a:lnTo>
                    <a:pt x="5015" y="273"/>
                  </a:lnTo>
                  <a:cubicBezTo>
                    <a:pt x="6064" y="190"/>
                    <a:pt x="7022" y="875"/>
                    <a:pt x="7278" y="1897"/>
                  </a:cubicBezTo>
                  <a:cubicBezTo>
                    <a:pt x="7597" y="3228"/>
                    <a:pt x="8529" y="3415"/>
                    <a:pt x="9594" y="2589"/>
                  </a:cubicBezTo>
                  <a:cubicBezTo>
                    <a:pt x="12393" y="592"/>
                    <a:pt x="15769" y="-435"/>
                    <a:pt x="19206" y="-339"/>
                  </a:cubicBezTo>
                  <a:cubicBezTo>
                    <a:pt x="28310" y="-385"/>
                    <a:pt x="35725" y="6956"/>
                    <a:pt x="35771" y="16060"/>
                  </a:cubicBezTo>
                  <a:cubicBezTo>
                    <a:pt x="35771" y="16193"/>
                    <a:pt x="35771" y="16329"/>
                    <a:pt x="35768" y="16462"/>
                  </a:cubicBezTo>
                  <a:cubicBezTo>
                    <a:pt x="36002" y="25650"/>
                    <a:pt x="28747" y="33289"/>
                    <a:pt x="19558" y="33524"/>
                  </a:cubicBezTo>
                  <a:cubicBezTo>
                    <a:pt x="19395" y="33529"/>
                    <a:pt x="19236" y="33529"/>
                    <a:pt x="19073" y="33529"/>
                  </a:cubicBezTo>
                  <a:cubicBezTo>
                    <a:pt x="16288" y="33580"/>
                    <a:pt x="13538" y="32909"/>
                    <a:pt x="11085" y="31585"/>
                  </a:cubicBezTo>
                  <a:cubicBezTo>
                    <a:pt x="9834" y="30840"/>
                    <a:pt x="9009" y="31213"/>
                    <a:pt x="9009" y="32597"/>
                  </a:cubicBezTo>
                  <a:lnTo>
                    <a:pt x="9009" y="44712"/>
                  </a:lnTo>
                  <a:cubicBezTo>
                    <a:pt x="9102" y="45721"/>
                    <a:pt x="8356" y="46616"/>
                    <a:pt x="7347" y="46709"/>
                  </a:cubicBezTo>
                  <a:cubicBezTo>
                    <a:pt x="7235" y="46720"/>
                    <a:pt x="7123" y="46720"/>
                    <a:pt x="7012" y="46709"/>
                  </a:cubicBezTo>
                  <a:lnTo>
                    <a:pt x="3124" y="46709"/>
                  </a:lnTo>
                  <a:cubicBezTo>
                    <a:pt x="2099" y="46799"/>
                    <a:pt x="1194" y="46043"/>
                    <a:pt x="1103" y="45018"/>
                  </a:cubicBezTo>
                  <a:cubicBezTo>
                    <a:pt x="1093" y="44917"/>
                    <a:pt x="1093" y="44813"/>
                    <a:pt x="1101" y="44712"/>
                  </a:cubicBezTo>
                  <a:moveTo>
                    <a:pt x="10340" y="22106"/>
                  </a:moveTo>
                  <a:cubicBezTo>
                    <a:pt x="12148" y="24716"/>
                    <a:pt x="15154" y="26231"/>
                    <a:pt x="18328" y="26127"/>
                  </a:cubicBezTo>
                  <a:cubicBezTo>
                    <a:pt x="23395" y="25885"/>
                    <a:pt x="27306" y="21579"/>
                    <a:pt x="27064" y="16512"/>
                  </a:cubicBezTo>
                  <a:cubicBezTo>
                    <a:pt x="27064" y="16496"/>
                    <a:pt x="27061" y="16478"/>
                    <a:pt x="27061" y="16462"/>
                  </a:cubicBezTo>
                  <a:cubicBezTo>
                    <a:pt x="27210" y="11467"/>
                    <a:pt x="23320" y="7278"/>
                    <a:pt x="18328" y="7063"/>
                  </a:cubicBezTo>
                  <a:cubicBezTo>
                    <a:pt x="15165" y="6972"/>
                    <a:pt x="12166" y="8471"/>
                    <a:pt x="10340" y="11057"/>
                  </a:cubicBezTo>
                  <a:cubicBezTo>
                    <a:pt x="9924" y="11696"/>
                    <a:pt x="9727" y="12452"/>
                    <a:pt x="9781" y="13213"/>
                  </a:cubicBezTo>
                  <a:lnTo>
                    <a:pt x="9781" y="19976"/>
                  </a:lnTo>
                  <a:cubicBezTo>
                    <a:pt x="9746" y="20727"/>
                    <a:pt x="9941" y="21470"/>
                    <a:pt x="10340" y="22106"/>
                  </a:cubicBezTo>
                </a:path>
              </a:pathLst>
            </a:custGeom>
            <a:solidFill>
              <a:srgbClr val="8FDB42"/>
            </a:solidFill>
            <a:ln w="2661" cap="flat">
              <a:noFill/>
              <a:prstDash val="solid"/>
              <a:miter/>
            </a:ln>
          </p:spPr>
          <p:txBody>
            <a:bodyPr rtlCol="0" anchor="ctr"/>
            <a:lstStyle/>
            <a:p>
              <a:endParaRPr lang="pl-PL"/>
            </a:p>
          </p:txBody>
        </p:sp>
        <p:sp>
          <p:nvSpPr>
            <p:cNvPr id="135" name="Freeform: Shape 134">
              <a:extLst>
                <a:ext uri="{FF2B5EF4-FFF2-40B4-BE49-F238E27FC236}">
                  <a16:creationId xmlns:a16="http://schemas.microsoft.com/office/drawing/2014/main" id="{E5DDCF61-5E21-444A-B536-891021B7D5E6}"/>
                </a:ext>
              </a:extLst>
            </p:cNvPr>
            <p:cNvSpPr/>
            <p:nvPr/>
          </p:nvSpPr>
          <p:spPr>
            <a:xfrm>
              <a:off x="11741806" y="6750833"/>
              <a:ext cx="20150" cy="19139"/>
            </a:xfrm>
            <a:custGeom>
              <a:avLst/>
              <a:gdLst>
                <a:gd name="connsiteX0" fmla="*/ 18882 w 35707"/>
                <a:gd name="connsiteY0" fmla="*/ -346 h 33914"/>
                <a:gd name="connsiteX1" fmla="*/ 36695 w 35707"/>
                <a:gd name="connsiteY1" fmla="*/ 16349 h 33914"/>
                <a:gd name="connsiteX2" fmla="*/ 19833 w 35707"/>
                <a:gd name="connsiteY2" fmla="*/ 33565 h 33914"/>
                <a:gd name="connsiteX3" fmla="*/ 18882 w 35707"/>
                <a:gd name="connsiteY3" fmla="*/ 33550 h 33914"/>
                <a:gd name="connsiteX4" fmla="*/ 1008 w 35707"/>
                <a:gd name="connsiteY4" fmla="*/ 17273 h 33914"/>
                <a:gd name="connsiteX5" fmla="*/ 989 w 35707"/>
                <a:gd name="connsiteY5" fmla="*/ 16349 h 33914"/>
                <a:gd name="connsiteX6" fmla="*/ 18882 w 35707"/>
                <a:gd name="connsiteY6" fmla="*/ -346 h 33914"/>
                <a:gd name="connsiteX7" fmla="*/ 18882 w 35707"/>
                <a:gd name="connsiteY7" fmla="*/ 26147 h 33914"/>
                <a:gd name="connsiteX8" fmla="*/ 28052 w 35707"/>
                <a:gd name="connsiteY8" fmla="*/ 17158 h 33914"/>
                <a:gd name="connsiteX9" fmla="*/ 28041 w 35707"/>
                <a:gd name="connsiteY9" fmla="*/ 16615 h 33914"/>
                <a:gd name="connsiteX10" fmla="*/ 19425 w 35707"/>
                <a:gd name="connsiteY10" fmla="*/ 7094 h 33914"/>
                <a:gd name="connsiteX11" fmla="*/ 18882 w 35707"/>
                <a:gd name="connsiteY11" fmla="*/ 7083 h 33914"/>
                <a:gd name="connsiteX12" fmla="*/ 9709 w 35707"/>
                <a:gd name="connsiteY12" fmla="*/ 15960 h 33914"/>
                <a:gd name="connsiteX13" fmla="*/ 9723 w 35707"/>
                <a:gd name="connsiteY13" fmla="*/ 16615 h 33914"/>
                <a:gd name="connsiteX14" fmla="*/ 18227 w 35707"/>
                <a:gd name="connsiteY14" fmla="*/ 26134 h 33914"/>
                <a:gd name="connsiteX15" fmla="*/ 18882 w 35707"/>
                <a:gd name="connsiteY15" fmla="*/ 26147 h 33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07" h="33914">
                  <a:moveTo>
                    <a:pt x="18882" y="-346"/>
                  </a:moveTo>
                  <a:cubicBezTo>
                    <a:pt x="29346" y="-346"/>
                    <a:pt x="36695" y="7003"/>
                    <a:pt x="36695" y="16349"/>
                  </a:cubicBezTo>
                  <a:cubicBezTo>
                    <a:pt x="36793" y="25759"/>
                    <a:pt x="29242" y="33467"/>
                    <a:pt x="19833" y="33565"/>
                  </a:cubicBezTo>
                  <a:cubicBezTo>
                    <a:pt x="19516" y="33568"/>
                    <a:pt x="19199" y="33563"/>
                    <a:pt x="18882" y="33550"/>
                  </a:cubicBezTo>
                  <a:cubicBezTo>
                    <a:pt x="9451" y="33991"/>
                    <a:pt x="1450" y="26704"/>
                    <a:pt x="1008" y="17273"/>
                  </a:cubicBezTo>
                  <a:cubicBezTo>
                    <a:pt x="992" y="16967"/>
                    <a:pt x="987" y="16658"/>
                    <a:pt x="989" y="16349"/>
                  </a:cubicBezTo>
                  <a:cubicBezTo>
                    <a:pt x="989" y="7003"/>
                    <a:pt x="8391" y="-346"/>
                    <a:pt x="18882" y="-346"/>
                  </a:cubicBezTo>
                  <a:moveTo>
                    <a:pt x="18882" y="26147"/>
                  </a:moveTo>
                  <a:cubicBezTo>
                    <a:pt x="23896" y="26198"/>
                    <a:pt x="28002" y="22175"/>
                    <a:pt x="28052" y="17158"/>
                  </a:cubicBezTo>
                  <a:cubicBezTo>
                    <a:pt x="28055" y="16977"/>
                    <a:pt x="28049" y="16796"/>
                    <a:pt x="28041" y="16615"/>
                  </a:cubicBezTo>
                  <a:cubicBezTo>
                    <a:pt x="28292" y="11607"/>
                    <a:pt x="24434" y="7344"/>
                    <a:pt x="19425" y="7094"/>
                  </a:cubicBezTo>
                  <a:cubicBezTo>
                    <a:pt x="19244" y="7086"/>
                    <a:pt x="19063" y="7080"/>
                    <a:pt x="18882" y="7083"/>
                  </a:cubicBezTo>
                  <a:cubicBezTo>
                    <a:pt x="13898" y="7001"/>
                    <a:pt x="9792" y="10976"/>
                    <a:pt x="9709" y="15960"/>
                  </a:cubicBezTo>
                  <a:cubicBezTo>
                    <a:pt x="9707" y="16179"/>
                    <a:pt x="9709" y="16397"/>
                    <a:pt x="9723" y="16615"/>
                  </a:cubicBezTo>
                  <a:cubicBezTo>
                    <a:pt x="9443" y="21592"/>
                    <a:pt x="13251" y="25855"/>
                    <a:pt x="18227" y="26134"/>
                  </a:cubicBezTo>
                  <a:cubicBezTo>
                    <a:pt x="18445" y="26147"/>
                    <a:pt x="18664" y="26150"/>
                    <a:pt x="18882" y="26147"/>
                  </a:cubicBezTo>
                </a:path>
              </a:pathLst>
            </a:custGeom>
            <a:solidFill>
              <a:srgbClr val="8FDB42"/>
            </a:solidFill>
            <a:ln w="2661" cap="flat">
              <a:noFill/>
              <a:prstDash val="solid"/>
              <a:miter/>
            </a:ln>
          </p:spPr>
          <p:txBody>
            <a:bodyPr rtlCol="0" anchor="ctr"/>
            <a:lstStyle/>
            <a:p>
              <a:endParaRPr lang="pl-PL"/>
            </a:p>
          </p:txBody>
        </p:sp>
        <p:sp>
          <p:nvSpPr>
            <p:cNvPr id="136" name="Freeform: Shape 135">
              <a:extLst>
                <a:ext uri="{FF2B5EF4-FFF2-40B4-BE49-F238E27FC236}">
                  <a16:creationId xmlns:a16="http://schemas.microsoft.com/office/drawing/2014/main" id="{84A7B114-0687-482E-A7AB-7B781F0B78E1}"/>
                </a:ext>
              </a:extLst>
            </p:cNvPr>
            <p:cNvSpPr/>
            <p:nvPr/>
          </p:nvSpPr>
          <p:spPr>
            <a:xfrm>
              <a:off x="11764305" y="6750833"/>
              <a:ext cx="16853" cy="19128"/>
            </a:xfrm>
            <a:custGeom>
              <a:avLst/>
              <a:gdLst>
                <a:gd name="connsiteX0" fmla="*/ 16288 w 29863"/>
                <a:gd name="connsiteY0" fmla="*/ -346 h 33895"/>
                <a:gd name="connsiteX1" fmla="*/ 30266 w 29863"/>
                <a:gd name="connsiteY1" fmla="*/ 9400 h 33895"/>
                <a:gd name="connsiteX2" fmla="*/ 28376 w 29863"/>
                <a:gd name="connsiteY2" fmla="*/ 11476 h 33895"/>
                <a:gd name="connsiteX3" fmla="*/ 24275 w 29863"/>
                <a:gd name="connsiteY3" fmla="*/ 11476 h 33895"/>
                <a:gd name="connsiteX4" fmla="*/ 22065 w 29863"/>
                <a:gd name="connsiteY4" fmla="*/ 9719 h 33895"/>
                <a:gd name="connsiteX5" fmla="*/ 16048 w 29863"/>
                <a:gd name="connsiteY5" fmla="*/ 6444 h 33895"/>
                <a:gd name="connsiteX6" fmla="*/ 10723 w 29863"/>
                <a:gd name="connsiteY6" fmla="*/ 9266 h 33895"/>
                <a:gd name="connsiteX7" fmla="*/ 30852 w 29863"/>
                <a:gd name="connsiteY7" fmla="*/ 23591 h 33895"/>
                <a:gd name="connsiteX8" fmla="*/ 16687 w 29863"/>
                <a:gd name="connsiteY8" fmla="*/ 33550 h 33895"/>
                <a:gd name="connsiteX9" fmla="*/ 1058 w 29863"/>
                <a:gd name="connsiteY9" fmla="*/ 23511 h 33895"/>
                <a:gd name="connsiteX10" fmla="*/ 2868 w 29863"/>
                <a:gd name="connsiteY10" fmla="*/ 21381 h 33895"/>
                <a:gd name="connsiteX11" fmla="*/ 7128 w 29863"/>
                <a:gd name="connsiteY11" fmla="*/ 21381 h 33895"/>
                <a:gd name="connsiteX12" fmla="*/ 9338 w 29863"/>
                <a:gd name="connsiteY12" fmla="*/ 23006 h 33895"/>
                <a:gd name="connsiteX13" fmla="*/ 16873 w 29863"/>
                <a:gd name="connsiteY13" fmla="*/ 26786 h 33895"/>
                <a:gd name="connsiteX14" fmla="*/ 22385 w 29863"/>
                <a:gd name="connsiteY14" fmla="*/ 23645 h 33895"/>
                <a:gd name="connsiteX15" fmla="*/ 2256 w 29863"/>
                <a:gd name="connsiteY15" fmla="*/ 9453 h 33895"/>
                <a:gd name="connsiteX16" fmla="*/ 16128 w 29863"/>
                <a:gd name="connsiteY16" fmla="*/ -346 h 3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863" h="33895">
                  <a:moveTo>
                    <a:pt x="16288" y="-346"/>
                  </a:moveTo>
                  <a:cubicBezTo>
                    <a:pt x="24275" y="-346"/>
                    <a:pt x="28962" y="3622"/>
                    <a:pt x="30266" y="9400"/>
                  </a:cubicBezTo>
                  <a:cubicBezTo>
                    <a:pt x="30586" y="10704"/>
                    <a:pt x="29760" y="11476"/>
                    <a:pt x="28376" y="11476"/>
                  </a:cubicBezTo>
                  <a:lnTo>
                    <a:pt x="24275" y="11476"/>
                  </a:lnTo>
                  <a:cubicBezTo>
                    <a:pt x="23077" y="11476"/>
                    <a:pt x="22518" y="10837"/>
                    <a:pt x="22065" y="9719"/>
                  </a:cubicBezTo>
                  <a:cubicBezTo>
                    <a:pt x="21320" y="7642"/>
                    <a:pt x="19403" y="6444"/>
                    <a:pt x="16048" y="6444"/>
                  </a:cubicBezTo>
                  <a:cubicBezTo>
                    <a:pt x="12693" y="6444"/>
                    <a:pt x="10723" y="7562"/>
                    <a:pt x="10723" y="9266"/>
                  </a:cubicBezTo>
                  <a:cubicBezTo>
                    <a:pt x="10723" y="15364"/>
                    <a:pt x="30852" y="10971"/>
                    <a:pt x="30852" y="23591"/>
                  </a:cubicBezTo>
                  <a:cubicBezTo>
                    <a:pt x="30852" y="29982"/>
                    <a:pt x="25021" y="33550"/>
                    <a:pt x="16687" y="33550"/>
                  </a:cubicBezTo>
                  <a:cubicBezTo>
                    <a:pt x="8353" y="33550"/>
                    <a:pt x="2362" y="29928"/>
                    <a:pt x="1058" y="23511"/>
                  </a:cubicBezTo>
                  <a:cubicBezTo>
                    <a:pt x="738" y="22127"/>
                    <a:pt x="1563" y="21381"/>
                    <a:pt x="2868" y="21381"/>
                  </a:cubicBezTo>
                  <a:lnTo>
                    <a:pt x="7128" y="21381"/>
                  </a:lnTo>
                  <a:cubicBezTo>
                    <a:pt x="8153" y="21344"/>
                    <a:pt x="9067" y="22018"/>
                    <a:pt x="9338" y="23006"/>
                  </a:cubicBezTo>
                  <a:cubicBezTo>
                    <a:pt x="10853" y="25673"/>
                    <a:pt x="13827" y="27165"/>
                    <a:pt x="16873" y="26786"/>
                  </a:cubicBezTo>
                  <a:cubicBezTo>
                    <a:pt x="20255" y="26786"/>
                    <a:pt x="22385" y="25721"/>
                    <a:pt x="22385" y="23645"/>
                  </a:cubicBezTo>
                  <a:cubicBezTo>
                    <a:pt x="22385" y="17494"/>
                    <a:pt x="2256" y="22127"/>
                    <a:pt x="2256" y="9453"/>
                  </a:cubicBezTo>
                  <a:cubicBezTo>
                    <a:pt x="2256" y="3808"/>
                    <a:pt x="7075" y="-346"/>
                    <a:pt x="16128" y="-346"/>
                  </a:cubicBezTo>
                </a:path>
              </a:pathLst>
            </a:custGeom>
            <a:solidFill>
              <a:srgbClr val="8FDB42"/>
            </a:solidFill>
            <a:ln w="2661" cap="flat">
              <a:noFill/>
              <a:prstDash val="solid"/>
              <a:miter/>
            </a:ln>
          </p:spPr>
          <p:txBody>
            <a:bodyPr rtlCol="0" anchor="ctr"/>
            <a:lstStyle/>
            <a:p>
              <a:endParaRPr lang="pl-PL"/>
            </a:p>
          </p:txBody>
        </p:sp>
        <p:sp>
          <p:nvSpPr>
            <p:cNvPr id="137" name="Freeform: Shape 136">
              <a:extLst>
                <a:ext uri="{FF2B5EF4-FFF2-40B4-BE49-F238E27FC236}">
                  <a16:creationId xmlns:a16="http://schemas.microsoft.com/office/drawing/2014/main" id="{6D2F3107-736D-43B4-8D6C-0733843CDC08}"/>
                </a:ext>
              </a:extLst>
            </p:cNvPr>
            <p:cNvSpPr/>
            <p:nvPr/>
          </p:nvSpPr>
          <p:spPr>
            <a:xfrm>
              <a:off x="11784416" y="6742209"/>
              <a:ext cx="6552" cy="27380"/>
            </a:xfrm>
            <a:custGeom>
              <a:avLst/>
              <a:gdLst>
                <a:gd name="connsiteX0" fmla="*/ 1098 w 11611"/>
                <a:gd name="connsiteY0" fmla="*/ 5352 h 48518"/>
                <a:gd name="connsiteX1" fmla="*/ 6796 w 11611"/>
                <a:gd name="connsiteY1" fmla="*/ -346 h 48518"/>
                <a:gd name="connsiteX2" fmla="*/ 6876 w 11611"/>
                <a:gd name="connsiteY2" fmla="*/ -346 h 48518"/>
                <a:gd name="connsiteX3" fmla="*/ 12600 w 11611"/>
                <a:gd name="connsiteY3" fmla="*/ 5352 h 48518"/>
                <a:gd name="connsiteX4" fmla="*/ 6769 w 11611"/>
                <a:gd name="connsiteY4" fmla="*/ 11263 h 48518"/>
                <a:gd name="connsiteX5" fmla="*/ 989 w 11611"/>
                <a:gd name="connsiteY5" fmla="*/ 5488 h 48518"/>
                <a:gd name="connsiteX6" fmla="*/ 991 w 11611"/>
                <a:gd name="connsiteY6" fmla="*/ 5352 h 48518"/>
                <a:gd name="connsiteX7" fmla="*/ 10710 w 11611"/>
                <a:gd name="connsiteY7" fmla="*/ 17521 h 48518"/>
                <a:gd name="connsiteX8" fmla="*/ 10710 w 11611"/>
                <a:gd name="connsiteY8" fmla="*/ 46144 h 48518"/>
                <a:gd name="connsiteX9" fmla="*/ 9019 w 11611"/>
                <a:gd name="connsiteY9" fmla="*/ 48165 h 48518"/>
                <a:gd name="connsiteX10" fmla="*/ 8713 w 11611"/>
                <a:gd name="connsiteY10" fmla="*/ 48167 h 48518"/>
                <a:gd name="connsiteX11" fmla="*/ 4000 w 11611"/>
                <a:gd name="connsiteY11" fmla="*/ 48167 h 48518"/>
                <a:gd name="connsiteX12" fmla="*/ 2001 w 11611"/>
                <a:gd name="connsiteY12" fmla="*/ 46450 h 48518"/>
                <a:gd name="connsiteX13" fmla="*/ 2003 w 11611"/>
                <a:gd name="connsiteY13" fmla="*/ 46144 h 48518"/>
                <a:gd name="connsiteX14" fmla="*/ 2003 w 11611"/>
                <a:gd name="connsiteY14" fmla="*/ 17600 h 48518"/>
                <a:gd name="connsiteX15" fmla="*/ 3665 w 11611"/>
                <a:gd name="connsiteY15" fmla="*/ 15603 h 48518"/>
                <a:gd name="connsiteX16" fmla="*/ 4000 w 11611"/>
                <a:gd name="connsiteY16" fmla="*/ 15603 h 48518"/>
                <a:gd name="connsiteX17" fmla="*/ 8713 w 11611"/>
                <a:gd name="connsiteY17" fmla="*/ 15603 h 48518"/>
                <a:gd name="connsiteX18" fmla="*/ 10710 w 11611"/>
                <a:gd name="connsiteY18" fmla="*/ 17265 h 48518"/>
                <a:gd name="connsiteX19" fmla="*/ 10710 w 11611"/>
                <a:gd name="connsiteY19" fmla="*/ 17600 h 48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11" h="48518">
                  <a:moveTo>
                    <a:pt x="1098" y="5352"/>
                  </a:moveTo>
                  <a:cubicBezTo>
                    <a:pt x="1098" y="2205"/>
                    <a:pt x="3649" y="-346"/>
                    <a:pt x="6796" y="-346"/>
                  </a:cubicBezTo>
                  <a:cubicBezTo>
                    <a:pt x="6823" y="-346"/>
                    <a:pt x="6849" y="-346"/>
                    <a:pt x="6876" y="-346"/>
                  </a:cubicBezTo>
                  <a:cubicBezTo>
                    <a:pt x="10004" y="-290"/>
                    <a:pt x="12529" y="2224"/>
                    <a:pt x="12600" y="5352"/>
                  </a:cubicBezTo>
                  <a:cubicBezTo>
                    <a:pt x="12600" y="8585"/>
                    <a:pt x="10002" y="11221"/>
                    <a:pt x="6769" y="11263"/>
                  </a:cubicBezTo>
                  <a:cubicBezTo>
                    <a:pt x="3579" y="11263"/>
                    <a:pt x="991" y="8678"/>
                    <a:pt x="989" y="5488"/>
                  </a:cubicBezTo>
                  <a:cubicBezTo>
                    <a:pt x="989" y="5443"/>
                    <a:pt x="991" y="5398"/>
                    <a:pt x="991" y="5352"/>
                  </a:cubicBezTo>
                  <a:moveTo>
                    <a:pt x="10710" y="17521"/>
                  </a:moveTo>
                  <a:lnTo>
                    <a:pt x="10710" y="46144"/>
                  </a:lnTo>
                  <a:cubicBezTo>
                    <a:pt x="10800" y="47169"/>
                    <a:pt x="10044" y="48074"/>
                    <a:pt x="9019" y="48165"/>
                  </a:cubicBezTo>
                  <a:cubicBezTo>
                    <a:pt x="8918" y="48175"/>
                    <a:pt x="8814" y="48175"/>
                    <a:pt x="8713" y="48167"/>
                  </a:cubicBezTo>
                  <a:lnTo>
                    <a:pt x="4000" y="48167"/>
                  </a:lnTo>
                  <a:cubicBezTo>
                    <a:pt x="2975" y="48244"/>
                    <a:pt x="2078" y="47475"/>
                    <a:pt x="2001" y="46450"/>
                  </a:cubicBezTo>
                  <a:cubicBezTo>
                    <a:pt x="1993" y="46349"/>
                    <a:pt x="1995" y="46245"/>
                    <a:pt x="2003" y="46144"/>
                  </a:cubicBezTo>
                  <a:lnTo>
                    <a:pt x="2003" y="17600"/>
                  </a:lnTo>
                  <a:cubicBezTo>
                    <a:pt x="1910" y="16591"/>
                    <a:pt x="2656" y="15697"/>
                    <a:pt x="3665" y="15603"/>
                  </a:cubicBezTo>
                  <a:cubicBezTo>
                    <a:pt x="3776" y="15593"/>
                    <a:pt x="3888" y="15593"/>
                    <a:pt x="4000" y="15603"/>
                  </a:cubicBezTo>
                  <a:lnTo>
                    <a:pt x="8713" y="15603"/>
                  </a:lnTo>
                  <a:cubicBezTo>
                    <a:pt x="9722" y="15510"/>
                    <a:pt x="10617" y="16256"/>
                    <a:pt x="10710" y="17265"/>
                  </a:cubicBezTo>
                  <a:cubicBezTo>
                    <a:pt x="10721" y="17377"/>
                    <a:pt x="10721" y="17489"/>
                    <a:pt x="10710" y="17600"/>
                  </a:cubicBezTo>
                </a:path>
              </a:pathLst>
            </a:custGeom>
            <a:solidFill>
              <a:srgbClr val="8FDB42"/>
            </a:solidFill>
            <a:ln w="2661" cap="flat">
              <a:noFill/>
              <a:prstDash val="solid"/>
              <a:miter/>
            </a:ln>
          </p:spPr>
          <p:txBody>
            <a:bodyPr rtlCol="0" anchor="ctr"/>
            <a:lstStyle/>
            <a:p>
              <a:endParaRPr lang="pl-PL"/>
            </a:p>
          </p:txBody>
        </p:sp>
        <p:sp>
          <p:nvSpPr>
            <p:cNvPr id="138" name="Freeform: Shape 137">
              <a:extLst>
                <a:ext uri="{FF2B5EF4-FFF2-40B4-BE49-F238E27FC236}">
                  <a16:creationId xmlns:a16="http://schemas.microsoft.com/office/drawing/2014/main" id="{7CE53CB1-0AD7-4455-BF98-014B555ED1DB}"/>
                </a:ext>
              </a:extLst>
            </p:cNvPr>
            <p:cNvSpPr/>
            <p:nvPr/>
          </p:nvSpPr>
          <p:spPr>
            <a:xfrm>
              <a:off x="11793381" y="6746197"/>
              <a:ext cx="13675" cy="23794"/>
            </a:xfrm>
            <a:custGeom>
              <a:avLst/>
              <a:gdLst>
                <a:gd name="connsiteX0" fmla="*/ 1029 w 24233"/>
                <a:gd name="connsiteY0" fmla="*/ 13782 h 42164"/>
                <a:gd name="connsiteX1" fmla="*/ 1029 w 24233"/>
                <a:gd name="connsiteY1" fmla="*/ 10533 h 42164"/>
                <a:gd name="connsiteX2" fmla="*/ 2608 w 24233"/>
                <a:gd name="connsiteY2" fmla="*/ 8518 h 42164"/>
                <a:gd name="connsiteX3" fmla="*/ 2972 w 24233"/>
                <a:gd name="connsiteY3" fmla="*/ 8510 h 42164"/>
                <a:gd name="connsiteX4" fmla="*/ 5049 w 24233"/>
                <a:gd name="connsiteY4" fmla="*/ 8510 h 42164"/>
                <a:gd name="connsiteX5" fmla="*/ 5741 w 24233"/>
                <a:gd name="connsiteY5" fmla="*/ 7817 h 42164"/>
                <a:gd name="connsiteX6" fmla="*/ 5741 w 24233"/>
                <a:gd name="connsiteY6" fmla="*/ 3105 h 42164"/>
                <a:gd name="connsiteX7" fmla="*/ 7419 w 24233"/>
                <a:gd name="connsiteY7" fmla="*/ 921 h 42164"/>
                <a:gd name="connsiteX8" fmla="*/ 11892 w 24233"/>
                <a:gd name="connsiteY8" fmla="*/ -224 h 42164"/>
                <a:gd name="connsiteX9" fmla="*/ 14043 w 24233"/>
                <a:gd name="connsiteY9" fmla="*/ 684 h 42164"/>
                <a:gd name="connsiteX10" fmla="*/ 14155 w 24233"/>
                <a:gd name="connsiteY10" fmla="*/ 1480 h 42164"/>
                <a:gd name="connsiteX11" fmla="*/ 14155 w 24233"/>
                <a:gd name="connsiteY11" fmla="*/ 7871 h 42164"/>
                <a:gd name="connsiteX12" fmla="*/ 14794 w 24233"/>
                <a:gd name="connsiteY12" fmla="*/ 8563 h 42164"/>
                <a:gd name="connsiteX13" fmla="*/ 14848 w 24233"/>
                <a:gd name="connsiteY13" fmla="*/ 8563 h 42164"/>
                <a:gd name="connsiteX14" fmla="*/ 22835 w 24233"/>
                <a:gd name="connsiteY14" fmla="*/ 8563 h 42164"/>
                <a:gd name="connsiteX15" fmla="*/ 24859 w 24233"/>
                <a:gd name="connsiteY15" fmla="*/ 10251 h 42164"/>
                <a:gd name="connsiteX16" fmla="*/ 24859 w 24233"/>
                <a:gd name="connsiteY16" fmla="*/ 10587 h 42164"/>
                <a:gd name="connsiteX17" fmla="*/ 24859 w 24233"/>
                <a:gd name="connsiteY17" fmla="*/ 13888 h 42164"/>
                <a:gd name="connsiteX18" fmla="*/ 23171 w 24233"/>
                <a:gd name="connsiteY18" fmla="*/ 15912 h 42164"/>
                <a:gd name="connsiteX19" fmla="*/ 22835 w 24233"/>
                <a:gd name="connsiteY19" fmla="*/ 15912 h 42164"/>
                <a:gd name="connsiteX20" fmla="*/ 14848 w 24233"/>
                <a:gd name="connsiteY20" fmla="*/ 15912 h 42164"/>
                <a:gd name="connsiteX21" fmla="*/ 14150 w 24233"/>
                <a:gd name="connsiteY21" fmla="*/ 16545 h 42164"/>
                <a:gd name="connsiteX22" fmla="*/ 14155 w 24233"/>
                <a:gd name="connsiteY22" fmla="*/ 16657 h 42164"/>
                <a:gd name="connsiteX23" fmla="*/ 14155 w 24233"/>
                <a:gd name="connsiteY23" fmla="*/ 30157 h 42164"/>
                <a:gd name="connsiteX24" fmla="*/ 17590 w 24233"/>
                <a:gd name="connsiteY24" fmla="*/ 34177 h 42164"/>
                <a:gd name="connsiteX25" fmla="*/ 22436 w 24233"/>
                <a:gd name="connsiteY25" fmla="*/ 33485 h 42164"/>
                <a:gd name="connsiteX26" fmla="*/ 24683 w 24233"/>
                <a:gd name="connsiteY26" fmla="*/ 34454 h 42164"/>
                <a:gd name="connsiteX27" fmla="*/ 24806 w 24233"/>
                <a:gd name="connsiteY27" fmla="*/ 35109 h 42164"/>
                <a:gd name="connsiteX28" fmla="*/ 25178 w 24233"/>
                <a:gd name="connsiteY28" fmla="*/ 38384 h 42164"/>
                <a:gd name="connsiteX29" fmla="*/ 23639 w 24233"/>
                <a:gd name="connsiteY29" fmla="*/ 40754 h 42164"/>
                <a:gd name="connsiteX30" fmla="*/ 23634 w 24233"/>
                <a:gd name="connsiteY30" fmla="*/ 40754 h 42164"/>
                <a:gd name="connsiteX31" fmla="*/ 15966 w 24233"/>
                <a:gd name="connsiteY31" fmla="*/ 41819 h 42164"/>
                <a:gd name="connsiteX32" fmla="*/ 5315 w 24233"/>
                <a:gd name="connsiteY32" fmla="*/ 30343 h 42164"/>
                <a:gd name="connsiteX33" fmla="*/ 5315 w 24233"/>
                <a:gd name="connsiteY33" fmla="*/ 16657 h 42164"/>
                <a:gd name="connsiteX34" fmla="*/ 4703 w 24233"/>
                <a:gd name="connsiteY34" fmla="*/ 15859 h 42164"/>
                <a:gd name="connsiteX35" fmla="*/ 2946 w 24233"/>
                <a:gd name="connsiteY35" fmla="*/ 15859 h 42164"/>
                <a:gd name="connsiteX36" fmla="*/ 994 w 24233"/>
                <a:gd name="connsiteY36" fmla="*/ 14200 h 42164"/>
                <a:gd name="connsiteX37" fmla="*/ 1002 w 24233"/>
                <a:gd name="connsiteY37" fmla="*/ 13835 h 42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233" h="42164">
                  <a:moveTo>
                    <a:pt x="1029" y="13782"/>
                  </a:moveTo>
                  <a:lnTo>
                    <a:pt x="1029" y="10533"/>
                  </a:lnTo>
                  <a:cubicBezTo>
                    <a:pt x="909" y="9540"/>
                    <a:pt x="1614" y="8637"/>
                    <a:pt x="2608" y="8518"/>
                  </a:cubicBezTo>
                  <a:cubicBezTo>
                    <a:pt x="2727" y="8502"/>
                    <a:pt x="2850" y="8499"/>
                    <a:pt x="2972" y="8510"/>
                  </a:cubicBezTo>
                  <a:lnTo>
                    <a:pt x="5049" y="8510"/>
                  </a:lnTo>
                  <a:cubicBezTo>
                    <a:pt x="5432" y="8510"/>
                    <a:pt x="5741" y="8201"/>
                    <a:pt x="5741" y="7817"/>
                  </a:cubicBezTo>
                  <a:lnTo>
                    <a:pt x="5741" y="3105"/>
                  </a:lnTo>
                  <a:cubicBezTo>
                    <a:pt x="5630" y="2045"/>
                    <a:pt x="6367" y="1086"/>
                    <a:pt x="7419" y="921"/>
                  </a:cubicBezTo>
                  <a:lnTo>
                    <a:pt x="11892" y="-224"/>
                  </a:lnTo>
                  <a:cubicBezTo>
                    <a:pt x="12736" y="-567"/>
                    <a:pt x="13700" y="-160"/>
                    <a:pt x="14043" y="684"/>
                  </a:cubicBezTo>
                  <a:cubicBezTo>
                    <a:pt x="14145" y="937"/>
                    <a:pt x="14184" y="1209"/>
                    <a:pt x="14155" y="1480"/>
                  </a:cubicBezTo>
                  <a:lnTo>
                    <a:pt x="14155" y="7871"/>
                  </a:lnTo>
                  <a:cubicBezTo>
                    <a:pt x="14139" y="8238"/>
                    <a:pt x="14427" y="8547"/>
                    <a:pt x="14794" y="8563"/>
                  </a:cubicBezTo>
                  <a:cubicBezTo>
                    <a:pt x="14810" y="8563"/>
                    <a:pt x="14829" y="8563"/>
                    <a:pt x="14848" y="8563"/>
                  </a:cubicBezTo>
                  <a:lnTo>
                    <a:pt x="22835" y="8563"/>
                  </a:lnTo>
                  <a:cubicBezTo>
                    <a:pt x="23861" y="8470"/>
                    <a:pt x="24766" y="9226"/>
                    <a:pt x="24859" y="10251"/>
                  </a:cubicBezTo>
                  <a:cubicBezTo>
                    <a:pt x="24870" y="10363"/>
                    <a:pt x="24870" y="10475"/>
                    <a:pt x="24859" y="10587"/>
                  </a:cubicBezTo>
                  <a:lnTo>
                    <a:pt x="24859" y="13888"/>
                  </a:lnTo>
                  <a:cubicBezTo>
                    <a:pt x="24952" y="14913"/>
                    <a:pt x="24196" y="15819"/>
                    <a:pt x="23171" y="15912"/>
                  </a:cubicBezTo>
                  <a:cubicBezTo>
                    <a:pt x="23059" y="15922"/>
                    <a:pt x="22947" y="15922"/>
                    <a:pt x="22835" y="15912"/>
                  </a:cubicBezTo>
                  <a:lnTo>
                    <a:pt x="14848" y="15912"/>
                  </a:lnTo>
                  <a:cubicBezTo>
                    <a:pt x="14480" y="15893"/>
                    <a:pt x="14169" y="16178"/>
                    <a:pt x="14150" y="16545"/>
                  </a:cubicBezTo>
                  <a:cubicBezTo>
                    <a:pt x="14150" y="16583"/>
                    <a:pt x="14150" y="16620"/>
                    <a:pt x="14155" y="16657"/>
                  </a:cubicBezTo>
                  <a:lnTo>
                    <a:pt x="14155" y="30157"/>
                  </a:lnTo>
                  <a:cubicBezTo>
                    <a:pt x="14155" y="32819"/>
                    <a:pt x="15034" y="34177"/>
                    <a:pt x="17590" y="34177"/>
                  </a:cubicBezTo>
                  <a:cubicBezTo>
                    <a:pt x="19230" y="34175"/>
                    <a:pt x="20860" y="33940"/>
                    <a:pt x="22436" y="33485"/>
                  </a:cubicBezTo>
                  <a:cubicBezTo>
                    <a:pt x="23325" y="33131"/>
                    <a:pt x="24332" y="33565"/>
                    <a:pt x="24683" y="34454"/>
                  </a:cubicBezTo>
                  <a:cubicBezTo>
                    <a:pt x="24766" y="34662"/>
                    <a:pt x="24808" y="34886"/>
                    <a:pt x="24806" y="35109"/>
                  </a:cubicBezTo>
                  <a:lnTo>
                    <a:pt x="25178" y="38384"/>
                  </a:lnTo>
                  <a:cubicBezTo>
                    <a:pt x="25407" y="39463"/>
                    <a:pt x="24718" y="40522"/>
                    <a:pt x="23639" y="40754"/>
                  </a:cubicBezTo>
                  <a:cubicBezTo>
                    <a:pt x="23639" y="40754"/>
                    <a:pt x="23637" y="40754"/>
                    <a:pt x="23634" y="40754"/>
                  </a:cubicBezTo>
                  <a:cubicBezTo>
                    <a:pt x="21139" y="41462"/>
                    <a:pt x="18559" y="41822"/>
                    <a:pt x="15966" y="41819"/>
                  </a:cubicBezTo>
                  <a:cubicBezTo>
                    <a:pt x="10241" y="41819"/>
                    <a:pt x="5315" y="38943"/>
                    <a:pt x="5315" y="30343"/>
                  </a:cubicBezTo>
                  <a:lnTo>
                    <a:pt x="5315" y="16657"/>
                  </a:lnTo>
                  <a:cubicBezTo>
                    <a:pt x="5363" y="16269"/>
                    <a:pt x="5092" y="15914"/>
                    <a:pt x="4703" y="15859"/>
                  </a:cubicBezTo>
                  <a:lnTo>
                    <a:pt x="2946" y="15859"/>
                  </a:lnTo>
                  <a:cubicBezTo>
                    <a:pt x="1950" y="15938"/>
                    <a:pt x="1076" y="15198"/>
                    <a:pt x="994" y="14200"/>
                  </a:cubicBezTo>
                  <a:cubicBezTo>
                    <a:pt x="986" y="14080"/>
                    <a:pt x="986" y="13957"/>
                    <a:pt x="1002" y="13835"/>
                  </a:cubicBezTo>
                </a:path>
              </a:pathLst>
            </a:custGeom>
            <a:solidFill>
              <a:srgbClr val="8FDB42"/>
            </a:solidFill>
            <a:ln w="2661" cap="flat">
              <a:noFill/>
              <a:prstDash val="solid"/>
              <a:miter/>
            </a:ln>
          </p:spPr>
          <p:txBody>
            <a:bodyPr rtlCol="0" anchor="ctr"/>
            <a:lstStyle/>
            <a:p>
              <a:endParaRPr lang="pl-PL"/>
            </a:p>
          </p:txBody>
        </p:sp>
        <p:sp>
          <p:nvSpPr>
            <p:cNvPr id="139" name="Freeform: Shape 138">
              <a:extLst>
                <a:ext uri="{FF2B5EF4-FFF2-40B4-BE49-F238E27FC236}">
                  <a16:creationId xmlns:a16="http://schemas.microsoft.com/office/drawing/2014/main" id="{4341C2E0-D16E-4EF8-85C8-DC3668B7D29A}"/>
                </a:ext>
              </a:extLst>
            </p:cNvPr>
            <p:cNvSpPr/>
            <p:nvPr/>
          </p:nvSpPr>
          <p:spPr>
            <a:xfrm>
              <a:off x="11809766" y="6742209"/>
              <a:ext cx="6552" cy="27380"/>
            </a:xfrm>
            <a:custGeom>
              <a:avLst/>
              <a:gdLst>
                <a:gd name="connsiteX0" fmla="*/ 991 w 11611"/>
                <a:gd name="connsiteY0" fmla="*/ 5352 h 48518"/>
                <a:gd name="connsiteX1" fmla="*/ 6689 w 11611"/>
                <a:gd name="connsiteY1" fmla="*/ -346 h 48518"/>
                <a:gd name="connsiteX2" fmla="*/ 6769 w 11611"/>
                <a:gd name="connsiteY2" fmla="*/ -346 h 48518"/>
                <a:gd name="connsiteX3" fmla="*/ 12600 w 11611"/>
                <a:gd name="connsiteY3" fmla="*/ 5352 h 48518"/>
                <a:gd name="connsiteX4" fmla="*/ 6769 w 11611"/>
                <a:gd name="connsiteY4" fmla="*/ 11263 h 48518"/>
                <a:gd name="connsiteX5" fmla="*/ 989 w 11611"/>
                <a:gd name="connsiteY5" fmla="*/ 5488 h 48518"/>
                <a:gd name="connsiteX6" fmla="*/ 991 w 11611"/>
                <a:gd name="connsiteY6" fmla="*/ 5352 h 48518"/>
                <a:gd name="connsiteX7" fmla="*/ 10710 w 11611"/>
                <a:gd name="connsiteY7" fmla="*/ 17521 h 48518"/>
                <a:gd name="connsiteX8" fmla="*/ 10710 w 11611"/>
                <a:gd name="connsiteY8" fmla="*/ 46144 h 48518"/>
                <a:gd name="connsiteX9" fmla="*/ 9019 w 11611"/>
                <a:gd name="connsiteY9" fmla="*/ 48165 h 48518"/>
                <a:gd name="connsiteX10" fmla="*/ 8713 w 11611"/>
                <a:gd name="connsiteY10" fmla="*/ 48167 h 48518"/>
                <a:gd name="connsiteX11" fmla="*/ 4000 w 11611"/>
                <a:gd name="connsiteY11" fmla="*/ 48167 h 48518"/>
                <a:gd name="connsiteX12" fmla="*/ 2001 w 11611"/>
                <a:gd name="connsiteY12" fmla="*/ 46450 h 48518"/>
                <a:gd name="connsiteX13" fmla="*/ 2003 w 11611"/>
                <a:gd name="connsiteY13" fmla="*/ 46144 h 48518"/>
                <a:gd name="connsiteX14" fmla="*/ 2003 w 11611"/>
                <a:gd name="connsiteY14" fmla="*/ 17600 h 48518"/>
                <a:gd name="connsiteX15" fmla="*/ 3665 w 11611"/>
                <a:gd name="connsiteY15" fmla="*/ 15603 h 48518"/>
                <a:gd name="connsiteX16" fmla="*/ 4000 w 11611"/>
                <a:gd name="connsiteY16" fmla="*/ 15603 h 48518"/>
                <a:gd name="connsiteX17" fmla="*/ 8713 w 11611"/>
                <a:gd name="connsiteY17" fmla="*/ 15603 h 48518"/>
                <a:gd name="connsiteX18" fmla="*/ 10710 w 11611"/>
                <a:gd name="connsiteY18" fmla="*/ 17265 h 48518"/>
                <a:gd name="connsiteX19" fmla="*/ 10710 w 11611"/>
                <a:gd name="connsiteY19" fmla="*/ 17600 h 48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11" h="48518">
                  <a:moveTo>
                    <a:pt x="991" y="5352"/>
                  </a:moveTo>
                  <a:cubicBezTo>
                    <a:pt x="991" y="2205"/>
                    <a:pt x="3542" y="-346"/>
                    <a:pt x="6689" y="-346"/>
                  </a:cubicBezTo>
                  <a:cubicBezTo>
                    <a:pt x="6716" y="-346"/>
                    <a:pt x="6743" y="-346"/>
                    <a:pt x="6769" y="-346"/>
                  </a:cubicBezTo>
                  <a:cubicBezTo>
                    <a:pt x="9938" y="-346"/>
                    <a:pt x="12529" y="2184"/>
                    <a:pt x="12600" y="5352"/>
                  </a:cubicBezTo>
                  <a:cubicBezTo>
                    <a:pt x="12600" y="8585"/>
                    <a:pt x="10002" y="11221"/>
                    <a:pt x="6769" y="11263"/>
                  </a:cubicBezTo>
                  <a:cubicBezTo>
                    <a:pt x="3579" y="11263"/>
                    <a:pt x="991" y="8678"/>
                    <a:pt x="989" y="5488"/>
                  </a:cubicBezTo>
                  <a:cubicBezTo>
                    <a:pt x="989" y="5443"/>
                    <a:pt x="991" y="5398"/>
                    <a:pt x="991" y="5352"/>
                  </a:cubicBezTo>
                  <a:moveTo>
                    <a:pt x="10710" y="17521"/>
                  </a:moveTo>
                  <a:lnTo>
                    <a:pt x="10710" y="46144"/>
                  </a:lnTo>
                  <a:cubicBezTo>
                    <a:pt x="10800" y="47169"/>
                    <a:pt x="10044" y="48074"/>
                    <a:pt x="9019" y="48165"/>
                  </a:cubicBezTo>
                  <a:cubicBezTo>
                    <a:pt x="8918" y="48175"/>
                    <a:pt x="8814" y="48175"/>
                    <a:pt x="8713" y="48167"/>
                  </a:cubicBezTo>
                  <a:lnTo>
                    <a:pt x="4000" y="48167"/>
                  </a:lnTo>
                  <a:cubicBezTo>
                    <a:pt x="2975" y="48244"/>
                    <a:pt x="2078" y="47475"/>
                    <a:pt x="2001" y="46450"/>
                  </a:cubicBezTo>
                  <a:cubicBezTo>
                    <a:pt x="1993" y="46349"/>
                    <a:pt x="1995" y="46245"/>
                    <a:pt x="2003" y="46144"/>
                  </a:cubicBezTo>
                  <a:lnTo>
                    <a:pt x="2003" y="17600"/>
                  </a:lnTo>
                  <a:cubicBezTo>
                    <a:pt x="1910" y="16591"/>
                    <a:pt x="2656" y="15697"/>
                    <a:pt x="3665" y="15603"/>
                  </a:cubicBezTo>
                  <a:cubicBezTo>
                    <a:pt x="3777" y="15593"/>
                    <a:pt x="3888" y="15593"/>
                    <a:pt x="4000" y="15603"/>
                  </a:cubicBezTo>
                  <a:lnTo>
                    <a:pt x="8713" y="15603"/>
                  </a:lnTo>
                  <a:cubicBezTo>
                    <a:pt x="9722" y="15510"/>
                    <a:pt x="10617" y="16256"/>
                    <a:pt x="10710" y="17265"/>
                  </a:cubicBezTo>
                  <a:cubicBezTo>
                    <a:pt x="10721" y="17377"/>
                    <a:pt x="10721" y="17489"/>
                    <a:pt x="10710" y="17600"/>
                  </a:cubicBezTo>
                </a:path>
              </a:pathLst>
            </a:custGeom>
            <a:solidFill>
              <a:srgbClr val="8FDB42"/>
            </a:solidFill>
            <a:ln w="2661" cap="flat">
              <a:noFill/>
              <a:prstDash val="solid"/>
              <a:miter/>
            </a:ln>
          </p:spPr>
          <p:txBody>
            <a:bodyPr rtlCol="0" anchor="ctr"/>
            <a:lstStyle/>
            <a:p>
              <a:endParaRPr lang="pl-PL"/>
            </a:p>
          </p:txBody>
        </p:sp>
        <p:sp>
          <p:nvSpPr>
            <p:cNvPr id="140" name="Freeform: Shape 139">
              <a:extLst>
                <a:ext uri="{FF2B5EF4-FFF2-40B4-BE49-F238E27FC236}">
                  <a16:creationId xmlns:a16="http://schemas.microsoft.com/office/drawing/2014/main" id="{C6F8DE2A-587B-4297-96E0-5901CE66FB8C}"/>
                </a:ext>
              </a:extLst>
            </p:cNvPr>
            <p:cNvSpPr/>
            <p:nvPr/>
          </p:nvSpPr>
          <p:spPr>
            <a:xfrm>
              <a:off x="11818135" y="6751161"/>
              <a:ext cx="19391" cy="18427"/>
            </a:xfrm>
            <a:custGeom>
              <a:avLst/>
              <a:gdLst>
                <a:gd name="connsiteX0" fmla="*/ 3041 w 34361"/>
                <a:gd name="connsiteY0" fmla="*/ -340 h 32653"/>
                <a:gd name="connsiteX1" fmla="*/ 8766 w 34361"/>
                <a:gd name="connsiteY1" fmla="*/ -340 h 32653"/>
                <a:gd name="connsiteX2" fmla="*/ 11029 w 34361"/>
                <a:gd name="connsiteY2" fmla="*/ 1364 h 32653"/>
                <a:gd name="connsiteX3" fmla="*/ 17606 w 34361"/>
                <a:gd name="connsiteY3" fmla="*/ 22665 h 32653"/>
                <a:gd name="connsiteX4" fmla="*/ 19257 w 34361"/>
                <a:gd name="connsiteY4" fmla="*/ 22665 h 32653"/>
                <a:gd name="connsiteX5" fmla="*/ 26020 w 34361"/>
                <a:gd name="connsiteY5" fmla="*/ 1364 h 32653"/>
                <a:gd name="connsiteX6" fmla="*/ 28230 w 34361"/>
                <a:gd name="connsiteY6" fmla="*/ -340 h 32653"/>
                <a:gd name="connsiteX7" fmla="*/ 33555 w 34361"/>
                <a:gd name="connsiteY7" fmla="*/ -340 h 32653"/>
                <a:gd name="connsiteX8" fmla="*/ 35179 w 34361"/>
                <a:gd name="connsiteY8" fmla="*/ 1976 h 32653"/>
                <a:gd name="connsiteX9" fmla="*/ 23623 w 34361"/>
                <a:gd name="connsiteY9" fmla="*/ 30546 h 32653"/>
                <a:gd name="connsiteX10" fmla="*/ 20961 w 34361"/>
                <a:gd name="connsiteY10" fmla="*/ 32304 h 32653"/>
                <a:gd name="connsiteX11" fmla="*/ 15130 w 34361"/>
                <a:gd name="connsiteY11" fmla="*/ 32304 h 32653"/>
                <a:gd name="connsiteX12" fmla="*/ 12467 w 34361"/>
                <a:gd name="connsiteY12" fmla="*/ 30546 h 32653"/>
                <a:gd name="connsiteX13" fmla="*/ 1178 w 34361"/>
                <a:gd name="connsiteY13" fmla="*/ 1923 h 32653"/>
                <a:gd name="connsiteX14" fmla="*/ 2748 w 34361"/>
                <a:gd name="connsiteY14" fmla="*/ -340 h 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361" h="32653">
                  <a:moveTo>
                    <a:pt x="3041" y="-340"/>
                  </a:moveTo>
                  <a:lnTo>
                    <a:pt x="8766" y="-340"/>
                  </a:lnTo>
                  <a:cubicBezTo>
                    <a:pt x="9839" y="-417"/>
                    <a:pt x="10806" y="310"/>
                    <a:pt x="11029" y="1364"/>
                  </a:cubicBezTo>
                  <a:lnTo>
                    <a:pt x="17606" y="22665"/>
                  </a:lnTo>
                  <a:cubicBezTo>
                    <a:pt x="18005" y="23757"/>
                    <a:pt x="18884" y="23757"/>
                    <a:pt x="19257" y="22665"/>
                  </a:cubicBezTo>
                  <a:lnTo>
                    <a:pt x="26020" y="1364"/>
                  </a:lnTo>
                  <a:cubicBezTo>
                    <a:pt x="26230" y="326"/>
                    <a:pt x="27173" y="-401"/>
                    <a:pt x="28230" y="-340"/>
                  </a:cubicBezTo>
                  <a:lnTo>
                    <a:pt x="33555" y="-340"/>
                  </a:lnTo>
                  <a:cubicBezTo>
                    <a:pt x="35046" y="-340"/>
                    <a:pt x="35685" y="592"/>
                    <a:pt x="35179" y="1976"/>
                  </a:cubicBezTo>
                  <a:lnTo>
                    <a:pt x="23623" y="30546"/>
                  </a:lnTo>
                  <a:cubicBezTo>
                    <a:pt x="23224" y="31657"/>
                    <a:pt x="22140" y="32373"/>
                    <a:pt x="20961" y="32304"/>
                  </a:cubicBezTo>
                  <a:lnTo>
                    <a:pt x="15130" y="32304"/>
                  </a:lnTo>
                  <a:cubicBezTo>
                    <a:pt x="13950" y="32373"/>
                    <a:pt x="12866" y="31657"/>
                    <a:pt x="12467" y="30546"/>
                  </a:cubicBezTo>
                  <a:lnTo>
                    <a:pt x="1178" y="1923"/>
                  </a:lnTo>
                  <a:cubicBezTo>
                    <a:pt x="672" y="592"/>
                    <a:pt x="1178" y="-340"/>
                    <a:pt x="2748" y="-340"/>
                  </a:cubicBezTo>
                </a:path>
              </a:pathLst>
            </a:custGeom>
            <a:solidFill>
              <a:srgbClr val="8FDB42"/>
            </a:solidFill>
            <a:ln w="2661" cap="flat">
              <a:noFill/>
              <a:prstDash val="solid"/>
              <a:miter/>
            </a:ln>
          </p:spPr>
          <p:txBody>
            <a:bodyPr rtlCol="0" anchor="ctr"/>
            <a:lstStyle/>
            <a:p>
              <a:endParaRPr lang="pl-PL"/>
            </a:p>
          </p:txBody>
        </p:sp>
        <p:sp>
          <p:nvSpPr>
            <p:cNvPr id="141" name="Freeform: Shape 140">
              <a:extLst>
                <a:ext uri="{FF2B5EF4-FFF2-40B4-BE49-F238E27FC236}">
                  <a16:creationId xmlns:a16="http://schemas.microsoft.com/office/drawing/2014/main" id="{BB83355D-4465-41D6-B101-BD02F5FAD515}"/>
                </a:ext>
              </a:extLst>
            </p:cNvPr>
            <p:cNvSpPr/>
            <p:nvPr/>
          </p:nvSpPr>
          <p:spPr>
            <a:xfrm>
              <a:off x="11839093" y="6750822"/>
              <a:ext cx="18454" cy="19157"/>
            </a:xfrm>
            <a:custGeom>
              <a:avLst/>
              <a:gdLst>
                <a:gd name="connsiteX0" fmla="*/ 17931 w 32701"/>
                <a:gd name="connsiteY0" fmla="*/ -324 h 33946"/>
                <a:gd name="connsiteX1" fmla="*/ 33689 w 32701"/>
                <a:gd name="connsiteY1" fmla="*/ 15867 h 33946"/>
                <a:gd name="connsiteX2" fmla="*/ 33614 w 32701"/>
                <a:gd name="connsiteY2" fmla="*/ 17196 h 33946"/>
                <a:gd name="connsiteX3" fmla="*/ 31809 w 32701"/>
                <a:gd name="connsiteY3" fmla="*/ 19012 h 33946"/>
                <a:gd name="connsiteX4" fmla="*/ 31670 w 32701"/>
                <a:gd name="connsiteY4" fmla="*/ 19006 h 33946"/>
                <a:gd name="connsiteX5" fmla="*/ 11568 w 32701"/>
                <a:gd name="connsiteY5" fmla="*/ 19006 h 33946"/>
                <a:gd name="connsiteX6" fmla="*/ 10130 w 32701"/>
                <a:gd name="connsiteY6" fmla="*/ 20950 h 33946"/>
                <a:gd name="connsiteX7" fmla="*/ 18118 w 32701"/>
                <a:gd name="connsiteY7" fmla="*/ 26488 h 33946"/>
                <a:gd name="connsiteX8" fmla="*/ 24455 w 32701"/>
                <a:gd name="connsiteY8" fmla="*/ 23613 h 33946"/>
                <a:gd name="connsiteX9" fmla="*/ 26771 w 32701"/>
                <a:gd name="connsiteY9" fmla="*/ 22148 h 33946"/>
                <a:gd name="connsiteX10" fmla="*/ 31058 w 32701"/>
                <a:gd name="connsiteY10" fmla="*/ 22148 h 33946"/>
                <a:gd name="connsiteX11" fmla="*/ 32789 w 32701"/>
                <a:gd name="connsiteY11" fmla="*/ 24358 h 33946"/>
                <a:gd name="connsiteX12" fmla="*/ 18118 w 32701"/>
                <a:gd name="connsiteY12" fmla="*/ 33571 h 33946"/>
                <a:gd name="connsiteX13" fmla="*/ 994 w 32701"/>
                <a:gd name="connsiteY13" fmla="*/ 17371 h 33946"/>
                <a:gd name="connsiteX14" fmla="*/ 997 w 32701"/>
                <a:gd name="connsiteY14" fmla="*/ 16370 h 33946"/>
                <a:gd name="connsiteX15" fmla="*/ 16866 w 32701"/>
                <a:gd name="connsiteY15" fmla="*/ -340 h 33946"/>
                <a:gd name="connsiteX16" fmla="*/ 18118 w 32701"/>
                <a:gd name="connsiteY16" fmla="*/ -324 h 33946"/>
                <a:gd name="connsiteX17" fmla="*/ 12020 w 32701"/>
                <a:gd name="connsiteY17" fmla="*/ 13362 h 33946"/>
                <a:gd name="connsiteX18" fmla="*/ 23257 w 32701"/>
                <a:gd name="connsiteY18" fmla="*/ 13362 h 33946"/>
                <a:gd name="connsiteX19" fmla="*/ 24774 w 32701"/>
                <a:gd name="connsiteY19" fmla="*/ 11365 h 33946"/>
                <a:gd name="connsiteX20" fmla="*/ 17984 w 32701"/>
                <a:gd name="connsiteY20" fmla="*/ 6705 h 33946"/>
                <a:gd name="connsiteX21" fmla="*/ 10582 w 32701"/>
                <a:gd name="connsiteY21" fmla="*/ 11285 h 33946"/>
                <a:gd name="connsiteX22" fmla="*/ 12020 w 32701"/>
                <a:gd name="connsiteY22" fmla="*/ 13362 h 3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701" h="33946">
                  <a:moveTo>
                    <a:pt x="17931" y="-324"/>
                  </a:moveTo>
                  <a:cubicBezTo>
                    <a:pt x="26753" y="-204"/>
                    <a:pt x="33809" y="7046"/>
                    <a:pt x="33689" y="15867"/>
                  </a:cubicBezTo>
                  <a:cubicBezTo>
                    <a:pt x="33681" y="16312"/>
                    <a:pt x="33657" y="16754"/>
                    <a:pt x="33614" y="17196"/>
                  </a:cubicBezTo>
                  <a:cubicBezTo>
                    <a:pt x="33617" y="18197"/>
                    <a:pt x="32807" y="19009"/>
                    <a:pt x="31809" y="19012"/>
                  </a:cubicBezTo>
                  <a:cubicBezTo>
                    <a:pt x="31764" y="19012"/>
                    <a:pt x="31716" y="19009"/>
                    <a:pt x="31670" y="19006"/>
                  </a:cubicBezTo>
                  <a:lnTo>
                    <a:pt x="11568" y="19006"/>
                  </a:lnTo>
                  <a:cubicBezTo>
                    <a:pt x="10369" y="19006"/>
                    <a:pt x="9624" y="19778"/>
                    <a:pt x="10130" y="20950"/>
                  </a:cubicBezTo>
                  <a:cubicBezTo>
                    <a:pt x="11272" y="24361"/>
                    <a:pt x="14523" y="26616"/>
                    <a:pt x="18118" y="26488"/>
                  </a:cubicBezTo>
                  <a:cubicBezTo>
                    <a:pt x="20589" y="26709"/>
                    <a:pt x="22996" y="25618"/>
                    <a:pt x="24455" y="23613"/>
                  </a:cubicBezTo>
                  <a:cubicBezTo>
                    <a:pt x="24897" y="22734"/>
                    <a:pt x="25789" y="22172"/>
                    <a:pt x="26771" y="22148"/>
                  </a:cubicBezTo>
                  <a:lnTo>
                    <a:pt x="31058" y="22148"/>
                  </a:lnTo>
                  <a:cubicBezTo>
                    <a:pt x="32416" y="22148"/>
                    <a:pt x="33295" y="23027"/>
                    <a:pt x="32789" y="24358"/>
                  </a:cubicBezTo>
                  <a:cubicBezTo>
                    <a:pt x="30387" y="30264"/>
                    <a:pt x="24479" y="33973"/>
                    <a:pt x="18118" y="33571"/>
                  </a:cubicBezTo>
                  <a:cubicBezTo>
                    <a:pt x="8916" y="33826"/>
                    <a:pt x="1250" y="26573"/>
                    <a:pt x="994" y="17371"/>
                  </a:cubicBezTo>
                  <a:cubicBezTo>
                    <a:pt x="986" y="17036"/>
                    <a:pt x="986" y="16703"/>
                    <a:pt x="997" y="16370"/>
                  </a:cubicBezTo>
                  <a:cubicBezTo>
                    <a:pt x="765" y="7373"/>
                    <a:pt x="7869" y="-109"/>
                    <a:pt x="16866" y="-340"/>
                  </a:cubicBezTo>
                  <a:cubicBezTo>
                    <a:pt x="17284" y="-351"/>
                    <a:pt x="17700" y="-346"/>
                    <a:pt x="18118" y="-324"/>
                  </a:cubicBezTo>
                  <a:moveTo>
                    <a:pt x="12020" y="13362"/>
                  </a:moveTo>
                  <a:lnTo>
                    <a:pt x="23257" y="13362"/>
                  </a:lnTo>
                  <a:cubicBezTo>
                    <a:pt x="24508" y="13362"/>
                    <a:pt x="25280" y="12616"/>
                    <a:pt x="24774" y="11365"/>
                  </a:cubicBezTo>
                  <a:cubicBezTo>
                    <a:pt x="23707" y="8545"/>
                    <a:pt x="20999" y="6686"/>
                    <a:pt x="17984" y="6705"/>
                  </a:cubicBezTo>
                  <a:cubicBezTo>
                    <a:pt x="14859" y="6737"/>
                    <a:pt x="12007" y="8502"/>
                    <a:pt x="10582" y="11285"/>
                  </a:cubicBezTo>
                  <a:cubicBezTo>
                    <a:pt x="10023" y="12483"/>
                    <a:pt x="10716" y="13362"/>
                    <a:pt x="12020" y="13362"/>
                  </a:cubicBezTo>
                </a:path>
              </a:pathLst>
            </a:custGeom>
            <a:solidFill>
              <a:srgbClr val="8FDB42"/>
            </a:solidFill>
            <a:ln w="2661" cap="flat">
              <a:noFill/>
              <a:prstDash val="solid"/>
              <a:miter/>
            </a:ln>
          </p:spPr>
          <p:txBody>
            <a:bodyPr rtlCol="0" anchor="ctr"/>
            <a:lstStyle/>
            <a:p>
              <a:endParaRPr lang="pl-PL"/>
            </a:p>
          </p:txBody>
        </p:sp>
        <p:sp>
          <p:nvSpPr>
            <p:cNvPr id="142" name="Freeform: Shape 141">
              <a:extLst>
                <a:ext uri="{FF2B5EF4-FFF2-40B4-BE49-F238E27FC236}">
                  <a16:creationId xmlns:a16="http://schemas.microsoft.com/office/drawing/2014/main" id="{F44A9BB4-1E24-465F-9246-3009D67E5441}"/>
                </a:ext>
              </a:extLst>
            </p:cNvPr>
            <p:cNvSpPr/>
            <p:nvPr/>
          </p:nvSpPr>
          <p:spPr>
            <a:xfrm>
              <a:off x="11575064" y="6784526"/>
              <a:ext cx="208318" cy="27505"/>
            </a:xfrm>
            <a:custGeom>
              <a:avLst/>
              <a:gdLst>
                <a:gd name="connsiteX0" fmla="*/ 2220 w 369143"/>
                <a:gd name="connsiteY0" fmla="*/ 48333 h 48740"/>
                <a:gd name="connsiteX1" fmla="*/ 4004 w 369143"/>
                <a:gd name="connsiteY1" fmla="*/ 48333 h 48740"/>
                <a:gd name="connsiteX2" fmla="*/ 5226 w 369143"/>
                <a:gd name="connsiteY2" fmla="*/ 47390 h 48740"/>
                <a:gd name="connsiteX3" fmla="*/ 5229 w 369143"/>
                <a:gd name="connsiteY3" fmla="*/ 47135 h 48740"/>
                <a:gd name="connsiteX4" fmla="*/ 5229 w 369143"/>
                <a:gd name="connsiteY4" fmla="*/ 37043 h 48740"/>
                <a:gd name="connsiteX5" fmla="*/ 7172 w 369143"/>
                <a:gd name="connsiteY5" fmla="*/ 36165 h 48740"/>
                <a:gd name="connsiteX6" fmla="*/ 14202 w 369143"/>
                <a:gd name="connsiteY6" fmla="*/ 38109 h 48740"/>
                <a:gd name="connsiteX7" fmla="*/ 26961 w 369143"/>
                <a:gd name="connsiteY7" fmla="*/ 25096 h 48740"/>
                <a:gd name="connsiteX8" fmla="*/ 26955 w 369143"/>
                <a:gd name="connsiteY8" fmla="*/ 24795 h 48740"/>
                <a:gd name="connsiteX9" fmla="*/ 14444 w 369143"/>
                <a:gd name="connsiteY9" fmla="*/ 11751 h 48740"/>
                <a:gd name="connsiteX10" fmla="*/ 14281 w 369143"/>
                <a:gd name="connsiteY10" fmla="*/ 11749 h 48740"/>
                <a:gd name="connsiteX11" fmla="*/ 6533 w 369143"/>
                <a:gd name="connsiteY11" fmla="*/ 14198 h 48740"/>
                <a:gd name="connsiteX12" fmla="*/ 4403 w 369143"/>
                <a:gd name="connsiteY12" fmla="*/ 13453 h 48740"/>
                <a:gd name="connsiteX13" fmla="*/ 4403 w 369143"/>
                <a:gd name="connsiteY13" fmla="*/ 13453 h 48740"/>
                <a:gd name="connsiteX14" fmla="*/ 3098 w 369143"/>
                <a:gd name="connsiteY14" fmla="*/ 12334 h 48740"/>
                <a:gd name="connsiteX15" fmla="*/ 2220 w 369143"/>
                <a:gd name="connsiteY15" fmla="*/ 12334 h 48740"/>
                <a:gd name="connsiteX16" fmla="*/ 998 w 369143"/>
                <a:gd name="connsiteY16" fmla="*/ 13277 h 48740"/>
                <a:gd name="connsiteX17" fmla="*/ 995 w 369143"/>
                <a:gd name="connsiteY17" fmla="*/ 13533 h 48740"/>
                <a:gd name="connsiteX18" fmla="*/ 995 w 369143"/>
                <a:gd name="connsiteY18" fmla="*/ 47135 h 48740"/>
                <a:gd name="connsiteX19" fmla="*/ 1964 w 369143"/>
                <a:gd name="connsiteY19" fmla="*/ 48336 h 48740"/>
                <a:gd name="connsiteX20" fmla="*/ 2220 w 369143"/>
                <a:gd name="connsiteY20" fmla="*/ 48333 h 48740"/>
                <a:gd name="connsiteX21" fmla="*/ 5575 w 369143"/>
                <a:gd name="connsiteY21" fmla="*/ 27991 h 48740"/>
                <a:gd name="connsiteX22" fmla="*/ 5575 w 369143"/>
                <a:gd name="connsiteY22" fmla="*/ 21920 h 48740"/>
                <a:gd name="connsiteX23" fmla="*/ 6107 w 369143"/>
                <a:gd name="connsiteY23" fmla="*/ 19816 h 48740"/>
                <a:gd name="connsiteX24" fmla="*/ 13749 w 369143"/>
                <a:gd name="connsiteY24" fmla="*/ 15769 h 48740"/>
                <a:gd name="connsiteX25" fmla="*/ 22269 w 369143"/>
                <a:gd name="connsiteY25" fmla="*/ 24875 h 48740"/>
                <a:gd name="connsiteX26" fmla="*/ 13749 w 369143"/>
                <a:gd name="connsiteY26" fmla="*/ 34195 h 48740"/>
                <a:gd name="connsiteX27" fmla="*/ 6107 w 369143"/>
                <a:gd name="connsiteY27" fmla="*/ 30094 h 48740"/>
                <a:gd name="connsiteX28" fmla="*/ 5575 w 369143"/>
                <a:gd name="connsiteY28" fmla="*/ 27991 h 48740"/>
                <a:gd name="connsiteX29" fmla="*/ 36967 w 369143"/>
                <a:gd name="connsiteY29" fmla="*/ -340 h 48740"/>
                <a:gd name="connsiteX30" fmla="*/ 34837 w 369143"/>
                <a:gd name="connsiteY30" fmla="*/ -340 h 48740"/>
                <a:gd name="connsiteX31" fmla="*/ 33612 w 369143"/>
                <a:gd name="connsiteY31" fmla="*/ 662 h 48740"/>
                <a:gd name="connsiteX32" fmla="*/ 33612 w 369143"/>
                <a:gd name="connsiteY32" fmla="*/ 885 h 48740"/>
                <a:gd name="connsiteX33" fmla="*/ 33612 w 369143"/>
                <a:gd name="connsiteY33" fmla="*/ 36431 h 48740"/>
                <a:gd name="connsiteX34" fmla="*/ 34581 w 369143"/>
                <a:gd name="connsiteY34" fmla="*/ 37632 h 48740"/>
                <a:gd name="connsiteX35" fmla="*/ 34837 w 369143"/>
                <a:gd name="connsiteY35" fmla="*/ 37629 h 48740"/>
                <a:gd name="connsiteX36" fmla="*/ 36967 w 369143"/>
                <a:gd name="connsiteY36" fmla="*/ 37629 h 48740"/>
                <a:gd name="connsiteX37" fmla="*/ 38189 w 369143"/>
                <a:gd name="connsiteY37" fmla="*/ 36687 h 48740"/>
                <a:gd name="connsiteX38" fmla="*/ 38192 w 369143"/>
                <a:gd name="connsiteY38" fmla="*/ 36431 h 48740"/>
                <a:gd name="connsiteX39" fmla="*/ 38192 w 369143"/>
                <a:gd name="connsiteY39" fmla="*/ 885 h 48740"/>
                <a:gd name="connsiteX40" fmla="*/ 37191 w 369143"/>
                <a:gd name="connsiteY40" fmla="*/ -340 h 48740"/>
                <a:gd name="connsiteX41" fmla="*/ 36967 w 369143"/>
                <a:gd name="connsiteY41" fmla="*/ -340 h 48740"/>
                <a:gd name="connsiteX42" fmla="*/ 44768 w 369143"/>
                <a:gd name="connsiteY42" fmla="*/ 30680 h 48740"/>
                <a:gd name="connsiteX43" fmla="*/ 52485 w 369143"/>
                <a:gd name="connsiteY43" fmla="*/ 38141 h 48740"/>
                <a:gd name="connsiteX44" fmla="*/ 53049 w 369143"/>
                <a:gd name="connsiteY44" fmla="*/ 38109 h 48740"/>
                <a:gd name="connsiteX45" fmla="*/ 61756 w 369143"/>
                <a:gd name="connsiteY45" fmla="*/ 35446 h 48740"/>
                <a:gd name="connsiteX46" fmla="*/ 63992 w 369143"/>
                <a:gd name="connsiteY46" fmla="*/ 36218 h 48740"/>
                <a:gd name="connsiteX47" fmla="*/ 64152 w 369143"/>
                <a:gd name="connsiteY47" fmla="*/ 36724 h 48740"/>
                <a:gd name="connsiteX48" fmla="*/ 65510 w 369143"/>
                <a:gd name="connsiteY48" fmla="*/ 37736 h 48740"/>
                <a:gd name="connsiteX49" fmla="*/ 66096 w 369143"/>
                <a:gd name="connsiteY49" fmla="*/ 37736 h 48740"/>
                <a:gd name="connsiteX50" fmla="*/ 67294 w 369143"/>
                <a:gd name="connsiteY50" fmla="*/ 36761 h 48740"/>
                <a:gd name="connsiteX51" fmla="*/ 67294 w 369143"/>
                <a:gd name="connsiteY51" fmla="*/ 36538 h 48740"/>
                <a:gd name="connsiteX52" fmla="*/ 67294 w 369143"/>
                <a:gd name="connsiteY52" fmla="*/ 22905 h 48740"/>
                <a:gd name="connsiteX53" fmla="*/ 56644 w 369143"/>
                <a:gd name="connsiteY53" fmla="*/ 11935 h 48740"/>
                <a:gd name="connsiteX54" fmla="*/ 45993 w 369143"/>
                <a:gd name="connsiteY54" fmla="*/ 19497 h 48740"/>
                <a:gd name="connsiteX55" fmla="*/ 46712 w 369143"/>
                <a:gd name="connsiteY55" fmla="*/ 20778 h 48740"/>
                <a:gd name="connsiteX56" fmla="*/ 47165 w 369143"/>
                <a:gd name="connsiteY56" fmla="*/ 20802 h 48740"/>
                <a:gd name="connsiteX57" fmla="*/ 49055 w 369143"/>
                <a:gd name="connsiteY57" fmla="*/ 20802 h 48740"/>
                <a:gd name="connsiteX58" fmla="*/ 50386 w 369143"/>
                <a:gd name="connsiteY58" fmla="*/ 19736 h 48740"/>
                <a:gd name="connsiteX59" fmla="*/ 56510 w 369143"/>
                <a:gd name="connsiteY59" fmla="*/ 15929 h 48740"/>
                <a:gd name="connsiteX60" fmla="*/ 62938 w 369143"/>
                <a:gd name="connsiteY60" fmla="*/ 20791 h 48740"/>
                <a:gd name="connsiteX61" fmla="*/ 62981 w 369143"/>
                <a:gd name="connsiteY61" fmla="*/ 21920 h 48740"/>
                <a:gd name="connsiteX62" fmla="*/ 61277 w 369143"/>
                <a:gd name="connsiteY62" fmla="*/ 23491 h 48740"/>
                <a:gd name="connsiteX63" fmla="*/ 55632 w 369143"/>
                <a:gd name="connsiteY63" fmla="*/ 23491 h 48740"/>
                <a:gd name="connsiteX64" fmla="*/ 44981 w 369143"/>
                <a:gd name="connsiteY64" fmla="*/ 30840 h 48740"/>
                <a:gd name="connsiteX65" fmla="*/ 49561 w 369143"/>
                <a:gd name="connsiteY65" fmla="*/ 30840 h 48740"/>
                <a:gd name="connsiteX66" fmla="*/ 55792 w 369143"/>
                <a:gd name="connsiteY66" fmla="*/ 27325 h 48740"/>
                <a:gd name="connsiteX67" fmla="*/ 61330 w 369143"/>
                <a:gd name="connsiteY67" fmla="*/ 27325 h 48740"/>
                <a:gd name="connsiteX68" fmla="*/ 63034 w 369143"/>
                <a:gd name="connsiteY68" fmla="*/ 28691 h 48740"/>
                <a:gd name="connsiteX69" fmla="*/ 63034 w 369143"/>
                <a:gd name="connsiteY69" fmla="*/ 29029 h 48740"/>
                <a:gd name="connsiteX70" fmla="*/ 63034 w 369143"/>
                <a:gd name="connsiteY70" fmla="*/ 29535 h 48740"/>
                <a:gd name="connsiteX71" fmla="*/ 62022 w 369143"/>
                <a:gd name="connsiteY71" fmla="*/ 31585 h 48740"/>
                <a:gd name="connsiteX72" fmla="*/ 54274 w 369143"/>
                <a:gd name="connsiteY72" fmla="*/ 34248 h 48740"/>
                <a:gd name="connsiteX73" fmla="*/ 49561 w 369143"/>
                <a:gd name="connsiteY73" fmla="*/ 30733 h 48740"/>
                <a:gd name="connsiteX74" fmla="*/ 76826 w 369143"/>
                <a:gd name="connsiteY74" fmla="*/ 37789 h 48740"/>
                <a:gd name="connsiteX75" fmla="*/ 78956 w 369143"/>
                <a:gd name="connsiteY75" fmla="*/ 37789 h 48740"/>
                <a:gd name="connsiteX76" fmla="*/ 80179 w 369143"/>
                <a:gd name="connsiteY76" fmla="*/ 36846 h 48740"/>
                <a:gd name="connsiteX77" fmla="*/ 80181 w 369143"/>
                <a:gd name="connsiteY77" fmla="*/ 36591 h 48740"/>
                <a:gd name="connsiteX78" fmla="*/ 80181 w 369143"/>
                <a:gd name="connsiteY78" fmla="*/ 20988 h 48740"/>
                <a:gd name="connsiteX79" fmla="*/ 81299 w 369143"/>
                <a:gd name="connsiteY79" fmla="*/ 18964 h 48740"/>
                <a:gd name="connsiteX80" fmla="*/ 89580 w 369143"/>
                <a:gd name="connsiteY80" fmla="*/ 16035 h 48740"/>
                <a:gd name="connsiteX81" fmla="*/ 95140 w 369143"/>
                <a:gd name="connsiteY81" fmla="*/ 20658 h 48740"/>
                <a:gd name="connsiteX82" fmla="*/ 95118 w 369143"/>
                <a:gd name="connsiteY82" fmla="*/ 21787 h 48740"/>
                <a:gd name="connsiteX83" fmla="*/ 95118 w 369143"/>
                <a:gd name="connsiteY83" fmla="*/ 36591 h 48740"/>
                <a:gd name="connsiteX84" fmla="*/ 96088 w 369143"/>
                <a:gd name="connsiteY84" fmla="*/ 37792 h 48740"/>
                <a:gd name="connsiteX85" fmla="*/ 96343 w 369143"/>
                <a:gd name="connsiteY85" fmla="*/ 37789 h 48740"/>
                <a:gd name="connsiteX86" fmla="*/ 98473 w 369143"/>
                <a:gd name="connsiteY86" fmla="*/ 37789 h 48740"/>
                <a:gd name="connsiteX87" fmla="*/ 99696 w 369143"/>
                <a:gd name="connsiteY87" fmla="*/ 36846 h 48740"/>
                <a:gd name="connsiteX88" fmla="*/ 99698 w 369143"/>
                <a:gd name="connsiteY88" fmla="*/ 36591 h 48740"/>
                <a:gd name="connsiteX89" fmla="*/ 99698 w 369143"/>
                <a:gd name="connsiteY89" fmla="*/ 21574 h 48740"/>
                <a:gd name="connsiteX90" fmla="*/ 90885 w 369143"/>
                <a:gd name="connsiteY90" fmla="*/ 11988 h 48740"/>
                <a:gd name="connsiteX91" fmla="*/ 81326 w 369143"/>
                <a:gd name="connsiteY91" fmla="*/ 14811 h 48740"/>
                <a:gd name="connsiteX92" fmla="*/ 79143 w 369143"/>
                <a:gd name="connsiteY92" fmla="*/ 13932 h 48740"/>
                <a:gd name="connsiteX93" fmla="*/ 79143 w 369143"/>
                <a:gd name="connsiteY93" fmla="*/ 13559 h 48740"/>
                <a:gd name="connsiteX94" fmla="*/ 77758 w 369143"/>
                <a:gd name="connsiteY94" fmla="*/ 12494 h 48740"/>
                <a:gd name="connsiteX95" fmla="*/ 76906 w 369143"/>
                <a:gd name="connsiteY95" fmla="*/ 12494 h 48740"/>
                <a:gd name="connsiteX96" fmla="*/ 75684 w 369143"/>
                <a:gd name="connsiteY96" fmla="*/ 13437 h 48740"/>
                <a:gd name="connsiteX97" fmla="*/ 75681 w 369143"/>
                <a:gd name="connsiteY97" fmla="*/ 13692 h 48740"/>
                <a:gd name="connsiteX98" fmla="*/ 75681 w 369143"/>
                <a:gd name="connsiteY98" fmla="*/ 36591 h 48740"/>
                <a:gd name="connsiteX99" fmla="*/ 76651 w 369143"/>
                <a:gd name="connsiteY99" fmla="*/ 37792 h 48740"/>
                <a:gd name="connsiteX100" fmla="*/ 76906 w 369143"/>
                <a:gd name="connsiteY100" fmla="*/ 37789 h 48740"/>
                <a:gd name="connsiteX101" fmla="*/ 106195 w 369143"/>
                <a:gd name="connsiteY101" fmla="*/ 24982 h 48740"/>
                <a:gd name="connsiteX102" fmla="*/ 118323 w 369143"/>
                <a:gd name="connsiteY102" fmla="*/ 38282 h 48740"/>
                <a:gd name="connsiteX103" fmla="*/ 119055 w 369143"/>
                <a:gd name="connsiteY103" fmla="*/ 38295 h 48740"/>
                <a:gd name="connsiteX104" fmla="*/ 129945 w 369143"/>
                <a:gd name="connsiteY104" fmla="*/ 31212 h 48740"/>
                <a:gd name="connsiteX105" fmla="*/ 128880 w 369143"/>
                <a:gd name="connsiteY105" fmla="*/ 29828 h 48740"/>
                <a:gd name="connsiteX106" fmla="*/ 127043 w 369143"/>
                <a:gd name="connsiteY106" fmla="*/ 29828 h 48740"/>
                <a:gd name="connsiteX107" fmla="*/ 125632 w 369143"/>
                <a:gd name="connsiteY107" fmla="*/ 30813 h 48740"/>
                <a:gd name="connsiteX108" fmla="*/ 119055 w 369143"/>
                <a:gd name="connsiteY108" fmla="*/ 34381 h 48740"/>
                <a:gd name="connsiteX109" fmla="*/ 111068 w 369143"/>
                <a:gd name="connsiteY109" fmla="*/ 28177 h 48740"/>
                <a:gd name="connsiteX110" fmla="*/ 112638 w 369143"/>
                <a:gd name="connsiteY110" fmla="*/ 26340 h 48740"/>
                <a:gd name="connsiteX111" fmla="*/ 129173 w 369143"/>
                <a:gd name="connsiteY111" fmla="*/ 26340 h 48740"/>
                <a:gd name="connsiteX112" fmla="*/ 130821 w 369143"/>
                <a:gd name="connsiteY112" fmla="*/ 24905 h 48740"/>
                <a:gd name="connsiteX113" fmla="*/ 130824 w 369143"/>
                <a:gd name="connsiteY113" fmla="*/ 24769 h 48740"/>
                <a:gd name="connsiteX114" fmla="*/ 119372 w 369143"/>
                <a:gd name="connsiteY114" fmla="*/ 11975 h 48740"/>
                <a:gd name="connsiteX115" fmla="*/ 119055 w 369143"/>
                <a:gd name="connsiteY115" fmla="*/ 11962 h 48740"/>
                <a:gd name="connsiteX116" fmla="*/ 106245 w 369143"/>
                <a:gd name="connsiteY116" fmla="*/ 24444 h 48740"/>
                <a:gd name="connsiteX117" fmla="*/ 106248 w 369143"/>
                <a:gd name="connsiteY117" fmla="*/ 24955 h 48740"/>
                <a:gd name="connsiteX118" fmla="*/ 111707 w 369143"/>
                <a:gd name="connsiteY118" fmla="*/ 20535 h 48740"/>
                <a:gd name="connsiteX119" fmla="*/ 119002 w 369143"/>
                <a:gd name="connsiteY119" fmla="*/ 15849 h 48740"/>
                <a:gd name="connsiteX120" fmla="*/ 125792 w 369143"/>
                <a:gd name="connsiteY120" fmla="*/ 20589 h 48740"/>
                <a:gd name="connsiteX121" fmla="*/ 124327 w 369143"/>
                <a:gd name="connsiteY121" fmla="*/ 22532 h 48740"/>
                <a:gd name="connsiteX122" fmla="*/ 113065 w 369143"/>
                <a:gd name="connsiteY122" fmla="*/ 22532 h 48740"/>
                <a:gd name="connsiteX123" fmla="*/ 111707 w 369143"/>
                <a:gd name="connsiteY123" fmla="*/ 20589 h 48740"/>
                <a:gd name="connsiteX124" fmla="*/ 135670 w 369143"/>
                <a:gd name="connsiteY124" fmla="*/ 16408 h 48740"/>
                <a:gd name="connsiteX125" fmla="*/ 137720 w 369143"/>
                <a:gd name="connsiteY125" fmla="*/ 16408 h 48740"/>
                <a:gd name="connsiteX126" fmla="*/ 138200 w 369143"/>
                <a:gd name="connsiteY126" fmla="*/ 16832 h 48740"/>
                <a:gd name="connsiteX127" fmla="*/ 138200 w 369143"/>
                <a:gd name="connsiteY127" fmla="*/ 16888 h 48740"/>
                <a:gd name="connsiteX128" fmla="*/ 138200 w 369143"/>
                <a:gd name="connsiteY128" fmla="*/ 30414 h 48740"/>
                <a:gd name="connsiteX129" fmla="*/ 145495 w 369143"/>
                <a:gd name="connsiteY129" fmla="*/ 38401 h 48740"/>
                <a:gd name="connsiteX130" fmla="*/ 151592 w 369143"/>
                <a:gd name="connsiteY130" fmla="*/ 37443 h 48740"/>
                <a:gd name="connsiteX131" fmla="*/ 151939 w 369143"/>
                <a:gd name="connsiteY131" fmla="*/ 35819 h 48740"/>
                <a:gd name="connsiteX132" fmla="*/ 151779 w 369143"/>
                <a:gd name="connsiteY132" fmla="*/ 34354 h 48740"/>
                <a:gd name="connsiteX133" fmla="*/ 150314 w 369143"/>
                <a:gd name="connsiteY133" fmla="*/ 33476 h 48740"/>
                <a:gd name="connsiteX134" fmla="*/ 145735 w 369143"/>
                <a:gd name="connsiteY134" fmla="*/ 34221 h 48740"/>
                <a:gd name="connsiteX135" fmla="*/ 142247 w 369143"/>
                <a:gd name="connsiteY135" fmla="*/ 30281 h 48740"/>
                <a:gd name="connsiteX136" fmla="*/ 142247 w 369143"/>
                <a:gd name="connsiteY136" fmla="*/ 16834 h 48740"/>
                <a:gd name="connsiteX137" fmla="*/ 142670 w 369143"/>
                <a:gd name="connsiteY137" fmla="*/ 16355 h 48740"/>
                <a:gd name="connsiteX138" fmla="*/ 142726 w 369143"/>
                <a:gd name="connsiteY138" fmla="*/ 16355 h 48740"/>
                <a:gd name="connsiteX139" fmla="*/ 150714 w 369143"/>
                <a:gd name="connsiteY139" fmla="*/ 16355 h 48740"/>
                <a:gd name="connsiteX140" fmla="*/ 151939 w 369143"/>
                <a:gd name="connsiteY140" fmla="*/ 15354 h 48740"/>
                <a:gd name="connsiteX141" fmla="*/ 151939 w 369143"/>
                <a:gd name="connsiteY141" fmla="*/ 15130 h 48740"/>
                <a:gd name="connsiteX142" fmla="*/ 151939 w 369143"/>
                <a:gd name="connsiteY142" fmla="*/ 13666 h 48740"/>
                <a:gd name="connsiteX143" fmla="*/ 150969 w 369143"/>
                <a:gd name="connsiteY143" fmla="*/ 12465 h 48740"/>
                <a:gd name="connsiteX144" fmla="*/ 150714 w 369143"/>
                <a:gd name="connsiteY144" fmla="*/ 12468 h 48740"/>
                <a:gd name="connsiteX145" fmla="*/ 142726 w 369143"/>
                <a:gd name="connsiteY145" fmla="*/ 12468 h 48740"/>
                <a:gd name="connsiteX146" fmla="*/ 142247 w 369143"/>
                <a:gd name="connsiteY146" fmla="*/ 11988 h 48740"/>
                <a:gd name="connsiteX147" fmla="*/ 142247 w 369143"/>
                <a:gd name="connsiteY147" fmla="*/ 11962 h 48740"/>
                <a:gd name="connsiteX148" fmla="*/ 142247 w 369143"/>
                <a:gd name="connsiteY148" fmla="*/ 6636 h 48740"/>
                <a:gd name="connsiteX149" fmla="*/ 140889 w 369143"/>
                <a:gd name="connsiteY149" fmla="*/ 5571 h 48740"/>
                <a:gd name="connsiteX150" fmla="*/ 138839 w 369143"/>
                <a:gd name="connsiteY150" fmla="*/ 6104 h 48740"/>
                <a:gd name="connsiteX151" fmla="*/ 137827 w 369143"/>
                <a:gd name="connsiteY151" fmla="*/ 7462 h 48740"/>
                <a:gd name="connsiteX152" fmla="*/ 137827 w 369143"/>
                <a:gd name="connsiteY152" fmla="*/ 11855 h 48740"/>
                <a:gd name="connsiteX153" fmla="*/ 137377 w 369143"/>
                <a:gd name="connsiteY153" fmla="*/ 12361 h 48740"/>
                <a:gd name="connsiteX154" fmla="*/ 137321 w 369143"/>
                <a:gd name="connsiteY154" fmla="*/ 12361 h 48740"/>
                <a:gd name="connsiteX155" fmla="*/ 135138 w 369143"/>
                <a:gd name="connsiteY155" fmla="*/ 12361 h 48740"/>
                <a:gd name="connsiteX156" fmla="*/ 133915 w 369143"/>
                <a:gd name="connsiteY156" fmla="*/ 13304 h 48740"/>
                <a:gd name="connsiteX157" fmla="*/ 133913 w 369143"/>
                <a:gd name="connsiteY157" fmla="*/ 13559 h 48740"/>
                <a:gd name="connsiteX158" fmla="*/ 133913 w 369143"/>
                <a:gd name="connsiteY158" fmla="*/ 15024 h 48740"/>
                <a:gd name="connsiteX159" fmla="*/ 134914 w 369143"/>
                <a:gd name="connsiteY159" fmla="*/ 16248 h 48740"/>
                <a:gd name="connsiteX160" fmla="*/ 135138 w 369143"/>
                <a:gd name="connsiteY160" fmla="*/ 16248 h 48740"/>
                <a:gd name="connsiteX161" fmla="*/ 168820 w 369143"/>
                <a:gd name="connsiteY161" fmla="*/ 24023 h 48740"/>
                <a:gd name="connsiteX162" fmla="*/ 169821 w 369143"/>
                <a:gd name="connsiteY162" fmla="*/ 25248 h 48740"/>
                <a:gd name="connsiteX163" fmla="*/ 170044 w 369143"/>
                <a:gd name="connsiteY163" fmla="*/ 25248 h 48740"/>
                <a:gd name="connsiteX164" fmla="*/ 175609 w 369143"/>
                <a:gd name="connsiteY164" fmla="*/ 25248 h 48740"/>
                <a:gd name="connsiteX165" fmla="*/ 176674 w 369143"/>
                <a:gd name="connsiteY165" fmla="*/ 26087 h 48740"/>
                <a:gd name="connsiteX166" fmla="*/ 176674 w 369143"/>
                <a:gd name="connsiteY166" fmla="*/ 26313 h 48740"/>
                <a:gd name="connsiteX167" fmla="*/ 176674 w 369143"/>
                <a:gd name="connsiteY167" fmla="*/ 31772 h 48740"/>
                <a:gd name="connsiteX168" fmla="*/ 177556 w 369143"/>
                <a:gd name="connsiteY168" fmla="*/ 32994 h 48740"/>
                <a:gd name="connsiteX169" fmla="*/ 177872 w 369143"/>
                <a:gd name="connsiteY169" fmla="*/ 32996 h 48740"/>
                <a:gd name="connsiteX170" fmla="*/ 179230 w 369143"/>
                <a:gd name="connsiteY170" fmla="*/ 32996 h 48740"/>
                <a:gd name="connsiteX171" fmla="*/ 180455 w 369143"/>
                <a:gd name="connsiteY171" fmla="*/ 31995 h 48740"/>
                <a:gd name="connsiteX172" fmla="*/ 180455 w 369143"/>
                <a:gd name="connsiteY172" fmla="*/ 31772 h 48740"/>
                <a:gd name="connsiteX173" fmla="*/ 180455 w 369143"/>
                <a:gd name="connsiteY173" fmla="*/ 26313 h 48740"/>
                <a:gd name="connsiteX174" fmla="*/ 181353 w 369143"/>
                <a:gd name="connsiteY174" fmla="*/ 25248 h 48740"/>
                <a:gd name="connsiteX175" fmla="*/ 181520 w 369143"/>
                <a:gd name="connsiteY175" fmla="*/ 25248 h 48740"/>
                <a:gd name="connsiteX176" fmla="*/ 186979 w 369143"/>
                <a:gd name="connsiteY176" fmla="*/ 25248 h 48740"/>
                <a:gd name="connsiteX177" fmla="*/ 188203 w 369143"/>
                <a:gd name="connsiteY177" fmla="*/ 24247 h 48740"/>
                <a:gd name="connsiteX178" fmla="*/ 188203 w 369143"/>
                <a:gd name="connsiteY178" fmla="*/ 24023 h 48740"/>
                <a:gd name="connsiteX179" fmla="*/ 188203 w 369143"/>
                <a:gd name="connsiteY179" fmla="*/ 22665 h 48740"/>
                <a:gd name="connsiteX180" fmla="*/ 187234 w 369143"/>
                <a:gd name="connsiteY180" fmla="*/ 21465 h 48740"/>
                <a:gd name="connsiteX181" fmla="*/ 186979 w 369143"/>
                <a:gd name="connsiteY181" fmla="*/ 21467 h 48740"/>
                <a:gd name="connsiteX182" fmla="*/ 181520 w 369143"/>
                <a:gd name="connsiteY182" fmla="*/ 21467 h 48740"/>
                <a:gd name="connsiteX183" fmla="*/ 180453 w 369143"/>
                <a:gd name="connsiteY183" fmla="*/ 20573 h 48740"/>
                <a:gd name="connsiteX184" fmla="*/ 180455 w 369143"/>
                <a:gd name="connsiteY184" fmla="*/ 20376 h 48740"/>
                <a:gd name="connsiteX185" fmla="*/ 180455 w 369143"/>
                <a:gd name="connsiteY185" fmla="*/ 15050 h 48740"/>
                <a:gd name="connsiteX186" fmla="*/ 179515 w 369143"/>
                <a:gd name="connsiteY186" fmla="*/ 13825 h 48740"/>
                <a:gd name="connsiteX187" fmla="*/ 179230 w 369143"/>
                <a:gd name="connsiteY187" fmla="*/ 13825 h 48740"/>
                <a:gd name="connsiteX188" fmla="*/ 177846 w 369143"/>
                <a:gd name="connsiteY188" fmla="*/ 13825 h 48740"/>
                <a:gd name="connsiteX189" fmla="*/ 176621 w 369143"/>
                <a:gd name="connsiteY189" fmla="*/ 14702 h 48740"/>
                <a:gd name="connsiteX190" fmla="*/ 176621 w 369143"/>
                <a:gd name="connsiteY190" fmla="*/ 15050 h 48740"/>
                <a:gd name="connsiteX191" fmla="*/ 176621 w 369143"/>
                <a:gd name="connsiteY191" fmla="*/ 20376 h 48740"/>
                <a:gd name="connsiteX192" fmla="*/ 175814 w 369143"/>
                <a:gd name="connsiteY192" fmla="*/ 21465 h 48740"/>
                <a:gd name="connsiteX193" fmla="*/ 175556 w 369143"/>
                <a:gd name="connsiteY193" fmla="*/ 21467 h 48740"/>
                <a:gd name="connsiteX194" fmla="*/ 170044 w 369143"/>
                <a:gd name="connsiteY194" fmla="*/ 21467 h 48740"/>
                <a:gd name="connsiteX195" fmla="*/ 168822 w 369143"/>
                <a:gd name="connsiteY195" fmla="*/ 22410 h 48740"/>
                <a:gd name="connsiteX196" fmla="*/ 168820 w 369143"/>
                <a:gd name="connsiteY196" fmla="*/ 22665 h 48740"/>
                <a:gd name="connsiteX197" fmla="*/ 209185 w 369143"/>
                <a:gd name="connsiteY197" fmla="*/ 48360 h 48740"/>
                <a:gd name="connsiteX198" fmla="*/ 210995 w 369143"/>
                <a:gd name="connsiteY198" fmla="*/ 48360 h 48740"/>
                <a:gd name="connsiteX199" fmla="*/ 212194 w 369143"/>
                <a:gd name="connsiteY199" fmla="*/ 47385 h 48740"/>
                <a:gd name="connsiteX200" fmla="*/ 212194 w 369143"/>
                <a:gd name="connsiteY200" fmla="*/ 47161 h 48740"/>
                <a:gd name="connsiteX201" fmla="*/ 212194 w 369143"/>
                <a:gd name="connsiteY201" fmla="*/ 37070 h 48740"/>
                <a:gd name="connsiteX202" fmla="*/ 214137 w 369143"/>
                <a:gd name="connsiteY202" fmla="*/ 36192 h 48740"/>
                <a:gd name="connsiteX203" fmla="*/ 221167 w 369143"/>
                <a:gd name="connsiteY203" fmla="*/ 38135 h 48740"/>
                <a:gd name="connsiteX204" fmla="*/ 233926 w 369143"/>
                <a:gd name="connsiteY204" fmla="*/ 25123 h 48740"/>
                <a:gd name="connsiteX205" fmla="*/ 233921 w 369143"/>
                <a:gd name="connsiteY205" fmla="*/ 24822 h 48740"/>
                <a:gd name="connsiteX206" fmla="*/ 221409 w 369143"/>
                <a:gd name="connsiteY206" fmla="*/ 11778 h 48740"/>
                <a:gd name="connsiteX207" fmla="*/ 221247 w 369143"/>
                <a:gd name="connsiteY207" fmla="*/ 11775 h 48740"/>
                <a:gd name="connsiteX208" fmla="*/ 213525 w 369143"/>
                <a:gd name="connsiteY208" fmla="*/ 14225 h 48740"/>
                <a:gd name="connsiteX209" fmla="*/ 211368 w 369143"/>
                <a:gd name="connsiteY209" fmla="*/ 13479 h 48740"/>
                <a:gd name="connsiteX210" fmla="*/ 211368 w 369143"/>
                <a:gd name="connsiteY210" fmla="*/ 13479 h 48740"/>
                <a:gd name="connsiteX211" fmla="*/ 210064 w 369143"/>
                <a:gd name="connsiteY211" fmla="*/ 12361 h 48740"/>
                <a:gd name="connsiteX212" fmla="*/ 209185 w 369143"/>
                <a:gd name="connsiteY212" fmla="*/ 12361 h 48740"/>
                <a:gd name="connsiteX213" fmla="*/ 207963 w 369143"/>
                <a:gd name="connsiteY213" fmla="*/ 13304 h 48740"/>
                <a:gd name="connsiteX214" fmla="*/ 207960 w 369143"/>
                <a:gd name="connsiteY214" fmla="*/ 13559 h 48740"/>
                <a:gd name="connsiteX215" fmla="*/ 207960 w 369143"/>
                <a:gd name="connsiteY215" fmla="*/ 47161 h 48740"/>
                <a:gd name="connsiteX216" fmla="*/ 208929 w 369143"/>
                <a:gd name="connsiteY216" fmla="*/ 48362 h 48740"/>
                <a:gd name="connsiteX217" fmla="*/ 209185 w 369143"/>
                <a:gd name="connsiteY217" fmla="*/ 48360 h 48740"/>
                <a:gd name="connsiteX218" fmla="*/ 212540 w 369143"/>
                <a:gd name="connsiteY218" fmla="*/ 28017 h 48740"/>
                <a:gd name="connsiteX219" fmla="*/ 212540 w 369143"/>
                <a:gd name="connsiteY219" fmla="*/ 21947 h 48740"/>
                <a:gd name="connsiteX220" fmla="*/ 213072 w 369143"/>
                <a:gd name="connsiteY220" fmla="*/ 19843 h 48740"/>
                <a:gd name="connsiteX221" fmla="*/ 220714 w 369143"/>
                <a:gd name="connsiteY221" fmla="*/ 15796 h 48740"/>
                <a:gd name="connsiteX222" fmla="*/ 229234 w 369143"/>
                <a:gd name="connsiteY222" fmla="*/ 24902 h 48740"/>
                <a:gd name="connsiteX223" fmla="*/ 220714 w 369143"/>
                <a:gd name="connsiteY223" fmla="*/ 34221 h 48740"/>
                <a:gd name="connsiteX224" fmla="*/ 213072 w 369143"/>
                <a:gd name="connsiteY224" fmla="*/ 30121 h 48740"/>
                <a:gd name="connsiteX225" fmla="*/ 212540 w 369143"/>
                <a:gd name="connsiteY225" fmla="*/ 28017 h 48740"/>
                <a:gd name="connsiteX226" fmla="*/ 238740 w 369143"/>
                <a:gd name="connsiteY226" fmla="*/ 24849 h 48740"/>
                <a:gd name="connsiteX227" fmla="*/ 250868 w 369143"/>
                <a:gd name="connsiteY227" fmla="*/ 38148 h 48740"/>
                <a:gd name="connsiteX228" fmla="*/ 251600 w 369143"/>
                <a:gd name="connsiteY228" fmla="*/ 38162 h 48740"/>
                <a:gd name="connsiteX229" fmla="*/ 262491 w 369143"/>
                <a:gd name="connsiteY229" fmla="*/ 31079 h 48740"/>
                <a:gd name="connsiteX230" fmla="*/ 261425 w 369143"/>
                <a:gd name="connsiteY230" fmla="*/ 29695 h 48740"/>
                <a:gd name="connsiteX231" fmla="*/ 259588 w 369143"/>
                <a:gd name="connsiteY231" fmla="*/ 29695 h 48740"/>
                <a:gd name="connsiteX232" fmla="*/ 258177 w 369143"/>
                <a:gd name="connsiteY232" fmla="*/ 30680 h 48740"/>
                <a:gd name="connsiteX233" fmla="*/ 251600 w 369143"/>
                <a:gd name="connsiteY233" fmla="*/ 34248 h 48740"/>
                <a:gd name="connsiteX234" fmla="*/ 243612 w 369143"/>
                <a:gd name="connsiteY234" fmla="*/ 28044 h 48740"/>
                <a:gd name="connsiteX235" fmla="*/ 245184 w 369143"/>
                <a:gd name="connsiteY235" fmla="*/ 26207 h 48740"/>
                <a:gd name="connsiteX236" fmla="*/ 261718 w 369143"/>
                <a:gd name="connsiteY236" fmla="*/ 26207 h 48740"/>
                <a:gd name="connsiteX237" fmla="*/ 263366 w 369143"/>
                <a:gd name="connsiteY237" fmla="*/ 24774 h 48740"/>
                <a:gd name="connsiteX238" fmla="*/ 263369 w 369143"/>
                <a:gd name="connsiteY238" fmla="*/ 24636 h 48740"/>
                <a:gd name="connsiteX239" fmla="*/ 251917 w 369143"/>
                <a:gd name="connsiteY239" fmla="*/ 11842 h 48740"/>
                <a:gd name="connsiteX240" fmla="*/ 251600 w 369143"/>
                <a:gd name="connsiteY240" fmla="*/ 11829 h 48740"/>
                <a:gd name="connsiteX241" fmla="*/ 238791 w 369143"/>
                <a:gd name="connsiteY241" fmla="*/ 24311 h 48740"/>
                <a:gd name="connsiteX242" fmla="*/ 238793 w 369143"/>
                <a:gd name="connsiteY242" fmla="*/ 24822 h 48740"/>
                <a:gd name="connsiteX243" fmla="*/ 244118 w 369143"/>
                <a:gd name="connsiteY243" fmla="*/ 20402 h 48740"/>
                <a:gd name="connsiteX244" fmla="*/ 251414 w 369143"/>
                <a:gd name="connsiteY244" fmla="*/ 15716 h 48740"/>
                <a:gd name="connsiteX245" fmla="*/ 258204 w 369143"/>
                <a:gd name="connsiteY245" fmla="*/ 20455 h 48740"/>
                <a:gd name="connsiteX246" fmla="*/ 256739 w 369143"/>
                <a:gd name="connsiteY246" fmla="*/ 22399 h 48740"/>
                <a:gd name="connsiteX247" fmla="*/ 245476 w 369143"/>
                <a:gd name="connsiteY247" fmla="*/ 22399 h 48740"/>
                <a:gd name="connsiteX248" fmla="*/ 244118 w 369143"/>
                <a:gd name="connsiteY248" fmla="*/ 20455 h 48740"/>
                <a:gd name="connsiteX249" fmla="*/ 268082 w 369143"/>
                <a:gd name="connsiteY249" fmla="*/ 24875 h 48740"/>
                <a:gd name="connsiteX250" fmla="*/ 280801 w 369143"/>
                <a:gd name="connsiteY250" fmla="*/ 38188 h 48740"/>
                <a:gd name="connsiteX251" fmla="*/ 281395 w 369143"/>
                <a:gd name="connsiteY251" fmla="*/ 38188 h 48740"/>
                <a:gd name="connsiteX252" fmla="*/ 294708 w 369143"/>
                <a:gd name="connsiteY252" fmla="*/ 25469 h 48740"/>
                <a:gd name="connsiteX253" fmla="*/ 294708 w 369143"/>
                <a:gd name="connsiteY253" fmla="*/ 24875 h 48740"/>
                <a:gd name="connsiteX254" fmla="*/ 281989 w 369143"/>
                <a:gd name="connsiteY254" fmla="*/ 11874 h 48740"/>
                <a:gd name="connsiteX255" fmla="*/ 281395 w 369143"/>
                <a:gd name="connsiteY255" fmla="*/ 11882 h 48740"/>
                <a:gd name="connsiteX256" fmla="*/ 268087 w 369143"/>
                <a:gd name="connsiteY256" fmla="*/ 24335 h 48740"/>
                <a:gd name="connsiteX257" fmla="*/ 268082 w 369143"/>
                <a:gd name="connsiteY257" fmla="*/ 24875 h 48740"/>
                <a:gd name="connsiteX258" fmla="*/ 272662 w 369143"/>
                <a:gd name="connsiteY258" fmla="*/ 25035 h 48740"/>
                <a:gd name="connsiteX259" fmla="*/ 281012 w 369143"/>
                <a:gd name="connsiteY259" fmla="*/ 15833 h 48740"/>
                <a:gd name="connsiteX260" fmla="*/ 281528 w 369143"/>
                <a:gd name="connsiteY260" fmla="*/ 15822 h 48740"/>
                <a:gd name="connsiteX261" fmla="*/ 290349 w 369143"/>
                <a:gd name="connsiteY261" fmla="*/ 24628 h 48740"/>
                <a:gd name="connsiteX262" fmla="*/ 290341 w 369143"/>
                <a:gd name="connsiteY262" fmla="*/ 25035 h 48740"/>
                <a:gd name="connsiteX263" fmla="*/ 281882 w 369143"/>
                <a:gd name="connsiteY263" fmla="*/ 34240 h 48740"/>
                <a:gd name="connsiteX264" fmla="*/ 281528 w 369143"/>
                <a:gd name="connsiteY264" fmla="*/ 34248 h 48740"/>
                <a:gd name="connsiteX265" fmla="*/ 272654 w 369143"/>
                <a:gd name="connsiteY265" fmla="*/ 25442 h 48740"/>
                <a:gd name="connsiteX266" fmla="*/ 272662 w 369143"/>
                <a:gd name="connsiteY266" fmla="*/ 25035 h 48740"/>
                <a:gd name="connsiteX267" fmla="*/ 302749 w 369143"/>
                <a:gd name="connsiteY267" fmla="*/ 48386 h 48740"/>
                <a:gd name="connsiteX268" fmla="*/ 304533 w 369143"/>
                <a:gd name="connsiteY268" fmla="*/ 48386 h 48740"/>
                <a:gd name="connsiteX269" fmla="*/ 305755 w 369143"/>
                <a:gd name="connsiteY269" fmla="*/ 47444 h 48740"/>
                <a:gd name="connsiteX270" fmla="*/ 305758 w 369143"/>
                <a:gd name="connsiteY270" fmla="*/ 47188 h 48740"/>
                <a:gd name="connsiteX271" fmla="*/ 305758 w 369143"/>
                <a:gd name="connsiteY271" fmla="*/ 37097 h 48740"/>
                <a:gd name="connsiteX272" fmla="*/ 307702 w 369143"/>
                <a:gd name="connsiteY272" fmla="*/ 36218 h 48740"/>
                <a:gd name="connsiteX273" fmla="*/ 314731 w 369143"/>
                <a:gd name="connsiteY273" fmla="*/ 38162 h 48740"/>
                <a:gd name="connsiteX274" fmla="*/ 327490 w 369143"/>
                <a:gd name="connsiteY274" fmla="*/ 25096 h 48740"/>
                <a:gd name="connsiteX275" fmla="*/ 327485 w 369143"/>
                <a:gd name="connsiteY275" fmla="*/ 24849 h 48740"/>
                <a:gd name="connsiteX276" fmla="*/ 314973 w 369143"/>
                <a:gd name="connsiteY276" fmla="*/ 11805 h 48740"/>
                <a:gd name="connsiteX277" fmla="*/ 314811 w 369143"/>
                <a:gd name="connsiteY277" fmla="*/ 11802 h 48740"/>
                <a:gd name="connsiteX278" fmla="*/ 307063 w 369143"/>
                <a:gd name="connsiteY278" fmla="*/ 14252 h 48740"/>
                <a:gd name="connsiteX279" fmla="*/ 304933 w 369143"/>
                <a:gd name="connsiteY279" fmla="*/ 13506 h 48740"/>
                <a:gd name="connsiteX280" fmla="*/ 304933 w 369143"/>
                <a:gd name="connsiteY280" fmla="*/ 13506 h 48740"/>
                <a:gd name="connsiteX281" fmla="*/ 303628 w 369143"/>
                <a:gd name="connsiteY281" fmla="*/ 12388 h 48740"/>
                <a:gd name="connsiteX282" fmla="*/ 302749 w 369143"/>
                <a:gd name="connsiteY282" fmla="*/ 12388 h 48740"/>
                <a:gd name="connsiteX283" fmla="*/ 301527 w 369143"/>
                <a:gd name="connsiteY283" fmla="*/ 13330 h 48740"/>
                <a:gd name="connsiteX284" fmla="*/ 301524 w 369143"/>
                <a:gd name="connsiteY284" fmla="*/ 13586 h 48740"/>
                <a:gd name="connsiteX285" fmla="*/ 301524 w 369143"/>
                <a:gd name="connsiteY285" fmla="*/ 47188 h 48740"/>
                <a:gd name="connsiteX286" fmla="*/ 302494 w 369143"/>
                <a:gd name="connsiteY286" fmla="*/ 48389 h 48740"/>
                <a:gd name="connsiteX287" fmla="*/ 302749 w 369143"/>
                <a:gd name="connsiteY287" fmla="*/ 48386 h 48740"/>
                <a:gd name="connsiteX288" fmla="*/ 306104 w 369143"/>
                <a:gd name="connsiteY288" fmla="*/ 28044 h 48740"/>
                <a:gd name="connsiteX289" fmla="*/ 306104 w 369143"/>
                <a:gd name="connsiteY289" fmla="*/ 21973 h 48740"/>
                <a:gd name="connsiteX290" fmla="*/ 306637 w 369143"/>
                <a:gd name="connsiteY290" fmla="*/ 19870 h 48740"/>
                <a:gd name="connsiteX291" fmla="*/ 314278 w 369143"/>
                <a:gd name="connsiteY291" fmla="*/ 15822 h 48740"/>
                <a:gd name="connsiteX292" fmla="*/ 322799 w 369143"/>
                <a:gd name="connsiteY292" fmla="*/ 24929 h 48740"/>
                <a:gd name="connsiteX293" fmla="*/ 314278 w 369143"/>
                <a:gd name="connsiteY293" fmla="*/ 34248 h 48740"/>
                <a:gd name="connsiteX294" fmla="*/ 306637 w 369143"/>
                <a:gd name="connsiteY294" fmla="*/ 30147 h 48740"/>
                <a:gd name="connsiteX295" fmla="*/ 306104 w 369143"/>
                <a:gd name="connsiteY295" fmla="*/ 28044 h 48740"/>
                <a:gd name="connsiteX296" fmla="*/ 337496 w 369143"/>
                <a:gd name="connsiteY296" fmla="*/ -286 h 48740"/>
                <a:gd name="connsiteX297" fmla="*/ 335366 w 369143"/>
                <a:gd name="connsiteY297" fmla="*/ -286 h 48740"/>
                <a:gd name="connsiteX298" fmla="*/ 334141 w 369143"/>
                <a:gd name="connsiteY298" fmla="*/ 715 h 48740"/>
                <a:gd name="connsiteX299" fmla="*/ 334141 w 369143"/>
                <a:gd name="connsiteY299" fmla="*/ 938 h 48740"/>
                <a:gd name="connsiteX300" fmla="*/ 334141 w 369143"/>
                <a:gd name="connsiteY300" fmla="*/ 36484 h 48740"/>
                <a:gd name="connsiteX301" fmla="*/ 335111 w 369143"/>
                <a:gd name="connsiteY301" fmla="*/ 37685 h 48740"/>
                <a:gd name="connsiteX302" fmla="*/ 335366 w 369143"/>
                <a:gd name="connsiteY302" fmla="*/ 37683 h 48740"/>
                <a:gd name="connsiteX303" fmla="*/ 337496 w 369143"/>
                <a:gd name="connsiteY303" fmla="*/ 37683 h 48740"/>
                <a:gd name="connsiteX304" fmla="*/ 338718 w 369143"/>
                <a:gd name="connsiteY304" fmla="*/ 36740 h 48740"/>
                <a:gd name="connsiteX305" fmla="*/ 338721 w 369143"/>
                <a:gd name="connsiteY305" fmla="*/ 36484 h 48740"/>
                <a:gd name="connsiteX306" fmla="*/ 338721 w 369143"/>
                <a:gd name="connsiteY306" fmla="*/ 885 h 48740"/>
                <a:gd name="connsiteX307" fmla="*/ 337720 w 369143"/>
                <a:gd name="connsiteY307" fmla="*/ -340 h 48740"/>
                <a:gd name="connsiteX308" fmla="*/ 337496 w 369143"/>
                <a:gd name="connsiteY308" fmla="*/ -340 h 48740"/>
                <a:gd name="connsiteX309" fmla="*/ 345484 w 369143"/>
                <a:gd name="connsiteY309" fmla="*/ 24822 h 48740"/>
                <a:gd name="connsiteX310" fmla="*/ 357612 w 369143"/>
                <a:gd name="connsiteY310" fmla="*/ 38122 h 48740"/>
                <a:gd name="connsiteX311" fmla="*/ 358345 w 369143"/>
                <a:gd name="connsiteY311" fmla="*/ 38135 h 48740"/>
                <a:gd name="connsiteX312" fmla="*/ 369235 w 369143"/>
                <a:gd name="connsiteY312" fmla="*/ 31053 h 48740"/>
                <a:gd name="connsiteX313" fmla="*/ 368170 w 369143"/>
                <a:gd name="connsiteY313" fmla="*/ 29668 h 48740"/>
                <a:gd name="connsiteX314" fmla="*/ 366333 w 369143"/>
                <a:gd name="connsiteY314" fmla="*/ 29668 h 48740"/>
                <a:gd name="connsiteX315" fmla="*/ 364921 w 369143"/>
                <a:gd name="connsiteY315" fmla="*/ 30653 h 48740"/>
                <a:gd name="connsiteX316" fmla="*/ 358345 w 369143"/>
                <a:gd name="connsiteY316" fmla="*/ 34221 h 48740"/>
                <a:gd name="connsiteX317" fmla="*/ 350357 w 369143"/>
                <a:gd name="connsiteY317" fmla="*/ 28017 h 48740"/>
                <a:gd name="connsiteX318" fmla="*/ 351928 w 369143"/>
                <a:gd name="connsiteY318" fmla="*/ 26180 h 48740"/>
                <a:gd name="connsiteX319" fmla="*/ 368463 w 369143"/>
                <a:gd name="connsiteY319" fmla="*/ 26180 h 48740"/>
                <a:gd name="connsiteX320" fmla="*/ 370111 w 369143"/>
                <a:gd name="connsiteY320" fmla="*/ 24745 h 48740"/>
                <a:gd name="connsiteX321" fmla="*/ 370113 w 369143"/>
                <a:gd name="connsiteY321" fmla="*/ 24609 h 48740"/>
                <a:gd name="connsiteX322" fmla="*/ 358661 w 369143"/>
                <a:gd name="connsiteY322" fmla="*/ 11815 h 48740"/>
                <a:gd name="connsiteX323" fmla="*/ 358371 w 369143"/>
                <a:gd name="connsiteY323" fmla="*/ 11802 h 48740"/>
                <a:gd name="connsiteX324" fmla="*/ 345535 w 369143"/>
                <a:gd name="connsiteY324" fmla="*/ 24311 h 48740"/>
                <a:gd name="connsiteX325" fmla="*/ 345538 w 369143"/>
                <a:gd name="connsiteY325" fmla="*/ 24795 h 48740"/>
                <a:gd name="connsiteX326" fmla="*/ 350863 w 369143"/>
                <a:gd name="connsiteY326" fmla="*/ 20376 h 48740"/>
                <a:gd name="connsiteX327" fmla="*/ 358185 w 369143"/>
                <a:gd name="connsiteY327" fmla="*/ 15689 h 48740"/>
                <a:gd name="connsiteX328" fmla="*/ 364948 w 369143"/>
                <a:gd name="connsiteY328" fmla="*/ 20429 h 48740"/>
                <a:gd name="connsiteX329" fmla="*/ 363484 w 369143"/>
                <a:gd name="connsiteY329" fmla="*/ 22373 h 48740"/>
                <a:gd name="connsiteX330" fmla="*/ 352221 w 369143"/>
                <a:gd name="connsiteY330" fmla="*/ 22373 h 48740"/>
                <a:gd name="connsiteX331" fmla="*/ 350863 w 369143"/>
                <a:gd name="connsiteY331" fmla="*/ 20429 h 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Lst>
              <a:rect l="l" t="t" r="r" b="b"/>
              <a:pathLst>
                <a:path w="369143" h="48740">
                  <a:moveTo>
                    <a:pt x="2220" y="48333"/>
                  </a:moveTo>
                  <a:lnTo>
                    <a:pt x="4004" y="48333"/>
                  </a:lnTo>
                  <a:cubicBezTo>
                    <a:pt x="4603" y="48410"/>
                    <a:pt x="5149" y="47987"/>
                    <a:pt x="5226" y="47390"/>
                  </a:cubicBezTo>
                  <a:cubicBezTo>
                    <a:pt x="5237" y="47305"/>
                    <a:pt x="5237" y="47220"/>
                    <a:pt x="5229" y="47135"/>
                  </a:cubicBezTo>
                  <a:lnTo>
                    <a:pt x="5229" y="37043"/>
                  </a:lnTo>
                  <a:cubicBezTo>
                    <a:pt x="5229" y="35632"/>
                    <a:pt x="6001" y="35339"/>
                    <a:pt x="7172" y="36165"/>
                  </a:cubicBezTo>
                  <a:cubicBezTo>
                    <a:pt x="9265" y="37507"/>
                    <a:pt x="11717" y="38183"/>
                    <a:pt x="14202" y="38109"/>
                  </a:cubicBezTo>
                  <a:cubicBezTo>
                    <a:pt x="21319" y="38039"/>
                    <a:pt x="27033" y="32214"/>
                    <a:pt x="26961" y="25096"/>
                  </a:cubicBezTo>
                  <a:cubicBezTo>
                    <a:pt x="26961" y="24995"/>
                    <a:pt x="26958" y="24897"/>
                    <a:pt x="26955" y="24795"/>
                  </a:cubicBezTo>
                  <a:cubicBezTo>
                    <a:pt x="27102" y="17740"/>
                    <a:pt x="21502" y="11898"/>
                    <a:pt x="14444" y="11751"/>
                  </a:cubicBezTo>
                  <a:cubicBezTo>
                    <a:pt x="14391" y="11749"/>
                    <a:pt x="14335" y="11749"/>
                    <a:pt x="14281" y="11749"/>
                  </a:cubicBezTo>
                  <a:cubicBezTo>
                    <a:pt x="11496" y="11671"/>
                    <a:pt x="8767" y="12534"/>
                    <a:pt x="6533" y="14198"/>
                  </a:cubicBezTo>
                  <a:cubicBezTo>
                    <a:pt x="5468" y="15024"/>
                    <a:pt x="4643" y="14837"/>
                    <a:pt x="4403" y="13453"/>
                  </a:cubicBezTo>
                  <a:lnTo>
                    <a:pt x="4403" y="13453"/>
                  </a:lnTo>
                  <a:cubicBezTo>
                    <a:pt x="4347" y="12787"/>
                    <a:pt x="3767" y="12289"/>
                    <a:pt x="3098" y="12334"/>
                  </a:cubicBezTo>
                  <a:lnTo>
                    <a:pt x="2220" y="12334"/>
                  </a:lnTo>
                  <a:cubicBezTo>
                    <a:pt x="1621" y="12257"/>
                    <a:pt x="1075" y="12681"/>
                    <a:pt x="998" y="13277"/>
                  </a:cubicBezTo>
                  <a:cubicBezTo>
                    <a:pt x="987" y="13362"/>
                    <a:pt x="987" y="13447"/>
                    <a:pt x="995" y="13533"/>
                  </a:cubicBezTo>
                  <a:lnTo>
                    <a:pt x="995" y="47135"/>
                  </a:lnTo>
                  <a:cubicBezTo>
                    <a:pt x="931" y="47734"/>
                    <a:pt x="1365" y="48272"/>
                    <a:pt x="1964" y="48336"/>
                  </a:cubicBezTo>
                  <a:cubicBezTo>
                    <a:pt x="2049" y="48344"/>
                    <a:pt x="2134" y="48344"/>
                    <a:pt x="2220" y="48333"/>
                  </a:cubicBezTo>
                  <a:moveTo>
                    <a:pt x="5575" y="27991"/>
                  </a:moveTo>
                  <a:lnTo>
                    <a:pt x="5575" y="21920"/>
                  </a:lnTo>
                  <a:cubicBezTo>
                    <a:pt x="5535" y="21180"/>
                    <a:pt x="5721" y="20447"/>
                    <a:pt x="6107" y="19816"/>
                  </a:cubicBezTo>
                  <a:cubicBezTo>
                    <a:pt x="7777" y="17228"/>
                    <a:pt x="10671" y="15695"/>
                    <a:pt x="13749" y="15769"/>
                  </a:cubicBezTo>
                  <a:cubicBezTo>
                    <a:pt x="18606" y="15958"/>
                    <a:pt x="22405" y="20019"/>
                    <a:pt x="22269" y="24875"/>
                  </a:cubicBezTo>
                  <a:cubicBezTo>
                    <a:pt x="22480" y="29799"/>
                    <a:pt x="18672" y="33965"/>
                    <a:pt x="13749" y="34195"/>
                  </a:cubicBezTo>
                  <a:cubicBezTo>
                    <a:pt x="10655" y="34285"/>
                    <a:pt x="7745" y="32722"/>
                    <a:pt x="6107" y="30094"/>
                  </a:cubicBezTo>
                  <a:cubicBezTo>
                    <a:pt x="5721" y="29463"/>
                    <a:pt x="5535" y="28731"/>
                    <a:pt x="5575" y="27991"/>
                  </a:cubicBezTo>
                  <a:moveTo>
                    <a:pt x="36967" y="-340"/>
                  </a:moveTo>
                  <a:lnTo>
                    <a:pt x="34837" y="-340"/>
                  </a:lnTo>
                  <a:cubicBezTo>
                    <a:pt x="34222" y="-401"/>
                    <a:pt x="33673" y="46"/>
                    <a:pt x="33612" y="662"/>
                  </a:cubicBezTo>
                  <a:cubicBezTo>
                    <a:pt x="33604" y="736"/>
                    <a:pt x="33604" y="811"/>
                    <a:pt x="33612" y="885"/>
                  </a:cubicBezTo>
                  <a:lnTo>
                    <a:pt x="33612" y="36431"/>
                  </a:lnTo>
                  <a:cubicBezTo>
                    <a:pt x="33548" y="37030"/>
                    <a:pt x="33982" y="37568"/>
                    <a:pt x="34581" y="37632"/>
                  </a:cubicBezTo>
                  <a:cubicBezTo>
                    <a:pt x="34666" y="37640"/>
                    <a:pt x="34752" y="37640"/>
                    <a:pt x="34837" y="37629"/>
                  </a:cubicBezTo>
                  <a:lnTo>
                    <a:pt x="36967" y="37629"/>
                  </a:lnTo>
                  <a:cubicBezTo>
                    <a:pt x="37566" y="37707"/>
                    <a:pt x="38112" y="37283"/>
                    <a:pt x="38189" y="36687"/>
                  </a:cubicBezTo>
                  <a:cubicBezTo>
                    <a:pt x="38200" y="36602"/>
                    <a:pt x="38200" y="36516"/>
                    <a:pt x="38192" y="36431"/>
                  </a:cubicBezTo>
                  <a:lnTo>
                    <a:pt x="38192" y="885"/>
                  </a:lnTo>
                  <a:cubicBezTo>
                    <a:pt x="38253" y="270"/>
                    <a:pt x="37806" y="-278"/>
                    <a:pt x="37191" y="-340"/>
                  </a:cubicBezTo>
                  <a:cubicBezTo>
                    <a:pt x="37116" y="-348"/>
                    <a:pt x="37041" y="-348"/>
                    <a:pt x="36967" y="-340"/>
                  </a:cubicBezTo>
                  <a:moveTo>
                    <a:pt x="44768" y="30680"/>
                  </a:moveTo>
                  <a:cubicBezTo>
                    <a:pt x="44840" y="34871"/>
                    <a:pt x="48294" y="38210"/>
                    <a:pt x="52485" y="38141"/>
                  </a:cubicBezTo>
                  <a:cubicBezTo>
                    <a:pt x="52674" y="38135"/>
                    <a:pt x="52860" y="38125"/>
                    <a:pt x="53049" y="38109"/>
                  </a:cubicBezTo>
                  <a:cubicBezTo>
                    <a:pt x="56154" y="38127"/>
                    <a:pt x="59192" y="37198"/>
                    <a:pt x="61756" y="35446"/>
                  </a:cubicBezTo>
                  <a:cubicBezTo>
                    <a:pt x="62821" y="34780"/>
                    <a:pt x="63646" y="35020"/>
                    <a:pt x="63992" y="36218"/>
                  </a:cubicBezTo>
                  <a:lnTo>
                    <a:pt x="64152" y="36724"/>
                  </a:lnTo>
                  <a:cubicBezTo>
                    <a:pt x="64275" y="37363"/>
                    <a:pt x="64863" y="37802"/>
                    <a:pt x="65510" y="37736"/>
                  </a:cubicBezTo>
                  <a:lnTo>
                    <a:pt x="66096" y="37736"/>
                  </a:lnTo>
                  <a:cubicBezTo>
                    <a:pt x="66695" y="37797"/>
                    <a:pt x="67233" y="37363"/>
                    <a:pt x="67294" y="36761"/>
                  </a:cubicBezTo>
                  <a:cubicBezTo>
                    <a:pt x="67302" y="36687"/>
                    <a:pt x="67302" y="36612"/>
                    <a:pt x="67294" y="36538"/>
                  </a:cubicBezTo>
                  <a:lnTo>
                    <a:pt x="67294" y="22905"/>
                  </a:lnTo>
                  <a:cubicBezTo>
                    <a:pt x="67294" y="15982"/>
                    <a:pt x="63353" y="11935"/>
                    <a:pt x="56644" y="11935"/>
                  </a:cubicBezTo>
                  <a:cubicBezTo>
                    <a:pt x="50892" y="11935"/>
                    <a:pt x="46872" y="14864"/>
                    <a:pt x="45993" y="19497"/>
                  </a:cubicBezTo>
                  <a:cubicBezTo>
                    <a:pt x="45839" y="20048"/>
                    <a:pt x="46161" y="20623"/>
                    <a:pt x="46712" y="20778"/>
                  </a:cubicBezTo>
                  <a:cubicBezTo>
                    <a:pt x="46858" y="20818"/>
                    <a:pt x="47013" y="20825"/>
                    <a:pt x="47165" y="20802"/>
                  </a:cubicBezTo>
                  <a:lnTo>
                    <a:pt x="49055" y="20802"/>
                  </a:lnTo>
                  <a:cubicBezTo>
                    <a:pt x="49702" y="20825"/>
                    <a:pt x="50269" y="20373"/>
                    <a:pt x="50386" y="19736"/>
                  </a:cubicBezTo>
                  <a:cubicBezTo>
                    <a:pt x="51305" y="17207"/>
                    <a:pt x="53835" y="15633"/>
                    <a:pt x="56510" y="15929"/>
                  </a:cubicBezTo>
                  <a:cubicBezTo>
                    <a:pt x="59628" y="15498"/>
                    <a:pt x="62504" y="17673"/>
                    <a:pt x="62938" y="20791"/>
                  </a:cubicBezTo>
                  <a:cubicBezTo>
                    <a:pt x="62989" y="21164"/>
                    <a:pt x="63005" y="21542"/>
                    <a:pt x="62981" y="21920"/>
                  </a:cubicBezTo>
                  <a:cubicBezTo>
                    <a:pt x="62981" y="22958"/>
                    <a:pt x="62368" y="23491"/>
                    <a:pt x="61277" y="23491"/>
                  </a:cubicBezTo>
                  <a:lnTo>
                    <a:pt x="55632" y="23491"/>
                  </a:lnTo>
                  <a:cubicBezTo>
                    <a:pt x="48975" y="23491"/>
                    <a:pt x="44981" y="26606"/>
                    <a:pt x="44981" y="30840"/>
                  </a:cubicBezTo>
                  <a:moveTo>
                    <a:pt x="49561" y="30840"/>
                  </a:moveTo>
                  <a:cubicBezTo>
                    <a:pt x="49561" y="28417"/>
                    <a:pt x="51638" y="27325"/>
                    <a:pt x="55792" y="27325"/>
                  </a:cubicBezTo>
                  <a:lnTo>
                    <a:pt x="61330" y="27325"/>
                  </a:lnTo>
                  <a:cubicBezTo>
                    <a:pt x="62177" y="27232"/>
                    <a:pt x="62941" y="27844"/>
                    <a:pt x="63034" y="28691"/>
                  </a:cubicBezTo>
                  <a:cubicBezTo>
                    <a:pt x="63047" y="28803"/>
                    <a:pt x="63047" y="28917"/>
                    <a:pt x="63034" y="29029"/>
                  </a:cubicBezTo>
                  <a:lnTo>
                    <a:pt x="63034" y="29535"/>
                  </a:lnTo>
                  <a:cubicBezTo>
                    <a:pt x="63071" y="30347"/>
                    <a:pt x="62688" y="31119"/>
                    <a:pt x="62022" y="31585"/>
                  </a:cubicBezTo>
                  <a:cubicBezTo>
                    <a:pt x="59767" y="33233"/>
                    <a:pt x="57067" y="34160"/>
                    <a:pt x="54274" y="34248"/>
                  </a:cubicBezTo>
                  <a:cubicBezTo>
                    <a:pt x="51611" y="34248"/>
                    <a:pt x="49561" y="33129"/>
                    <a:pt x="49561" y="30733"/>
                  </a:cubicBezTo>
                  <a:moveTo>
                    <a:pt x="76826" y="37789"/>
                  </a:moveTo>
                  <a:lnTo>
                    <a:pt x="78956" y="37789"/>
                  </a:lnTo>
                  <a:cubicBezTo>
                    <a:pt x="79555" y="37866"/>
                    <a:pt x="80101" y="37443"/>
                    <a:pt x="80179" y="36846"/>
                  </a:cubicBezTo>
                  <a:cubicBezTo>
                    <a:pt x="80189" y="36761"/>
                    <a:pt x="80189" y="36676"/>
                    <a:pt x="80181" y="36591"/>
                  </a:cubicBezTo>
                  <a:lnTo>
                    <a:pt x="80181" y="20988"/>
                  </a:lnTo>
                  <a:cubicBezTo>
                    <a:pt x="80123" y="20152"/>
                    <a:pt x="80562" y="19361"/>
                    <a:pt x="81299" y="18964"/>
                  </a:cubicBezTo>
                  <a:cubicBezTo>
                    <a:pt x="83752" y="17274"/>
                    <a:pt x="86609" y="16264"/>
                    <a:pt x="89580" y="16035"/>
                  </a:cubicBezTo>
                  <a:cubicBezTo>
                    <a:pt x="92392" y="15777"/>
                    <a:pt x="94881" y="17846"/>
                    <a:pt x="95140" y="20658"/>
                  </a:cubicBezTo>
                  <a:cubicBezTo>
                    <a:pt x="95174" y="21033"/>
                    <a:pt x="95166" y="21411"/>
                    <a:pt x="95118" y="21787"/>
                  </a:cubicBezTo>
                  <a:lnTo>
                    <a:pt x="95118" y="36591"/>
                  </a:lnTo>
                  <a:cubicBezTo>
                    <a:pt x="95054" y="37190"/>
                    <a:pt x="95489" y="37728"/>
                    <a:pt x="96088" y="37792"/>
                  </a:cubicBezTo>
                  <a:cubicBezTo>
                    <a:pt x="96173" y="37800"/>
                    <a:pt x="96258" y="37800"/>
                    <a:pt x="96343" y="37789"/>
                  </a:cubicBezTo>
                  <a:lnTo>
                    <a:pt x="98473" y="37789"/>
                  </a:lnTo>
                  <a:cubicBezTo>
                    <a:pt x="99072" y="37866"/>
                    <a:pt x="99618" y="37443"/>
                    <a:pt x="99696" y="36846"/>
                  </a:cubicBezTo>
                  <a:cubicBezTo>
                    <a:pt x="99706" y="36761"/>
                    <a:pt x="99706" y="36676"/>
                    <a:pt x="99698" y="36591"/>
                  </a:cubicBezTo>
                  <a:lnTo>
                    <a:pt x="99698" y="21574"/>
                  </a:lnTo>
                  <a:cubicBezTo>
                    <a:pt x="99698" y="15343"/>
                    <a:pt x="96397" y="11988"/>
                    <a:pt x="90885" y="11988"/>
                  </a:cubicBezTo>
                  <a:cubicBezTo>
                    <a:pt x="87495" y="11996"/>
                    <a:pt x="84178" y="12976"/>
                    <a:pt x="81326" y="14811"/>
                  </a:cubicBezTo>
                  <a:cubicBezTo>
                    <a:pt x="80261" y="15503"/>
                    <a:pt x="79436" y="15210"/>
                    <a:pt x="79143" y="13932"/>
                  </a:cubicBezTo>
                  <a:lnTo>
                    <a:pt x="79143" y="13559"/>
                  </a:lnTo>
                  <a:cubicBezTo>
                    <a:pt x="79023" y="12902"/>
                    <a:pt x="78424" y="12444"/>
                    <a:pt x="77758" y="12494"/>
                  </a:cubicBezTo>
                  <a:lnTo>
                    <a:pt x="76906" y="12494"/>
                  </a:lnTo>
                  <a:cubicBezTo>
                    <a:pt x="76307" y="12417"/>
                    <a:pt x="75761" y="12840"/>
                    <a:pt x="75684" y="13437"/>
                  </a:cubicBezTo>
                  <a:cubicBezTo>
                    <a:pt x="75673" y="13522"/>
                    <a:pt x="75673" y="13607"/>
                    <a:pt x="75681" y="13692"/>
                  </a:cubicBezTo>
                  <a:lnTo>
                    <a:pt x="75681" y="36591"/>
                  </a:lnTo>
                  <a:cubicBezTo>
                    <a:pt x="75617" y="37190"/>
                    <a:pt x="76051" y="37728"/>
                    <a:pt x="76651" y="37792"/>
                  </a:cubicBezTo>
                  <a:cubicBezTo>
                    <a:pt x="76736" y="37800"/>
                    <a:pt x="76821" y="37800"/>
                    <a:pt x="76906" y="37789"/>
                  </a:cubicBezTo>
                  <a:moveTo>
                    <a:pt x="106195" y="24982"/>
                  </a:moveTo>
                  <a:cubicBezTo>
                    <a:pt x="105870" y="32003"/>
                    <a:pt x="111299" y="37959"/>
                    <a:pt x="118323" y="38282"/>
                  </a:cubicBezTo>
                  <a:cubicBezTo>
                    <a:pt x="118565" y="38292"/>
                    <a:pt x="118810" y="38298"/>
                    <a:pt x="119055" y="38295"/>
                  </a:cubicBezTo>
                  <a:cubicBezTo>
                    <a:pt x="123824" y="38492"/>
                    <a:pt x="128193" y="35651"/>
                    <a:pt x="129945" y="31212"/>
                  </a:cubicBezTo>
                  <a:cubicBezTo>
                    <a:pt x="130238" y="30387"/>
                    <a:pt x="129706" y="29828"/>
                    <a:pt x="128880" y="29828"/>
                  </a:cubicBezTo>
                  <a:lnTo>
                    <a:pt x="127043" y="29828"/>
                  </a:lnTo>
                  <a:cubicBezTo>
                    <a:pt x="126409" y="29817"/>
                    <a:pt x="125840" y="30214"/>
                    <a:pt x="125632" y="30813"/>
                  </a:cubicBezTo>
                  <a:cubicBezTo>
                    <a:pt x="124357" y="33217"/>
                    <a:pt x="121766" y="34623"/>
                    <a:pt x="119055" y="34381"/>
                  </a:cubicBezTo>
                  <a:cubicBezTo>
                    <a:pt x="115256" y="34477"/>
                    <a:pt x="111914" y="31881"/>
                    <a:pt x="111068" y="28177"/>
                  </a:cubicBezTo>
                  <a:cubicBezTo>
                    <a:pt x="110775" y="27059"/>
                    <a:pt x="111467" y="26340"/>
                    <a:pt x="112638" y="26340"/>
                  </a:cubicBezTo>
                  <a:lnTo>
                    <a:pt x="129173" y="26340"/>
                  </a:lnTo>
                  <a:cubicBezTo>
                    <a:pt x="130025" y="26398"/>
                    <a:pt x="130763" y="25757"/>
                    <a:pt x="130821" y="24905"/>
                  </a:cubicBezTo>
                  <a:cubicBezTo>
                    <a:pt x="130824" y="24859"/>
                    <a:pt x="130824" y="24814"/>
                    <a:pt x="130824" y="24769"/>
                  </a:cubicBezTo>
                  <a:cubicBezTo>
                    <a:pt x="131194" y="18072"/>
                    <a:pt x="126069" y="12345"/>
                    <a:pt x="119372" y="11975"/>
                  </a:cubicBezTo>
                  <a:cubicBezTo>
                    <a:pt x="119266" y="11970"/>
                    <a:pt x="119162" y="11964"/>
                    <a:pt x="119055" y="11962"/>
                  </a:cubicBezTo>
                  <a:cubicBezTo>
                    <a:pt x="112071" y="11871"/>
                    <a:pt x="106336" y="17460"/>
                    <a:pt x="106245" y="24444"/>
                  </a:cubicBezTo>
                  <a:cubicBezTo>
                    <a:pt x="106243" y="24614"/>
                    <a:pt x="106243" y="24785"/>
                    <a:pt x="106248" y="24955"/>
                  </a:cubicBezTo>
                  <a:moveTo>
                    <a:pt x="111707" y="20535"/>
                  </a:moveTo>
                  <a:cubicBezTo>
                    <a:pt x="113006" y="17676"/>
                    <a:pt x="115860" y="15841"/>
                    <a:pt x="119002" y="15849"/>
                  </a:cubicBezTo>
                  <a:cubicBezTo>
                    <a:pt x="122038" y="15844"/>
                    <a:pt x="124751" y="17737"/>
                    <a:pt x="125792" y="20589"/>
                  </a:cubicBezTo>
                  <a:cubicBezTo>
                    <a:pt x="126218" y="21760"/>
                    <a:pt x="125526" y="22532"/>
                    <a:pt x="124327" y="22532"/>
                  </a:cubicBezTo>
                  <a:lnTo>
                    <a:pt x="113065" y="22532"/>
                  </a:lnTo>
                  <a:cubicBezTo>
                    <a:pt x="111786" y="22532"/>
                    <a:pt x="111121" y="21707"/>
                    <a:pt x="111707" y="20589"/>
                  </a:cubicBezTo>
                  <a:moveTo>
                    <a:pt x="135670" y="16408"/>
                  </a:moveTo>
                  <a:lnTo>
                    <a:pt x="137720" y="16408"/>
                  </a:lnTo>
                  <a:cubicBezTo>
                    <a:pt x="137971" y="16392"/>
                    <a:pt x="138184" y="16584"/>
                    <a:pt x="138200" y="16832"/>
                  </a:cubicBezTo>
                  <a:cubicBezTo>
                    <a:pt x="138200" y="16850"/>
                    <a:pt x="138200" y="16869"/>
                    <a:pt x="138200" y="16888"/>
                  </a:cubicBezTo>
                  <a:lnTo>
                    <a:pt x="138200" y="30414"/>
                  </a:lnTo>
                  <a:cubicBezTo>
                    <a:pt x="138200" y="36218"/>
                    <a:pt x="141475" y="38401"/>
                    <a:pt x="145495" y="38401"/>
                  </a:cubicBezTo>
                  <a:cubicBezTo>
                    <a:pt x="147564" y="38404"/>
                    <a:pt x="149622" y="38079"/>
                    <a:pt x="151592" y="37443"/>
                  </a:cubicBezTo>
                  <a:cubicBezTo>
                    <a:pt x="152090" y="37059"/>
                    <a:pt x="152239" y="36373"/>
                    <a:pt x="151939" y="35819"/>
                  </a:cubicBezTo>
                  <a:lnTo>
                    <a:pt x="151779" y="34354"/>
                  </a:lnTo>
                  <a:cubicBezTo>
                    <a:pt x="151779" y="33529"/>
                    <a:pt x="151140" y="33183"/>
                    <a:pt x="150314" y="33476"/>
                  </a:cubicBezTo>
                  <a:cubicBezTo>
                    <a:pt x="148837" y="33963"/>
                    <a:pt x="147292" y="34216"/>
                    <a:pt x="145735" y="34221"/>
                  </a:cubicBezTo>
                  <a:cubicBezTo>
                    <a:pt x="143472" y="34221"/>
                    <a:pt x="142247" y="32996"/>
                    <a:pt x="142247" y="30281"/>
                  </a:cubicBezTo>
                  <a:lnTo>
                    <a:pt x="142247" y="16834"/>
                  </a:lnTo>
                  <a:cubicBezTo>
                    <a:pt x="142231" y="16584"/>
                    <a:pt x="142423" y="16371"/>
                    <a:pt x="142670" y="16355"/>
                  </a:cubicBezTo>
                  <a:cubicBezTo>
                    <a:pt x="142689" y="16355"/>
                    <a:pt x="142707" y="16355"/>
                    <a:pt x="142726" y="16355"/>
                  </a:cubicBezTo>
                  <a:lnTo>
                    <a:pt x="150714" y="16355"/>
                  </a:lnTo>
                  <a:cubicBezTo>
                    <a:pt x="151329" y="16416"/>
                    <a:pt x="151877" y="15969"/>
                    <a:pt x="151939" y="15354"/>
                  </a:cubicBezTo>
                  <a:cubicBezTo>
                    <a:pt x="151947" y="15279"/>
                    <a:pt x="151947" y="15205"/>
                    <a:pt x="151939" y="15130"/>
                  </a:cubicBezTo>
                  <a:lnTo>
                    <a:pt x="151939" y="13666"/>
                  </a:lnTo>
                  <a:cubicBezTo>
                    <a:pt x="152003" y="13067"/>
                    <a:pt x="151569" y="12529"/>
                    <a:pt x="150969" y="12465"/>
                  </a:cubicBezTo>
                  <a:cubicBezTo>
                    <a:pt x="150884" y="12457"/>
                    <a:pt x="150799" y="12457"/>
                    <a:pt x="150714" y="12468"/>
                  </a:cubicBezTo>
                  <a:lnTo>
                    <a:pt x="142726" y="12468"/>
                  </a:lnTo>
                  <a:cubicBezTo>
                    <a:pt x="142462" y="12468"/>
                    <a:pt x="142247" y="12255"/>
                    <a:pt x="142247" y="11988"/>
                  </a:cubicBezTo>
                  <a:cubicBezTo>
                    <a:pt x="142247" y="11980"/>
                    <a:pt x="142247" y="11970"/>
                    <a:pt x="142247" y="11962"/>
                  </a:cubicBezTo>
                  <a:lnTo>
                    <a:pt x="142247" y="6636"/>
                  </a:lnTo>
                  <a:cubicBezTo>
                    <a:pt x="142247" y="5811"/>
                    <a:pt x="141767" y="5332"/>
                    <a:pt x="140889" y="5571"/>
                  </a:cubicBezTo>
                  <a:lnTo>
                    <a:pt x="138839" y="6104"/>
                  </a:lnTo>
                  <a:cubicBezTo>
                    <a:pt x="138200" y="6224"/>
                    <a:pt x="137760" y="6815"/>
                    <a:pt x="137827" y="7462"/>
                  </a:cubicBezTo>
                  <a:lnTo>
                    <a:pt x="137827" y="11855"/>
                  </a:lnTo>
                  <a:cubicBezTo>
                    <a:pt x="137843" y="12119"/>
                    <a:pt x="137640" y="12345"/>
                    <a:pt x="137377" y="12361"/>
                  </a:cubicBezTo>
                  <a:cubicBezTo>
                    <a:pt x="137358" y="12361"/>
                    <a:pt x="137340" y="12361"/>
                    <a:pt x="137321" y="12361"/>
                  </a:cubicBezTo>
                  <a:lnTo>
                    <a:pt x="135138" y="12361"/>
                  </a:lnTo>
                  <a:cubicBezTo>
                    <a:pt x="134539" y="12284"/>
                    <a:pt x="133993" y="12707"/>
                    <a:pt x="133915" y="13304"/>
                  </a:cubicBezTo>
                  <a:cubicBezTo>
                    <a:pt x="133905" y="13389"/>
                    <a:pt x="133905" y="13474"/>
                    <a:pt x="133913" y="13559"/>
                  </a:cubicBezTo>
                  <a:lnTo>
                    <a:pt x="133913" y="15024"/>
                  </a:lnTo>
                  <a:cubicBezTo>
                    <a:pt x="133851" y="15639"/>
                    <a:pt x="134299" y="16187"/>
                    <a:pt x="134914" y="16248"/>
                  </a:cubicBezTo>
                  <a:cubicBezTo>
                    <a:pt x="134988" y="16257"/>
                    <a:pt x="135063" y="16257"/>
                    <a:pt x="135138" y="16248"/>
                  </a:cubicBezTo>
                  <a:moveTo>
                    <a:pt x="168820" y="24023"/>
                  </a:moveTo>
                  <a:cubicBezTo>
                    <a:pt x="168758" y="24638"/>
                    <a:pt x="169206" y="25187"/>
                    <a:pt x="169821" y="25248"/>
                  </a:cubicBezTo>
                  <a:cubicBezTo>
                    <a:pt x="169895" y="25256"/>
                    <a:pt x="169970" y="25256"/>
                    <a:pt x="170044" y="25248"/>
                  </a:cubicBezTo>
                  <a:lnTo>
                    <a:pt x="175609" y="25248"/>
                  </a:lnTo>
                  <a:cubicBezTo>
                    <a:pt x="176134" y="25187"/>
                    <a:pt x="176613" y="25562"/>
                    <a:pt x="176674" y="26087"/>
                  </a:cubicBezTo>
                  <a:cubicBezTo>
                    <a:pt x="176682" y="26161"/>
                    <a:pt x="176682" y="26239"/>
                    <a:pt x="176674" y="26313"/>
                  </a:cubicBezTo>
                  <a:lnTo>
                    <a:pt x="176674" y="31772"/>
                  </a:lnTo>
                  <a:cubicBezTo>
                    <a:pt x="176581" y="32352"/>
                    <a:pt x="176975" y="32898"/>
                    <a:pt x="177556" y="32994"/>
                  </a:cubicBezTo>
                  <a:cubicBezTo>
                    <a:pt x="177659" y="33010"/>
                    <a:pt x="177769" y="33010"/>
                    <a:pt x="177872" y="32996"/>
                  </a:cubicBezTo>
                  <a:lnTo>
                    <a:pt x="179230" y="32996"/>
                  </a:lnTo>
                  <a:cubicBezTo>
                    <a:pt x="179846" y="33058"/>
                    <a:pt x="180394" y="32610"/>
                    <a:pt x="180455" y="31995"/>
                  </a:cubicBezTo>
                  <a:cubicBezTo>
                    <a:pt x="180463" y="31921"/>
                    <a:pt x="180463" y="31846"/>
                    <a:pt x="180455" y="31772"/>
                  </a:cubicBezTo>
                  <a:lnTo>
                    <a:pt x="180455" y="26313"/>
                  </a:lnTo>
                  <a:cubicBezTo>
                    <a:pt x="180410" y="25770"/>
                    <a:pt x="180812" y="25293"/>
                    <a:pt x="181353" y="25248"/>
                  </a:cubicBezTo>
                  <a:cubicBezTo>
                    <a:pt x="181408" y="25243"/>
                    <a:pt x="181464" y="25243"/>
                    <a:pt x="181520" y="25248"/>
                  </a:cubicBezTo>
                  <a:lnTo>
                    <a:pt x="186979" y="25248"/>
                  </a:lnTo>
                  <a:cubicBezTo>
                    <a:pt x="187594" y="25309"/>
                    <a:pt x="188142" y="24862"/>
                    <a:pt x="188203" y="24247"/>
                  </a:cubicBezTo>
                  <a:cubicBezTo>
                    <a:pt x="188211" y="24172"/>
                    <a:pt x="188211" y="24098"/>
                    <a:pt x="188203" y="24023"/>
                  </a:cubicBezTo>
                  <a:lnTo>
                    <a:pt x="188203" y="22665"/>
                  </a:lnTo>
                  <a:cubicBezTo>
                    <a:pt x="188267" y="22066"/>
                    <a:pt x="187833" y="21528"/>
                    <a:pt x="187234" y="21465"/>
                  </a:cubicBezTo>
                  <a:cubicBezTo>
                    <a:pt x="187149" y="21457"/>
                    <a:pt x="187064" y="21457"/>
                    <a:pt x="186979" y="21467"/>
                  </a:cubicBezTo>
                  <a:lnTo>
                    <a:pt x="181520" y="21467"/>
                  </a:lnTo>
                  <a:cubicBezTo>
                    <a:pt x="180977" y="21515"/>
                    <a:pt x="180500" y="21113"/>
                    <a:pt x="180453" y="20573"/>
                  </a:cubicBezTo>
                  <a:cubicBezTo>
                    <a:pt x="180447" y="20506"/>
                    <a:pt x="180447" y="20439"/>
                    <a:pt x="180455" y="20376"/>
                  </a:cubicBezTo>
                  <a:lnTo>
                    <a:pt x="180455" y="15050"/>
                  </a:lnTo>
                  <a:cubicBezTo>
                    <a:pt x="180535" y="14454"/>
                    <a:pt x="180114" y="13905"/>
                    <a:pt x="179515" y="13825"/>
                  </a:cubicBezTo>
                  <a:cubicBezTo>
                    <a:pt x="179422" y="13812"/>
                    <a:pt x="179326" y="13812"/>
                    <a:pt x="179230" y="13825"/>
                  </a:cubicBezTo>
                  <a:lnTo>
                    <a:pt x="177846" y="13825"/>
                  </a:lnTo>
                  <a:cubicBezTo>
                    <a:pt x="177266" y="13730"/>
                    <a:pt x="176717" y="14121"/>
                    <a:pt x="176621" y="14702"/>
                  </a:cubicBezTo>
                  <a:cubicBezTo>
                    <a:pt x="176602" y="14819"/>
                    <a:pt x="176602" y="14936"/>
                    <a:pt x="176621" y="15050"/>
                  </a:cubicBezTo>
                  <a:lnTo>
                    <a:pt x="176621" y="20376"/>
                  </a:lnTo>
                  <a:cubicBezTo>
                    <a:pt x="176698" y="20900"/>
                    <a:pt x="176336" y="21387"/>
                    <a:pt x="175814" y="21465"/>
                  </a:cubicBezTo>
                  <a:cubicBezTo>
                    <a:pt x="175729" y="21478"/>
                    <a:pt x="175641" y="21478"/>
                    <a:pt x="175556" y="21467"/>
                  </a:cubicBezTo>
                  <a:lnTo>
                    <a:pt x="170044" y="21467"/>
                  </a:lnTo>
                  <a:cubicBezTo>
                    <a:pt x="169445" y="21390"/>
                    <a:pt x="168899" y="21813"/>
                    <a:pt x="168822" y="22410"/>
                  </a:cubicBezTo>
                  <a:cubicBezTo>
                    <a:pt x="168812" y="22495"/>
                    <a:pt x="168812" y="22580"/>
                    <a:pt x="168820" y="22665"/>
                  </a:cubicBezTo>
                  <a:close/>
                  <a:moveTo>
                    <a:pt x="209185" y="48360"/>
                  </a:moveTo>
                  <a:lnTo>
                    <a:pt x="210995" y="48360"/>
                  </a:lnTo>
                  <a:cubicBezTo>
                    <a:pt x="211595" y="48421"/>
                    <a:pt x="212132" y="47987"/>
                    <a:pt x="212194" y="47385"/>
                  </a:cubicBezTo>
                  <a:cubicBezTo>
                    <a:pt x="212202" y="47311"/>
                    <a:pt x="212202" y="47236"/>
                    <a:pt x="212194" y="47161"/>
                  </a:cubicBezTo>
                  <a:lnTo>
                    <a:pt x="212194" y="37070"/>
                  </a:lnTo>
                  <a:cubicBezTo>
                    <a:pt x="212194" y="35659"/>
                    <a:pt x="212966" y="35366"/>
                    <a:pt x="214137" y="36192"/>
                  </a:cubicBezTo>
                  <a:cubicBezTo>
                    <a:pt x="216233" y="37528"/>
                    <a:pt x="218682" y="38207"/>
                    <a:pt x="221167" y="38135"/>
                  </a:cubicBezTo>
                  <a:cubicBezTo>
                    <a:pt x="228284" y="38066"/>
                    <a:pt x="233998" y="32240"/>
                    <a:pt x="233926" y="25123"/>
                  </a:cubicBezTo>
                  <a:cubicBezTo>
                    <a:pt x="233926" y="25022"/>
                    <a:pt x="233923" y="24923"/>
                    <a:pt x="233921" y="24822"/>
                  </a:cubicBezTo>
                  <a:cubicBezTo>
                    <a:pt x="234067" y="17766"/>
                    <a:pt x="228468" y="11924"/>
                    <a:pt x="221409" y="11778"/>
                  </a:cubicBezTo>
                  <a:cubicBezTo>
                    <a:pt x="221356" y="11775"/>
                    <a:pt x="221300" y="11775"/>
                    <a:pt x="221247" y="11775"/>
                  </a:cubicBezTo>
                  <a:cubicBezTo>
                    <a:pt x="218469" y="11695"/>
                    <a:pt x="215748" y="12558"/>
                    <a:pt x="213525" y="14225"/>
                  </a:cubicBezTo>
                  <a:cubicBezTo>
                    <a:pt x="212433" y="15050"/>
                    <a:pt x="211608" y="14864"/>
                    <a:pt x="211368" y="13479"/>
                  </a:cubicBezTo>
                  <a:lnTo>
                    <a:pt x="211368" y="13479"/>
                  </a:lnTo>
                  <a:cubicBezTo>
                    <a:pt x="211312" y="12814"/>
                    <a:pt x="210732" y="12316"/>
                    <a:pt x="210064" y="12361"/>
                  </a:cubicBezTo>
                  <a:lnTo>
                    <a:pt x="209185" y="12361"/>
                  </a:lnTo>
                  <a:cubicBezTo>
                    <a:pt x="208586" y="12284"/>
                    <a:pt x="208040" y="12707"/>
                    <a:pt x="207963" y="13304"/>
                  </a:cubicBezTo>
                  <a:cubicBezTo>
                    <a:pt x="207952" y="13389"/>
                    <a:pt x="207952" y="13474"/>
                    <a:pt x="207960" y="13559"/>
                  </a:cubicBezTo>
                  <a:lnTo>
                    <a:pt x="207960" y="47161"/>
                  </a:lnTo>
                  <a:cubicBezTo>
                    <a:pt x="207896" y="47760"/>
                    <a:pt x="208330" y="48298"/>
                    <a:pt x="208929" y="48362"/>
                  </a:cubicBezTo>
                  <a:cubicBezTo>
                    <a:pt x="209014" y="48370"/>
                    <a:pt x="209100" y="48370"/>
                    <a:pt x="209185" y="48360"/>
                  </a:cubicBezTo>
                  <a:moveTo>
                    <a:pt x="212540" y="28017"/>
                  </a:moveTo>
                  <a:lnTo>
                    <a:pt x="212540" y="21947"/>
                  </a:lnTo>
                  <a:cubicBezTo>
                    <a:pt x="212500" y="21206"/>
                    <a:pt x="212686" y="20474"/>
                    <a:pt x="213072" y="19843"/>
                  </a:cubicBezTo>
                  <a:cubicBezTo>
                    <a:pt x="214744" y="17260"/>
                    <a:pt x="217636" y="15727"/>
                    <a:pt x="220714" y="15796"/>
                  </a:cubicBezTo>
                  <a:cubicBezTo>
                    <a:pt x="225571" y="15985"/>
                    <a:pt x="229370" y="20045"/>
                    <a:pt x="229234" y="24902"/>
                  </a:cubicBezTo>
                  <a:cubicBezTo>
                    <a:pt x="229445" y="29825"/>
                    <a:pt x="225637" y="33992"/>
                    <a:pt x="220714" y="34221"/>
                  </a:cubicBezTo>
                  <a:cubicBezTo>
                    <a:pt x="217620" y="34304"/>
                    <a:pt x="214712" y="32746"/>
                    <a:pt x="213072" y="30121"/>
                  </a:cubicBezTo>
                  <a:cubicBezTo>
                    <a:pt x="212686" y="29490"/>
                    <a:pt x="212500" y="28757"/>
                    <a:pt x="212540" y="28017"/>
                  </a:cubicBezTo>
                  <a:moveTo>
                    <a:pt x="238740" y="24849"/>
                  </a:moveTo>
                  <a:cubicBezTo>
                    <a:pt x="238415" y="31870"/>
                    <a:pt x="243844" y="37826"/>
                    <a:pt x="250868" y="38148"/>
                  </a:cubicBezTo>
                  <a:cubicBezTo>
                    <a:pt x="251110" y="38159"/>
                    <a:pt x="251355" y="38165"/>
                    <a:pt x="251600" y="38162"/>
                  </a:cubicBezTo>
                  <a:cubicBezTo>
                    <a:pt x="256369" y="38359"/>
                    <a:pt x="260738" y="35518"/>
                    <a:pt x="262491" y="31079"/>
                  </a:cubicBezTo>
                  <a:cubicBezTo>
                    <a:pt x="262783" y="30254"/>
                    <a:pt x="262251" y="29695"/>
                    <a:pt x="261425" y="29695"/>
                  </a:cubicBezTo>
                  <a:lnTo>
                    <a:pt x="259588" y="29695"/>
                  </a:lnTo>
                  <a:cubicBezTo>
                    <a:pt x="258955" y="29684"/>
                    <a:pt x="258385" y="30081"/>
                    <a:pt x="258177" y="30680"/>
                  </a:cubicBezTo>
                  <a:cubicBezTo>
                    <a:pt x="256907" y="33090"/>
                    <a:pt x="254311" y="34498"/>
                    <a:pt x="251600" y="34248"/>
                  </a:cubicBezTo>
                  <a:cubicBezTo>
                    <a:pt x="247801" y="34344"/>
                    <a:pt x="244459" y="31748"/>
                    <a:pt x="243612" y="28044"/>
                  </a:cubicBezTo>
                  <a:cubicBezTo>
                    <a:pt x="243320" y="26926"/>
                    <a:pt x="244012" y="26207"/>
                    <a:pt x="245184" y="26207"/>
                  </a:cubicBezTo>
                  <a:lnTo>
                    <a:pt x="261718" y="26207"/>
                  </a:lnTo>
                  <a:cubicBezTo>
                    <a:pt x="262570" y="26265"/>
                    <a:pt x="263308" y="25624"/>
                    <a:pt x="263366" y="24774"/>
                  </a:cubicBezTo>
                  <a:cubicBezTo>
                    <a:pt x="263369" y="24726"/>
                    <a:pt x="263369" y="24681"/>
                    <a:pt x="263369" y="24636"/>
                  </a:cubicBezTo>
                  <a:cubicBezTo>
                    <a:pt x="263739" y="17939"/>
                    <a:pt x="258611" y="12212"/>
                    <a:pt x="251917" y="11842"/>
                  </a:cubicBezTo>
                  <a:cubicBezTo>
                    <a:pt x="251811" y="11837"/>
                    <a:pt x="251707" y="11831"/>
                    <a:pt x="251600" y="11829"/>
                  </a:cubicBezTo>
                  <a:cubicBezTo>
                    <a:pt x="244616" y="11738"/>
                    <a:pt x="238881" y="17327"/>
                    <a:pt x="238791" y="24311"/>
                  </a:cubicBezTo>
                  <a:cubicBezTo>
                    <a:pt x="238788" y="24481"/>
                    <a:pt x="238788" y="24652"/>
                    <a:pt x="238793" y="24822"/>
                  </a:cubicBezTo>
                  <a:moveTo>
                    <a:pt x="244118" y="20402"/>
                  </a:moveTo>
                  <a:cubicBezTo>
                    <a:pt x="245418" y="17542"/>
                    <a:pt x="248272" y="15708"/>
                    <a:pt x="251414" y="15716"/>
                  </a:cubicBezTo>
                  <a:cubicBezTo>
                    <a:pt x="254449" y="15711"/>
                    <a:pt x="257163" y="17604"/>
                    <a:pt x="258204" y="20455"/>
                  </a:cubicBezTo>
                  <a:cubicBezTo>
                    <a:pt x="258630" y="21627"/>
                    <a:pt x="257964" y="22399"/>
                    <a:pt x="256739" y="22399"/>
                  </a:cubicBezTo>
                  <a:lnTo>
                    <a:pt x="245476" y="22399"/>
                  </a:lnTo>
                  <a:cubicBezTo>
                    <a:pt x="244225" y="22399"/>
                    <a:pt x="243533" y="21574"/>
                    <a:pt x="244118" y="20455"/>
                  </a:cubicBezTo>
                  <a:moveTo>
                    <a:pt x="268082" y="24875"/>
                  </a:moveTo>
                  <a:cubicBezTo>
                    <a:pt x="267920" y="32064"/>
                    <a:pt x="273615" y="38026"/>
                    <a:pt x="280801" y="38188"/>
                  </a:cubicBezTo>
                  <a:cubicBezTo>
                    <a:pt x="281001" y="38194"/>
                    <a:pt x="281198" y="38194"/>
                    <a:pt x="281395" y="38188"/>
                  </a:cubicBezTo>
                  <a:cubicBezTo>
                    <a:pt x="288584" y="38351"/>
                    <a:pt x="294546" y="32658"/>
                    <a:pt x="294708" y="25469"/>
                  </a:cubicBezTo>
                  <a:cubicBezTo>
                    <a:pt x="294713" y="25269"/>
                    <a:pt x="294713" y="25072"/>
                    <a:pt x="294708" y="24875"/>
                  </a:cubicBezTo>
                  <a:cubicBezTo>
                    <a:pt x="294785" y="17774"/>
                    <a:pt x="289093" y="11954"/>
                    <a:pt x="281989" y="11874"/>
                  </a:cubicBezTo>
                  <a:cubicBezTo>
                    <a:pt x="281792" y="11871"/>
                    <a:pt x="281592" y="11874"/>
                    <a:pt x="281395" y="11882"/>
                  </a:cubicBezTo>
                  <a:cubicBezTo>
                    <a:pt x="274281" y="11647"/>
                    <a:pt x="268324" y="17223"/>
                    <a:pt x="268087" y="24335"/>
                  </a:cubicBezTo>
                  <a:cubicBezTo>
                    <a:pt x="268082" y="24516"/>
                    <a:pt x="268079" y="24694"/>
                    <a:pt x="268082" y="24875"/>
                  </a:cubicBezTo>
                  <a:moveTo>
                    <a:pt x="272662" y="25035"/>
                  </a:moveTo>
                  <a:cubicBezTo>
                    <a:pt x="272427" y="20189"/>
                    <a:pt x="276166" y="16067"/>
                    <a:pt x="281012" y="15833"/>
                  </a:cubicBezTo>
                  <a:cubicBezTo>
                    <a:pt x="281185" y="15825"/>
                    <a:pt x="281355" y="15820"/>
                    <a:pt x="281528" y="15822"/>
                  </a:cubicBezTo>
                  <a:cubicBezTo>
                    <a:pt x="286395" y="15817"/>
                    <a:pt x="290347" y="19760"/>
                    <a:pt x="290349" y="24628"/>
                  </a:cubicBezTo>
                  <a:cubicBezTo>
                    <a:pt x="290352" y="24764"/>
                    <a:pt x="290347" y="24899"/>
                    <a:pt x="290341" y="25035"/>
                  </a:cubicBezTo>
                  <a:cubicBezTo>
                    <a:pt x="290546" y="29913"/>
                    <a:pt x="286760" y="34035"/>
                    <a:pt x="281882" y="34240"/>
                  </a:cubicBezTo>
                  <a:cubicBezTo>
                    <a:pt x="281765" y="34245"/>
                    <a:pt x="281645" y="34248"/>
                    <a:pt x="281528" y="34248"/>
                  </a:cubicBezTo>
                  <a:cubicBezTo>
                    <a:pt x="276645" y="34266"/>
                    <a:pt x="272672" y="30326"/>
                    <a:pt x="272654" y="25442"/>
                  </a:cubicBezTo>
                  <a:cubicBezTo>
                    <a:pt x="272654" y="25307"/>
                    <a:pt x="272656" y="25171"/>
                    <a:pt x="272662" y="25035"/>
                  </a:cubicBezTo>
                  <a:moveTo>
                    <a:pt x="302749" y="48386"/>
                  </a:moveTo>
                  <a:lnTo>
                    <a:pt x="304533" y="48386"/>
                  </a:lnTo>
                  <a:cubicBezTo>
                    <a:pt x="305132" y="48463"/>
                    <a:pt x="305678" y="48040"/>
                    <a:pt x="305755" y="47444"/>
                  </a:cubicBezTo>
                  <a:cubicBezTo>
                    <a:pt x="305766" y="47359"/>
                    <a:pt x="305766" y="47273"/>
                    <a:pt x="305758" y="47188"/>
                  </a:cubicBezTo>
                  <a:lnTo>
                    <a:pt x="305758" y="37097"/>
                  </a:lnTo>
                  <a:cubicBezTo>
                    <a:pt x="305758" y="35686"/>
                    <a:pt x="306530" y="35393"/>
                    <a:pt x="307702" y="36218"/>
                  </a:cubicBezTo>
                  <a:cubicBezTo>
                    <a:pt x="309795" y="37560"/>
                    <a:pt x="312247" y="38236"/>
                    <a:pt x="314731" y="38162"/>
                  </a:cubicBezTo>
                  <a:cubicBezTo>
                    <a:pt x="321861" y="38077"/>
                    <a:pt x="327575" y="32227"/>
                    <a:pt x="327490" y="25096"/>
                  </a:cubicBezTo>
                  <a:cubicBezTo>
                    <a:pt x="327490" y="25014"/>
                    <a:pt x="327488" y="24931"/>
                    <a:pt x="327485" y="24849"/>
                  </a:cubicBezTo>
                  <a:cubicBezTo>
                    <a:pt x="327631" y="17793"/>
                    <a:pt x="322032" y="11951"/>
                    <a:pt x="314973" y="11805"/>
                  </a:cubicBezTo>
                  <a:cubicBezTo>
                    <a:pt x="314920" y="11802"/>
                    <a:pt x="314864" y="11802"/>
                    <a:pt x="314811" y="11802"/>
                  </a:cubicBezTo>
                  <a:cubicBezTo>
                    <a:pt x="312026" y="11725"/>
                    <a:pt x="309297" y="12587"/>
                    <a:pt x="307063" y="14252"/>
                  </a:cubicBezTo>
                  <a:cubicBezTo>
                    <a:pt x="305998" y="15077"/>
                    <a:pt x="305172" y="14891"/>
                    <a:pt x="304933" y="13506"/>
                  </a:cubicBezTo>
                  <a:lnTo>
                    <a:pt x="304933" y="13506"/>
                  </a:lnTo>
                  <a:cubicBezTo>
                    <a:pt x="304877" y="12840"/>
                    <a:pt x="304296" y="12342"/>
                    <a:pt x="303628" y="12388"/>
                  </a:cubicBezTo>
                  <a:lnTo>
                    <a:pt x="302749" y="12388"/>
                  </a:lnTo>
                  <a:cubicBezTo>
                    <a:pt x="302150" y="12310"/>
                    <a:pt x="301604" y="12734"/>
                    <a:pt x="301527" y="13330"/>
                  </a:cubicBezTo>
                  <a:cubicBezTo>
                    <a:pt x="301516" y="13415"/>
                    <a:pt x="301516" y="13501"/>
                    <a:pt x="301524" y="13586"/>
                  </a:cubicBezTo>
                  <a:lnTo>
                    <a:pt x="301524" y="47188"/>
                  </a:lnTo>
                  <a:cubicBezTo>
                    <a:pt x="301461" y="47787"/>
                    <a:pt x="301894" y="48325"/>
                    <a:pt x="302494" y="48389"/>
                  </a:cubicBezTo>
                  <a:cubicBezTo>
                    <a:pt x="302579" y="48397"/>
                    <a:pt x="302664" y="48397"/>
                    <a:pt x="302749" y="48386"/>
                  </a:cubicBezTo>
                  <a:moveTo>
                    <a:pt x="306104" y="28044"/>
                  </a:moveTo>
                  <a:lnTo>
                    <a:pt x="306104" y="21973"/>
                  </a:lnTo>
                  <a:cubicBezTo>
                    <a:pt x="306051" y="21233"/>
                    <a:pt x="306237" y="20495"/>
                    <a:pt x="306637" y="19870"/>
                  </a:cubicBezTo>
                  <a:cubicBezTo>
                    <a:pt x="308306" y="17282"/>
                    <a:pt x="311200" y="15748"/>
                    <a:pt x="314278" y="15822"/>
                  </a:cubicBezTo>
                  <a:cubicBezTo>
                    <a:pt x="319135" y="16012"/>
                    <a:pt x="322935" y="20072"/>
                    <a:pt x="322799" y="24929"/>
                  </a:cubicBezTo>
                  <a:cubicBezTo>
                    <a:pt x="323009" y="29852"/>
                    <a:pt x="319201" y="34019"/>
                    <a:pt x="314278" y="34248"/>
                  </a:cubicBezTo>
                  <a:cubicBezTo>
                    <a:pt x="311184" y="34338"/>
                    <a:pt x="308274" y="32775"/>
                    <a:pt x="306637" y="30147"/>
                  </a:cubicBezTo>
                  <a:cubicBezTo>
                    <a:pt x="306237" y="29522"/>
                    <a:pt x="306051" y="28784"/>
                    <a:pt x="306104" y="28044"/>
                  </a:cubicBezTo>
                  <a:moveTo>
                    <a:pt x="337496" y="-286"/>
                  </a:moveTo>
                  <a:lnTo>
                    <a:pt x="335366" y="-286"/>
                  </a:lnTo>
                  <a:cubicBezTo>
                    <a:pt x="334751" y="-348"/>
                    <a:pt x="334203" y="100"/>
                    <a:pt x="334141" y="715"/>
                  </a:cubicBezTo>
                  <a:cubicBezTo>
                    <a:pt x="334133" y="789"/>
                    <a:pt x="334133" y="864"/>
                    <a:pt x="334141" y="938"/>
                  </a:cubicBezTo>
                  <a:lnTo>
                    <a:pt x="334141" y="36484"/>
                  </a:lnTo>
                  <a:cubicBezTo>
                    <a:pt x="334078" y="37083"/>
                    <a:pt x="334511" y="37621"/>
                    <a:pt x="335111" y="37685"/>
                  </a:cubicBezTo>
                  <a:cubicBezTo>
                    <a:pt x="335196" y="37693"/>
                    <a:pt x="335281" y="37693"/>
                    <a:pt x="335366" y="37683"/>
                  </a:cubicBezTo>
                  <a:lnTo>
                    <a:pt x="337496" y="37683"/>
                  </a:lnTo>
                  <a:cubicBezTo>
                    <a:pt x="338095" y="37760"/>
                    <a:pt x="338641" y="37336"/>
                    <a:pt x="338718" y="36740"/>
                  </a:cubicBezTo>
                  <a:cubicBezTo>
                    <a:pt x="338729" y="36655"/>
                    <a:pt x="338729" y="36570"/>
                    <a:pt x="338721" y="36484"/>
                  </a:cubicBezTo>
                  <a:lnTo>
                    <a:pt x="338721" y="885"/>
                  </a:lnTo>
                  <a:cubicBezTo>
                    <a:pt x="338782" y="270"/>
                    <a:pt x="338335" y="-278"/>
                    <a:pt x="337720" y="-340"/>
                  </a:cubicBezTo>
                  <a:cubicBezTo>
                    <a:pt x="337645" y="-348"/>
                    <a:pt x="337571" y="-348"/>
                    <a:pt x="337496" y="-340"/>
                  </a:cubicBezTo>
                  <a:moveTo>
                    <a:pt x="345484" y="24822"/>
                  </a:moveTo>
                  <a:cubicBezTo>
                    <a:pt x="345159" y="31843"/>
                    <a:pt x="350588" y="37800"/>
                    <a:pt x="357612" y="38122"/>
                  </a:cubicBezTo>
                  <a:cubicBezTo>
                    <a:pt x="357855" y="38132"/>
                    <a:pt x="358100" y="38138"/>
                    <a:pt x="358345" y="38135"/>
                  </a:cubicBezTo>
                  <a:cubicBezTo>
                    <a:pt x="363113" y="38332"/>
                    <a:pt x="367483" y="35491"/>
                    <a:pt x="369235" y="31053"/>
                  </a:cubicBezTo>
                  <a:cubicBezTo>
                    <a:pt x="369528" y="30227"/>
                    <a:pt x="368995" y="29668"/>
                    <a:pt x="368170" y="29668"/>
                  </a:cubicBezTo>
                  <a:lnTo>
                    <a:pt x="366333" y="29668"/>
                  </a:lnTo>
                  <a:cubicBezTo>
                    <a:pt x="365699" y="29657"/>
                    <a:pt x="365129" y="30054"/>
                    <a:pt x="364921" y="30653"/>
                  </a:cubicBezTo>
                  <a:cubicBezTo>
                    <a:pt x="363651" y="33063"/>
                    <a:pt x="361058" y="34471"/>
                    <a:pt x="358345" y="34221"/>
                  </a:cubicBezTo>
                  <a:cubicBezTo>
                    <a:pt x="354561" y="34266"/>
                    <a:pt x="351249" y="31694"/>
                    <a:pt x="350357" y="28017"/>
                  </a:cubicBezTo>
                  <a:cubicBezTo>
                    <a:pt x="350064" y="26899"/>
                    <a:pt x="350756" y="26180"/>
                    <a:pt x="351928" y="26180"/>
                  </a:cubicBezTo>
                  <a:lnTo>
                    <a:pt x="368463" y="26180"/>
                  </a:lnTo>
                  <a:cubicBezTo>
                    <a:pt x="369315" y="26239"/>
                    <a:pt x="370052" y="25597"/>
                    <a:pt x="370111" y="24745"/>
                  </a:cubicBezTo>
                  <a:cubicBezTo>
                    <a:pt x="370113" y="24700"/>
                    <a:pt x="370113" y="24654"/>
                    <a:pt x="370113" y="24609"/>
                  </a:cubicBezTo>
                  <a:cubicBezTo>
                    <a:pt x="370483" y="17913"/>
                    <a:pt x="365358" y="12185"/>
                    <a:pt x="358661" y="11815"/>
                  </a:cubicBezTo>
                  <a:cubicBezTo>
                    <a:pt x="358566" y="11810"/>
                    <a:pt x="358467" y="11805"/>
                    <a:pt x="358371" y="11802"/>
                  </a:cubicBezTo>
                  <a:cubicBezTo>
                    <a:pt x="351371" y="11711"/>
                    <a:pt x="345625" y="17311"/>
                    <a:pt x="345535" y="24311"/>
                  </a:cubicBezTo>
                  <a:cubicBezTo>
                    <a:pt x="345532" y="24473"/>
                    <a:pt x="345532" y="24633"/>
                    <a:pt x="345538" y="24795"/>
                  </a:cubicBezTo>
                  <a:moveTo>
                    <a:pt x="350863" y="20376"/>
                  </a:moveTo>
                  <a:cubicBezTo>
                    <a:pt x="352165" y="17505"/>
                    <a:pt x="355032" y="15671"/>
                    <a:pt x="358185" y="15689"/>
                  </a:cubicBezTo>
                  <a:cubicBezTo>
                    <a:pt x="361215" y="15679"/>
                    <a:pt x="363923" y="17577"/>
                    <a:pt x="364948" y="20429"/>
                  </a:cubicBezTo>
                  <a:cubicBezTo>
                    <a:pt x="365401" y="21600"/>
                    <a:pt x="364708" y="22373"/>
                    <a:pt x="363484" y="22373"/>
                  </a:cubicBezTo>
                  <a:lnTo>
                    <a:pt x="352221" y="22373"/>
                  </a:lnTo>
                  <a:cubicBezTo>
                    <a:pt x="350969" y="22373"/>
                    <a:pt x="350277" y="21547"/>
                    <a:pt x="350863" y="20429"/>
                  </a:cubicBezTo>
                </a:path>
              </a:pathLst>
            </a:custGeom>
            <a:solidFill>
              <a:srgbClr val="FFFFFF"/>
            </a:solidFill>
            <a:ln w="2661" cap="flat">
              <a:noFill/>
              <a:prstDash val="solid"/>
              <a:miter/>
            </a:ln>
          </p:spPr>
          <p:txBody>
            <a:bodyPr rtlCol="0" anchor="ctr"/>
            <a:lstStyle/>
            <a:p>
              <a:endParaRPr lang="pl-PL"/>
            </a:p>
          </p:txBody>
        </p:sp>
        <p:sp>
          <p:nvSpPr>
            <p:cNvPr id="143" name="Freeform: Shape 142">
              <a:extLst>
                <a:ext uri="{FF2B5EF4-FFF2-40B4-BE49-F238E27FC236}">
                  <a16:creationId xmlns:a16="http://schemas.microsoft.com/office/drawing/2014/main" id="{0CD51501-CD69-47B8-AAAA-CA6B07B9C13B}"/>
                </a:ext>
              </a:extLst>
            </p:cNvPr>
            <p:cNvSpPr/>
            <p:nvPr/>
          </p:nvSpPr>
          <p:spPr>
            <a:xfrm>
              <a:off x="11848503" y="6635533"/>
              <a:ext cx="6855" cy="8973"/>
            </a:xfrm>
            <a:custGeom>
              <a:avLst/>
              <a:gdLst>
                <a:gd name="connsiteX0" fmla="*/ 992 w 12147"/>
                <a:gd name="connsiteY0" fmla="*/ 1467 h 15900"/>
                <a:gd name="connsiteX1" fmla="*/ 992 w 12147"/>
                <a:gd name="connsiteY1" fmla="*/ 295 h 15900"/>
                <a:gd name="connsiteX2" fmla="*/ 1519 w 12147"/>
                <a:gd name="connsiteY2" fmla="*/ -344 h 15900"/>
                <a:gd name="connsiteX3" fmla="*/ 1631 w 12147"/>
                <a:gd name="connsiteY3" fmla="*/ -344 h 15900"/>
                <a:gd name="connsiteX4" fmla="*/ 12521 w 12147"/>
                <a:gd name="connsiteY4" fmla="*/ -344 h 15900"/>
                <a:gd name="connsiteX5" fmla="*/ 13136 w 12147"/>
                <a:gd name="connsiteY5" fmla="*/ 213 h 15900"/>
                <a:gd name="connsiteX6" fmla="*/ 13133 w 12147"/>
                <a:gd name="connsiteY6" fmla="*/ 295 h 15900"/>
                <a:gd name="connsiteX7" fmla="*/ 13133 w 12147"/>
                <a:gd name="connsiteY7" fmla="*/ 1467 h 15900"/>
                <a:gd name="connsiteX8" fmla="*/ 12603 w 12147"/>
                <a:gd name="connsiteY8" fmla="*/ 2103 h 15900"/>
                <a:gd name="connsiteX9" fmla="*/ 12521 w 12147"/>
                <a:gd name="connsiteY9" fmla="*/ 2106 h 15900"/>
                <a:gd name="connsiteX10" fmla="*/ 8926 w 12147"/>
                <a:gd name="connsiteY10" fmla="*/ 2106 h 15900"/>
                <a:gd name="connsiteX11" fmla="*/ 8447 w 12147"/>
                <a:gd name="connsiteY11" fmla="*/ 2471 h 15900"/>
                <a:gd name="connsiteX12" fmla="*/ 8447 w 12147"/>
                <a:gd name="connsiteY12" fmla="*/ 2585 h 15900"/>
                <a:gd name="connsiteX13" fmla="*/ 8447 w 12147"/>
                <a:gd name="connsiteY13" fmla="*/ 14940 h 15900"/>
                <a:gd name="connsiteX14" fmla="*/ 7890 w 12147"/>
                <a:gd name="connsiteY14" fmla="*/ 15555 h 15900"/>
                <a:gd name="connsiteX15" fmla="*/ 7808 w 12147"/>
                <a:gd name="connsiteY15" fmla="*/ 15552 h 15900"/>
                <a:gd name="connsiteX16" fmla="*/ 6184 w 12147"/>
                <a:gd name="connsiteY16" fmla="*/ 15552 h 15900"/>
                <a:gd name="connsiteX17" fmla="*/ 5547 w 12147"/>
                <a:gd name="connsiteY17" fmla="*/ 15022 h 15900"/>
                <a:gd name="connsiteX18" fmla="*/ 5545 w 12147"/>
                <a:gd name="connsiteY18" fmla="*/ 14940 h 15900"/>
                <a:gd name="connsiteX19" fmla="*/ 5545 w 12147"/>
                <a:gd name="connsiteY19" fmla="*/ 2585 h 15900"/>
                <a:gd name="connsiteX20" fmla="*/ 5180 w 12147"/>
                <a:gd name="connsiteY20" fmla="*/ 2106 h 15900"/>
                <a:gd name="connsiteX21" fmla="*/ 5065 w 12147"/>
                <a:gd name="connsiteY21" fmla="*/ 2106 h 15900"/>
                <a:gd name="connsiteX22" fmla="*/ 1631 w 12147"/>
                <a:gd name="connsiteY22" fmla="*/ 2106 h 15900"/>
                <a:gd name="connsiteX23" fmla="*/ 992 w 12147"/>
                <a:gd name="connsiteY23" fmla="*/ 1579 h 15900"/>
                <a:gd name="connsiteX24" fmla="*/ 992 w 12147"/>
                <a:gd name="connsiteY24" fmla="*/ 1467 h 1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147" h="15900">
                  <a:moveTo>
                    <a:pt x="992" y="1467"/>
                  </a:moveTo>
                  <a:lnTo>
                    <a:pt x="992" y="295"/>
                  </a:lnTo>
                  <a:cubicBezTo>
                    <a:pt x="960" y="-27"/>
                    <a:pt x="1197" y="-312"/>
                    <a:pt x="1519" y="-344"/>
                  </a:cubicBezTo>
                  <a:cubicBezTo>
                    <a:pt x="1556" y="-346"/>
                    <a:pt x="1593" y="-346"/>
                    <a:pt x="1631" y="-344"/>
                  </a:cubicBezTo>
                  <a:lnTo>
                    <a:pt x="12521" y="-344"/>
                  </a:lnTo>
                  <a:cubicBezTo>
                    <a:pt x="12843" y="-360"/>
                    <a:pt x="13120" y="-112"/>
                    <a:pt x="13136" y="213"/>
                  </a:cubicBezTo>
                  <a:cubicBezTo>
                    <a:pt x="13136" y="240"/>
                    <a:pt x="13136" y="269"/>
                    <a:pt x="13133" y="295"/>
                  </a:cubicBezTo>
                  <a:lnTo>
                    <a:pt x="13133" y="1467"/>
                  </a:lnTo>
                  <a:cubicBezTo>
                    <a:pt x="13163" y="1789"/>
                    <a:pt x="12925" y="2074"/>
                    <a:pt x="12603" y="2103"/>
                  </a:cubicBezTo>
                  <a:cubicBezTo>
                    <a:pt x="12577" y="2106"/>
                    <a:pt x="12547" y="2109"/>
                    <a:pt x="12521" y="2106"/>
                  </a:cubicBezTo>
                  <a:lnTo>
                    <a:pt x="8926" y="2106"/>
                  </a:lnTo>
                  <a:cubicBezTo>
                    <a:pt x="8692" y="2074"/>
                    <a:pt x="8479" y="2239"/>
                    <a:pt x="8447" y="2471"/>
                  </a:cubicBezTo>
                  <a:cubicBezTo>
                    <a:pt x="8442" y="2508"/>
                    <a:pt x="8442" y="2548"/>
                    <a:pt x="8447" y="2585"/>
                  </a:cubicBezTo>
                  <a:lnTo>
                    <a:pt x="8447" y="14940"/>
                  </a:lnTo>
                  <a:cubicBezTo>
                    <a:pt x="8463" y="15262"/>
                    <a:pt x="8215" y="15539"/>
                    <a:pt x="7890" y="15555"/>
                  </a:cubicBezTo>
                  <a:cubicBezTo>
                    <a:pt x="7864" y="15555"/>
                    <a:pt x="7835" y="15555"/>
                    <a:pt x="7808" y="15552"/>
                  </a:cubicBezTo>
                  <a:lnTo>
                    <a:pt x="6184" y="15552"/>
                  </a:lnTo>
                  <a:cubicBezTo>
                    <a:pt x="5862" y="15581"/>
                    <a:pt x="5577" y="15345"/>
                    <a:pt x="5547" y="15022"/>
                  </a:cubicBezTo>
                  <a:cubicBezTo>
                    <a:pt x="5545" y="14996"/>
                    <a:pt x="5545" y="14966"/>
                    <a:pt x="5545" y="14940"/>
                  </a:cubicBezTo>
                  <a:lnTo>
                    <a:pt x="5545" y="2585"/>
                  </a:lnTo>
                  <a:cubicBezTo>
                    <a:pt x="5577" y="2351"/>
                    <a:pt x="5412" y="2138"/>
                    <a:pt x="5180" y="2106"/>
                  </a:cubicBezTo>
                  <a:cubicBezTo>
                    <a:pt x="5143" y="2101"/>
                    <a:pt x="5103" y="2101"/>
                    <a:pt x="5065" y="2106"/>
                  </a:cubicBezTo>
                  <a:lnTo>
                    <a:pt x="1631" y="2106"/>
                  </a:lnTo>
                  <a:cubicBezTo>
                    <a:pt x="1308" y="2138"/>
                    <a:pt x="1024" y="1901"/>
                    <a:pt x="992" y="1579"/>
                  </a:cubicBezTo>
                  <a:cubicBezTo>
                    <a:pt x="989" y="1542"/>
                    <a:pt x="989" y="1504"/>
                    <a:pt x="992" y="1467"/>
                  </a:cubicBezTo>
                </a:path>
              </a:pathLst>
            </a:custGeom>
            <a:solidFill>
              <a:srgbClr val="FFFFFF"/>
            </a:solidFill>
            <a:ln w="2661" cap="flat">
              <a:noFill/>
              <a:prstDash val="solid"/>
              <a:miter/>
            </a:ln>
          </p:spPr>
          <p:txBody>
            <a:bodyPr rtlCol="0" anchor="ctr"/>
            <a:lstStyle/>
            <a:p>
              <a:endParaRPr lang="pl-PL"/>
            </a:p>
          </p:txBody>
        </p:sp>
        <p:sp>
          <p:nvSpPr>
            <p:cNvPr id="144" name="Freeform: Shape 143">
              <a:extLst>
                <a:ext uri="{FF2B5EF4-FFF2-40B4-BE49-F238E27FC236}">
                  <a16:creationId xmlns:a16="http://schemas.microsoft.com/office/drawing/2014/main" id="{43E8F336-C3F1-4C7D-AD20-F2721FFC7CDD}"/>
                </a:ext>
              </a:extLst>
            </p:cNvPr>
            <p:cNvSpPr/>
            <p:nvPr/>
          </p:nvSpPr>
          <p:spPr>
            <a:xfrm>
              <a:off x="11857776" y="6635662"/>
              <a:ext cx="8810" cy="8977"/>
            </a:xfrm>
            <a:custGeom>
              <a:avLst/>
              <a:gdLst>
                <a:gd name="connsiteX0" fmla="*/ 991 w 15611"/>
                <a:gd name="connsiteY0" fmla="*/ 14943 h 15907"/>
                <a:gd name="connsiteX1" fmla="*/ 991 w 15611"/>
                <a:gd name="connsiteY1" fmla="*/ 458 h 15907"/>
                <a:gd name="connsiteX2" fmla="*/ 1675 w 15611"/>
                <a:gd name="connsiteY2" fmla="*/ -343 h 15907"/>
                <a:gd name="connsiteX3" fmla="*/ 1816 w 15611"/>
                <a:gd name="connsiteY3" fmla="*/ -340 h 15907"/>
                <a:gd name="connsiteX4" fmla="*/ 2668 w 15611"/>
                <a:gd name="connsiteY4" fmla="*/ -340 h 15907"/>
                <a:gd name="connsiteX5" fmla="*/ 3627 w 15611"/>
                <a:gd name="connsiteY5" fmla="*/ 192 h 15907"/>
                <a:gd name="connsiteX6" fmla="*/ 8526 w 15611"/>
                <a:gd name="connsiteY6" fmla="*/ 7381 h 15907"/>
                <a:gd name="connsiteX7" fmla="*/ 8915 w 15611"/>
                <a:gd name="connsiteY7" fmla="*/ 7525 h 15907"/>
                <a:gd name="connsiteX8" fmla="*/ 9059 w 15611"/>
                <a:gd name="connsiteY8" fmla="*/ 7381 h 15907"/>
                <a:gd name="connsiteX9" fmla="*/ 14064 w 15611"/>
                <a:gd name="connsiteY9" fmla="*/ 166 h 15907"/>
                <a:gd name="connsiteX10" fmla="*/ 15050 w 15611"/>
                <a:gd name="connsiteY10" fmla="*/ -340 h 15907"/>
                <a:gd name="connsiteX11" fmla="*/ 15795 w 15611"/>
                <a:gd name="connsiteY11" fmla="*/ -340 h 15907"/>
                <a:gd name="connsiteX12" fmla="*/ 16594 w 15611"/>
                <a:gd name="connsiteY12" fmla="*/ 288 h 15907"/>
                <a:gd name="connsiteX13" fmla="*/ 16594 w 15611"/>
                <a:gd name="connsiteY13" fmla="*/ 458 h 15907"/>
                <a:gd name="connsiteX14" fmla="*/ 16594 w 15611"/>
                <a:gd name="connsiteY14" fmla="*/ 14943 h 15907"/>
                <a:gd name="connsiteX15" fmla="*/ 16035 w 15611"/>
                <a:gd name="connsiteY15" fmla="*/ 15556 h 15907"/>
                <a:gd name="connsiteX16" fmla="*/ 15982 w 15611"/>
                <a:gd name="connsiteY16" fmla="*/ 15556 h 15907"/>
                <a:gd name="connsiteX17" fmla="*/ 14677 w 15611"/>
                <a:gd name="connsiteY17" fmla="*/ 15556 h 15907"/>
                <a:gd name="connsiteX18" fmla="*/ 14064 w 15611"/>
                <a:gd name="connsiteY18" fmla="*/ 15055 h 15907"/>
                <a:gd name="connsiteX19" fmla="*/ 14064 w 15611"/>
                <a:gd name="connsiteY19" fmla="*/ 14943 h 15907"/>
                <a:gd name="connsiteX20" fmla="*/ 14064 w 15611"/>
                <a:gd name="connsiteY20" fmla="*/ 4878 h 15907"/>
                <a:gd name="connsiteX21" fmla="*/ 13585 w 15611"/>
                <a:gd name="connsiteY21" fmla="*/ 4745 h 15907"/>
                <a:gd name="connsiteX22" fmla="*/ 9804 w 15611"/>
                <a:gd name="connsiteY22" fmla="*/ 10284 h 15907"/>
                <a:gd name="connsiteX23" fmla="*/ 8846 w 15611"/>
                <a:gd name="connsiteY23" fmla="*/ 10789 h 15907"/>
                <a:gd name="connsiteX24" fmla="*/ 8846 w 15611"/>
                <a:gd name="connsiteY24" fmla="*/ 10789 h 15907"/>
                <a:gd name="connsiteX25" fmla="*/ 7914 w 15611"/>
                <a:gd name="connsiteY25" fmla="*/ 10284 h 15907"/>
                <a:gd name="connsiteX26" fmla="*/ 4133 w 15611"/>
                <a:gd name="connsiteY26" fmla="*/ 4745 h 15907"/>
                <a:gd name="connsiteX27" fmla="*/ 3654 w 15611"/>
                <a:gd name="connsiteY27" fmla="*/ 4905 h 15907"/>
                <a:gd name="connsiteX28" fmla="*/ 3654 w 15611"/>
                <a:gd name="connsiteY28" fmla="*/ 14943 h 15907"/>
                <a:gd name="connsiteX29" fmla="*/ 3097 w 15611"/>
                <a:gd name="connsiteY29" fmla="*/ 15558 h 15907"/>
                <a:gd name="connsiteX30" fmla="*/ 3015 w 15611"/>
                <a:gd name="connsiteY30" fmla="*/ 15556 h 15907"/>
                <a:gd name="connsiteX31" fmla="*/ 1736 w 15611"/>
                <a:gd name="connsiteY31" fmla="*/ 15556 h 15907"/>
                <a:gd name="connsiteX32" fmla="*/ 1100 w 15611"/>
                <a:gd name="connsiteY32" fmla="*/ 15087 h 15907"/>
                <a:gd name="connsiteX33" fmla="*/ 1097 w 15611"/>
                <a:gd name="connsiteY33" fmla="*/ 14943 h 15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611" h="15907">
                  <a:moveTo>
                    <a:pt x="991" y="14943"/>
                  </a:moveTo>
                  <a:lnTo>
                    <a:pt x="991" y="458"/>
                  </a:lnTo>
                  <a:cubicBezTo>
                    <a:pt x="959" y="48"/>
                    <a:pt x="1265" y="-311"/>
                    <a:pt x="1675" y="-343"/>
                  </a:cubicBezTo>
                  <a:cubicBezTo>
                    <a:pt x="1723" y="-346"/>
                    <a:pt x="1771" y="-346"/>
                    <a:pt x="1816" y="-340"/>
                  </a:cubicBezTo>
                  <a:lnTo>
                    <a:pt x="2668" y="-340"/>
                  </a:lnTo>
                  <a:cubicBezTo>
                    <a:pt x="3062" y="-359"/>
                    <a:pt x="3435" y="-154"/>
                    <a:pt x="3627" y="192"/>
                  </a:cubicBezTo>
                  <a:lnTo>
                    <a:pt x="8526" y="7381"/>
                  </a:lnTo>
                  <a:cubicBezTo>
                    <a:pt x="8593" y="7528"/>
                    <a:pt x="8768" y="7592"/>
                    <a:pt x="8915" y="7525"/>
                  </a:cubicBezTo>
                  <a:cubicBezTo>
                    <a:pt x="8979" y="7496"/>
                    <a:pt x="9029" y="7445"/>
                    <a:pt x="9059" y="7381"/>
                  </a:cubicBezTo>
                  <a:lnTo>
                    <a:pt x="14064" y="166"/>
                  </a:lnTo>
                  <a:cubicBezTo>
                    <a:pt x="14280" y="-165"/>
                    <a:pt x="14655" y="-356"/>
                    <a:pt x="15050" y="-340"/>
                  </a:cubicBezTo>
                  <a:lnTo>
                    <a:pt x="15795" y="-340"/>
                  </a:lnTo>
                  <a:cubicBezTo>
                    <a:pt x="16189" y="-388"/>
                    <a:pt x="16546" y="-106"/>
                    <a:pt x="16594" y="288"/>
                  </a:cubicBezTo>
                  <a:cubicBezTo>
                    <a:pt x="16602" y="344"/>
                    <a:pt x="16602" y="403"/>
                    <a:pt x="16594" y="458"/>
                  </a:cubicBezTo>
                  <a:lnTo>
                    <a:pt x="16594" y="14943"/>
                  </a:lnTo>
                  <a:cubicBezTo>
                    <a:pt x="16610" y="15265"/>
                    <a:pt x="16360" y="15540"/>
                    <a:pt x="16035" y="15556"/>
                  </a:cubicBezTo>
                  <a:cubicBezTo>
                    <a:pt x="16019" y="15556"/>
                    <a:pt x="16000" y="15556"/>
                    <a:pt x="15982" y="15556"/>
                  </a:cubicBezTo>
                  <a:lnTo>
                    <a:pt x="14677" y="15556"/>
                  </a:lnTo>
                  <a:cubicBezTo>
                    <a:pt x="14371" y="15587"/>
                    <a:pt x="14096" y="15364"/>
                    <a:pt x="14064" y="15055"/>
                  </a:cubicBezTo>
                  <a:cubicBezTo>
                    <a:pt x="14062" y="15018"/>
                    <a:pt x="14062" y="14980"/>
                    <a:pt x="14064" y="14943"/>
                  </a:cubicBezTo>
                  <a:lnTo>
                    <a:pt x="14064" y="4878"/>
                  </a:lnTo>
                  <a:cubicBezTo>
                    <a:pt x="14064" y="4506"/>
                    <a:pt x="13798" y="4399"/>
                    <a:pt x="13585" y="4745"/>
                  </a:cubicBezTo>
                  <a:lnTo>
                    <a:pt x="9804" y="10284"/>
                  </a:lnTo>
                  <a:cubicBezTo>
                    <a:pt x="9602" y="10614"/>
                    <a:pt x="9234" y="10808"/>
                    <a:pt x="8846" y="10789"/>
                  </a:cubicBezTo>
                  <a:lnTo>
                    <a:pt x="8846" y="10789"/>
                  </a:lnTo>
                  <a:cubicBezTo>
                    <a:pt x="8465" y="10803"/>
                    <a:pt x="8108" y="10611"/>
                    <a:pt x="7914" y="10284"/>
                  </a:cubicBezTo>
                  <a:lnTo>
                    <a:pt x="4133" y="4745"/>
                  </a:lnTo>
                  <a:cubicBezTo>
                    <a:pt x="3920" y="4452"/>
                    <a:pt x="3654" y="4532"/>
                    <a:pt x="3654" y="4905"/>
                  </a:cubicBezTo>
                  <a:lnTo>
                    <a:pt x="3654" y="14943"/>
                  </a:lnTo>
                  <a:cubicBezTo>
                    <a:pt x="3670" y="15265"/>
                    <a:pt x="3422" y="15542"/>
                    <a:pt x="3097" y="15558"/>
                  </a:cubicBezTo>
                  <a:cubicBezTo>
                    <a:pt x="3071" y="15558"/>
                    <a:pt x="3041" y="15558"/>
                    <a:pt x="3015" y="15556"/>
                  </a:cubicBezTo>
                  <a:lnTo>
                    <a:pt x="1736" y="15556"/>
                  </a:lnTo>
                  <a:cubicBezTo>
                    <a:pt x="1430" y="15601"/>
                    <a:pt x="1145" y="15390"/>
                    <a:pt x="1100" y="15087"/>
                  </a:cubicBezTo>
                  <a:cubicBezTo>
                    <a:pt x="1092" y="15039"/>
                    <a:pt x="1092" y="14991"/>
                    <a:pt x="1097" y="14943"/>
                  </a:cubicBezTo>
                </a:path>
              </a:pathLst>
            </a:custGeom>
            <a:solidFill>
              <a:srgbClr val="FFFFFF"/>
            </a:solidFill>
            <a:ln w="2661" cap="flat">
              <a:noFill/>
              <a:prstDash val="solid"/>
              <a:miter/>
            </a:ln>
          </p:spPr>
          <p:txBody>
            <a:bodyPr rtlCol="0" anchor="ctr"/>
            <a:lstStyle/>
            <a:p>
              <a:endParaRPr lang="pl-PL"/>
            </a:p>
          </p:txBody>
        </p:sp>
      </p:grpSp>
      <p:grpSp>
        <p:nvGrpSpPr>
          <p:cNvPr id="145" name="Group 144">
            <a:extLst>
              <a:ext uri="{FF2B5EF4-FFF2-40B4-BE49-F238E27FC236}">
                <a16:creationId xmlns:a16="http://schemas.microsoft.com/office/drawing/2014/main" id="{A6791D7C-CC88-4764-ADEC-844FFF4CE56E}"/>
              </a:ext>
            </a:extLst>
          </p:cNvPr>
          <p:cNvGrpSpPr/>
          <p:nvPr userDrawn="1"/>
        </p:nvGrpSpPr>
        <p:grpSpPr>
          <a:xfrm>
            <a:off x="10855488" y="6628477"/>
            <a:ext cx="218951" cy="162658"/>
            <a:chOff x="10506075" y="6628477"/>
            <a:chExt cx="218951" cy="162658"/>
          </a:xfrm>
        </p:grpSpPr>
        <p:sp>
          <p:nvSpPr>
            <p:cNvPr id="146" name="Rectangle: Rounded Corners 145">
              <a:hlinkClick r:id="" action="ppaction://noaction"/>
              <a:extLst>
                <a:ext uri="{FF2B5EF4-FFF2-40B4-BE49-F238E27FC236}">
                  <a16:creationId xmlns:a16="http://schemas.microsoft.com/office/drawing/2014/main" id="{5558D277-AA31-4670-B5C6-FB8AA8E3938F}"/>
                </a:ext>
              </a:extLst>
            </p:cNvPr>
            <p:cNvSpPr/>
            <p:nvPr userDrawn="1"/>
          </p:nvSpPr>
          <p:spPr>
            <a:xfrm>
              <a:off x="10506075" y="6628477"/>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47" name="Rectangle: Rounded Corners 146">
              <a:hlinkClick r:id="" action="ppaction://noaction"/>
              <a:extLst>
                <a:ext uri="{FF2B5EF4-FFF2-40B4-BE49-F238E27FC236}">
                  <a16:creationId xmlns:a16="http://schemas.microsoft.com/office/drawing/2014/main" id="{BF550DCF-95E7-4BB1-8B73-4BBAF60D706D}"/>
                </a:ext>
              </a:extLst>
            </p:cNvPr>
            <p:cNvSpPr/>
            <p:nvPr userDrawn="1"/>
          </p:nvSpPr>
          <p:spPr>
            <a:xfrm>
              <a:off x="10506075" y="6691806"/>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48" name="Rectangle: Rounded Corners 147">
              <a:hlinkClick r:id="" action="ppaction://noaction"/>
              <a:extLst>
                <a:ext uri="{FF2B5EF4-FFF2-40B4-BE49-F238E27FC236}">
                  <a16:creationId xmlns:a16="http://schemas.microsoft.com/office/drawing/2014/main" id="{FD66825E-3A6C-4520-9182-DE8BF19A1A0C}"/>
                </a:ext>
              </a:extLst>
            </p:cNvPr>
            <p:cNvSpPr/>
            <p:nvPr userDrawn="1"/>
          </p:nvSpPr>
          <p:spPr>
            <a:xfrm>
              <a:off x="10506075" y="6755135"/>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grpSp>
      <p:sp>
        <p:nvSpPr>
          <p:cNvPr id="149" name="Rectangle 148">
            <a:hlinkClick r:id="" action="ppaction://noaction"/>
            <a:extLst>
              <a:ext uri="{FF2B5EF4-FFF2-40B4-BE49-F238E27FC236}">
                <a16:creationId xmlns:a16="http://schemas.microsoft.com/office/drawing/2014/main" id="{A59B5DA6-243C-4FCC-B967-EE20650B4175}"/>
              </a:ext>
            </a:extLst>
          </p:cNvPr>
          <p:cNvSpPr/>
          <p:nvPr userDrawn="1"/>
        </p:nvSpPr>
        <p:spPr>
          <a:xfrm>
            <a:off x="10760869" y="6579908"/>
            <a:ext cx="406177" cy="273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cxnSp>
        <p:nvCxnSpPr>
          <p:cNvPr id="150" name="Straight Connector 149">
            <a:extLst>
              <a:ext uri="{FF2B5EF4-FFF2-40B4-BE49-F238E27FC236}">
                <a16:creationId xmlns:a16="http://schemas.microsoft.com/office/drawing/2014/main" id="{4AAD1D0B-A9E3-4334-B49E-2E84C2986314}"/>
              </a:ext>
            </a:extLst>
          </p:cNvPr>
          <p:cNvCxnSpPr/>
          <p:nvPr userDrawn="1"/>
        </p:nvCxnSpPr>
        <p:spPr>
          <a:xfrm>
            <a:off x="521472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51" name="Rectangle 150">
            <a:hlinkClick r:id="" action="ppaction://noaction"/>
            <a:hlinkHover r:id="" action="ppaction://noaction" highlightClick="1"/>
            <a:extLst>
              <a:ext uri="{FF2B5EF4-FFF2-40B4-BE49-F238E27FC236}">
                <a16:creationId xmlns:a16="http://schemas.microsoft.com/office/drawing/2014/main" id="{93091D29-CCB7-42E4-93F2-579206F8A542}"/>
              </a:ext>
            </a:extLst>
          </p:cNvPr>
          <p:cNvSpPr/>
          <p:nvPr userDrawn="1"/>
        </p:nvSpPr>
        <p:spPr>
          <a:xfrm>
            <a:off x="9539162" y="6570000"/>
            <a:ext cx="1200924"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GB" sz="800" b="0" noProof="0">
                <a:solidFill>
                  <a:schemeClr val="bg1">
                    <a:alpha val="50000"/>
                  </a:schemeClr>
                </a:solidFill>
                <a:latin typeface="Leelawadee" panose="020B0502040204020203" pitchFamily="34" charset="-34"/>
                <a:cs typeface="Leelawadee" panose="020B0502040204020203" pitchFamily="34" charset="-34"/>
              </a:rPr>
              <a:t>Additional </a:t>
            </a:r>
            <a:br>
              <a:rPr lang="en-GB" sz="800" b="0" noProof="0">
                <a:solidFill>
                  <a:schemeClr val="bg1">
                    <a:alpha val="50000"/>
                  </a:schemeClr>
                </a:solidFill>
                <a:latin typeface="Leelawadee" panose="020B0502040204020203" pitchFamily="34" charset="-34"/>
                <a:cs typeface="Leelawadee" panose="020B0502040204020203" pitchFamily="34" charset="-34"/>
              </a:rPr>
            </a:br>
            <a:r>
              <a:rPr lang="en-GB" sz="800" b="0" noProof="0">
                <a:solidFill>
                  <a:schemeClr val="bg1">
                    <a:alpha val="50000"/>
                  </a:schemeClr>
                </a:solidFill>
                <a:latin typeface="Leelawadee" panose="020B0502040204020203" pitchFamily="34" charset="-34"/>
                <a:cs typeface="Leelawadee" panose="020B0502040204020203" pitchFamily="34" charset="-34"/>
              </a:rPr>
              <a:t>Supporting content</a:t>
            </a:r>
          </a:p>
        </p:txBody>
      </p:sp>
      <p:cxnSp>
        <p:nvCxnSpPr>
          <p:cNvPr id="152" name="Straight Connector 151">
            <a:extLst>
              <a:ext uri="{FF2B5EF4-FFF2-40B4-BE49-F238E27FC236}">
                <a16:creationId xmlns:a16="http://schemas.microsoft.com/office/drawing/2014/main" id="{A3511231-B339-46C7-A73C-E48A771F08C6}"/>
              </a:ext>
            </a:extLst>
          </p:cNvPr>
          <p:cNvCxnSpPr/>
          <p:nvPr userDrawn="1"/>
        </p:nvCxnSpPr>
        <p:spPr>
          <a:xfrm>
            <a:off x="10737865"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53" name="TextBox 152">
            <a:extLst>
              <a:ext uri="{FF2B5EF4-FFF2-40B4-BE49-F238E27FC236}">
                <a16:creationId xmlns:a16="http://schemas.microsoft.com/office/drawing/2014/main" id="{40108655-4493-4078-9BDF-D5C69E52F379}"/>
              </a:ext>
            </a:extLst>
          </p:cNvPr>
          <p:cNvSpPr txBox="1"/>
          <p:nvPr userDrawn="1"/>
        </p:nvSpPr>
        <p:spPr>
          <a:xfrm>
            <a:off x="208348" y="6587078"/>
            <a:ext cx="428589" cy="261610"/>
          </a:xfrm>
          <a:prstGeom prst="rect">
            <a:avLst/>
          </a:prstGeom>
          <a:noFill/>
        </p:spPr>
        <p:txBody>
          <a:bodyPr wrap="square" rtlCol="0">
            <a:spAutoFit/>
          </a:bodyPr>
          <a:lstStyle/>
          <a:p>
            <a:fld id="{2AD15D81-AC1A-4BFA-95F9-38C1BF89B685}" type="slidenum">
              <a:rPr lang="pl-PL" sz="1050" smtClean="0">
                <a:solidFill>
                  <a:schemeClr val="bg1"/>
                </a:solidFill>
                <a:latin typeface="Leelawadee" panose="020B0502040204020203" pitchFamily="34" charset="-34"/>
                <a:cs typeface="Leelawadee" panose="020B0502040204020203" pitchFamily="34" charset="-34"/>
              </a:rPr>
              <a:t>‹#›</a:t>
            </a:fld>
            <a:endParaRPr lang="pl-PL" sz="1200">
              <a:solidFill>
                <a:schemeClr val="bg1"/>
              </a:solidFill>
              <a:latin typeface="Leelawadee" panose="020B0502040204020203" pitchFamily="34" charset="-34"/>
              <a:cs typeface="Leelawadee" panose="020B0502040204020203" pitchFamily="34" charset="-34"/>
            </a:endParaRPr>
          </a:p>
        </p:txBody>
      </p:sp>
    </p:spTree>
    <p:extLst>
      <p:ext uri="{BB962C8B-B14F-4D97-AF65-F5344CB8AC3E}">
        <p14:creationId xmlns:p14="http://schemas.microsoft.com/office/powerpoint/2010/main" val="28037997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_2">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95AFD15-15E5-0276-29B5-48ED56D29354}"/>
              </a:ext>
            </a:extLst>
          </p:cNvPr>
          <p:cNvGraphicFramePr>
            <a:graphicFrameLocks noChangeAspect="1"/>
          </p:cNvGraphicFramePr>
          <p:nvPr userDrawn="1">
            <p:custDataLst>
              <p:tags r:id="rId1"/>
            </p:custDataLst>
            <p:extLst>
              <p:ext uri="{D42A27DB-BD31-4B8C-83A1-F6EECF244321}">
                <p14:modId xmlns:p14="http://schemas.microsoft.com/office/powerpoint/2010/main" val="2199589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695AFD15-15E5-0276-29B5-48ED56D293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3F9111E3-B6B3-F20D-E234-232A58D77455}"/>
              </a:ext>
            </a:extLst>
          </p:cNvPr>
          <p:cNvPicPr>
            <a:picLocks noChangeAspect="1"/>
          </p:cNvPicPr>
          <p:nvPr userDrawn="1"/>
        </p:nvPicPr>
        <p:blipFill>
          <a:blip r:embed="rId5"/>
          <a:stretch>
            <a:fillRect/>
          </a:stretch>
        </p:blipFill>
        <p:spPr>
          <a:xfrm>
            <a:off x="19504" y="2780"/>
            <a:ext cx="12192000" cy="6855220"/>
          </a:xfrm>
          <a:prstGeom prst="rect">
            <a:avLst/>
          </a:prstGeom>
        </p:spPr>
      </p:pic>
      <p:pic>
        <p:nvPicPr>
          <p:cNvPr id="3" name="Picture Placeholder 10">
            <a:extLst>
              <a:ext uri="{FF2B5EF4-FFF2-40B4-BE49-F238E27FC236}">
                <a16:creationId xmlns:a16="http://schemas.microsoft.com/office/drawing/2014/main" id="{419BF2AC-5B85-C3CE-EE00-152E94FDE2CF}"/>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a:xfrm>
            <a:off x="-10313" y="-2780"/>
            <a:ext cx="6483963" cy="6858000"/>
          </a:xfrm>
          <a:prstGeom prst="rect">
            <a:avLst/>
          </a:prstGeom>
        </p:spPr>
      </p:pic>
      <p:pic>
        <p:nvPicPr>
          <p:cNvPr id="8" name="Picture 7">
            <a:extLst>
              <a:ext uri="{FF2B5EF4-FFF2-40B4-BE49-F238E27FC236}">
                <a16:creationId xmlns:a16="http://schemas.microsoft.com/office/drawing/2014/main" id="{22402783-288C-2D52-A4BA-8F45BACAE0B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2780"/>
            <a:ext cx="5214876" cy="4513432"/>
          </a:xfrm>
          <a:prstGeom prst="rect">
            <a:avLst/>
          </a:prstGeom>
        </p:spPr>
      </p:pic>
      <p:sp>
        <p:nvSpPr>
          <p:cNvPr id="7" name="TextBox 6">
            <a:extLst>
              <a:ext uri="{FF2B5EF4-FFF2-40B4-BE49-F238E27FC236}">
                <a16:creationId xmlns:a16="http://schemas.microsoft.com/office/drawing/2014/main" id="{5CAB5392-5704-E04E-E747-29A8663275E3}"/>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mn-lt"/>
                <a:ea typeface="+mn-ea"/>
                <a:cs typeface="+mn-cs"/>
              </a:rPr>
              <a:pPr algn="r"/>
              <a:t>‹#›</a:t>
            </a:fld>
            <a:endParaRPr lang="en-US" sz="700" spc="300">
              <a:solidFill>
                <a:schemeClr val="bg1"/>
              </a:solidFill>
              <a:latin typeface="+mn-lt"/>
              <a:ea typeface="+mn-ea"/>
              <a:cs typeface="+mn-cs"/>
            </a:endParaRPr>
          </a:p>
        </p:txBody>
      </p:sp>
      <p:sp>
        <p:nvSpPr>
          <p:cNvPr id="4" name="Rectangle 3">
            <a:extLst>
              <a:ext uri="{FF2B5EF4-FFF2-40B4-BE49-F238E27FC236}">
                <a16:creationId xmlns:a16="http://schemas.microsoft.com/office/drawing/2014/main" id="{6ACBC5A7-1EC6-EB25-52D6-D1B99B6B0FEE}"/>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197A1CE9-4B2A-D4B3-92BC-789F541A4B6F}"/>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9A530835-A7B3-DA57-0B5D-08A7B65C9671}"/>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164FF597-37A2-9012-9F5C-6E3608EFF9AD}"/>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AC475DC4-DFE2-242E-070E-AD22EA26489C}"/>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2292DA2D-652A-3FCC-1F7C-16919CA77FEE}"/>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60E1A11F-7269-D682-6CDB-1D1CEDC3DF6C}"/>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8331122F-F80D-B9E9-845C-1CA786BA9557}"/>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C363F9FB-9A84-2F9D-4951-A7000F923CEB}"/>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8" name="Rectangle 17">
            <a:extLst>
              <a:ext uri="{FF2B5EF4-FFF2-40B4-BE49-F238E27FC236}">
                <a16:creationId xmlns:a16="http://schemas.microsoft.com/office/drawing/2014/main" id="{60A10105-6CE0-7743-DA10-E3A203AAC3B0}"/>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9" name="Text Placeholder 6">
            <a:extLst>
              <a:ext uri="{FF2B5EF4-FFF2-40B4-BE49-F238E27FC236}">
                <a16:creationId xmlns:a16="http://schemas.microsoft.com/office/drawing/2014/main" id="{94F55446-AB3C-1BD6-D67F-3A7019358F49}"/>
              </a:ext>
            </a:extLst>
          </p:cNvPr>
          <p:cNvSpPr>
            <a:spLocks noGrp="1"/>
          </p:cNvSpPr>
          <p:nvPr>
            <p:ph type="body" sz="quarter" idx="15" hasCustomPrompt="1"/>
          </p:nvPr>
        </p:nvSpPr>
        <p:spPr>
          <a:xfrm>
            <a:off x="6916416" y="1907198"/>
            <a:ext cx="4882138" cy="608864"/>
          </a:xfrm>
        </p:spPr>
        <p:txBody>
          <a:bodyPr>
            <a:noAutofit/>
          </a:bodyPr>
          <a:lstStyle>
            <a:lvl1pPr marL="0" indent="0">
              <a:buNone/>
              <a:defRPr sz="3600" b="1" i="0">
                <a:solidFill>
                  <a:schemeClr val="bg1"/>
                </a:solidFill>
                <a:latin typeface="+mn-lt"/>
                <a:ea typeface="+mn-ea"/>
                <a:cs typeface="+mn-cs"/>
              </a:defRPr>
            </a:lvl1pPr>
          </a:lstStyle>
          <a:p>
            <a:pPr lvl="0"/>
            <a:r>
              <a:rPr lang="en-US"/>
              <a:t>Title text</a:t>
            </a:r>
          </a:p>
        </p:txBody>
      </p:sp>
      <p:sp>
        <p:nvSpPr>
          <p:cNvPr id="20" name="Text Placeholder 6">
            <a:extLst>
              <a:ext uri="{FF2B5EF4-FFF2-40B4-BE49-F238E27FC236}">
                <a16:creationId xmlns:a16="http://schemas.microsoft.com/office/drawing/2014/main" id="{A176BA80-2924-3690-AEF4-7AB56ACFC12B}"/>
              </a:ext>
            </a:extLst>
          </p:cNvPr>
          <p:cNvSpPr>
            <a:spLocks noGrp="1"/>
          </p:cNvSpPr>
          <p:nvPr>
            <p:ph type="body" sz="quarter" idx="16" hasCustomPrompt="1"/>
          </p:nvPr>
        </p:nvSpPr>
        <p:spPr>
          <a:xfrm>
            <a:off x="6916416" y="2736147"/>
            <a:ext cx="4882138" cy="608864"/>
          </a:xfrm>
          <a:noFill/>
        </p:spPr>
        <p:txBody>
          <a:bodyPr>
            <a:noAutofit/>
          </a:bodyPr>
          <a:lstStyle>
            <a:lvl1pPr marL="0" indent="0">
              <a:buNone/>
              <a:defRPr sz="2800" b="0" i="0">
                <a:solidFill>
                  <a:schemeClr val="bg1"/>
                </a:solidFill>
                <a:latin typeface="+mn-lt"/>
                <a:ea typeface="+mn-ea"/>
                <a:cs typeface="+mn-cs"/>
              </a:defRPr>
            </a:lvl1pPr>
          </a:lstStyle>
          <a:p>
            <a:pPr lvl="0"/>
            <a:r>
              <a:rPr lang="en-US"/>
              <a:t>Subtitle</a:t>
            </a:r>
          </a:p>
        </p:txBody>
      </p:sp>
      <p:sp>
        <p:nvSpPr>
          <p:cNvPr id="21" name="Text Placeholder 6">
            <a:extLst>
              <a:ext uri="{FF2B5EF4-FFF2-40B4-BE49-F238E27FC236}">
                <a16:creationId xmlns:a16="http://schemas.microsoft.com/office/drawing/2014/main" id="{28DBF978-C9B6-8ADE-7C85-09150467A18A}"/>
              </a:ext>
            </a:extLst>
          </p:cNvPr>
          <p:cNvSpPr>
            <a:spLocks noGrp="1"/>
          </p:cNvSpPr>
          <p:nvPr>
            <p:ph type="body" sz="quarter" idx="18" hasCustomPrompt="1"/>
          </p:nvPr>
        </p:nvSpPr>
        <p:spPr>
          <a:xfrm>
            <a:off x="6942174" y="3959640"/>
            <a:ext cx="4882138" cy="384460"/>
          </a:xfrm>
          <a:noFill/>
        </p:spPr>
        <p:txBody>
          <a:bodyPr>
            <a:noAutofit/>
          </a:bodyPr>
          <a:lstStyle>
            <a:lvl1pPr marL="0" indent="0">
              <a:buNone/>
              <a:defRPr sz="2000" b="0" i="0">
                <a:solidFill>
                  <a:schemeClr val="bg1"/>
                </a:solidFill>
                <a:latin typeface="+mn-lt"/>
                <a:ea typeface="+mn-ea"/>
                <a:cs typeface="+mn-cs"/>
              </a:defRPr>
            </a:lvl1pPr>
          </a:lstStyle>
          <a:p>
            <a:pPr lvl="0"/>
            <a:r>
              <a:rPr lang="en-US"/>
              <a:t>Date </a:t>
            </a:r>
          </a:p>
        </p:txBody>
      </p:sp>
      <p:pic>
        <p:nvPicPr>
          <p:cNvPr id="6" name="Picture 5" descr="Logo&#10;&#10;Description automatically generated">
            <a:extLst>
              <a:ext uri="{FF2B5EF4-FFF2-40B4-BE49-F238E27FC236}">
                <a16:creationId xmlns:a16="http://schemas.microsoft.com/office/drawing/2014/main" id="{8C4806D5-A3C2-679A-663D-5471859DBB47}"/>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615031" y="5220255"/>
            <a:ext cx="3180246" cy="1304619"/>
          </a:xfrm>
          <a:prstGeom prst="rect">
            <a:avLst/>
          </a:prstGeom>
        </p:spPr>
      </p:pic>
    </p:spTree>
    <p:extLst>
      <p:ext uri="{BB962C8B-B14F-4D97-AF65-F5344CB8AC3E}">
        <p14:creationId xmlns:p14="http://schemas.microsoft.com/office/powerpoint/2010/main" val="370457503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Content 0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4B387AC-BC5C-4C42-B302-D15C0CB7E4A3}"/>
              </a:ext>
            </a:extLst>
          </p:cNvPr>
          <p:cNvSpPr/>
          <p:nvPr userDrawn="1"/>
        </p:nvSpPr>
        <p:spPr>
          <a:xfrm>
            <a:off x="0" y="261228"/>
            <a:ext cx="12192000" cy="66085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FC86B612-2846-D049-B19B-4570D6F3F50D}"/>
              </a:ext>
            </a:extLst>
          </p:cNvPr>
          <p:cNvSpPr>
            <a:spLocks noGrp="1"/>
          </p:cNvSpPr>
          <p:nvPr>
            <p:ph type="body" sz="quarter" idx="10"/>
          </p:nvPr>
        </p:nvSpPr>
        <p:spPr>
          <a:xfrm>
            <a:off x="735013" y="620713"/>
            <a:ext cx="8809037" cy="4886325"/>
          </a:xfrm>
        </p:spPr>
        <p:txBody>
          <a:bodyPr>
            <a:noAutofit/>
          </a:bodyPr>
          <a:lstStyle>
            <a:lvl1pPr>
              <a:defRPr sz="4000" b="1" i="0">
                <a:solidFill>
                  <a:schemeClr val="accent5">
                    <a:lumMod val="75000"/>
                  </a:schemeClr>
                </a:solidFill>
                <a:latin typeface="Calibri" panose="020F0502020204030204" pitchFamily="34" charset="0"/>
                <a:cs typeface="Calibri" panose="020F0502020204030204" pitchFamily="34" charset="0"/>
              </a:defRPr>
            </a:lvl1pPr>
            <a:lvl2pPr marL="685800" indent="-228600">
              <a:buFont typeface="Courier New" panose="02070309020205020404" pitchFamily="49" charset="0"/>
              <a:buChar char="o"/>
              <a:defRPr b="1" i="0">
                <a:solidFill>
                  <a:schemeClr val="accent5">
                    <a:lumMod val="75000"/>
                  </a:schemeClr>
                </a:solidFill>
                <a:latin typeface="Calibri" panose="020F0502020204030204" pitchFamily="34" charset="0"/>
                <a:cs typeface="Calibri" panose="020F0502020204030204" pitchFamily="34" charset="0"/>
              </a:defRPr>
            </a:lvl2pPr>
            <a:lvl3pPr marL="1090613" indent="-176213">
              <a:buFont typeface="Courier New" panose="02070309020205020404" pitchFamily="49" charset="0"/>
              <a:buChar char="o"/>
              <a:tabLst/>
              <a:defRPr b="1" i="0">
                <a:solidFill>
                  <a:schemeClr val="accent5">
                    <a:lumMod val="75000"/>
                  </a:schemeClr>
                </a:solidFill>
                <a:latin typeface="Calibri" panose="020F0502020204030204" pitchFamily="34" charset="0"/>
                <a:cs typeface="Calibri" panose="020F0502020204030204" pitchFamily="34" charset="0"/>
              </a:defRPr>
            </a:lvl3pPr>
            <a:lvl4pPr marL="1552575" indent="-180975">
              <a:buFont typeface="Courier New" panose="02070309020205020404" pitchFamily="49" charset="0"/>
              <a:buChar char="o"/>
              <a:tabLst/>
              <a:defRPr b="1" i="0">
                <a:solidFill>
                  <a:schemeClr val="accent5">
                    <a:lumMod val="75000"/>
                  </a:schemeClr>
                </a:solidFill>
                <a:latin typeface="Calibri" panose="020F0502020204030204" pitchFamily="34" charset="0"/>
                <a:cs typeface="Calibri" panose="020F0502020204030204" pitchFamily="34" charset="0"/>
              </a:defRPr>
            </a:lvl4pPr>
            <a:lvl5pPr marL="2003425" indent="-174625">
              <a:buFont typeface="Courier New" panose="02070309020205020404" pitchFamily="49" charset="0"/>
              <a:buChar char="o"/>
              <a:tabLst/>
              <a:defRPr b="1" i="0">
                <a:solidFill>
                  <a:schemeClr val="accent5">
                    <a:lumMod val="75000"/>
                  </a:schemeClr>
                </a:solidFill>
                <a:latin typeface="Calibri" panose="020F0502020204030204" pitchFamily="34" charset="0"/>
                <a:cs typeface="Calibri" panose="020F0502020204030204" pitchFamily="34" charset="0"/>
              </a:defRPr>
            </a:lvl5pPr>
          </a:lstStyle>
          <a:p>
            <a:pPr lvl="0"/>
            <a:r>
              <a:rPr lang="en-US"/>
              <a:t>Click to edit Master text styles</a:t>
            </a:r>
          </a:p>
          <a:p>
            <a:pPr lvl="0"/>
            <a:endParaRPr lang="en-US"/>
          </a:p>
        </p:txBody>
      </p:sp>
      <p:sp>
        <p:nvSpPr>
          <p:cNvPr id="75" name="Rectangle 74">
            <a:extLst>
              <a:ext uri="{FF2B5EF4-FFF2-40B4-BE49-F238E27FC236}">
                <a16:creationId xmlns:a16="http://schemas.microsoft.com/office/drawing/2014/main" id="{DBDD1138-53BE-4E80-8EAE-8A4EE10D0682}"/>
              </a:ext>
            </a:extLst>
          </p:cNvPr>
          <p:cNvSpPr/>
          <p:nvPr userDrawn="1"/>
        </p:nvSpPr>
        <p:spPr>
          <a:xfrm>
            <a:off x="0" y="6570000"/>
            <a:ext cx="12192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100" noProof="0"/>
          </a:p>
        </p:txBody>
      </p:sp>
      <p:cxnSp>
        <p:nvCxnSpPr>
          <p:cNvPr id="76" name="Straight Connector 75">
            <a:extLst>
              <a:ext uri="{FF2B5EF4-FFF2-40B4-BE49-F238E27FC236}">
                <a16:creationId xmlns:a16="http://schemas.microsoft.com/office/drawing/2014/main" id="{E6692E10-52EE-4FBE-AB7E-B7A02D83792A}"/>
              </a:ext>
            </a:extLst>
          </p:cNvPr>
          <p:cNvCxnSpPr/>
          <p:nvPr userDrawn="1"/>
        </p:nvCxnSpPr>
        <p:spPr>
          <a:xfrm>
            <a:off x="634587" y="6570000"/>
            <a:ext cx="0" cy="288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CEAB4809-61A7-47AE-A88B-25FD4728AFD4}"/>
              </a:ext>
            </a:extLst>
          </p:cNvPr>
          <p:cNvSpPr txBox="1"/>
          <p:nvPr userDrawn="1"/>
        </p:nvSpPr>
        <p:spPr>
          <a:xfrm>
            <a:off x="806034" y="6650942"/>
            <a:ext cx="3896596" cy="123111"/>
          </a:xfrm>
          <a:prstGeom prst="rect">
            <a:avLst/>
          </a:prstGeom>
          <a:noFill/>
        </p:spPr>
        <p:txBody>
          <a:bodyPr wrap="square" lIns="0" tIns="0" rIns="0" bIns="0" rtlCol="0">
            <a:spAutoFit/>
          </a:bodyPr>
          <a:lstStyle/>
          <a:p>
            <a:pPr rtl="0"/>
            <a:r>
              <a:rPr lang="en-US" sz="800" spc="300" baseline="0" noProof="0">
                <a:solidFill>
                  <a:schemeClr val="bg1"/>
                </a:solidFill>
                <a:latin typeface="Leelawadee" panose="020B0502040204020203" pitchFamily="34" charset="-34"/>
                <a:cs typeface="Leelawadee" panose="020B0502040204020203" pitchFamily="34" charset="-34"/>
              </a:rPr>
              <a:t>CONFIDENTIAL &amp; PROPRIETARY</a:t>
            </a:r>
          </a:p>
        </p:txBody>
      </p:sp>
      <p:sp>
        <p:nvSpPr>
          <p:cNvPr id="78" name="Rectangle 77">
            <a:hlinkClick r:id="" action="ppaction://noaction"/>
            <a:extLst>
              <a:ext uri="{FF2B5EF4-FFF2-40B4-BE49-F238E27FC236}">
                <a16:creationId xmlns:a16="http://schemas.microsoft.com/office/drawing/2014/main" id="{FCDFF3EA-5BF9-4184-99FE-6427C923C867}"/>
              </a:ext>
            </a:extLst>
          </p:cNvPr>
          <p:cNvSpPr/>
          <p:nvPr userDrawn="1"/>
        </p:nvSpPr>
        <p:spPr>
          <a:xfrm>
            <a:off x="5214721" y="6579908"/>
            <a:ext cx="1147937"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lnSpc>
                <a:spcPct val="90000"/>
              </a:lnSpc>
            </a:pPr>
            <a:r>
              <a:rPr lang="en-GB" sz="800" b="0">
                <a:solidFill>
                  <a:schemeClr val="bg1">
                    <a:alpha val="50000"/>
                  </a:schemeClr>
                </a:solidFill>
                <a:latin typeface="Leelawadee" panose="020B0502040204020203" pitchFamily="34" charset="-34"/>
                <a:cs typeface="Leelawadee" panose="020B0502040204020203" pitchFamily="34" charset="-34"/>
              </a:rPr>
              <a:t>Intro &amp; objectives</a:t>
            </a:r>
          </a:p>
        </p:txBody>
      </p:sp>
      <p:sp>
        <p:nvSpPr>
          <p:cNvPr id="79" name="Rectangle 78">
            <a:hlinkClick r:id="rId2" action="ppaction://hlinksldjump"/>
            <a:extLst>
              <a:ext uri="{FF2B5EF4-FFF2-40B4-BE49-F238E27FC236}">
                <a16:creationId xmlns:a16="http://schemas.microsoft.com/office/drawing/2014/main" id="{6D721B42-6283-4868-A5D8-7082D3B726EB}"/>
              </a:ext>
            </a:extLst>
          </p:cNvPr>
          <p:cNvSpPr/>
          <p:nvPr userDrawn="1"/>
        </p:nvSpPr>
        <p:spPr>
          <a:xfrm>
            <a:off x="6367021" y="6579908"/>
            <a:ext cx="1126055"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US" sz="800" b="0" noProof="0">
                <a:solidFill>
                  <a:schemeClr val="bg1">
                    <a:alpha val="50000"/>
                  </a:schemeClr>
                </a:solidFill>
                <a:latin typeface="Leelawadee" panose="020B0502040204020203" pitchFamily="34" charset="-34"/>
                <a:cs typeface="Leelawadee" panose="020B0502040204020203" pitchFamily="34" charset="-34"/>
              </a:rPr>
              <a:t>Introducing pep+ </a:t>
            </a:r>
            <a:br>
              <a:rPr lang="en-US" sz="800" b="0" noProof="0">
                <a:solidFill>
                  <a:schemeClr val="bg1">
                    <a:alpha val="50000"/>
                  </a:schemeClr>
                </a:solidFill>
                <a:latin typeface="Leelawadee" panose="020B0502040204020203" pitchFamily="34" charset="-34"/>
                <a:cs typeface="Leelawadee" panose="020B0502040204020203" pitchFamily="34" charset="-34"/>
              </a:rPr>
            </a:br>
            <a:r>
              <a:rPr lang="en-US" sz="800" b="0" noProof="0">
                <a:solidFill>
                  <a:schemeClr val="bg1">
                    <a:alpha val="50000"/>
                  </a:schemeClr>
                </a:solidFill>
                <a:latin typeface="Leelawadee" panose="020B0502040204020203" pitchFamily="34" charset="-34"/>
                <a:cs typeface="Leelawadee" panose="020B0502040204020203" pitchFamily="34" charset="-34"/>
              </a:rPr>
              <a:t>to Customers</a:t>
            </a:r>
          </a:p>
        </p:txBody>
      </p:sp>
      <p:sp>
        <p:nvSpPr>
          <p:cNvPr id="80" name="Rectangle 79">
            <a:hlinkClick r:id="" action="ppaction://noaction"/>
            <a:extLst>
              <a:ext uri="{FF2B5EF4-FFF2-40B4-BE49-F238E27FC236}">
                <a16:creationId xmlns:a16="http://schemas.microsoft.com/office/drawing/2014/main" id="{C9461C2A-AE21-4B4C-B688-6F51E9C96E7B}"/>
              </a:ext>
            </a:extLst>
          </p:cNvPr>
          <p:cNvSpPr/>
          <p:nvPr userDrawn="1"/>
        </p:nvSpPr>
        <p:spPr>
          <a:xfrm>
            <a:off x="7510981" y="6579908"/>
            <a:ext cx="967705"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US" sz="800" b="0" noProof="0">
                <a:solidFill>
                  <a:schemeClr val="bg1">
                    <a:alpha val="50000"/>
                  </a:schemeClr>
                </a:solidFill>
                <a:latin typeface="Leelawadee" panose="020B0502040204020203" pitchFamily="34" charset="-34"/>
                <a:cs typeface="Leelawadee" panose="020B0502040204020203" pitchFamily="34" charset="-34"/>
              </a:rPr>
              <a:t>Exploring </a:t>
            </a:r>
            <a:br>
              <a:rPr lang="en-US" sz="800" b="0" noProof="0">
                <a:solidFill>
                  <a:schemeClr val="bg1">
                    <a:alpha val="50000"/>
                  </a:schemeClr>
                </a:solidFill>
                <a:latin typeface="Leelawadee" panose="020B0502040204020203" pitchFamily="34" charset="-34"/>
                <a:cs typeface="Leelawadee" panose="020B0502040204020203" pitchFamily="34" charset="-34"/>
              </a:rPr>
            </a:br>
            <a:r>
              <a:rPr lang="en-US" sz="800" b="0" noProof="0">
                <a:solidFill>
                  <a:schemeClr val="bg1">
                    <a:alpha val="50000"/>
                  </a:schemeClr>
                </a:solidFill>
                <a:latin typeface="Leelawadee" panose="020B0502040204020203" pitchFamily="34" charset="-34"/>
                <a:cs typeface="Leelawadee" panose="020B0502040204020203" pitchFamily="34" charset="-34"/>
              </a:rPr>
              <a:t>pep+ areas</a:t>
            </a:r>
          </a:p>
        </p:txBody>
      </p:sp>
      <p:sp>
        <p:nvSpPr>
          <p:cNvPr id="81" name="Rectangle 80">
            <a:hlinkClick r:id="" action="ppaction://noaction"/>
            <a:hlinkHover r:id="" action="ppaction://noaction" highlightClick="1"/>
            <a:extLst>
              <a:ext uri="{FF2B5EF4-FFF2-40B4-BE49-F238E27FC236}">
                <a16:creationId xmlns:a16="http://schemas.microsoft.com/office/drawing/2014/main" id="{9493545F-5EB4-4E75-BCD5-DD7D3B66EB8D}"/>
              </a:ext>
            </a:extLst>
          </p:cNvPr>
          <p:cNvSpPr/>
          <p:nvPr userDrawn="1"/>
        </p:nvSpPr>
        <p:spPr>
          <a:xfrm>
            <a:off x="8544692" y="6579908"/>
            <a:ext cx="994577"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GB" sz="800" b="0" noProof="0">
                <a:solidFill>
                  <a:schemeClr val="bg1">
                    <a:alpha val="50000"/>
                  </a:schemeClr>
                </a:solidFill>
                <a:latin typeface="Leelawadee" panose="020B0502040204020203" pitchFamily="34" charset="-34"/>
                <a:cs typeface="Leelawadee" panose="020B0502040204020203" pitchFamily="34" charset="-34"/>
              </a:rPr>
              <a:t>pep+ Customer Engagement</a:t>
            </a:r>
          </a:p>
        </p:txBody>
      </p:sp>
      <p:cxnSp>
        <p:nvCxnSpPr>
          <p:cNvPr id="82" name="Straight Connector 81">
            <a:extLst>
              <a:ext uri="{FF2B5EF4-FFF2-40B4-BE49-F238E27FC236}">
                <a16:creationId xmlns:a16="http://schemas.microsoft.com/office/drawing/2014/main" id="{FABA5B56-631C-44DF-A745-F0FA87CC8D75}"/>
              </a:ext>
            </a:extLst>
          </p:cNvPr>
          <p:cNvCxnSpPr/>
          <p:nvPr userDrawn="1"/>
        </p:nvCxnSpPr>
        <p:spPr>
          <a:xfrm>
            <a:off x="9539270"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2A6E1056-99A5-4F97-B8C5-251638DF9FC7}"/>
              </a:ext>
            </a:extLst>
          </p:cNvPr>
          <p:cNvCxnSpPr/>
          <p:nvPr userDrawn="1"/>
        </p:nvCxnSpPr>
        <p:spPr>
          <a:xfrm>
            <a:off x="848143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4DB11A0F-18C0-41A5-B111-8A00DF2DC7E7}"/>
              </a:ext>
            </a:extLst>
          </p:cNvPr>
          <p:cNvCxnSpPr/>
          <p:nvPr userDrawn="1"/>
        </p:nvCxnSpPr>
        <p:spPr>
          <a:xfrm>
            <a:off x="7493596"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1F00B1BF-2C96-455C-9AE8-6DCD81216CA8}"/>
              </a:ext>
            </a:extLst>
          </p:cNvPr>
          <p:cNvCxnSpPr/>
          <p:nvPr userDrawn="1"/>
        </p:nvCxnSpPr>
        <p:spPr>
          <a:xfrm>
            <a:off x="636702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804D8973-8015-4E43-A2EC-16448C6FB25A}"/>
              </a:ext>
            </a:extLst>
          </p:cNvPr>
          <p:cNvCxnSpPr/>
          <p:nvPr userDrawn="1"/>
        </p:nvCxnSpPr>
        <p:spPr>
          <a:xfrm>
            <a:off x="11186336"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nvGrpSpPr>
          <p:cNvPr id="87" name="Group 86">
            <a:extLst>
              <a:ext uri="{FF2B5EF4-FFF2-40B4-BE49-F238E27FC236}">
                <a16:creationId xmlns:a16="http://schemas.microsoft.com/office/drawing/2014/main" id="{A3763636-7970-4DC3-8064-567AF9B3F88E}"/>
              </a:ext>
            </a:extLst>
          </p:cNvPr>
          <p:cNvGrpSpPr/>
          <p:nvPr userDrawn="1"/>
        </p:nvGrpSpPr>
        <p:grpSpPr>
          <a:xfrm>
            <a:off x="11393217" y="6628477"/>
            <a:ext cx="473369" cy="183554"/>
            <a:chOff x="11393217" y="6628477"/>
            <a:chExt cx="473369" cy="183554"/>
          </a:xfrm>
        </p:grpSpPr>
        <p:sp>
          <p:nvSpPr>
            <p:cNvPr id="88" name="Freeform: Shape 87">
              <a:extLst>
                <a:ext uri="{FF2B5EF4-FFF2-40B4-BE49-F238E27FC236}">
                  <a16:creationId xmlns:a16="http://schemas.microsoft.com/office/drawing/2014/main" id="{E6F9E0ED-2786-4785-8EC2-231EC921B109}"/>
                </a:ext>
              </a:extLst>
            </p:cNvPr>
            <p:cNvSpPr/>
            <p:nvPr/>
          </p:nvSpPr>
          <p:spPr>
            <a:xfrm>
              <a:off x="11432435" y="6628477"/>
              <a:ext cx="90651" cy="18332"/>
            </a:xfrm>
            <a:custGeom>
              <a:avLst/>
              <a:gdLst>
                <a:gd name="connsiteX0" fmla="*/ 11746 w 160635"/>
                <a:gd name="connsiteY0" fmla="*/ 19438 h 32484"/>
                <a:gd name="connsiteX1" fmla="*/ 53842 w 160635"/>
                <a:gd name="connsiteY1" fmla="*/ 32138 h 32484"/>
                <a:gd name="connsiteX2" fmla="*/ 96443 w 160635"/>
                <a:gd name="connsiteY2" fmla="*/ 19438 h 32484"/>
                <a:gd name="connsiteX3" fmla="*/ 138646 w 160635"/>
                <a:gd name="connsiteY3" fmla="*/ 32138 h 32484"/>
                <a:gd name="connsiteX4" fmla="*/ 161624 w 160635"/>
                <a:gd name="connsiteY4" fmla="*/ 25721 h 32484"/>
                <a:gd name="connsiteX5" fmla="*/ 78205 w 160635"/>
                <a:gd name="connsiteY5" fmla="*/ -345 h 32484"/>
                <a:gd name="connsiteX6" fmla="*/ 989 w 160635"/>
                <a:gd name="connsiteY6" fmla="*/ 21648 h 32484"/>
                <a:gd name="connsiteX7" fmla="*/ 11879 w 160635"/>
                <a:gd name="connsiteY7" fmla="*/ 19438 h 3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635" h="32484">
                  <a:moveTo>
                    <a:pt x="11746" y="19438"/>
                  </a:moveTo>
                  <a:cubicBezTo>
                    <a:pt x="29798" y="19438"/>
                    <a:pt x="34671" y="32138"/>
                    <a:pt x="53842" y="32138"/>
                  </a:cubicBezTo>
                  <a:cubicBezTo>
                    <a:pt x="73012" y="32138"/>
                    <a:pt x="77645" y="19438"/>
                    <a:pt x="96443" y="19438"/>
                  </a:cubicBezTo>
                  <a:cubicBezTo>
                    <a:pt x="113644" y="19438"/>
                    <a:pt x="120700" y="32138"/>
                    <a:pt x="138646" y="32138"/>
                  </a:cubicBezTo>
                  <a:cubicBezTo>
                    <a:pt x="146732" y="32029"/>
                    <a:pt x="154651" y="29819"/>
                    <a:pt x="161624" y="25721"/>
                  </a:cubicBezTo>
                  <a:cubicBezTo>
                    <a:pt x="137136" y="8707"/>
                    <a:pt x="108023" y="-388"/>
                    <a:pt x="78205" y="-345"/>
                  </a:cubicBezTo>
                  <a:cubicBezTo>
                    <a:pt x="50915" y="-377"/>
                    <a:pt x="24164" y="7240"/>
                    <a:pt x="989" y="21648"/>
                  </a:cubicBezTo>
                  <a:cubicBezTo>
                    <a:pt x="4440" y="20210"/>
                    <a:pt x="8140" y="19459"/>
                    <a:pt x="11879" y="19438"/>
                  </a:cubicBezTo>
                </a:path>
              </a:pathLst>
            </a:custGeom>
            <a:solidFill>
              <a:srgbClr val="4FE3F2"/>
            </a:solidFill>
            <a:ln w="2661" cap="flat">
              <a:noFill/>
              <a:prstDash val="solid"/>
              <a:miter/>
            </a:ln>
          </p:spPr>
          <p:txBody>
            <a:bodyPr rtlCol="0" anchor="ctr"/>
            <a:lstStyle/>
            <a:p>
              <a:endParaRPr lang="pl-PL"/>
            </a:p>
          </p:txBody>
        </p:sp>
        <p:sp>
          <p:nvSpPr>
            <p:cNvPr id="89" name="Freeform: Shape 88">
              <a:extLst>
                <a:ext uri="{FF2B5EF4-FFF2-40B4-BE49-F238E27FC236}">
                  <a16:creationId xmlns:a16="http://schemas.microsoft.com/office/drawing/2014/main" id="{5765DA2E-0C03-4D6A-ACB8-E32850F99F6C}"/>
                </a:ext>
              </a:extLst>
            </p:cNvPr>
            <p:cNvSpPr/>
            <p:nvPr/>
          </p:nvSpPr>
          <p:spPr>
            <a:xfrm>
              <a:off x="11432374" y="6628522"/>
              <a:ext cx="90726" cy="18332"/>
            </a:xfrm>
            <a:custGeom>
              <a:avLst/>
              <a:gdLst>
                <a:gd name="connsiteX0" fmla="*/ 78205 w 160768"/>
                <a:gd name="connsiteY0" fmla="*/ -345 h 32484"/>
                <a:gd name="connsiteX1" fmla="*/ 989 w 160768"/>
                <a:gd name="connsiteY1" fmla="*/ 21648 h 32484"/>
                <a:gd name="connsiteX2" fmla="*/ 11879 w 160768"/>
                <a:gd name="connsiteY2" fmla="*/ 19438 h 32484"/>
                <a:gd name="connsiteX3" fmla="*/ 53975 w 160768"/>
                <a:gd name="connsiteY3" fmla="*/ 32138 h 32484"/>
                <a:gd name="connsiteX4" fmla="*/ 96577 w 160768"/>
                <a:gd name="connsiteY4" fmla="*/ 19438 h 32484"/>
                <a:gd name="connsiteX5" fmla="*/ 138806 w 160768"/>
                <a:gd name="connsiteY5" fmla="*/ 32138 h 32484"/>
                <a:gd name="connsiteX6" fmla="*/ 161757 w 160768"/>
                <a:gd name="connsiteY6" fmla="*/ 25722 h 32484"/>
                <a:gd name="connsiteX7" fmla="*/ 78338 w 160768"/>
                <a:gd name="connsiteY7" fmla="*/ -345 h 3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8" h="32484">
                  <a:moveTo>
                    <a:pt x="78205" y="-345"/>
                  </a:moveTo>
                  <a:cubicBezTo>
                    <a:pt x="50915" y="-377"/>
                    <a:pt x="24164" y="7240"/>
                    <a:pt x="989" y="21648"/>
                  </a:cubicBezTo>
                  <a:cubicBezTo>
                    <a:pt x="4439" y="20210"/>
                    <a:pt x="8140" y="19459"/>
                    <a:pt x="11879" y="19438"/>
                  </a:cubicBezTo>
                  <a:cubicBezTo>
                    <a:pt x="29931" y="19438"/>
                    <a:pt x="34804" y="32138"/>
                    <a:pt x="53975" y="32138"/>
                  </a:cubicBezTo>
                  <a:cubicBezTo>
                    <a:pt x="73146" y="32138"/>
                    <a:pt x="77778" y="19438"/>
                    <a:pt x="96577" y="19438"/>
                  </a:cubicBezTo>
                  <a:cubicBezTo>
                    <a:pt x="113777" y="19438"/>
                    <a:pt x="120833" y="32138"/>
                    <a:pt x="138806" y="32138"/>
                  </a:cubicBezTo>
                  <a:cubicBezTo>
                    <a:pt x="146884" y="32027"/>
                    <a:pt x="154792" y="29814"/>
                    <a:pt x="161757" y="25722"/>
                  </a:cubicBezTo>
                  <a:cubicBezTo>
                    <a:pt x="137269" y="8707"/>
                    <a:pt x="108156" y="-388"/>
                    <a:pt x="78338" y="-345"/>
                  </a:cubicBezTo>
                </a:path>
              </a:pathLst>
            </a:custGeom>
            <a:solidFill>
              <a:srgbClr val="BAF2FA"/>
            </a:solidFill>
            <a:ln w="2661" cap="flat">
              <a:noFill/>
              <a:prstDash val="solid"/>
              <a:miter/>
            </a:ln>
          </p:spPr>
          <p:txBody>
            <a:bodyPr rtlCol="0" anchor="ctr"/>
            <a:lstStyle/>
            <a:p>
              <a:endParaRPr lang="pl-PL"/>
            </a:p>
          </p:txBody>
        </p:sp>
        <p:sp>
          <p:nvSpPr>
            <p:cNvPr id="90" name="Freeform: Shape 89">
              <a:extLst>
                <a:ext uri="{FF2B5EF4-FFF2-40B4-BE49-F238E27FC236}">
                  <a16:creationId xmlns:a16="http://schemas.microsoft.com/office/drawing/2014/main" id="{0C906AC7-555E-4CCB-AC17-98AA9CBA7E9F}"/>
                </a:ext>
              </a:extLst>
            </p:cNvPr>
            <p:cNvSpPr/>
            <p:nvPr/>
          </p:nvSpPr>
          <p:spPr>
            <a:xfrm>
              <a:off x="11427415" y="6639597"/>
              <a:ext cx="108562" cy="21802"/>
            </a:xfrm>
            <a:custGeom>
              <a:avLst/>
              <a:gdLst>
                <a:gd name="connsiteX0" fmla="*/ 105230 w 192373"/>
                <a:gd name="connsiteY0" fmla="*/ -266 h 38634"/>
                <a:gd name="connsiteX1" fmla="*/ 62628 w 192373"/>
                <a:gd name="connsiteY1" fmla="*/ 12435 h 38634"/>
                <a:gd name="connsiteX2" fmla="*/ 20532 w 192373"/>
                <a:gd name="connsiteY2" fmla="*/ -266 h 38634"/>
                <a:gd name="connsiteX3" fmla="*/ 9642 w 192373"/>
                <a:gd name="connsiteY3" fmla="*/ 1944 h 38634"/>
                <a:gd name="connsiteX4" fmla="*/ 989 w 192373"/>
                <a:gd name="connsiteY4" fmla="*/ 7775 h 38634"/>
                <a:gd name="connsiteX5" fmla="*/ 21171 w 192373"/>
                <a:gd name="connsiteY5" fmla="*/ 25615 h 38634"/>
                <a:gd name="connsiteX6" fmla="*/ 62628 w 192373"/>
                <a:gd name="connsiteY6" fmla="*/ 38289 h 38634"/>
                <a:gd name="connsiteX7" fmla="*/ 105230 w 192373"/>
                <a:gd name="connsiteY7" fmla="*/ 25588 h 38634"/>
                <a:gd name="connsiteX8" fmla="*/ 147459 w 192373"/>
                <a:gd name="connsiteY8" fmla="*/ 38289 h 38634"/>
                <a:gd name="connsiteX9" fmla="*/ 190700 w 192373"/>
                <a:gd name="connsiteY9" fmla="*/ 25588 h 38634"/>
                <a:gd name="connsiteX10" fmla="*/ 193363 w 192373"/>
                <a:gd name="connsiteY10" fmla="*/ 25588 h 38634"/>
                <a:gd name="connsiteX11" fmla="*/ 170438 w 192373"/>
                <a:gd name="connsiteY11" fmla="*/ 5938 h 38634"/>
                <a:gd name="connsiteX12" fmla="*/ 147486 w 192373"/>
                <a:gd name="connsiteY12" fmla="*/ 12355 h 38634"/>
                <a:gd name="connsiteX13" fmla="*/ 105257 w 192373"/>
                <a:gd name="connsiteY13" fmla="*/ -346 h 38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2373" h="38634">
                  <a:moveTo>
                    <a:pt x="105230" y="-266"/>
                  </a:moveTo>
                  <a:cubicBezTo>
                    <a:pt x="86592" y="-266"/>
                    <a:pt x="81799" y="12435"/>
                    <a:pt x="62628" y="12435"/>
                  </a:cubicBezTo>
                  <a:cubicBezTo>
                    <a:pt x="43457" y="12435"/>
                    <a:pt x="38665" y="-266"/>
                    <a:pt x="20532" y="-266"/>
                  </a:cubicBezTo>
                  <a:cubicBezTo>
                    <a:pt x="16794" y="-244"/>
                    <a:pt x="13093" y="506"/>
                    <a:pt x="9642" y="1944"/>
                  </a:cubicBezTo>
                  <a:cubicBezTo>
                    <a:pt x="6687" y="3781"/>
                    <a:pt x="3785" y="5725"/>
                    <a:pt x="989" y="7775"/>
                  </a:cubicBezTo>
                  <a:cubicBezTo>
                    <a:pt x="8031" y="13356"/>
                    <a:pt x="14768" y="19312"/>
                    <a:pt x="21171" y="25615"/>
                  </a:cubicBezTo>
                  <a:cubicBezTo>
                    <a:pt x="38691" y="25908"/>
                    <a:pt x="43697" y="38289"/>
                    <a:pt x="62628" y="38289"/>
                  </a:cubicBezTo>
                  <a:cubicBezTo>
                    <a:pt x="81559" y="38289"/>
                    <a:pt x="86432" y="25588"/>
                    <a:pt x="105230" y="25588"/>
                  </a:cubicBezTo>
                  <a:cubicBezTo>
                    <a:pt x="122431" y="25588"/>
                    <a:pt x="129487" y="38289"/>
                    <a:pt x="147459" y="38289"/>
                  </a:cubicBezTo>
                  <a:cubicBezTo>
                    <a:pt x="167456" y="38289"/>
                    <a:pt x="173872" y="25588"/>
                    <a:pt x="190700" y="25588"/>
                  </a:cubicBezTo>
                  <a:cubicBezTo>
                    <a:pt x="191632" y="25588"/>
                    <a:pt x="192484" y="25588"/>
                    <a:pt x="193363" y="25588"/>
                  </a:cubicBezTo>
                  <a:cubicBezTo>
                    <a:pt x="186416" y="18269"/>
                    <a:pt x="178734" y="11684"/>
                    <a:pt x="170438" y="5938"/>
                  </a:cubicBezTo>
                  <a:cubicBezTo>
                    <a:pt x="163472" y="10031"/>
                    <a:pt x="155564" y="12243"/>
                    <a:pt x="147486" y="12355"/>
                  </a:cubicBezTo>
                  <a:cubicBezTo>
                    <a:pt x="129513" y="12355"/>
                    <a:pt x="122457" y="-346"/>
                    <a:pt x="105257" y="-346"/>
                  </a:cubicBezTo>
                </a:path>
              </a:pathLst>
            </a:custGeom>
            <a:solidFill>
              <a:srgbClr val="4FE3F2"/>
            </a:solidFill>
            <a:ln w="2661" cap="flat">
              <a:noFill/>
              <a:prstDash val="solid"/>
              <a:miter/>
            </a:ln>
          </p:spPr>
          <p:txBody>
            <a:bodyPr rtlCol="0" anchor="ctr"/>
            <a:lstStyle/>
            <a:p>
              <a:endParaRPr lang="pl-PL"/>
            </a:p>
          </p:txBody>
        </p:sp>
        <p:sp>
          <p:nvSpPr>
            <p:cNvPr id="91" name="Freeform: Shape 90">
              <a:extLst>
                <a:ext uri="{FF2B5EF4-FFF2-40B4-BE49-F238E27FC236}">
                  <a16:creationId xmlns:a16="http://schemas.microsoft.com/office/drawing/2014/main" id="{BF09F350-FEC9-47FE-9A8B-B20A1CDBDA59}"/>
                </a:ext>
              </a:extLst>
            </p:cNvPr>
            <p:cNvSpPr/>
            <p:nvPr/>
          </p:nvSpPr>
          <p:spPr>
            <a:xfrm>
              <a:off x="11438745" y="6654277"/>
              <a:ext cx="111537" cy="22389"/>
            </a:xfrm>
            <a:custGeom>
              <a:avLst/>
              <a:gdLst>
                <a:gd name="connsiteX0" fmla="*/ 127250 w 197645"/>
                <a:gd name="connsiteY0" fmla="*/ 12355 h 39673"/>
                <a:gd name="connsiteX1" fmla="*/ 85048 w 197645"/>
                <a:gd name="connsiteY1" fmla="*/ -346 h 39673"/>
                <a:gd name="connsiteX2" fmla="*/ 42446 w 197645"/>
                <a:gd name="connsiteY2" fmla="*/ 12355 h 39673"/>
                <a:gd name="connsiteX3" fmla="*/ 989 w 197645"/>
                <a:gd name="connsiteY3" fmla="*/ -319 h 39673"/>
                <a:gd name="connsiteX4" fmla="*/ 24233 w 197645"/>
                <a:gd name="connsiteY4" fmla="*/ 25881 h 39673"/>
                <a:gd name="connsiteX5" fmla="*/ 33100 w 197645"/>
                <a:gd name="connsiteY5" fmla="*/ 38209 h 39673"/>
                <a:gd name="connsiteX6" fmla="*/ 42446 w 197645"/>
                <a:gd name="connsiteY6" fmla="*/ 39327 h 39673"/>
                <a:gd name="connsiteX7" fmla="*/ 85048 w 197645"/>
                <a:gd name="connsiteY7" fmla="*/ 26627 h 39673"/>
                <a:gd name="connsiteX8" fmla="*/ 127250 w 197645"/>
                <a:gd name="connsiteY8" fmla="*/ 39327 h 39673"/>
                <a:gd name="connsiteX9" fmla="*/ 170517 w 197645"/>
                <a:gd name="connsiteY9" fmla="*/ 26627 h 39673"/>
                <a:gd name="connsiteX10" fmla="*/ 198635 w 197645"/>
                <a:gd name="connsiteY10" fmla="*/ 36478 h 39673"/>
                <a:gd name="connsiteX11" fmla="*/ 173153 w 197645"/>
                <a:gd name="connsiteY11" fmla="*/ -266 h 39673"/>
                <a:gd name="connsiteX12" fmla="*/ 170491 w 197645"/>
                <a:gd name="connsiteY12" fmla="*/ -266 h 39673"/>
                <a:gd name="connsiteX13" fmla="*/ 127223 w 197645"/>
                <a:gd name="connsiteY13" fmla="*/ 12435 h 39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7645" h="39673">
                  <a:moveTo>
                    <a:pt x="127250" y="12355"/>
                  </a:moveTo>
                  <a:cubicBezTo>
                    <a:pt x="109304" y="12355"/>
                    <a:pt x="102248" y="-346"/>
                    <a:pt x="85048" y="-346"/>
                  </a:cubicBezTo>
                  <a:cubicBezTo>
                    <a:pt x="66409" y="-346"/>
                    <a:pt x="61616" y="12355"/>
                    <a:pt x="42446" y="12355"/>
                  </a:cubicBezTo>
                  <a:cubicBezTo>
                    <a:pt x="23275" y="12355"/>
                    <a:pt x="18482" y="-26"/>
                    <a:pt x="989" y="-319"/>
                  </a:cubicBezTo>
                  <a:cubicBezTo>
                    <a:pt x="9333" y="7866"/>
                    <a:pt x="17100" y="16621"/>
                    <a:pt x="24233" y="25881"/>
                  </a:cubicBezTo>
                  <a:cubicBezTo>
                    <a:pt x="27295" y="29902"/>
                    <a:pt x="30277" y="34002"/>
                    <a:pt x="33100" y="38209"/>
                  </a:cubicBezTo>
                  <a:cubicBezTo>
                    <a:pt x="36157" y="38971"/>
                    <a:pt x="39296" y="39346"/>
                    <a:pt x="42446" y="39327"/>
                  </a:cubicBezTo>
                  <a:cubicBezTo>
                    <a:pt x="61510" y="39327"/>
                    <a:pt x="66249" y="26627"/>
                    <a:pt x="85048" y="26627"/>
                  </a:cubicBezTo>
                  <a:cubicBezTo>
                    <a:pt x="102248" y="26627"/>
                    <a:pt x="109304" y="39327"/>
                    <a:pt x="127250" y="39327"/>
                  </a:cubicBezTo>
                  <a:cubicBezTo>
                    <a:pt x="147273" y="39327"/>
                    <a:pt x="153690" y="26627"/>
                    <a:pt x="170517" y="26627"/>
                  </a:cubicBezTo>
                  <a:cubicBezTo>
                    <a:pt x="184283" y="26627"/>
                    <a:pt x="189635" y="32245"/>
                    <a:pt x="198635" y="36478"/>
                  </a:cubicBezTo>
                  <a:cubicBezTo>
                    <a:pt x="192063" y="23003"/>
                    <a:pt x="183471" y="10611"/>
                    <a:pt x="173153" y="-266"/>
                  </a:cubicBezTo>
                  <a:cubicBezTo>
                    <a:pt x="172301" y="-266"/>
                    <a:pt x="171449" y="-266"/>
                    <a:pt x="170491" y="-266"/>
                  </a:cubicBezTo>
                  <a:cubicBezTo>
                    <a:pt x="153663" y="-266"/>
                    <a:pt x="147246" y="12435"/>
                    <a:pt x="127223" y="12435"/>
                  </a:cubicBezTo>
                </a:path>
              </a:pathLst>
            </a:custGeom>
            <a:solidFill>
              <a:srgbClr val="0066E5"/>
            </a:solidFill>
            <a:ln w="2661" cap="flat">
              <a:noFill/>
              <a:prstDash val="solid"/>
              <a:miter/>
            </a:ln>
          </p:spPr>
          <p:txBody>
            <a:bodyPr rtlCol="0" anchor="ctr"/>
            <a:lstStyle/>
            <a:p>
              <a:endParaRPr lang="pl-PL"/>
            </a:p>
          </p:txBody>
        </p:sp>
        <p:sp>
          <p:nvSpPr>
            <p:cNvPr id="92" name="Freeform: Shape 91">
              <a:extLst>
                <a:ext uri="{FF2B5EF4-FFF2-40B4-BE49-F238E27FC236}">
                  <a16:creationId xmlns:a16="http://schemas.microsoft.com/office/drawing/2014/main" id="{4130F4CC-0ECC-4D20-AB44-00EED461C1EE}"/>
                </a:ext>
              </a:extLst>
            </p:cNvPr>
            <p:cNvSpPr/>
            <p:nvPr/>
          </p:nvSpPr>
          <p:spPr>
            <a:xfrm>
              <a:off x="11456867" y="6669498"/>
              <a:ext cx="99186" cy="29390"/>
            </a:xfrm>
            <a:custGeom>
              <a:avLst/>
              <a:gdLst>
                <a:gd name="connsiteX0" fmla="*/ 95139 w 175759"/>
                <a:gd name="connsiteY0" fmla="*/ 12355 h 52080"/>
                <a:gd name="connsiteX1" fmla="*/ 52936 w 175759"/>
                <a:gd name="connsiteY1" fmla="*/ -346 h 52080"/>
                <a:gd name="connsiteX2" fmla="*/ 10335 w 175759"/>
                <a:gd name="connsiteY2" fmla="*/ 12355 h 52080"/>
                <a:gd name="connsiteX3" fmla="*/ 989 w 175759"/>
                <a:gd name="connsiteY3" fmla="*/ 11210 h 52080"/>
                <a:gd name="connsiteX4" fmla="*/ 23248 w 175759"/>
                <a:gd name="connsiteY4" fmla="*/ 51735 h 52080"/>
                <a:gd name="connsiteX5" fmla="*/ 22929 w 175759"/>
                <a:gd name="connsiteY5" fmla="*/ 50963 h 52080"/>
                <a:gd name="connsiteX6" fmla="*/ 110183 w 175759"/>
                <a:gd name="connsiteY6" fmla="*/ 22633 h 52080"/>
                <a:gd name="connsiteX7" fmla="*/ 176748 w 175759"/>
                <a:gd name="connsiteY7" fmla="*/ 38262 h 52080"/>
                <a:gd name="connsiteX8" fmla="*/ 166310 w 175759"/>
                <a:gd name="connsiteY8" fmla="*/ 9506 h 52080"/>
                <a:gd name="connsiteX9" fmla="*/ 138193 w 175759"/>
                <a:gd name="connsiteY9" fmla="*/ -346 h 52080"/>
                <a:gd name="connsiteX10" fmla="*/ 94926 w 175759"/>
                <a:gd name="connsiteY10" fmla="*/ 12355 h 52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5759" h="52080">
                  <a:moveTo>
                    <a:pt x="95139" y="12355"/>
                  </a:moveTo>
                  <a:cubicBezTo>
                    <a:pt x="77193" y="12355"/>
                    <a:pt x="70137" y="-346"/>
                    <a:pt x="52936" y="-346"/>
                  </a:cubicBezTo>
                  <a:cubicBezTo>
                    <a:pt x="34298" y="-346"/>
                    <a:pt x="29505" y="12355"/>
                    <a:pt x="10335" y="12355"/>
                  </a:cubicBezTo>
                  <a:cubicBezTo>
                    <a:pt x="7182" y="12379"/>
                    <a:pt x="4043" y="11993"/>
                    <a:pt x="989" y="11210"/>
                  </a:cubicBezTo>
                  <a:cubicBezTo>
                    <a:pt x="9634" y="24007"/>
                    <a:pt x="17087" y="37573"/>
                    <a:pt x="23248" y="51735"/>
                  </a:cubicBezTo>
                  <a:lnTo>
                    <a:pt x="22929" y="50963"/>
                  </a:lnTo>
                  <a:cubicBezTo>
                    <a:pt x="48205" y="32375"/>
                    <a:pt x="78806" y="22438"/>
                    <a:pt x="110183" y="22633"/>
                  </a:cubicBezTo>
                  <a:cubicBezTo>
                    <a:pt x="133286" y="22574"/>
                    <a:pt x="156083" y="27926"/>
                    <a:pt x="176748" y="38262"/>
                  </a:cubicBezTo>
                  <a:cubicBezTo>
                    <a:pt x="174298" y="28333"/>
                    <a:pt x="170800" y="18695"/>
                    <a:pt x="166310" y="9506"/>
                  </a:cubicBezTo>
                  <a:cubicBezTo>
                    <a:pt x="157311" y="5273"/>
                    <a:pt x="151959" y="-346"/>
                    <a:pt x="138193" y="-346"/>
                  </a:cubicBezTo>
                  <a:cubicBezTo>
                    <a:pt x="121365" y="-346"/>
                    <a:pt x="114949" y="12355"/>
                    <a:pt x="94926" y="12355"/>
                  </a:cubicBezTo>
                </a:path>
              </a:pathLst>
            </a:custGeom>
            <a:solidFill>
              <a:srgbClr val="143DCF"/>
            </a:solidFill>
            <a:ln w="2661" cap="flat">
              <a:noFill/>
              <a:prstDash val="solid"/>
              <a:miter/>
            </a:ln>
          </p:spPr>
          <p:txBody>
            <a:bodyPr rtlCol="0" anchor="ctr"/>
            <a:lstStyle/>
            <a:p>
              <a:endParaRPr lang="pl-PL"/>
            </a:p>
          </p:txBody>
        </p:sp>
        <p:sp>
          <p:nvSpPr>
            <p:cNvPr id="93" name="Freeform: Shape 92">
              <a:extLst>
                <a:ext uri="{FF2B5EF4-FFF2-40B4-BE49-F238E27FC236}">
                  <a16:creationId xmlns:a16="http://schemas.microsoft.com/office/drawing/2014/main" id="{B6DAA02E-9F75-462D-ADDA-71F227421AFD}"/>
                </a:ext>
              </a:extLst>
            </p:cNvPr>
            <p:cNvSpPr/>
            <p:nvPr/>
          </p:nvSpPr>
          <p:spPr>
            <a:xfrm>
              <a:off x="11469428" y="6682464"/>
              <a:ext cx="88352" cy="28821"/>
            </a:xfrm>
            <a:custGeom>
              <a:avLst/>
              <a:gdLst>
                <a:gd name="connsiteX0" fmla="*/ 154808 w 156561"/>
                <a:gd name="connsiteY0" fmla="*/ 15287 h 51071"/>
                <a:gd name="connsiteX1" fmla="*/ 88243 w 156561"/>
                <a:gd name="connsiteY1" fmla="*/ -343 h 51071"/>
                <a:gd name="connsiteX2" fmla="*/ 989 w 156561"/>
                <a:gd name="connsiteY2" fmla="*/ 27987 h 51071"/>
                <a:gd name="connsiteX3" fmla="*/ 1308 w 156561"/>
                <a:gd name="connsiteY3" fmla="*/ 28760 h 51071"/>
                <a:gd name="connsiteX4" fmla="*/ 2533 w 156561"/>
                <a:gd name="connsiteY4" fmla="*/ 31635 h 51071"/>
                <a:gd name="connsiteX5" fmla="*/ 3172 w 156561"/>
                <a:gd name="connsiteY5" fmla="*/ 33153 h 51071"/>
                <a:gd name="connsiteX6" fmla="*/ 5568 w 156561"/>
                <a:gd name="connsiteY6" fmla="*/ 39170 h 51071"/>
                <a:gd name="connsiteX7" fmla="*/ 5888 w 156561"/>
                <a:gd name="connsiteY7" fmla="*/ 40049 h 51071"/>
                <a:gd name="connsiteX8" fmla="*/ 6740 w 156561"/>
                <a:gd name="connsiteY8" fmla="*/ 42339 h 51071"/>
                <a:gd name="connsiteX9" fmla="*/ 7619 w 156561"/>
                <a:gd name="connsiteY9" fmla="*/ 44709 h 51071"/>
                <a:gd name="connsiteX10" fmla="*/ 8364 w 156561"/>
                <a:gd name="connsiteY10" fmla="*/ 46892 h 51071"/>
                <a:gd name="connsiteX11" fmla="*/ 9269 w 156561"/>
                <a:gd name="connsiteY11" fmla="*/ 49555 h 51071"/>
                <a:gd name="connsiteX12" fmla="*/ 9669 w 156561"/>
                <a:gd name="connsiteY12" fmla="*/ 50726 h 51071"/>
                <a:gd name="connsiteX13" fmla="*/ 88243 w 156561"/>
                <a:gd name="connsiteY13" fmla="*/ 28360 h 51071"/>
                <a:gd name="connsiteX14" fmla="*/ 109544 w 156561"/>
                <a:gd name="connsiteY14" fmla="*/ 29825 h 51071"/>
                <a:gd name="connsiteX15" fmla="*/ 112606 w 156561"/>
                <a:gd name="connsiteY15" fmla="*/ 30038 h 51071"/>
                <a:gd name="connsiteX16" fmla="*/ 112925 w 156561"/>
                <a:gd name="connsiteY16" fmla="*/ 30038 h 51071"/>
                <a:gd name="connsiteX17" fmla="*/ 113378 w 156561"/>
                <a:gd name="connsiteY17" fmla="*/ 30038 h 51071"/>
                <a:gd name="connsiteX18" fmla="*/ 116040 w 156561"/>
                <a:gd name="connsiteY18" fmla="*/ 30677 h 51071"/>
                <a:gd name="connsiteX19" fmla="*/ 116040 w 156561"/>
                <a:gd name="connsiteY19" fmla="*/ 30677 h 51071"/>
                <a:gd name="connsiteX20" fmla="*/ 123256 w 156561"/>
                <a:gd name="connsiteY20" fmla="*/ 18722 h 51071"/>
                <a:gd name="connsiteX21" fmla="*/ 139232 w 156561"/>
                <a:gd name="connsiteY21" fmla="*/ 15873 h 51071"/>
                <a:gd name="connsiteX22" fmla="*/ 139232 w 156561"/>
                <a:gd name="connsiteY22" fmla="*/ 15873 h 51071"/>
                <a:gd name="connsiteX23" fmla="*/ 140536 w 156561"/>
                <a:gd name="connsiteY23" fmla="*/ 37520 h 51071"/>
                <a:gd name="connsiteX24" fmla="*/ 150015 w 156561"/>
                <a:gd name="connsiteY24" fmla="*/ 29691 h 51071"/>
                <a:gd name="connsiteX25" fmla="*/ 157550 w 156561"/>
                <a:gd name="connsiteY25" fmla="*/ 29212 h 51071"/>
                <a:gd name="connsiteX26" fmla="*/ 154888 w 156561"/>
                <a:gd name="connsiteY26" fmla="*/ 15180 h 5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6561" h="51071">
                  <a:moveTo>
                    <a:pt x="154808" y="15287"/>
                  </a:moveTo>
                  <a:cubicBezTo>
                    <a:pt x="134143" y="4950"/>
                    <a:pt x="111346" y="-401"/>
                    <a:pt x="88243" y="-343"/>
                  </a:cubicBezTo>
                  <a:cubicBezTo>
                    <a:pt x="56866" y="-537"/>
                    <a:pt x="26265" y="9400"/>
                    <a:pt x="989" y="27987"/>
                  </a:cubicBezTo>
                  <a:lnTo>
                    <a:pt x="1308" y="28760"/>
                  </a:lnTo>
                  <a:cubicBezTo>
                    <a:pt x="1734" y="29718"/>
                    <a:pt x="2134" y="30677"/>
                    <a:pt x="2533" y="31635"/>
                  </a:cubicBezTo>
                  <a:lnTo>
                    <a:pt x="3172" y="33153"/>
                  </a:lnTo>
                  <a:cubicBezTo>
                    <a:pt x="3997" y="35150"/>
                    <a:pt x="4796" y="37147"/>
                    <a:pt x="5568" y="39170"/>
                  </a:cubicBezTo>
                  <a:lnTo>
                    <a:pt x="5888" y="40049"/>
                  </a:lnTo>
                  <a:cubicBezTo>
                    <a:pt x="6181" y="40821"/>
                    <a:pt x="6474" y="41593"/>
                    <a:pt x="6740" y="42339"/>
                  </a:cubicBezTo>
                  <a:lnTo>
                    <a:pt x="7619" y="44709"/>
                  </a:lnTo>
                  <a:cubicBezTo>
                    <a:pt x="7858" y="45454"/>
                    <a:pt x="8124" y="46173"/>
                    <a:pt x="8364" y="46892"/>
                  </a:cubicBezTo>
                  <a:cubicBezTo>
                    <a:pt x="8604" y="47611"/>
                    <a:pt x="8977" y="48649"/>
                    <a:pt x="9269" y="49555"/>
                  </a:cubicBezTo>
                  <a:lnTo>
                    <a:pt x="9669" y="50726"/>
                  </a:lnTo>
                  <a:cubicBezTo>
                    <a:pt x="33212" y="35978"/>
                    <a:pt x="60461" y="28222"/>
                    <a:pt x="88243" y="28360"/>
                  </a:cubicBezTo>
                  <a:cubicBezTo>
                    <a:pt x="95368" y="28358"/>
                    <a:pt x="102485" y="28847"/>
                    <a:pt x="109544" y="29825"/>
                  </a:cubicBezTo>
                  <a:cubicBezTo>
                    <a:pt x="110569" y="29835"/>
                    <a:pt x="111591" y="29907"/>
                    <a:pt x="112606" y="30038"/>
                  </a:cubicBezTo>
                  <a:lnTo>
                    <a:pt x="112925" y="30038"/>
                  </a:lnTo>
                  <a:lnTo>
                    <a:pt x="113378" y="30038"/>
                  </a:lnTo>
                  <a:cubicBezTo>
                    <a:pt x="114278" y="30189"/>
                    <a:pt x="115170" y="30402"/>
                    <a:pt x="116040" y="30677"/>
                  </a:cubicBezTo>
                  <a:lnTo>
                    <a:pt x="116040" y="30677"/>
                  </a:lnTo>
                  <a:cubicBezTo>
                    <a:pt x="116123" y="25684"/>
                    <a:pt x="118879" y="21121"/>
                    <a:pt x="123256" y="18722"/>
                  </a:cubicBezTo>
                  <a:cubicBezTo>
                    <a:pt x="129460" y="14994"/>
                    <a:pt x="139232" y="15873"/>
                    <a:pt x="139232" y="15873"/>
                  </a:cubicBezTo>
                  <a:lnTo>
                    <a:pt x="139232" y="15873"/>
                  </a:lnTo>
                  <a:cubicBezTo>
                    <a:pt x="140068" y="23059"/>
                    <a:pt x="140504" y="30285"/>
                    <a:pt x="140536" y="37520"/>
                  </a:cubicBezTo>
                  <a:cubicBezTo>
                    <a:pt x="142291" y="33566"/>
                    <a:pt x="145800" y="30666"/>
                    <a:pt x="150015" y="29691"/>
                  </a:cubicBezTo>
                  <a:cubicBezTo>
                    <a:pt x="152483" y="29124"/>
                    <a:pt x="155029" y="28962"/>
                    <a:pt x="157550" y="29212"/>
                  </a:cubicBezTo>
                  <a:cubicBezTo>
                    <a:pt x="156858" y="24446"/>
                    <a:pt x="155953" y="19787"/>
                    <a:pt x="154888" y="15180"/>
                  </a:cubicBezTo>
                </a:path>
              </a:pathLst>
            </a:custGeom>
            <a:solidFill>
              <a:srgbClr val="00A652"/>
            </a:solidFill>
            <a:ln w="2661" cap="flat">
              <a:noFill/>
              <a:prstDash val="solid"/>
              <a:miter/>
            </a:ln>
          </p:spPr>
          <p:txBody>
            <a:bodyPr rtlCol="0" anchor="ctr"/>
            <a:lstStyle/>
            <a:p>
              <a:endParaRPr lang="pl-PL"/>
            </a:p>
          </p:txBody>
        </p:sp>
        <p:sp>
          <p:nvSpPr>
            <p:cNvPr id="94" name="Freeform: Shape 93">
              <a:extLst>
                <a:ext uri="{FF2B5EF4-FFF2-40B4-BE49-F238E27FC236}">
                  <a16:creationId xmlns:a16="http://schemas.microsoft.com/office/drawing/2014/main" id="{A9184EA8-D731-4D5F-BC9B-A01020445FF2}"/>
                </a:ext>
              </a:extLst>
            </p:cNvPr>
            <p:cNvSpPr/>
            <p:nvPr/>
          </p:nvSpPr>
          <p:spPr>
            <a:xfrm>
              <a:off x="11474267" y="6698648"/>
              <a:ext cx="56271" cy="28174"/>
            </a:xfrm>
            <a:custGeom>
              <a:avLst/>
              <a:gdLst>
                <a:gd name="connsiteX0" fmla="*/ 79563 w 99714"/>
                <a:gd name="connsiteY0" fmla="*/ -344 h 49925"/>
                <a:gd name="connsiteX1" fmla="*/ 989 w 99714"/>
                <a:gd name="connsiteY1" fmla="*/ 22022 h 49925"/>
                <a:gd name="connsiteX2" fmla="*/ 1228 w 99714"/>
                <a:gd name="connsiteY2" fmla="*/ 22821 h 49925"/>
                <a:gd name="connsiteX3" fmla="*/ 2373 w 99714"/>
                <a:gd name="connsiteY3" fmla="*/ 26442 h 49925"/>
                <a:gd name="connsiteX4" fmla="*/ 2773 w 99714"/>
                <a:gd name="connsiteY4" fmla="*/ 27694 h 49925"/>
                <a:gd name="connsiteX5" fmla="*/ 4184 w 99714"/>
                <a:gd name="connsiteY5" fmla="*/ 32540 h 49925"/>
                <a:gd name="connsiteX6" fmla="*/ 4610 w 99714"/>
                <a:gd name="connsiteY6" fmla="*/ 34137 h 49925"/>
                <a:gd name="connsiteX7" fmla="*/ 5515 w 99714"/>
                <a:gd name="connsiteY7" fmla="*/ 37545 h 49925"/>
                <a:gd name="connsiteX8" fmla="*/ 6021 w 99714"/>
                <a:gd name="connsiteY8" fmla="*/ 39542 h 49925"/>
                <a:gd name="connsiteX9" fmla="*/ 6767 w 99714"/>
                <a:gd name="connsiteY9" fmla="*/ 42658 h 49925"/>
                <a:gd name="connsiteX10" fmla="*/ 7246 w 99714"/>
                <a:gd name="connsiteY10" fmla="*/ 44708 h 49925"/>
                <a:gd name="connsiteX11" fmla="*/ 8231 w 99714"/>
                <a:gd name="connsiteY11" fmla="*/ 49128 h 49925"/>
                <a:gd name="connsiteX12" fmla="*/ 8231 w 99714"/>
                <a:gd name="connsiteY12" fmla="*/ 49580 h 49925"/>
                <a:gd name="connsiteX13" fmla="*/ 61936 w 99714"/>
                <a:gd name="connsiteY13" fmla="*/ 32566 h 49925"/>
                <a:gd name="connsiteX14" fmla="*/ 65877 w 99714"/>
                <a:gd name="connsiteY14" fmla="*/ 29904 h 49925"/>
                <a:gd name="connsiteX15" fmla="*/ 78125 w 99714"/>
                <a:gd name="connsiteY15" fmla="*/ 28732 h 49925"/>
                <a:gd name="connsiteX16" fmla="*/ 81373 w 99714"/>
                <a:gd name="connsiteY16" fmla="*/ 29478 h 49925"/>
                <a:gd name="connsiteX17" fmla="*/ 82278 w 99714"/>
                <a:gd name="connsiteY17" fmla="*/ 24339 h 49925"/>
                <a:gd name="connsiteX18" fmla="*/ 88509 w 99714"/>
                <a:gd name="connsiteY18" fmla="*/ 6579 h 49925"/>
                <a:gd name="connsiteX19" fmla="*/ 100704 w 99714"/>
                <a:gd name="connsiteY19" fmla="*/ 1254 h 49925"/>
                <a:gd name="connsiteX20" fmla="*/ 79403 w 99714"/>
                <a:gd name="connsiteY20" fmla="*/ -211 h 49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9714" h="49925">
                  <a:moveTo>
                    <a:pt x="79563" y="-344"/>
                  </a:moveTo>
                  <a:cubicBezTo>
                    <a:pt x="51781" y="-482"/>
                    <a:pt x="24532" y="7274"/>
                    <a:pt x="989" y="22022"/>
                  </a:cubicBezTo>
                  <a:lnTo>
                    <a:pt x="1228" y="22821"/>
                  </a:lnTo>
                  <a:cubicBezTo>
                    <a:pt x="1628" y="24019"/>
                    <a:pt x="2001" y="25244"/>
                    <a:pt x="2373" y="26442"/>
                  </a:cubicBezTo>
                  <a:lnTo>
                    <a:pt x="2773" y="27694"/>
                  </a:lnTo>
                  <a:cubicBezTo>
                    <a:pt x="3252" y="29318"/>
                    <a:pt x="3731" y="30915"/>
                    <a:pt x="4184" y="32540"/>
                  </a:cubicBezTo>
                  <a:cubicBezTo>
                    <a:pt x="4317" y="33072"/>
                    <a:pt x="4450" y="33605"/>
                    <a:pt x="4610" y="34137"/>
                  </a:cubicBezTo>
                  <a:cubicBezTo>
                    <a:pt x="4903" y="35282"/>
                    <a:pt x="5222" y="36400"/>
                    <a:pt x="5515" y="37545"/>
                  </a:cubicBezTo>
                  <a:cubicBezTo>
                    <a:pt x="5675" y="38211"/>
                    <a:pt x="5861" y="38877"/>
                    <a:pt x="6021" y="39542"/>
                  </a:cubicBezTo>
                  <a:cubicBezTo>
                    <a:pt x="6181" y="40208"/>
                    <a:pt x="6527" y="41619"/>
                    <a:pt x="6767" y="42658"/>
                  </a:cubicBezTo>
                  <a:lnTo>
                    <a:pt x="7246" y="44708"/>
                  </a:lnTo>
                  <a:cubicBezTo>
                    <a:pt x="7592" y="46172"/>
                    <a:pt x="7912" y="47663"/>
                    <a:pt x="8231" y="49128"/>
                  </a:cubicBezTo>
                  <a:lnTo>
                    <a:pt x="8231" y="49580"/>
                  </a:lnTo>
                  <a:cubicBezTo>
                    <a:pt x="24862" y="40482"/>
                    <a:pt x="43101" y="34704"/>
                    <a:pt x="61936" y="32566"/>
                  </a:cubicBezTo>
                  <a:cubicBezTo>
                    <a:pt x="63078" y="31451"/>
                    <a:pt x="64415" y="30548"/>
                    <a:pt x="65877" y="29904"/>
                  </a:cubicBezTo>
                  <a:cubicBezTo>
                    <a:pt x="69748" y="28287"/>
                    <a:pt x="74016" y="27880"/>
                    <a:pt x="78125" y="28732"/>
                  </a:cubicBezTo>
                  <a:cubicBezTo>
                    <a:pt x="79227" y="28892"/>
                    <a:pt x="80313" y="29139"/>
                    <a:pt x="81373" y="29478"/>
                  </a:cubicBezTo>
                  <a:cubicBezTo>
                    <a:pt x="81719" y="27773"/>
                    <a:pt x="82012" y="26069"/>
                    <a:pt x="82278" y="24339"/>
                  </a:cubicBezTo>
                  <a:cubicBezTo>
                    <a:pt x="82278" y="24339"/>
                    <a:pt x="84355" y="11558"/>
                    <a:pt x="88509" y="6579"/>
                  </a:cubicBezTo>
                  <a:cubicBezTo>
                    <a:pt x="91555" y="3043"/>
                    <a:pt x="96042" y="1086"/>
                    <a:pt x="100704" y="1254"/>
                  </a:cubicBezTo>
                  <a:cubicBezTo>
                    <a:pt x="93645" y="277"/>
                    <a:pt x="86528" y="-213"/>
                    <a:pt x="79403" y="-211"/>
                  </a:cubicBezTo>
                </a:path>
              </a:pathLst>
            </a:custGeom>
            <a:solidFill>
              <a:srgbClr val="8FD942"/>
            </a:solidFill>
            <a:ln w="2661" cap="flat">
              <a:noFill/>
              <a:prstDash val="solid"/>
              <a:miter/>
            </a:ln>
          </p:spPr>
          <p:txBody>
            <a:bodyPr rtlCol="0" anchor="ctr"/>
            <a:lstStyle/>
            <a:p>
              <a:endParaRPr lang="pl-PL"/>
            </a:p>
          </p:txBody>
        </p:sp>
        <p:sp>
          <p:nvSpPr>
            <p:cNvPr id="95" name="Freeform: Shape 94">
              <a:extLst>
                <a:ext uri="{FF2B5EF4-FFF2-40B4-BE49-F238E27FC236}">
                  <a16:creationId xmlns:a16="http://schemas.microsoft.com/office/drawing/2014/main" id="{00CCB302-B1C6-4601-897D-C54292C4FDBB}"/>
                </a:ext>
              </a:extLst>
            </p:cNvPr>
            <p:cNvSpPr/>
            <p:nvPr/>
          </p:nvSpPr>
          <p:spPr>
            <a:xfrm>
              <a:off x="11478444" y="6717190"/>
              <a:ext cx="30172" cy="26310"/>
            </a:xfrm>
            <a:custGeom>
              <a:avLst/>
              <a:gdLst>
                <a:gd name="connsiteX0" fmla="*/ 989 w 53465"/>
                <a:gd name="connsiteY0" fmla="*/ 16669 h 46622"/>
                <a:gd name="connsiteX1" fmla="*/ 1415 w 53465"/>
                <a:gd name="connsiteY1" fmla="*/ 18878 h 46622"/>
                <a:gd name="connsiteX2" fmla="*/ 1921 w 53465"/>
                <a:gd name="connsiteY2" fmla="*/ 21541 h 46622"/>
                <a:gd name="connsiteX3" fmla="*/ 2426 w 53465"/>
                <a:gd name="connsiteY3" fmla="*/ 24337 h 46622"/>
                <a:gd name="connsiteX4" fmla="*/ 2719 w 53465"/>
                <a:gd name="connsiteY4" fmla="*/ 26014 h 46622"/>
                <a:gd name="connsiteX5" fmla="*/ 2719 w 53465"/>
                <a:gd name="connsiteY5" fmla="*/ 26361 h 46622"/>
                <a:gd name="connsiteX6" fmla="*/ 2719 w 53465"/>
                <a:gd name="connsiteY6" fmla="*/ 26573 h 46622"/>
                <a:gd name="connsiteX7" fmla="*/ 3199 w 53465"/>
                <a:gd name="connsiteY7" fmla="*/ 29449 h 46622"/>
                <a:gd name="connsiteX8" fmla="*/ 3651 w 53465"/>
                <a:gd name="connsiteY8" fmla="*/ 32484 h 46622"/>
                <a:gd name="connsiteX9" fmla="*/ 3891 w 53465"/>
                <a:gd name="connsiteY9" fmla="*/ 34268 h 46622"/>
                <a:gd name="connsiteX10" fmla="*/ 4370 w 53465"/>
                <a:gd name="connsiteY10" fmla="*/ 38103 h 46622"/>
                <a:gd name="connsiteX11" fmla="*/ 4743 w 53465"/>
                <a:gd name="connsiteY11" fmla="*/ 41165 h 46622"/>
                <a:gd name="connsiteX12" fmla="*/ 4743 w 53465"/>
                <a:gd name="connsiteY12" fmla="*/ 41324 h 46622"/>
                <a:gd name="connsiteX13" fmla="*/ 4743 w 53465"/>
                <a:gd name="connsiteY13" fmla="*/ 41324 h 46622"/>
                <a:gd name="connsiteX14" fmla="*/ 4743 w 53465"/>
                <a:gd name="connsiteY14" fmla="*/ 41324 h 46622"/>
                <a:gd name="connsiteX15" fmla="*/ 4743 w 53465"/>
                <a:gd name="connsiteY15" fmla="*/ 41671 h 46622"/>
                <a:gd name="connsiteX16" fmla="*/ 4743 w 53465"/>
                <a:gd name="connsiteY16" fmla="*/ 42443 h 46622"/>
                <a:gd name="connsiteX17" fmla="*/ 4743 w 53465"/>
                <a:gd name="connsiteY17" fmla="*/ 42949 h 46622"/>
                <a:gd name="connsiteX18" fmla="*/ 5063 w 53465"/>
                <a:gd name="connsiteY18" fmla="*/ 46277 h 46622"/>
                <a:gd name="connsiteX19" fmla="*/ 5063 w 53465"/>
                <a:gd name="connsiteY19" fmla="*/ 46037 h 46622"/>
                <a:gd name="connsiteX20" fmla="*/ 24313 w 53465"/>
                <a:gd name="connsiteY20" fmla="*/ 38049 h 46622"/>
                <a:gd name="connsiteX21" fmla="*/ 36668 w 53465"/>
                <a:gd name="connsiteY21" fmla="*/ 34481 h 46622"/>
                <a:gd name="connsiteX22" fmla="*/ 44416 w 53465"/>
                <a:gd name="connsiteY22" fmla="*/ 21168 h 46622"/>
                <a:gd name="connsiteX23" fmla="*/ 50460 w 53465"/>
                <a:gd name="connsiteY23" fmla="*/ 6737 h 46622"/>
                <a:gd name="connsiteX24" fmla="*/ 50833 w 53465"/>
                <a:gd name="connsiteY24" fmla="*/ 5592 h 46622"/>
                <a:gd name="connsiteX25" fmla="*/ 54454 w 53465"/>
                <a:gd name="connsiteY25" fmla="*/ -346 h 46622"/>
                <a:gd name="connsiteX26" fmla="*/ 989 w 53465"/>
                <a:gd name="connsiteY26" fmla="*/ 16669 h 4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3465" h="46622">
                  <a:moveTo>
                    <a:pt x="989" y="16669"/>
                  </a:moveTo>
                  <a:cubicBezTo>
                    <a:pt x="1148" y="17414"/>
                    <a:pt x="1282" y="18160"/>
                    <a:pt x="1415" y="18878"/>
                  </a:cubicBezTo>
                  <a:cubicBezTo>
                    <a:pt x="1548" y="19597"/>
                    <a:pt x="1761" y="20609"/>
                    <a:pt x="1921" y="21541"/>
                  </a:cubicBezTo>
                  <a:cubicBezTo>
                    <a:pt x="2080" y="22473"/>
                    <a:pt x="2267" y="23405"/>
                    <a:pt x="2426" y="24337"/>
                  </a:cubicBezTo>
                  <a:cubicBezTo>
                    <a:pt x="2586" y="25269"/>
                    <a:pt x="2613" y="25455"/>
                    <a:pt x="2719" y="26014"/>
                  </a:cubicBezTo>
                  <a:cubicBezTo>
                    <a:pt x="2719" y="26147"/>
                    <a:pt x="2719" y="26254"/>
                    <a:pt x="2719" y="26361"/>
                  </a:cubicBezTo>
                  <a:lnTo>
                    <a:pt x="2719" y="26573"/>
                  </a:lnTo>
                  <a:lnTo>
                    <a:pt x="3199" y="29449"/>
                  </a:lnTo>
                  <a:cubicBezTo>
                    <a:pt x="3358" y="30461"/>
                    <a:pt x="3492" y="31473"/>
                    <a:pt x="3651" y="32484"/>
                  </a:cubicBezTo>
                  <a:lnTo>
                    <a:pt x="3891" y="34268"/>
                  </a:lnTo>
                  <a:cubicBezTo>
                    <a:pt x="4077" y="35546"/>
                    <a:pt x="4211" y="36931"/>
                    <a:pt x="4370" y="38103"/>
                  </a:cubicBezTo>
                  <a:cubicBezTo>
                    <a:pt x="4530" y="39274"/>
                    <a:pt x="4610" y="40153"/>
                    <a:pt x="4743" y="41165"/>
                  </a:cubicBezTo>
                  <a:lnTo>
                    <a:pt x="4743" y="41324"/>
                  </a:lnTo>
                  <a:lnTo>
                    <a:pt x="4743" y="41324"/>
                  </a:lnTo>
                  <a:lnTo>
                    <a:pt x="4743" y="41324"/>
                  </a:lnTo>
                  <a:cubicBezTo>
                    <a:pt x="4743" y="41324"/>
                    <a:pt x="4743" y="41564"/>
                    <a:pt x="4743" y="41671"/>
                  </a:cubicBezTo>
                  <a:lnTo>
                    <a:pt x="4743" y="42443"/>
                  </a:lnTo>
                  <a:cubicBezTo>
                    <a:pt x="4756" y="42610"/>
                    <a:pt x="4756" y="42781"/>
                    <a:pt x="4743" y="42949"/>
                  </a:cubicBezTo>
                  <a:cubicBezTo>
                    <a:pt x="4743" y="44067"/>
                    <a:pt x="4983" y="45185"/>
                    <a:pt x="5063" y="46277"/>
                  </a:cubicBezTo>
                  <a:lnTo>
                    <a:pt x="5063" y="46037"/>
                  </a:lnTo>
                  <a:cubicBezTo>
                    <a:pt x="11274" y="42906"/>
                    <a:pt x="17710" y="40235"/>
                    <a:pt x="24313" y="38049"/>
                  </a:cubicBezTo>
                  <a:cubicBezTo>
                    <a:pt x="28360" y="36691"/>
                    <a:pt x="32487" y="35387"/>
                    <a:pt x="36668" y="34481"/>
                  </a:cubicBezTo>
                  <a:cubicBezTo>
                    <a:pt x="39546" y="30224"/>
                    <a:pt x="42134" y="25775"/>
                    <a:pt x="44416" y="21168"/>
                  </a:cubicBezTo>
                  <a:cubicBezTo>
                    <a:pt x="46735" y="16493"/>
                    <a:pt x="48756" y="11671"/>
                    <a:pt x="50460" y="6737"/>
                  </a:cubicBezTo>
                  <a:cubicBezTo>
                    <a:pt x="50460" y="6338"/>
                    <a:pt x="50700" y="5965"/>
                    <a:pt x="50833" y="5592"/>
                  </a:cubicBezTo>
                  <a:cubicBezTo>
                    <a:pt x="51589" y="3371"/>
                    <a:pt x="52825" y="1343"/>
                    <a:pt x="54454" y="-346"/>
                  </a:cubicBezTo>
                  <a:cubicBezTo>
                    <a:pt x="35701" y="1822"/>
                    <a:pt x="17545" y="7600"/>
                    <a:pt x="989" y="16669"/>
                  </a:cubicBezTo>
                </a:path>
              </a:pathLst>
            </a:custGeom>
            <a:solidFill>
              <a:srgbClr val="00A652"/>
            </a:solidFill>
            <a:ln w="2661" cap="flat">
              <a:noFill/>
              <a:prstDash val="solid"/>
              <a:miter/>
            </a:ln>
          </p:spPr>
          <p:txBody>
            <a:bodyPr rtlCol="0" anchor="ctr"/>
            <a:lstStyle/>
            <a:p>
              <a:endParaRPr lang="pl-PL"/>
            </a:p>
          </p:txBody>
        </p:sp>
        <p:sp>
          <p:nvSpPr>
            <p:cNvPr id="96" name="Freeform: Shape 95">
              <a:extLst>
                <a:ext uri="{FF2B5EF4-FFF2-40B4-BE49-F238E27FC236}">
                  <a16:creationId xmlns:a16="http://schemas.microsoft.com/office/drawing/2014/main" id="{0CF88E30-1399-448D-8FA3-FAE621DD0D7C}"/>
                </a:ext>
              </a:extLst>
            </p:cNvPr>
            <p:cNvSpPr/>
            <p:nvPr/>
          </p:nvSpPr>
          <p:spPr>
            <a:xfrm>
              <a:off x="11480833" y="6736694"/>
              <a:ext cx="17385" cy="17249"/>
            </a:xfrm>
            <a:custGeom>
              <a:avLst/>
              <a:gdLst>
                <a:gd name="connsiteX0" fmla="*/ 20239 w 30806"/>
                <a:gd name="connsiteY0" fmla="*/ 3409 h 30566"/>
                <a:gd name="connsiteX1" fmla="*/ 989 w 30806"/>
                <a:gd name="connsiteY1" fmla="*/ 11397 h 30566"/>
                <a:gd name="connsiteX2" fmla="*/ 989 w 30806"/>
                <a:gd name="connsiteY2" fmla="*/ 11636 h 30566"/>
                <a:gd name="connsiteX3" fmla="*/ 989 w 30806"/>
                <a:gd name="connsiteY3" fmla="*/ 13154 h 30566"/>
                <a:gd name="connsiteX4" fmla="*/ 989 w 30806"/>
                <a:gd name="connsiteY4" fmla="*/ 13314 h 30566"/>
                <a:gd name="connsiteX5" fmla="*/ 1122 w 30806"/>
                <a:gd name="connsiteY5" fmla="*/ 15550 h 30566"/>
                <a:gd name="connsiteX6" fmla="*/ 1122 w 30806"/>
                <a:gd name="connsiteY6" fmla="*/ 16029 h 30566"/>
                <a:gd name="connsiteX7" fmla="*/ 1122 w 30806"/>
                <a:gd name="connsiteY7" fmla="*/ 16029 h 30566"/>
                <a:gd name="connsiteX8" fmla="*/ 1122 w 30806"/>
                <a:gd name="connsiteY8" fmla="*/ 16269 h 30566"/>
                <a:gd name="connsiteX9" fmla="*/ 1122 w 30806"/>
                <a:gd name="connsiteY9" fmla="*/ 18186 h 30566"/>
                <a:gd name="connsiteX10" fmla="*/ 1122 w 30806"/>
                <a:gd name="connsiteY10" fmla="*/ 19731 h 30566"/>
                <a:gd name="connsiteX11" fmla="*/ 1122 w 30806"/>
                <a:gd name="connsiteY11" fmla="*/ 19917 h 30566"/>
                <a:gd name="connsiteX12" fmla="*/ 1122 w 30806"/>
                <a:gd name="connsiteY12" fmla="*/ 21674 h 30566"/>
                <a:gd name="connsiteX13" fmla="*/ 1122 w 30806"/>
                <a:gd name="connsiteY13" fmla="*/ 23219 h 30566"/>
                <a:gd name="connsiteX14" fmla="*/ 1122 w 30806"/>
                <a:gd name="connsiteY14" fmla="*/ 23538 h 30566"/>
                <a:gd name="connsiteX15" fmla="*/ 1122 w 30806"/>
                <a:gd name="connsiteY15" fmla="*/ 23538 h 30566"/>
                <a:gd name="connsiteX16" fmla="*/ 1122 w 30806"/>
                <a:gd name="connsiteY16" fmla="*/ 24710 h 30566"/>
                <a:gd name="connsiteX17" fmla="*/ 1122 w 30806"/>
                <a:gd name="connsiteY17" fmla="*/ 26174 h 30566"/>
                <a:gd name="connsiteX18" fmla="*/ 1122 w 30806"/>
                <a:gd name="connsiteY18" fmla="*/ 26174 h 30566"/>
                <a:gd name="connsiteX19" fmla="*/ 1122 w 30806"/>
                <a:gd name="connsiteY19" fmla="*/ 26307 h 30566"/>
                <a:gd name="connsiteX20" fmla="*/ 1122 w 30806"/>
                <a:gd name="connsiteY20" fmla="*/ 27266 h 30566"/>
                <a:gd name="connsiteX21" fmla="*/ 1122 w 30806"/>
                <a:gd name="connsiteY21" fmla="*/ 29023 h 30566"/>
                <a:gd name="connsiteX22" fmla="*/ 1122 w 30806"/>
                <a:gd name="connsiteY22" fmla="*/ 30221 h 30566"/>
                <a:gd name="connsiteX23" fmla="*/ 1122 w 30806"/>
                <a:gd name="connsiteY23" fmla="*/ 30221 h 30566"/>
                <a:gd name="connsiteX24" fmla="*/ 2852 w 30806"/>
                <a:gd name="connsiteY24" fmla="*/ 29050 h 30566"/>
                <a:gd name="connsiteX25" fmla="*/ 12172 w 30806"/>
                <a:gd name="connsiteY25" fmla="*/ 22020 h 30566"/>
                <a:gd name="connsiteX26" fmla="*/ 27988 w 30806"/>
                <a:gd name="connsiteY26" fmla="*/ 5060 h 30566"/>
                <a:gd name="connsiteX27" fmla="*/ 29345 w 30806"/>
                <a:gd name="connsiteY27" fmla="*/ 3222 h 30566"/>
                <a:gd name="connsiteX28" fmla="*/ 31795 w 30806"/>
                <a:gd name="connsiteY28" fmla="*/ -346 h 30566"/>
                <a:gd name="connsiteX29" fmla="*/ 19441 w 30806"/>
                <a:gd name="connsiteY29" fmla="*/ 3222 h 30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0806" h="30566">
                  <a:moveTo>
                    <a:pt x="20239" y="3409"/>
                  </a:moveTo>
                  <a:cubicBezTo>
                    <a:pt x="13636" y="5600"/>
                    <a:pt x="7203" y="8268"/>
                    <a:pt x="989" y="11397"/>
                  </a:cubicBezTo>
                  <a:lnTo>
                    <a:pt x="989" y="11636"/>
                  </a:lnTo>
                  <a:cubicBezTo>
                    <a:pt x="989" y="12142"/>
                    <a:pt x="989" y="12648"/>
                    <a:pt x="989" y="13154"/>
                  </a:cubicBezTo>
                  <a:lnTo>
                    <a:pt x="989" y="13314"/>
                  </a:lnTo>
                  <a:cubicBezTo>
                    <a:pt x="989" y="14059"/>
                    <a:pt x="989" y="14805"/>
                    <a:pt x="1122" y="15550"/>
                  </a:cubicBezTo>
                  <a:lnTo>
                    <a:pt x="1122" y="16029"/>
                  </a:lnTo>
                  <a:lnTo>
                    <a:pt x="1122" y="16029"/>
                  </a:lnTo>
                  <a:lnTo>
                    <a:pt x="1122" y="16269"/>
                  </a:lnTo>
                  <a:cubicBezTo>
                    <a:pt x="1122" y="16908"/>
                    <a:pt x="1122" y="17547"/>
                    <a:pt x="1122" y="18186"/>
                  </a:cubicBezTo>
                  <a:cubicBezTo>
                    <a:pt x="1122" y="18825"/>
                    <a:pt x="1122" y="19225"/>
                    <a:pt x="1122" y="19731"/>
                  </a:cubicBezTo>
                  <a:lnTo>
                    <a:pt x="1122" y="19917"/>
                  </a:lnTo>
                  <a:lnTo>
                    <a:pt x="1122" y="21674"/>
                  </a:lnTo>
                  <a:cubicBezTo>
                    <a:pt x="1122" y="22207"/>
                    <a:pt x="1122" y="22713"/>
                    <a:pt x="1122" y="23219"/>
                  </a:cubicBezTo>
                  <a:cubicBezTo>
                    <a:pt x="1135" y="23325"/>
                    <a:pt x="1135" y="23432"/>
                    <a:pt x="1122" y="23538"/>
                  </a:cubicBezTo>
                  <a:lnTo>
                    <a:pt x="1122" y="23538"/>
                  </a:lnTo>
                  <a:cubicBezTo>
                    <a:pt x="1122" y="23937"/>
                    <a:pt x="1122" y="24310"/>
                    <a:pt x="1122" y="24710"/>
                  </a:cubicBezTo>
                  <a:cubicBezTo>
                    <a:pt x="1122" y="25109"/>
                    <a:pt x="1122" y="25695"/>
                    <a:pt x="1122" y="26174"/>
                  </a:cubicBezTo>
                  <a:lnTo>
                    <a:pt x="1122" y="26174"/>
                  </a:lnTo>
                  <a:lnTo>
                    <a:pt x="1122" y="26307"/>
                  </a:lnTo>
                  <a:cubicBezTo>
                    <a:pt x="1122" y="26627"/>
                    <a:pt x="1122" y="26946"/>
                    <a:pt x="1122" y="27266"/>
                  </a:cubicBezTo>
                  <a:cubicBezTo>
                    <a:pt x="1122" y="27585"/>
                    <a:pt x="1122" y="28437"/>
                    <a:pt x="1122" y="29023"/>
                  </a:cubicBezTo>
                  <a:cubicBezTo>
                    <a:pt x="1122" y="29609"/>
                    <a:pt x="1122" y="29822"/>
                    <a:pt x="1122" y="30221"/>
                  </a:cubicBezTo>
                  <a:lnTo>
                    <a:pt x="1122" y="30221"/>
                  </a:lnTo>
                  <a:lnTo>
                    <a:pt x="2852" y="29050"/>
                  </a:lnTo>
                  <a:cubicBezTo>
                    <a:pt x="6090" y="26888"/>
                    <a:pt x="9203" y="24539"/>
                    <a:pt x="12172" y="22020"/>
                  </a:cubicBezTo>
                  <a:cubicBezTo>
                    <a:pt x="18035" y="16948"/>
                    <a:pt x="23336" y="11263"/>
                    <a:pt x="27988" y="5060"/>
                  </a:cubicBezTo>
                  <a:lnTo>
                    <a:pt x="29345" y="3222"/>
                  </a:lnTo>
                  <a:cubicBezTo>
                    <a:pt x="30198" y="2024"/>
                    <a:pt x="31023" y="853"/>
                    <a:pt x="31795" y="-346"/>
                  </a:cubicBezTo>
                  <a:cubicBezTo>
                    <a:pt x="27615" y="666"/>
                    <a:pt x="23488" y="1864"/>
                    <a:pt x="19441" y="3222"/>
                  </a:cubicBezTo>
                </a:path>
              </a:pathLst>
            </a:custGeom>
            <a:solidFill>
              <a:srgbClr val="8FD942"/>
            </a:solidFill>
            <a:ln w="2661" cap="flat">
              <a:noFill/>
              <a:prstDash val="solid"/>
              <a:miter/>
            </a:ln>
          </p:spPr>
          <p:txBody>
            <a:bodyPr rtlCol="0" anchor="ctr"/>
            <a:lstStyle/>
            <a:p>
              <a:endParaRPr lang="pl-PL"/>
            </a:p>
          </p:txBody>
        </p:sp>
        <p:sp>
          <p:nvSpPr>
            <p:cNvPr id="97" name="Freeform: Shape 96">
              <a:extLst>
                <a:ext uri="{FF2B5EF4-FFF2-40B4-BE49-F238E27FC236}">
                  <a16:creationId xmlns:a16="http://schemas.microsoft.com/office/drawing/2014/main" id="{403D1DC7-1311-4544-A6F2-02D883352936}"/>
                </a:ext>
              </a:extLst>
            </p:cNvPr>
            <p:cNvSpPr/>
            <p:nvPr/>
          </p:nvSpPr>
          <p:spPr>
            <a:xfrm>
              <a:off x="11402788" y="6644225"/>
              <a:ext cx="49180" cy="59563"/>
            </a:xfrm>
            <a:custGeom>
              <a:avLst/>
              <a:gdLst>
                <a:gd name="connsiteX0" fmla="*/ 64918 w 87147"/>
                <a:gd name="connsiteY0" fmla="*/ 17494 h 105546"/>
                <a:gd name="connsiteX1" fmla="*/ 44735 w 87147"/>
                <a:gd name="connsiteY1" fmla="*/ -346 h 105546"/>
                <a:gd name="connsiteX2" fmla="*/ 14302 w 87147"/>
                <a:gd name="connsiteY2" fmla="*/ 29263 h 105546"/>
                <a:gd name="connsiteX3" fmla="*/ 989 w 87147"/>
                <a:gd name="connsiteY3" fmla="*/ 50111 h 105546"/>
                <a:gd name="connsiteX4" fmla="*/ 2160 w 87147"/>
                <a:gd name="connsiteY4" fmla="*/ 51602 h 105546"/>
                <a:gd name="connsiteX5" fmla="*/ 36774 w 87147"/>
                <a:gd name="connsiteY5" fmla="*/ 105200 h 105546"/>
                <a:gd name="connsiteX6" fmla="*/ 80015 w 87147"/>
                <a:gd name="connsiteY6" fmla="*/ 49286 h 105546"/>
                <a:gd name="connsiteX7" fmla="*/ 80894 w 87147"/>
                <a:gd name="connsiteY7" fmla="*/ 48647 h 105546"/>
                <a:gd name="connsiteX8" fmla="*/ 88136 w 87147"/>
                <a:gd name="connsiteY8" fmla="*/ 43641 h 105546"/>
                <a:gd name="connsiteX9" fmla="*/ 64891 w 87147"/>
                <a:gd name="connsiteY9" fmla="*/ 17441 h 105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147" h="105546">
                  <a:moveTo>
                    <a:pt x="64918" y="17494"/>
                  </a:moveTo>
                  <a:cubicBezTo>
                    <a:pt x="58514" y="11192"/>
                    <a:pt x="51778" y="5235"/>
                    <a:pt x="44735" y="-346"/>
                  </a:cubicBezTo>
                  <a:cubicBezTo>
                    <a:pt x="33206" y="7994"/>
                    <a:pt x="22955" y="17968"/>
                    <a:pt x="14302" y="29263"/>
                  </a:cubicBezTo>
                  <a:cubicBezTo>
                    <a:pt x="9269" y="35815"/>
                    <a:pt x="4815" y="42791"/>
                    <a:pt x="989" y="50111"/>
                  </a:cubicBezTo>
                  <a:cubicBezTo>
                    <a:pt x="1388" y="50590"/>
                    <a:pt x="1761" y="51096"/>
                    <a:pt x="2160" y="51602"/>
                  </a:cubicBezTo>
                  <a:cubicBezTo>
                    <a:pt x="15061" y="68552"/>
                    <a:pt x="26632" y="86472"/>
                    <a:pt x="36774" y="105200"/>
                  </a:cubicBezTo>
                  <a:cubicBezTo>
                    <a:pt x="45936" y="83034"/>
                    <a:pt x="60868" y="63728"/>
                    <a:pt x="80015" y="49286"/>
                  </a:cubicBezTo>
                  <a:lnTo>
                    <a:pt x="80894" y="48647"/>
                  </a:lnTo>
                  <a:cubicBezTo>
                    <a:pt x="83263" y="46916"/>
                    <a:pt x="85660" y="45238"/>
                    <a:pt x="88136" y="43641"/>
                  </a:cubicBezTo>
                  <a:cubicBezTo>
                    <a:pt x="81003" y="34380"/>
                    <a:pt x="73236" y="25626"/>
                    <a:pt x="64891" y="17441"/>
                  </a:cubicBezTo>
                </a:path>
              </a:pathLst>
            </a:custGeom>
            <a:solidFill>
              <a:srgbClr val="FAC200"/>
            </a:solidFill>
            <a:ln w="2661" cap="flat">
              <a:noFill/>
              <a:prstDash val="solid"/>
              <a:miter/>
            </a:ln>
          </p:spPr>
          <p:txBody>
            <a:bodyPr rtlCol="0" anchor="ctr"/>
            <a:lstStyle/>
            <a:p>
              <a:endParaRPr lang="pl-PL"/>
            </a:p>
          </p:txBody>
        </p:sp>
        <p:sp>
          <p:nvSpPr>
            <p:cNvPr id="98" name="Freeform: Shape 97">
              <a:extLst>
                <a:ext uri="{FF2B5EF4-FFF2-40B4-BE49-F238E27FC236}">
                  <a16:creationId xmlns:a16="http://schemas.microsoft.com/office/drawing/2014/main" id="{7D8D2C45-7D36-49AD-9DAF-1674BC695C59}"/>
                </a:ext>
              </a:extLst>
            </p:cNvPr>
            <p:cNvSpPr/>
            <p:nvPr/>
          </p:nvSpPr>
          <p:spPr>
            <a:xfrm>
              <a:off x="11393217" y="6700272"/>
              <a:ext cx="51283" cy="56601"/>
            </a:xfrm>
            <a:custGeom>
              <a:avLst/>
              <a:gdLst>
                <a:gd name="connsiteX0" fmla="*/ 90133 w 90874"/>
                <a:gd name="connsiteY0" fmla="*/ 93882 h 100298"/>
                <a:gd name="connsiteX1" fmla="*/ 81613 w 90874"/>
                <a:gd name="connsiteY1" fmla="*/ 68055 h 100298"/>
                <a:gd name="connsiteX2" fmla="*/ 53762 w 90874"/>
                <a:gd name="connsiteY2" fmla="*/ 5909 h 100298"/>
                <a:gd name="connsiteX3" fmla="*/ 53762 w 90874"/>
                <a:gd name="connsiteY3" fmla="*/ 5909 h 100298"/>
                <a:gd name="connsiteX4" fmla="*/ 34165 w 90874"/>
                <a:gd name="connsiteY4" fmla="*/ 1276 h 100298"/>
                <a:gd name="connsiteX5" fmla="*/ 2213 w 90874"/>
                <a:gd name="connsiteY5" fmla="*/ 132 h 100298"/>
                <a:gd name="connsiteX6" fmla="*/ 989 w 90874"/>
                <a:gd name="connsiteY6" fmla="*/ 19089 h 100298"/>
                <a:gd name="connsiteX7" fmla="*/ 9376 w 90874"/>
                <a:gd name="connsiteY7" fmla="*/ 68081 h 100298"/>
                <a:gd name="connsiteX8" fmla="*/ 14888 w 90874"/>
                <a:gd name="connsiteY8" fmla="*/ 81395 h 100298"/>
                <a:gd name="connsiteX9" fmla="*/ 27854 w 90874"/>
                <a:gd name="connsiteY9" fmla="*/ 81182 h 100298"/>
                <a:gd name="connsiteX10" fmla="*/ 80388 w 90874"/>
                <a:gd name="connsiteY10" fmla="*/ 93829 h 100298"/>
                <a:gd name="connsiteX11" fmla="*/ 91864 w 90874"/>
                <a:gd name="connsiteY11" fmla="*/ 99953 h 100298"/>
                <a:gd name="connsiteX12" fmla="*/ 90080 w 90874"/>
                <a:gd name="connsiteY12" fmla="*/ 93829 h 10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874" h="100298">
                  <a:moveTo>
                    <a:pt x="90133" y="93882"/>
                  </a:moveTo>
                  <a:cubicBezTo>
                    <a:pt x="87470" y="85008"/>
                    <a:pt x="84629" y="76397"/>
                    <a:pt x="81613" y="68055"/>
                  </a:cubicBezTo>
                  <a:cubicBezTo>
                    <a:pt x="73918" y="46663"/>
                    <a:pt x="64607" y="25890"/>
                    <a:pt x="53762" y="5909"/>
                  </a:cubicBezTo>
                  <a:lnTo>
                    <a:pt x="53762" y="5909"/>
                  </a:lnTo>
                  <a:cubicBezTo>
                    <a:pt x="47353" y="3883"/>
                    <a:pt x="40803" y="2336"/>
                    <a:pt x="34165" y="1276"/>
                  </a:cubicBezTo>
                  <a:cubicBezTo>
                    <a:pt x="23600" y="-390"/>
                    <a:pt x="12872" y="-774"/>
                    <a:pt x="2213" y="132"/>
                  </a:cubicBezTo>
                  <a:cubicBezTo>
                    <a:pt x="1401" y="6418"/>
                    <a:pt x="991" y="12750"/>
                    <a:pt x="989" y="19089"/>
                  </a:cubicBezTo>
                  <a:cubicBezTo>
                    <a:pt x="973" y="35779"/>
                    <a:pt x="3808" y="52348"/>
                    <a:pt x="9376" y="68081"/>
                  </a:cubicBezTo>
                  <a:cubicBezTo>
                    <a:pt x="10992" y="72627"/>
                    <a:pt x="12829" y="77063"/>
                    <a:pt x="14888" y="81395"/>
                  </a:cubicBezTo>
                  <a:cubicBezTo>
                    <a:pt x="19174" y="81128"/>
                    <a:pt x="23488" y="81048"/>
                    <a:pt x="27854" y="81182"/>
                  </a:cubicBezTo>
                  <a:cubicBezTo>
                    <a:pt x="46046" y="81775"/>
                    <a:pt x="63920" y="86078"/>
                    <a:pt x="80388" y="93829"/>
                  </a:cubicBezTo>
                  <a:cubicBezTo>
                    <a:pt x="84329" y="95605"/>
                    <a:pt x="88155" y="97645"/>
                    <a:pt x="91864" y="99953"/>
                  </a:cubicBezTo>
                  <a:cubicBezTo>
                    <a:pt x="91278" y="97903"/>
                    <a:pt x="90692" y="95853"/>
                    <a:pt x="90080" y="93829"/>
                  </a:cubicBezTo>
                </a:path>
              </a:pathLst>
            </a:custGeom>
            <a:solidFill>
              <a:srgbClr val="FAC200"/>
            </a:solidFill>
            <a:ln w="2661" cap="flat">
              <a:noFill/>
              <a:prstDash val="solid"/>
              <a:miter/>
            </a:ln>
          </p:spPr>
          <p:txBody>
            <a:bodyPr rtlCol="0" anchor="ctr"/>
            <a:lstStyle/>
            <a:p>
              <a:endParaRPr lang="pl-PL"/>
            </a:p>
          </p:txBody>
        </p:sp>
        <p:sp>
          <p:nvSpPr>
            <p:cNvPr id="99" name="Freeform: Shape 98">
              <a:extLst>
                <a:ext uri="{FF2B5EF4-FFF2-40B4-BE49-F238E27FC236}">
                  <a16:creationId xmlns:a16="http://schemas.microsoft.com/office/drawing/2014/main" id="{9C381F2E-704B-444C-83A3-467E4134CA61}"/>
                </a:ext>
              </a:extLst>
            </p:cNvPr>
            <p:cNvSpPr/>
            <p:nvPr/>
          </p:nvSpPr>
          <p:spPr>
            <a:xfrm>
              <a:off x="11444530" y="6711466"/>
              <a:ext cx="36834" cy="78871"/>
            </a:xfrm>
            <a:custGeom>
              <a:avLst/>
              <a:gdLst>
                <a:gd name="connsiteX0" fmla="*/ 64785 w 65270"/>
                <a:gd name="connsiteY0" fmla="*/ 76205 h 139760"/>
                <a:gd name="connsiteX1" fmla="*/ 66249 w 65270"/>
                <a:gd name="connsiteY1" fmla="*/ 75246 h 139760"/>
                <a:gd name="connsiteX2" fmla="*/ 66249 w 65270"/>
                <a:gd name="connsiteY2" fmla="*/ 74048 h 139760"/>
                <a:gd name="connsiteX3" fmla="*/ 66249 w 65270"/>
                <a:gd name="connsiteY3" fmla="*/ 72291 h 139760"/>
                <a:gd name="connsiteX4" fmla="*/ 66249 w 65270"/>
                <a:gd name="connsiteY4" fmla="*/ 71332 h 139760"/>
                <a:gd name="connsiteX5" fmla="*/ 66249 w 65270"/>
                <a:gd name="connsiteY5" fmla="*/ 71199 h 139760"/>
                <a:gd name="connsiteX6" fmla="*/ 66249 w 65270"/>
                <a:gd name="connsiteY6" fmla="*/ 71199 h 139760"/>
                <a:gd name="connsiteX7" fmla="*/ 66249 w 65270"/>
                <a:gd name="connsiteY7" fmla="*/ 69734 h 139760"/>
                <a:gd name="connsiteX8" fmla="*/ 66249 w 65270"/>
                <a:gd name="connsiteY8" fmla="*/ 68563 h 139760"/>
                <a:gd name="connsiteX9" fmla="*/ 66249 w 65270"/>
                <a:gd name="connsiteY9" fmla="*/ 68563 h 139760"/>
                <a:gd name="connsiteX10" fmla="*/ 66249 w 65270"/>
                <a:gd name="connsiteY10" fmla="*/ 68243 h 139760"/>
                <a:gd name="connsiteX11" fmla="*/ 66249 w 65270"/>
                <a:gd name="connsiteY11" fmla="*/ 66699 h 139760"/>
                <a:gd name="connsiteX12" fmla="*/ 66249 w 65270"/>
                <a:gd name="connsiteY12" fmla="*/ 64942 h 139760"/>
                <a:gd name="connsiteX13" fmla="*/ 66249 w 65270"/>
                <a:gd name="connsiteY13" fmla="*/ 64755 h 139760"/>
                <a:gd name="connsiteX14" fmla="*/ 66249 w 65270"/>
                <a:gd name="connsiteY14" fmla="*/ 63211 h 139760"/>
                <a:gd name="connsiteX15" fmla="*/ 66249 w 65270"/>
                <a:gd name="connsiteY15" fmla="*/ 61294 h 139760"/>
                <a:gd name="connsiteX16" fmla="*/ 66249 w 65270"/>
                <a:gd name="connsiteY16" fmla="*/ 61054 h 139760"/>
                <a:gd name="connsiteX17" fmla="*/ 66249 w 65270"/>
                <a:gd name="connsiteY17" fmla="*/ 61054 h 139760"/>
                <a:gd name="connsiteX18" fmla="*/ 66249 w 65270"/>
                <a:gd name="connsiteY18" fmla="*/ 60575 h 139760"/>
                <a:gd name="connsiteX19" fmla="*/ 66116 w 65270"/>
                <a:gd name="connsiteY19" fmla="*/ 58338 h 139760"/>
                <a:gd name="connsiteX20" fmla="*/ 66116 w 65270"/>
                <a:gd name="connsiteY20" fmla="*/ 58179 h 139760"/>
                <a:gd name="connsiteX21" fmla="*/ 66116 w 65270"/>
                <a:gd name="connsiteY21" fmla="*/ 56661 h 139760"/>
                <a:gd name="connsiteX22" fmla="*/ 65797 w 65270"/>
                <a:gd name="connsiteY22" fmla="*/ 53333 h 139760"/>
                <a:gd name="connsiteX23" fmla="*/ 65797 w 65270"/>
                <a:gd name="connsiteY23" fmla="*/ 52827 h 139760"/>
                <a:gd name="connsiteX24" fmla="*/ 65797 w 65270"/>
                <a:gd name="connsiteY24" fmla="*/ 51868 h 139760"/>
                <a:gd name="connsiteX25" fmla="*/ 65797 w 65270"/>
                <a:gd name="connsiteY25" fmla="*/ 51442 h 139760"/>
                <a:gd name="connsiteX26" fmla="*/ 65424 w 65270"/>
                <a:gd name="connsiteY26" fmla="*/ 48380 h 139760"/>
                <a:gd name="connsiteX27" fmla="*/ 64971 w 65270"/>
                <a:gd name="connsiteY27" fmla="*/ 44546 h 139760"/>
                <a:gd name="connsiteX28" fmla="*/ 64705 w 65270"/>
                <a:gd name="connsiteY28" fmla="*/ 42762 h 139760"/>
                <a:gd name="connsiteX29" fmla="*/ 64705 w 65270"/>
                <a:gd name="connsiteY29" fmla="*/ 41830 h 139760"/>
                <a:gd name="connsiteX30" fmla="*/ 64386 w 65270"/>
                <a:gd name="connsiteY30" fmla="*/ 39753 h 139760"/>
                <a:gd name="connsiteX31" fmla="*/ 64386 w 65270"/>
                <a:gd name="connsiteY31" fmla="*/ 39753 h 139760"/>
                <a:gd name="connsiteX32" fmla="*/ 63906 w 65270"/>
                <a:gd name="connsiteY32" fmla="*/ 36878 h 139760"/>
                <a:gd name="connsiteX33" fmla="*/ 63906 w 65270"/>
                <a:gd name="connsiteY33" fmla="*/ 36665 h 139760"/>
                <a:gd name="connsiteX34" fmla="*/ 63640 w 65270"/>
                <a:gd name="connsiteY34" fmla="*/ 35094 h 139760"/>
                <a:gd name="connsiteX35" fmla="*/ 63640 w 65270"/>
                <a:gd name="connsiteY35" fmla="*/ 34641 h 139760"/>
                <a:gd name="connsiteX36" fmla="*/ 63640 w 65270"/>
                <a:gd name="connsiteY36" fmla="*/ 33816 h 139760"/>
                <a:gd name="connsiteX37" fmla="*/ 63294 w 65270"/>
                <a:gd name="connsiteY37" fmla="*/ 31979 h 139760"/>
                <a:gd name="connsiteX38" fmla="*/ 63294 w 65270"/>
                <a:gd name="connsiteY38" fmla="*/ 31845 h 139760"/>
                <a:gd name="connsiteX39" fmla="*/ 62815 w 65270"/>
                <a:gd name="connsiteY39" fmla="*/ 29183 h 139760"/>
                <a:gd name="connsiteX40" fmla="*/ 62362 w 65270"/>
                <a:gd name="connsiteY40" fmla="*/ 26973 h 139760"/>
                <a:gd name="connsiteX41" fmla="*/ 62362 w 65270"/>
                <a:gd name="connsiteY41" fmla="*/ 26520 h 139760"/>
                <a:gd name="connsiteX42" fmla="*/ 61377 w 65270"/>
                <a:gd name="connsiteY42" fmla="*/ 22100 h 139760"/>
                <a:gd name="connsiteX43" fmla="*/ 61377 w 65270"/>
                <a:gd name="connsiteY43" fmla="*/ 22100 h 139760"/>
                <a:gd name="connsiteX44" fmla="*/ 60951 w 65270"/>
                <a:gd name="connsiteY44" fmla="*/ 20316 h 139760"/>
                <a:gd name="connsiteX45" fmla="*/ 60951 w 65270"/>
                <a:gd name="connsiteY45" fmla="*/ 20130 h 139760"/>
                <a:gd name="connsiteX46" fmla="*/ 60205 w 65270"/>
                <a:gd name="connsiteY46" fmla="*/ 17015 h 139760"/>
                <a:gd name="connsiteX47" fmla="*/ 60205 w 65270"/>
                <a:gd name="connsiteY47" fmla="*/ 17015 h 139760"/>
                <a:gd name="connsiteX48" fmla="*/ 59753 w 65270"/>
                <a:gd name="connsiteY48" fmla="*/ 15177 h 139760"/>
                <a:gd name="connsiteX49" fmla="*/ 59753 w 65270"/>
                <a:gd name="connsiteY49" fmla="*/ 15177 h 139760"/>
                <a:gd name="connsiteX50" fmla="*/ 58847 w 65270"/>
                <a:gd name="connsiteY50" fmla="*/ 11769 h 139760"/>
                <a:gd name="connsiteX51" fmla="*/ 58421 w 65270"/>
                <a:gd name="connsiteY51" fmla="*/ 10172 h 139760"/>
                <a:gd name="connsiteX52" fmla="*/ 57010 w 65270"/>
                <a:gd name="connsiteY52" fmla="*/ 5326 h 139760"/>
                <a:gd name="connsiteX53" fmla="*/ 57010 w 65270"/>
                <a:gd name="connsiteY53" fmla="*/ 5166 h 139760"/>
                <a:gd name="connsiteX54" fmla="*/ 56691 w 65270"/>
                <a:gd name="connsiteY54" fmla="*/ 4208 h 139760"/>
                <a:gd name="connsiteX55" fmla="*/ 56691 w 65270"/>
                <a:gd name="connsiteY55" fmla="*/ 4074 h 139760"/>
                <a:gd name="connsiteX56" fmla="*/ 55546 w 65270"/>
                <a:gd name="connsiteY56" fmla="*/ 453 h 139760"/>
                <a:gd name="connsiteX57" fmla="*/ 55306 w 65270"/>
                <a:gd name="connsiteY57" fmla="*/ -346 h 139760"/>
                <a:gd name="connsiteX58" fmla="*/ 55306 w 65270"/>
                <a:gd name="connsiteY58" fmla="*/ -346 h 139760"/>
                <a:gd name="connsiteX59" fmla="*/ 32141 w 65270"/>
                <a:gd name="connsiteY59" fmla="*/ 19597 h 139760"/>
                <a:gd name="connsiteX60" fmla="*/ 11293 w 65270"/>
                <a:gd name="connsiteY60" fmla="*/ 48114 h 139760"/>
                <a:gd name="connsiteX61" fmla="*/ 2320 w 65270"/>
                <a:gd name="connsiteY61" fmla="*/ 73941 h 139760"/>
                <a:gd name="connsiteX62" fmla="*/ 989 w 65270"/>
                <a:gd name="connsiteY62" fmla="*/ 80065 h 139760"/>
                <a:gd name="connsiteX63" fmla="*/ 5355 w 65270"/>
                <a:gd name="connsiteY63" fmla="*/ 96467 h 139760"/>
                <a:gd name="connsiteX64" fmla="*/ 6447 w 65270"/>
                <a:gd name="connsiteY64" fmla="*/ 100940 h 139760"/>
                <a:gd name="connsiteX65" fmla="*/ 14142 w 65270"/>
                <a:gd name="connsiteY65" fmla="*/ 139415 h 139760"/>
                <a:gd name="connsiteX66" fmla="*/ 35443 w 65270"/>
                <a:gd name="connsiteY66" fmla="*/ 100940 h 139760"/>
                <a:gd name="connsiteX67" fmla="*/ 64732 w 65270"/>
                <a:gd name="connsiteY67" fmla="*/ 76098 h 13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5270" h="139760">
                  <a:moveTo>
                    <a:pt x="64785" y="76205"/>
                  </a:moveTo>
                  <a:lnTo>
                    <a:pt x="66249" y="75246"/>
                  </a:lnTo>
                  <a:cubicBezTo>
                    <a:pt x="66249" y="74847"/>
                    <a:pt x="66249" y="74447"/>
                    <a:pt x="66249" y="74048"/>
                  </a:cubicBezTo>
                  <a:cubicBezTo>
                    <a:pt x="66249" y="73648"/>
                    <a:pt x="66249" y="72876"/>
                    <a:pt x="66249" y="72291"/>
                  </a:cubicBezTo>
                  <a:cubicBezTo>
                    <a:pt x="66249" y="71705"/>
                    <a:pt x="66249" y="71652"/>
                    <a:pt x="66249" y="71332"/>
                  </a:cubicBezTo>
                  <a:lnTo>
                    <a:pt x="66249" y="71199"/>
                  </a:lnTo>
                  <a:lnTo>
                    <a:pt x="66249" y="71199"/>
                  </a:lnTo>
                  <a:cubicBezTo>
                    <a:pt x="66249" y="70720"/>
                    <a:pt x="66249" y="70214"/>
                    <a:pt x="66249" y="69734"/>
                  </a:cubicBezTo>
                  <a:cubicBezTo>
                    <a:pt x="66249" y="69255"/>
                    <a:pt x="66249" y="68962"/>
                    <a:pt x="66249" y="68563"/>
                  </a:cubicBezTo>
                  <a:lnTo>
                    <a:pt x="66249" y="68563"/>
                  </a:lnTo>
                  <a:cubicBezTo>
                    <a:pt x="66263" y="68456"/>
                    <a:pt x="66263" y="68350"/>
                    <a:pt x="66249" y="68243"/>
                  </a:cubicBezTo>
                  <a:cubicBezTo>
                    <a:pt x="66249" y="67737"/>
                    <a:pt x="66249" y="67232"/>
                    <a:pt x="66249" y="66699"/>
                  </a:cubicBezTo>
                  <a:lnTo>
                    <a:pt x="66249" y="64942"/>
                  </a:lnTo>
                  <a:lnTo>
                    <a:pt x="66249" y="64755"/>
                  </a:lnTo>
                  <a:cubicBezTo>
                    <a:pt x="66249" y="64249"/>
                    <a:pt x="66249" y="63744"/>
                    <a:pt x="66249" y="63211"/>
                  </a:cubicBezTo>
                  <a:cubicBezTo>
                    <a:pt x="66249" y="62679"/>
                    <a:pt x="66249" y="61933"/>
                    <a:pt x="66249" y="61294"/>
                  </a:cubicBezTo>
                  <a:lnTo>
                    <a:pt x="66249" y="61054"/>
                  </a:lnTo>
                  <a:lnTo>
                    <a:pt x="66249" y="61054"/>
                  </a:lnTo>
                  <a:lnTo>
                    <a:pt x="66249" y="60575"/>
                  </a:lnTo>
                  <a:cubicBezTo>
                    <a:pt x="66249" y="59830"/>
                    <a:pt x="66249" y="59084"/>
                    <a:pt x="66116" y="58338"/>
                  </a:cubicBezTo>
                  <a:lnTo>
                    <a:pt x="66116" y="58179"/>
                  </a:lnTo>
                  <a:cubicBezTo>
                    <a:pt x="66116" y="57673"/>
                    <a:pt x="66116" y="57167"/>
                    <a:pt x="66116" y="56661"/>
                  </a:cubicBezTo>
                  <a:cubicBezTo>
                    <a:pt x="66116" y="55543"/>
                    <a:pt x="65930" y="54451"/>
                    <a:pt x="65797" y="53333"/>
                  </a:cubicBezTo>
                  <a:cubicBezTo>
                    <a:pt x="65797" y="53146"/>
                    <a:pt x="65797" y="52987"/>
                    <a:pt x="65797" y="52827"/>
                  </a:cubicBezTo>
                  <a:cubicBezTo>
                    <a:pt x="65797" y="52667"/>
                    <a:pt x="65797" y="52188"/>
                    <a:pt x="65797" y="51868"/>
                  </a:cubicBezTo>
                  <a:lnTo>
                    <a:pt x="65797" y="51442"/>
                  </a:lnTo>
                  <a:cubicBezTo>
                    <a:pt x="65797" y="50430"/>
                    <a:pt x="65557" y="49392"/>
                    <a:pt x="65424" y="48380"/>
                  </a:cubicBezTo>
                  <a:cubicBezTo>
                    <a:pt x="65291" y="47368"/>
                    <a:pt x="65131" y="45718"/>
                    <a:pt x="64971" y="44546"/>
                  </a:cubicBezTo>
                  <a:cubicBezTo>
                    <a:pt x="64971" y="43960"/>
                    <a:pt x="64785" y="43348"/>
                    <a:pt x="64705" y="42762"/>
                  </a:cubicBezTo>
                  <a:cubicBezTo>
                    <a:pt x="64625" y="42176"/>
                    <a:pt x="64705" y="42150"/>
                    <a:pt x="64705" y="41830"/>
                  </a:cubicBezTo>
                  <a:lnTo>
                    <a:pt x="64386" y="39753"/>
                  </a:lnTo>
                  <a:lnTo>
                    <a:pt x="64386" y="39753"/>
                  </a:lnTo>
                  <a:lnTo>
                    <a:pt x="63906" y="36878"/>
                  </a:lnTo>
                  <a:lnTo>
                    <a:pt x="63906" y="36665"/>
                  </a:lnTo>
                  <a:cubicBezTo>
                    <a:pt x="63906" y="36132"/>
                    <a:pt x="63720" y="35600"/>
                    <a:pt x="63640" y="35094"/>
                  </a:cubicBezTo>
                  <a:lnTo>
                    <a:pt x="63640" y="34641"/>
                  </a:lnTo>
                  <a:cubicBezTo>
                    <a:pt x="63640" y="34348"/>
                    <a:pt x="63640" y="34082"/>
                    <a:pt x="63640" y="33816"/>
                  </a:cubicBezTo>
                  <a:cubicBezTo>
                    <a:pt x="63640" y="33550"/>
                    <a:pt x="63400" y="32591"/>
                    <a:pt x="63294" y="31979"/>
                  </a:cubicBezTo>
                  <a:lnTo>
                    <a:pt x="63294" y="31845"/>
                  </a:lnTo>
                  <a:lnTo>
                    <a:pt x="62815" y="29183"/>
                  </a:lnTo>
                  <a:cubicBezTo>
                    <a:pt x="62655" y="28437"/>
                    <a:pt x="62522" y="27718"/>
                    <a:pt x="62362" y="26973"/>
                  </a:cubicBezTo>
                  <a:lnTo>
                    <a:pt x="62362" y="26520"/>
                  </a:lnTo>
                  <a:cubicBezTo>
                    <a:pt x="62042" y="25056"/>
                    <a:pt x="61723" y="23565"/>
                    <a:pt x="61377" y="22100"/>
                  </a:cubicBezTo>
                  <a:lnTo>
                    <a:pt x="61377" y="22100"/>
                  </a:lnTo>
                  <a:cubicBezTo>
                    <a:pt x="61244" y="21515"/>
                    <a:pt x="61084" y="20902"/>
                    <a:pt x="60951" y="20316"/>
                  </a:cubicBezTo>
                  <a:lnTo>
                    <a:pt x="60951" y="20130"/>
                  </a:lnTo>
                  <a:cubicBezTo>
                    <a:pt x="60711" y="19092"/>
                    <a:pt x="60472" y="18053"/>
                    <a:pt x="60205" y="17015"/>
                  </a:cubicBezTo>
                  <a:lnTo>
                    <a:pt x="60205" y="17015"/>
                  </a:lnTo>
                  <a:cubicBezTo>
                    <a:pt x="60046" y="16402"/>
                    <a:pt x="59912" y="15790"/>
                    <a:pt x="59753" y="15177"/>
                  </a:cubicBezTo>
                  <a:lnTo>
                    <a:pt x="59753" y="15177"/>
                  </a:lnTo>
                  <a:cubicBezTo>
                    <a:pt x="59460" y="14033"/>
                    <a:pt x="59140" y="12914"/>
                    <a:pt x="58847" y="11769"/>
                  </a:cubicBezTo>
                  <a:cubicBezTo>
                    <a:pt x="58688" y="11237"/>
                    <a:pt x="58554" y="10704"/>
                    <a:pt x="58421" y="10172"/>
                  </a:cubicBezTo>
                  <a:cubicBezTo>
                    <a:pt x="57969" y="8548"/>
                    <a:pt x="57489" y="6950"/>
                    <a:pt x="57010" y="5326"/>
                  </a:cubicBezTo>
                  <a:lnTo>
                    <a:pt x="57010" y="5166"/>
                  </a:lnTo>
                  <a:lnTo>
                    <a:pt x="56691" y="4208"/>
                  </a:lnTo>
                  <a:lnTo>
                    <a:pt x="56691" y="4074"/>
                  </a:lnTo>
                  <a:cubicBezTo>
                    <a:pt x="56318" y="2876"/>
                    <a:pt x="55945" y="1651"/>
                    <a:pt x="55546" y="453"/>
                  </a:cubicBezTo>
                  <a:lnTo>
                    <a:pt x="55306" y="-346"/>
                  </a:lnTo>
                  <a:lnTo>
                    <a:pt x="55306" y="-346"/>
                  </a:lnTo>
                  <a:cubicBezTo>
                    <a:pt x="46772" y="5297"/>
                    <a:pt x="38990" y="11998"/>
                    <a:pt x="32141" y="19597"/>
                  </a:cubicBezTo>
                  <a:cubicBezTo>
                    <a:pt x="23791" y="27995"/>
                    <a:pt x="16762" y="37610"/>
                    <a:pt x="11293" y="48114"/>
                  </a:cubicBezTo>
                  <a:cubicBezTo>
                    <a:pt x="7430" y="56395"/>
                    <a:pt x="4423" y="65048"/>
                    <a:pt x="2320" y="73941"/>
                  </a:cubicBezTo>
                  <a:cubicBezTo>
                    <a:pt x="1814" y="76071"/>
                    <a:pt x="1362" y="78122"/>
                    <a:pt x="989" y="80065"/>
                  </a:cubicBezTo>
                  <a:cubicBezTo>
                    <a:pt x="2533" y="85391"/>
                    <a:pt x="3971" y="90876"/>
                    <a:pt x="5355" y="96467"/>
                  </a:cubicBezTo>
                  <a:cubicBezTo>
                    <a:pt x="5728" y="97932"/>
                    <a:pt x="6101" y="99449"/>
                    <a:pt x="6447" y="100940"/>
                  </a:cubicBezTo>
                  <a:cubicBezTo>
                    <a:pt x="9376" y="113215"/>
                    <a:pt x="11985" y="126022"/>
                    <a:pt x="14142" y="139415"/>
                  </a:cubicBezTo>
                  <a:cubicBezTo>
                    <a:pt x="18559" y="125279"/>
                    <a:pt x="25807" y="112187"/>
                    <a:pt x="35443" y="100940"/>
                  </a:cubicBezTo>
                  <a:cubicBezTo>
                    <a:pt x="44062" y="91398"/>
                    <a:pt x="53911" y="83045"/>
                    <a:pt x="64732" y="76098"/>
                  </a:cubicBezTo>
                </a:path>
              </a:pathLst>
            </a:custGeom>
            <a:solidFill>
              <a:srgbClr val="FAC200"/>
            </a:solidFill>
            <a:ln w="2661" cap="flat">
              <a:noFill/>
              <a:prstDash val="solid"/>
              <a:miter/>
            </a:ln>
          </p:spPr>
          <p:txBody>
            <a:bodyPr rtlCol="0" anchor="ctr"/>
            <a:lstStyle/>
            <a:p>
              <a:endParaRPr lang="pl-PL"/>
            </a:p>
          </p:txBody>
        </p:sp>
        <p:sp>
          <p:nvSpPr>
            <p:cNvPr id="100" name="Freeform: Shape 99">
              <a:extLst>
                <a:ext uri="{FF2B5EF4-FFF2-40B4-BE49-F238E27FC236}">
                  <a16:creationId xmlns:a16="http://schemas.microsoft.com/office/drawing/2014/main" id="{DDE32B8A-7D93-4D1D-9968-191895D78E94}"/>
                </a:ext>
              </a:extLst>
            </p:cNvPr>
            <p:cNvSpPr/>
            <p:nvPr/>
          </p:nvSpPr>
          <p:spPr>
            <a:xfrm>
              <a:off x="11422998" y="6669063"/>
              <a:ext cx="51268" cy="87781"/>
            </a:xfrm>
            <a:custGeom>
              <a:avLst/>
              <a:gdLst>
                <a:gd name="connsiteX0" fmla="*/ 91837 w 90848"/>
                <a:gd name="connsiteY0" fmla="*/ 74447 h 155549"/>
                <a:gd name="connsiteX1" fmla="*/ 91438 w 90848"/>
                <a:gd name="connsiteY1" fmla="*/ 73276 h 155549"/>
                <a:gd name="connsiteX2" fmla="*/ 90532 w 90848"/>
                <a:gd name="connsiteY2" fmla="*/ 70613 h 155549"/>
                <a:gd name="connsiteX3" fmla="*/ 89787 w 90848"/>
                <a:gd name="connsiteY3" fmla="*/ 68430 h 155549"/>
                <a:gd name="connsiteX4" fmla="*/ 88908 w 90848"/>
                <a:gd name="connsiteY4" fmla="*/ 66060 h 155549"/>
                <a:gd name="connsiteX5" fmla="*/ 88056 w 90848"/>
                <a:gd name="connsiteY5" fmla="*/ 63770 h 155549"/>
                <a:gd name="connsiteX6" fmla="*/ 87737 w 90848"/>
                <a:gd name="connsiteY6" fmla="*/ 62892 h 155549"/>
                <a:gd name="connsiteX7" fmla="*/ 85341 w 90848"/>
                <a:gd name="connsiteY7" fmla="*/ 56874 h 155549"/>
                <a:gd name="connsiteX8" fmla="*/ 84701 w 90848"/>
                <a:gd name="connsiteY8" fmla="*/ 55356 h 155549"/>
                <a:gd name="connsiteX9" fmla="*/ 83477 w 90848"/>
                <a:gd name="connsiteY9" fmla="*/ 52481 h 155549"/>
                <a:gd name="connsiteX10" fmla="*/ 61217 w 90848"/>
                <a:gd name="connsiteY10" fmla="*/ 11956 h 155549"/>
                <a:gd name="connsiteX11" fmla="*/ 52351 w 90848"/>
                <a:gd name="connsiteY11" fmla="*/ -346 h 155549"/>
                <a:gd name="connsiteX12" fmla="*/ 45108 w 90848"/>
                <a:gd name="connsiteY12" fmla="*/ 4660 h 155549"/>
                <a:gd name="connsiteX13" fmla="*/ 44230 w 90848"/>
                <a:gd name="connsiteY13" fmla="*/ 5299 h 155549"/>
                <a:gd name="connsiteX14" fmla="*/ 989 w 90848"/>
                <a:gd name="connsiteY14" fmla="*/ 61214 h 155549"/>
                <a:gd name="connsiteX15" fmla="*/ 989 w 90848"/>
                <a:gd name="connsiteY15" fmla="*/ 61214 h 155549"/>
                <a:gd name="connsiteX16" fmla="*/ 28840 w 90848"/>
                <a:gd name="connsiteY16" fmla="*/ 123253 h 155549"/>
                <a:gd name="connsiteX17" fmla="*/ 37360 w 90848"/>
                <a:gd name="connsiteY17" fmla="*/ 149080 h 155549"/>
                <a:gd name="connsiteX18" fmla="*/ 39144 w 90848"/>
                <a:gd name="connsiteY18" fmla="*/ 155204 h 155549"/>
                <a:gd name="connsiteX19" fmla="*/ 40475 w 90848"/>
                <a:gd name="connsiteY19" fmla="*/ 149080 h 155549"/>
                <a:gd name="connsiteX20" fmla="*/ 49448 w 90848"/>
                <a:gd name="connsiteY20" fmla="*/ 123253 h 155549"/>
                <a:gd name="connsiteX21" fmla="*/ 68646 w 90848"/>
                <a:gd name="connsiteY21" fmla="*/ 94284 h 155549"/>
                <a:gd name="connsiteX22" fmla="*/ 91811 w 90848"/>
                <a:gd name="connsiteY22" fmla="*/ 74341 h 155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0848" h="155549">
                  <a:moveTo>
                    <a:pt x="91837" y="74447"/>
                  </a:moveTo>
                  <a:lnTo>
                    <a:pt x="91438" y="73276"/>
                  </a:lnTo>
                  <a:cubicBezTo>
                    <a:pt x="91145" y="72397"/>
                    <a:pt x="90852" y="71518"/>
                    <a:pt x="90532" y="70613"/>
                  </a:cubicBezTo>
                  <a:lnTo>
                    <a:pt x="89787" y="68430"/>
                  </a:lnTo>
                  <a:lnTo>
                    <a:pt x="88908" y="66060"/>
                  </a:lnTo>
                  <a:cubicBezTo>
                    <a:pt x="88642" y="65288"/>
                    <a:pt x="88349" y="64516"/>
                    <a:pt x="88056" y="63770"/>
                  </a:cubicBezTo>
                  <a:lnTo>
                    <a:pt x="87737" y="62892"/>
                  </a:lnTo>
                  <a:cubicBezTo>
                    <a:pt x="86965" y="60868"/>
                    <a:pt x="86166" y="58871"/>
                    <a:pt x="85341" y="56874"/>
                  </a:cubicBezTo>
                  <a:lnTo>
                    <a:pt x="84701" y="55356"/>
                  </a:lnTo>
                  <a:cubicBezTo>
                    <a:pt x="84302" y="54398"/>
                    <a:pt x="83903" y="53439"/>
                    <a:pt x="83477" y="52481"/>
                  </a:cubicBezTo>
                  <a:cubicBezTo>
                    <a:pt x="77315" y="38318"/>
                    <a:pt x="69863" y="24752"/>
                    <a:pt x="61217" y="11956"/>
                  </a:cubicBezTo>
                  <a:cubicBezTo>
                    <a:pt x="58395" y="7775"/>
                    <a:pt x="55413" y="3675"/>
                    <a:pt x="52351" y="-346"/>
                  </a:cubicBezTo>
                  <a:cubicBezTo>
                    <a:pt x="49874" y="1252"/>
                    <a:pt x="47478" y="2929"/>
                    <a:pt x="45108" y="4660"/>
                  </a:cubicBezTo>
                  <a:lnTo>
                    <a:pt x="44230" y="5299"/>
                  </a:lnTo>
                  <a:cubicBezTo>
                    <a:pt x="25083" y="19741"/>
                    <a:pt x="10151" y="39048"/>
                    <a:pt x="989" y="61214"/>
                  </a:cubicBezTo>
                  <a:lnTo>
                    <a:pt x="989" y="61214"/>
                  </a:lnTo>
                  <a:cubicBezTo>
                    <a:pt x="11823" y="81162"/>
                    <a:pt x="21134" y="101901"/>
                    <a:pt x="28840" y="123253"/>
                  </a:cubicBezTo>
                  <a:cubicBezTo>
                    <a:pt x="31822" y="131534"/>
                    <a:pt x="34698" y="140134"/>
                    <a:pt x="37360" y="149080"/>
                  </a:cubicBezTo>
                  <a:cubicBezTo>
                    <a:pt x="37972" y="151104"/>
                    <a:pt x="38558" y="153154"/>
                    <a:pt x="39144" y="155204"/>
                  </a:cubicBezTo>
                  <a:cubicBezTo>
                    <a:pt x="39517" y="153261"/>
                    <a:pt x="39969" y="151210"/>
                    <a:pt x="40475" y="149080"/>
                  </a:cubicBezTo>
                  <a:cubicBezTo>
                    <a:pt x="42579" y="140187"/>
                    <a:pt x="45585" y="131534"/>
                    <a:pt x="49448" y="123253"/>
                  </a:cubicBezTo>
                  <a:cubicBezTo>
                    <a:pt x="54372" y="112696"/>
                    <a:pt x="60842" y="102932"/>
                    <a:pt x="68646" y="94284"/>
                  </a:cubicBezTo>
                  <a:cubicBezTo>
                    <a:pt x="75494" y="86685"/>
                    <a:pt x="83277" y="79983"/>
                    <a:pt x="91811" y="74341"/>
                  </a:cubicBezTo>
                  <a:close/>
                </a:path>
              </a:pathLst>
            </a:custGeom>
            <a:solidFill>
              <a:srgbClr val="E09C00"/>
            </a:solidFill>
            <a:ln w="2661" cap="flat">
              <a:noFill/>
              <a:prstDash val="solid"/>
              <a:miter/>
            </a:ln>
          </p:spPr>
          <p:txBody>
            <a:bodyPr rtlCol="0" anchor="ctr"/>
            <a:lstStyle/>
            <a:p>
              <a:endParaRPr lang="pl-PL"/>
            </a:p>
          </p:txBody>
        </p:sp>
        <p:sp>
          <p:nvSpPr>
            <p:cNvPr id="101" name="Freeform: Shape 100">
              <a:extLst>
                <a:ext uri="{FF2B5EF4-FFF2-40B4-BE49-F238E27FC236}">
                  <a16:creationId xmlns:a16="http://schemas.microsoft.com/office/drawing/2014/main" id="{E3214BDC-7527-46F4-9B3C-6665127B3459}"/>
                </a:ext>
              </a:extLst>
            </p:cNvPr>
            <p:cNvSpPr/>
            <p:nvPr/>
          </p:nvSpPr>
          <p:spPr>
            <a:xfrm>
              <a:off x="11393940" y="6672699"/>
              <a:ext cx="29090" cy="31088"/>
            </a:xfrm>
            <a:custGeom>
              <a:avLst/>
              <a:gdLst>
                <a:gd name="connsiteX0" fmla="*/ 17790 w 51548"/>
                <a:gd name="connsiteY0" fmla="*/ 1145 h 55089"/>
                <a:gd name="connsiteX1" fmla="*/ 16618 w 51548"/>
                <a:gd name="connsiteY1" fmla="*/ -346 h 55089"/>
                <a:gd name="connsiteX2" fmla="*/ 16272 w 51548"/>
                <a:gd name="connsiteY2" fmla="*/ 293 h 55089"/>
                <a:gd name="connsiteX3" fmla="*/ 989 w 51548"/>
                <a:gd name="connsiteY3" fmla="*/ 48939 h 55089"/>
                <a:gd name="connsiteX4" fmla="*/ 32940 w 51548"/>
                <a:gd name="connsiteY4" fmla="*/ 50111 h 55089"/>
                <a:gd name="connsiteX5" fmla="*/ 52537 w 51548"/>
                <a:gd name="connsiteY5" fmla="*/ 54744 h 55089"/>
                <a:gd name="connsiteX6" fmla="*/ 17923 w 51548"/>
                <a:gd name="connsiteY6" fmla="*/ 1145 h 55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48" h="55089">
                  <a:moveTo>
                    <a:pt x="17790" y="1145"/>
                  </a:moveTo>
                  <a:cubicBezTo>
                    <a:pt x="17390" y="640"/>
                    <a:pt x="17018" y="134"/>
                    <a:pt x="16618" y="-346"/>
                  </a:cubicBezTo>
                  <a:cubicBezTo>
                    <a:pt x="16618" y="-133"/>
                    <a:pt x="16405" y="80"/>
                    <a:pt x="16272" y="293"/>
                  </a:cubicBezTo>
                  <a:cubicBezTo>
                    <a:pt x="8353" y="15484"/>
                    <a:pt x="3180" y="31952"/>
                    <a:pt x="989" y="48939"/>
                  </a:cubicBezTo>
                  <a:cubicBezTo>
                    <a:pt x="11647" y="48055"/>
                    <a:pt x="22375" y="48449"/>
                    <a:pt x="32940" y="50111"/>
                  </a:cubicBezTo>
                  <a:cubicBezTo>
                    <a:pt x="39578" y="51171"/>
                    <a:pt x="46128" y="52718"/>
                    <a:pt x="52537" y="54744"/>
                  </a:cubicBezTo>
                  <a:cubicBezTo>
                    <a:pt x="42395" y="36015"/>
                    <a:pt x="30823" y="18096"/>
                    <a:pt x="17923" y="1145"/>
                  </a:cubicBezTo>
                </a:path>
              </a:pathLst>
            </a:custGeom>
            <a:solidFill>
              <a:srgbClr val="E09C00"/>
            </a:solidFill>
            <a:ln w="2661" cap="flat">
              <a:noFill/>
              <a:prstDash val="solid"/>
              <a:miter/>
            </a:ln>
          </p:spPr>
          <p:txBody>
            <a:bodyPr rtlCol="0" anchor="ctr"/>
            <a:lstStyle/>
            <a:p>
              <a:endParaRPr lang="pl-PL"/>
            </a:p>
          </p:txBody>
        </p:sp>
        <p:sp>
          <p:nvSpPr>
            <p:cNvPr id="102" name="Freeform: Shape 101">
              <a:extLst>
                <a:ext uri="{FF2B5EF4-FFF2-40B4-BE49-F238E27FC236}">
                  <a16:creationId xmlns:a16="http://schemas.microsoft.com/office/drawing/2014/main" id="{31DCF8EE-3182-4FCB-B589-E129D550E833}"/>
                </a:ext>
              </a:extLst>
            </p:cNvPr>
            <p:cNvSpPr/>
            <p:nvPr/>
          </p:nvSpPr>
          <p:spPr>
            <a:xfrm>
              <a:off x="11401092" y="6746296"/>
              <a:ext cx="50862" cy="44116"/>
            </a:xfrm>
            <a:custGeom>
              <a:avLst/>
              <a:gdLst>
                <a:gd name="connsiteX0" fmla="*/ 83423 w 90129"/>
                <a:gd name="connsiteY0" fmla="*/ 39327 h 78174"/>
                <a:gd name="connsiteX1" fmla="*/ 82332 w 90129"/>
                <a:gd name="connsiteY1" fmla="*/ 34854 h 78174"/>
                <a:gd name="connsiteX2" fmla="*/ 77965 w 90129"/>
                <a:gd name="connsiteY2" fmla="*/ 18453 h 78174"/>
                <a:gd name="connsiteX3" fmla="*/ 66489 w 90129"/>
                <a:gd name="connsiteY3" fmla="*/ 12328 h 78174"/>
                <a:gd name="connsiteX4" fmla="*/ 13956 w 90129"/>
                <a:gd name="connsiteY4" fmla="*/ -292 h 78174"/>
                <a:gd name="connsiteX5" fmla="*/ 989 w 90129"/>
                <a:gd name="connsiteY5" fmla="*/ -79 h 78174"/>
                <a:gd name="connsiteX6" fmla="*/ 7619 w 90129"/>
                <a:gd name="connsiteY6" fmla="*/ 12355 h 78174"/>
                <a:gd name="connsiteX7" fmla="*/ 28227 w 90129"/>
                <a:gd name="connsiteY7" fmla="*/ 39354 h 78174"/>
                <a:gd name="connsiteX8" fmla="*/ 91118 w 90129"/>
                <a:gd name="connsiteY8" fmla="*/ 77829 h 78174"/>
                <a:gd name="connsiteX9" fmla="*/ 83423 w 90129"/>
                <a:gd name="connsiteY9" fmla="*/ 39354 h 78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129" h="78174">
                  <a:moveTo>
                    <a:pt x="83423" y="39327"/>
                  </a:moveTo>
                  <a:cubicBezTo>
                    <a:pt x="83077" y="37836"/>
                    <a:pt x="82704" y="36319"/>
                    <a:pt x="82332" y="34854"/>
                  </a:cubicBezTo>
                  <a:cubicBezTo>
                    <a:pt x="80947" y="29263"/>
                    <a:pt x="79509" y="23804"/>
                    <a:pt x="77965" y="18453"/>
                  </a:cubicBezTo>
                  <a:cubicBezTo>
                    <a:pt x="74272" y="16235"/>
                    <a:pt x="70448" y="14192"/>
                    <a:pt x="66489" y="12328"/>
                  </a:cubicBezTo>
                  <a:cubicBezTo>
                    <a:pt x="50021" y="4588"/>
                    <a:pt x="32144" y="293"/>
                    <a:pt x="13956" y="-292"/>
                  </a:cubicBezTo>
                  <a:cubicBezTo>
                    <a:pt x="9589" y="-425"/>
                    <a:pt x="5275" y="-292"/>
                    <a:pt x="989" y="-79"/>
                  </a:cubicBezTo>
                  <a:cubicBezTo>
                    <a:pt x="3012" y="4181"/>
                    <a:pt x="5222" y="8327"/>
                    <a:pt x="7619" y="12355"/>
                  </a:cubicBezTo>
                  <a:cubicBezTo>
                    <a:pt x="13418" y="22122"/>
                    <a:pt x="20335" y="31182"/>
                    <a:pt x="28227" y="39354"/>
                  </a:cubicBezTo>
                  <a:cubicBezTo>
                    <a:pt x="45566" y="57332"/>
                    <a:pt x="67216" y="70576"/>
                    <a:pt x="91118" y="77829"/>
                  </a:cubicBezTo>
                  <a:cubicBezTo>
                    <a:pt x="88961" y="64516"/>
                    <a:pt x="86352" y="51629"/>
                    <a:pt x="83423" y="39354"/>
                  </a:cubicBezTo>
                </a:path>
              </a:pathLst>
            </a:custGeom>
            <a:solidFill>
              <a:srgbClr val="E09C00"/>
            </a:solidFill>
            <a:ln w="2661" cap="flat">
              <a:noFill/>
              <a:prstDash val="solid"/>
              <a:miter/>
            </a:ln>
          </p:spPr>
          <p:txBody>
            <a:bodyPr rtlCol="0" anchor="ctr"/>
            <a:lstStyle/>
            <a:p>
              <a:endParaRPr lang="pl-PL"/>
            </a:p>
          </p:txBody>
        </p:sp>
        <p:sp>
          <p:nvSpPr>
            <p:cNvPr id="103" name="Freeform: Shape 102">
              <a:extLst>
                <a:ext uri="{FF2B5EF4-FFF2-40B4-BE49-F238E27FC236}">
                  <a16:creationId xmlns:a16="http://schemas.microsoft.com/office/drawing/2014/main" id="{17EE2822-CF46-4A8F-AF3B-F0FCE8D2D320}"/>
                </a:ext>
              </a:extLst>
            </p:cNvPr>
            <p:cNvSpPr/>
            <p:nvPr/>
          </p:nvSpPr>
          <p:spPr>
            <a:xfrm>
              <a:off x="11451983" y="6691629"/>
              <a:ext cx="106699" cy="102254"/>
            </a:xfrm>
            <a:custGeom>
              <a:avLst/>
              <a:gdLst>
                <a:gd name="connsiteX0" fmla="*/ 189954 w 189072"/>
                <a:gd name="connsiteY0" fmla="*/ 30014 h 181196"/>
                <a:gd name="connsiteX1" fmla="*/ 188463 w 189072"/>
                <a:gd name="connsiteY1" fmla="*/ 13159 h 181196"/>
                <a:gd name="connsiteX2" fmla="*/ 180928 w 189072"/>
                <a:gd name="connsiteY2" fmla="*/ 13639 h 181196"/>
                <a:gd name="connsiteX3" fmla="*/ 171449 w 189072"/>
                <a:gd name="connsiteY3" fmla="*/ 21467 h 181196"/>
                <a:gd name="connsiteX4" fmla="*/ 171449 w 189072"/>
                <a:gd name="connsiteY4" fmla="*/ 21467 h 181196"/>
                <a:gd name="connsiteX5" fmla="*/ 171449 w 189072"/>
                <a:gd name="connsiteY5" fmla="*/ 21467 h 181196"/>
                <a:gd name="connsiteX6" fmla="*/ 169080 w 189072"/>
                <a:gd name="connsiteY6" fmla="*/ 52513 h 181196"/>
                <a:gd name="connsiteX7" fmla="*/ 162370 w 189072"/>
                <a:gd name="connsiteY7" fmla="*/ 81988 h 181196"/>
                <a:gd name="connsiteX8" fmla="*/ 161944 w 189072"/>
                <a:gd name="connsiteY8" fmla="*/ 83373 h 181196"/>
                <a:gd name="connsiteX9" fmla="*/ 151773 w 189072"/>
                <a:gd name="connsiteY9" fmla="*/ 109200 h 181196"/>
                <a:gd name="connsiteX10" fmla="*/ 145169 w 189072"/>
                <a:gd name="connsiteY10" fmla="*/ 120649 h 181196"/>
                <a:gd name="connsiteX11" fmla="*/ 143785 w 189072"/>
                <a:gd name="connsiteY11" fmla="*/ 121395 h 181196"/>
                <a:gd name="connsiteX12" fmla="*/ 142853 w 189072"/>
                <a:gd name="connsiteY12" fmla="*/ 121102 h 181196"/>
                <a:gd name="connsiteX13" fmla="*/ 142400 w 189072"/>
                <a:gd name="connsiteY13" fmla="*/ 118785 h 181196"/>
                <a:gd name="connsiteX14" fmla="*/ 147992 w 189072"/>
                <a:gd name="connsiteY14" fmla="*/ 109200 h 181196"/>
                <a:gd name="connsiteX15" fmla="*/ 158323 w 189072"/>
                <a:gd name="connsiteY15" fmla="*/ 83373 h 181196"/>
                <a:gd name="connsiteX16" fmla="*/ 159042 w 189072"/>
                <a:gd name="connsiteY16" fmla="*/ 81030 h 181196"/>
                <a:gd name="connsiteX17" fmla="*/ 165725 w 189072"/>
                <a:gd name="connsiteY17" fmla="*/ 51315 h 181196"/>
                <a:gd name="connsiteX18" fmla="*/ 168121 w 189072"/>
                <a:gd name="connsiteY18" fmla="*/ 20215 h 181196"/>
                <a:gd name="connsiteX19" fmla="*/ 166763 w 189072"/>
                <a:gd name="connsiteY19" fmla="*/ -340 h 181196"/>
                <a:gd name="connsiteX20" fmla="*/ 166763 w 189072"/>
                <a:gd name="connsiteY20" fmla="*/ -340 h 181196"/>
                <a:gd name="connsiteX21" fmla="*/ 166763 w 189072"/>
                <a:gd name="connsiteY21" fmla="*/ -340 h 181196"/>
                <a:gd name="connsiteX22" fmla="*/ 154062 w 189072"/>
                <a:gd name="connsiteY22" fmla="*/ 2589 h 181196"/>
                <a:gd name="connsiteX23" fmla="*/ 146847 w 189072"/>
                <a:gd name="connsiteY23" fmla="*/ 14544 h 181196"/>
                <a:gd name="connsiteX24" fmla="*/ 146847 w 189072"/>
                <a:gd name="connsiteY24" fmla="*/ 14544 h 181196"/>
                <a:gd name="connsiteX25" fmla="*/ 144371 w 189072"/>
                <a:gd name="connsiteY25" fmla="*/ 46016 h 181196"/>
                <a:gd name="connsiteX26" fmla="*/ 137181 w 189072"/>
                <a:gd name="connsiteY26" fmla="*/ 76636 h 181196"/>
                <a:gd name="connsiteX27" fmla="*/ 134972 w 189072"/>
                <a:gd name="connsiteY27" fmla="*/ 83293 h 181196"/>
                <a:gd name="connsiteX28" fmla="*/ 123070 w 189072"/>
                <a:gd name="connsiteY28" fmla="*/ 109120 h 181196"/>
                <a:gd name="connsiteX29" fmla="*/ 120167 w 189072"/>
                <a:gd name="connsiteY29" fmla="*/ 113700 h 181196"/>
                <a:gd name="connsiteX30" fmla="*/ 118783 w 189072"/>
                <a:gd name="connsiteY30" fmla="*/ 114445 h 181196"/>
                <a:gd name="connsiteX31" fmla="*/ 117851 w 189072"/>
                <a:gd name="connsiteY31" fmla="*/ 114152 h 181196"/>
                <a:gd name="connsiteX32" fmla="*/ 117409 w 189072"/>
                <a:gd name="connsiteY32" fmla="*/ 111860 h 181196"/>
                <a:gd name="connsiteX33" fmla="*/ 117425 w 189072"/>
                <a:gd name="connsiteY33" fmla="*/ 111836 h 181196"/>
                <a:gd name="connsiteX34" fmla="*/ 119156 w 189072"/>
                <a:gd name="connsiteY34" fmla="*/ 109173 h 181196"/>
                <a:gd name="connsiteX35" fmla="*/ 131430 w 189072"/>
                <a:gd name="connsiteY35" fmla="*/ 83346 h 181196"/>
                <a:gd name="connsiteX36" fmla="*/ 133827 w 189072"/>
                <a:gd name="connsiteY36" fmla="*/ 76343 h 181196"/>
                <a:gd name="connsiteX37" fmla="*/ 141069 w 189072"/>
                <a:gd name="connsiteY37" fmla="*/ 45590 h 181196"/>
                <a:gd name="connsiteX38" fmla="*/ 143465 w 189072"/>
                <a:gd name="connsiteY38" fmla="*/ 14038 h 181196"/>
                <a:gd name="connsiteX39" fmla="*/ 143465 w 189072"/>
                <a:gd name="connsiteY39" fmla="*/ 13798 h 181196"/>
                <a:gd name="connsiteX40" fmla="*/ 143465 w 189072"/>
                <a:gd name="connsiteY40" fmla="*/ 13798 h 181196"/>
                <a:gd name="connsiteX41" fmla="*/ 140403 w 189072"/>
                <a:gd name="connsiteY41" fmla="*/ 13585 h 181196"/>
                <a:gd name="connsiteX42" fmla="*/ 128208 w 189072"/>
                <a:gd name="connsiteY42" fmla="*/ 18911 h 181196"/>
                <a:gd name="connsiteX43" fmla="*/ 121978 w 189072"/>
                <a:gd name="connsiteY43" fmla="*/ 36670 h 181196"/>
                <a:gd name="connsiteX44" fmla="*/ 121073 w 189072"/>
                <a:gd name="connsiteY44" fmla="*/ 41809 h 181196"/>
                <a:gd name="connsiteX45" fmla="*/ 120673 w 189072"/>
                <a:gd name="connsiteY45" fmla="*/ 43993 h 181196"/>
                <a:gd name="connsiteX46" fmla="*/ 110901 w 189072"/>
                <a:gd name="connsiteY46" fmla="*/ 75944 h 181196"/>
                <a:gd name="connsiteX47" fmla="*/ 107546 w 189072"/>
                <a:gd name="connsiteY47" fmla="*/ 83453 h 181196"/>
                <a:gd name="connsiteX48" fmla="*/ 93807 w 189072"/>
                <a:gd name="connsiteY48" fmla="*/ 106218 h 181196"/>
                <a:gd name="connsiteX49" fmla="*/ 92476 w 189072"/>
                <a:gd name="connsiteY49" fmla="*/ 106883 h 181196"/>
                <a:gd name="connsiteX50" fmla="*/ 91464 w 189072"/>
                <a:gd name="connsiteY50" fmla="*/ 106564 h 181196"/>
                <a:gd name="connsiteX51" fmla="*/ 91118 w 189072"/>
                <a:gd name="connsiteY51" fmla="*/ 104221 h 181196"/>
                <a:gd name="connsiteX52" fmla="*/ 103792 w 189072"/>
                <a:gd name="connsiteY52" fmla="*/ 83266 h 181196"/>
                <a:gd name="connsiteX53" fmla="*/ 107147 w 189072"/>
                <a:gd name="connsiteY53" fmla="*/ 76024 h 181196"/>
                <a:gd name="connsiteX54" fmla="*/ 117105 w 189072"/>
                <a:gd name="connsiteY54" fmla="*/ 44019 h 181196"/>
                <a:gd name="connsiteX55" fmla="*/ 117691 w 189072"/>
                <a:gd name="connsiteY55" fmla="*/ 41064 h 181196"/>
                <a:gd name="connsiteX56" fmla="*/ 105470 w 189072"/>
                <a:gd name="connsiteY56" fmla="*/ 42235 h 181196"/>
                <a:gd name="connsiteX57" fmla="*/ 101502 w 189072"/>
                <a:gd name="connsiteY57" fmla="*/ 44898 h 181196"/>
                <a:gd name="connsiteX58" fmla="*/ 97881 w 189072"/>
                <a:gd name="connsiteY58" fmla="*/ 50835 h 181196"/>
                <a:gd name="connsiteX59" fmla="*/ 97509 w 189072"/>
                <a:gd name="connsiteY59" fmla="*/ 51980 h 181196"/>
                <a:gd name="connsiteX60" fmla="*/ 91491 w 189072"/>
                <a:gd name="connsiteY60" fmla="*/ 66412 h 181196"/>
                <a:gd name="connsiteX61" fmla="*/ 83716 w 189072"/>
                <a:gd name="connsiteY61" fmla="*/ 79725 h 181196"/>
                <a:gd name="connsiteX62" fmla="*/ 81266 w 189072"/>
                <a:gd name="connsiteY62" fmla="*/ 83293 h 181196"/>
                <a:gd name="connsiteX63" fmla="*/ 79909 w 189072"/>
                <a:gd name="connsiteY63" fmla="*/ 85130 h 181196"/>
                <a:gd name="connsiteX64" fmla="*/ 64093 w 189072"/>
                <a:gd name="connsiteY64" fmla="*/ 102091 h 181196"/>
                <a:gd name="connsiteX65" fmla="*/ 54774 w 189072"/>
                <a:gd name="connsiteY65" fmla="*/ 109120 h 181196"/>
                <a:gd name="connsiteX66" fmla="*/ 53043 w 189072"/>
                <a:gd name="connsiteY66" fmla="*/ 110292 h 181196"/>
                <a:gd name="connsiteX67" fmla="*/ 53043 w 189072"/>
                <a:gd name="connsiteY67" fmla="*/ 110292 h 181196"/>
                <a:gd name="connsiteX68" fmla="*/ 51578 w 189072"/>
                <a:gd name="connsiteY68" fmla="*/ 111250 h 181196"/>
                <a:gd name="connsiteX69" fmla="*/ 22290 w 189072"/>
                <a:gd name="connsiteY69" fmla="*/ 136092 h 181196"/>
                <a:gd name="connsiteX70" fmla="*/ 989 w 189072"/>
                <a:gd name="connsiteY70" fmla="*/ 174567 h 181196"/>
                <a:gd name="connsiteX71" fmla="*/ 1468 w 189072"/>
                <a:gd name="connsiteY71" fmla="*/ 174700 h 181196"/>
                <a:gd name="connsiteX72" fmla="*/ 21065 w 189072"/>
                <a:gd name="connsiteY72" fmla="*/ 179120 h 181196"/>
                <a:gd name="connsiteX73" fmla="*/ 43511 w 189072"/>
                <a:gd name="connsiteY73" fmla="*/ 180851 h 181196"/>
                <a:gd name="connsiteX74" fmla="*/ 43910 w 189072"/>
                <a:gd name="connsiteY74" fmla="*/ 180851 h 181196"/>
                <a:gd name="connsiteX75" fmla="*/ 148924 w 189072"/>
                <a:gd name="connsiteY75" fmla="*/ 136119 h 181196"/>
                <a:gd name="connsiteX76" fmla="*/ 169559 w 189072"/>
                <a:gd name="connsiteY76" fmla="*/ 109120 h 181196"/>
                <a:gd name="connsiteX77" fmla="*/ 179783 w 189072"/>
                <a:gd name="connsiteY77" fmla="*/ 88325 h 181196"/>
                <a:gd name="connsiteX78" fmla="*/ 181674 w 189072"/>
                <a:gd name="connsiteY78" fmla="*/ 83293 h 181196"/>
                <a:gd name="connsiteX79" fmla="*/ 187718 w 189072"/>
                <a:gd name="connsiteY79" fmla="*/ 60527 h 181196"/>
                <a:gd name="connsiteX80" fmla="*/ 190061 w 189072"/>
                <a:gd name="connsiteY80" fmla="*/ 34301 h 181196"/>
                <a:gd name="connsiteX81" fmla="*/ 190061 w 189072"/>
                <a:gd name="connsiteY81" fmla="*/ 29854 h 181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89072" h="181196">
                  <a:moveTo>
                    <a:pt x="189954" y="30014"/>
                  </a:moveTo>
                  <a:cubicBezTo>
                    <a:pt x="189784" y="24372"/>
                    <a:pt x="189286" y="18743"/>
                    <a:pt x="188463" y="13159"/>
                  </a:cubicBezTo>
                  <a:cubicBezTo>
                    <a:pt x="185942" y="12909"/>
                    <a:pt x="183396" y="13072"/>
                    <a:pt x="180928" y="13639"/>
                  </a:cubicBezTo>
                  <a:cubicBezTo>
                    <a:pt x="176713" y="14613"/>
                    <a:pt x="173204" y="17513"/>
                    <a:pt x="171449" y="21467"/>
                  </a:cubicBezTo>
                  <a:lnTo>
                    <a:pt x="171449" y="21467"/>
                  </a:lnTo>
                  <a:lnTo>
                    <a:pt x="171449" y="21467"/>
                  </a:lnTo>
                  <a:cubicBezTo>
                    <a:pt x="171487" y="31862"/>
                    <a:pt x="170693" y="42243"/>
                    <a:pt x="169080" y="52513"/>
                  </a:cubicBezTo>
                  <a:cubicBezTo>
                    <a:pt x="167522" y="62479"/>
                    <a:pt x="165280" y="72328"/>
                    <a:pt x="162370" y="81988"/>
                  </a:cubicBezTo>
                  <a:cubicBezTo>
                    <a:pt x="162210" y="82441"/>
                    <a:pt x="162077" y="82893"/>
                    <a:pt x="161944" y="83373"/>
                  </a:cubicBezTo>
                  <a:cubicBezTo>
                    <a:pt x="159260" y="92244"/>
                    <a:pt x="155860" y="100882"/>
                    <a:pt x="151773" y="109200"/>
                  </a:cubicBezTo>
                  <a:cubicBezTo>
                    <a:pt x="149821" y="113154"/>
                    <a:pt x="147614" y="116980"/>
                    <a:pt x="145169" y="120649"/>
                  </a:cubicBezTo>
                  <a:cubicBezTo>
                    <a:pt x="144860" y="121112"/>
                    <a:pt x="144341" y="121392"/>
                    <a:pt x="143785" y="121395"/>
                  </a:cubicBezTo>
                  <a:cubicBezTo>
                    <a:pt x="143452" y="121387"/>
                    <a:pt x="143130" y="121286"/>
                    <a:pt x="142853" y="121102"/>
                  </a:cubicBezTo>
                  <a:cubicBezTo>
                    <a:pt x="142091" y="120585"/>
                    <a:pt x="141892" y="119552"/>
                    <a:pt x="142400" y="118785"/>
                  </a:cubicBezTo>
                  <a:cubicBezTo>
                    <a:pt x="144458" y="115707"/>
                    <a:pt x="146325" y="112507"/>
                    <a:pt x="147992" y="109200"/>
                  </a:cubicBezTo>
                  <a:cubicBezTo>
                    <a:pt x="152161" y="100898"/>
                    <a:pt x="155617" y="92258"/>
                    <a:pt x="158323" y="83373"/>
                  </a:cubicBezTo>
                  <a:lnTo>
                    <a:pt x="159042" y="81030"/>
                  </a:lnTo>
                  <a:cubicBezTo>
                    <a:pt x="161944" y="71290"/>
                    <a:pt x="164178" y="61361"/>
                    <a:pt x="165725" y="51315"/>
                  </a:cubicBezTo>
                  <a:cubicBezTo>
                    <a:pt x="167306" y="41024"/>
                    <a:pt x="168108" y="30626"/>
                    <a:pt x="168121" y="20215"/>
                  </a:cubicBezTo>
                  <a:cubicBezTo>
                    <a:pt x="168116" y="13341"/>
                    <a:pt x="167663" y="6474"/>
                    <a:pt x="166763" y="-340"/>
                  </a:cubicBezTo>
                  <a:lnTo>
                    <a:pt x="166763" y="-340"/>
                  </a:lnTo>
                  <a:lnTo>
                    <a:pt x="166763" y="-340"/>
                  </a:lnTo>
                  <a:cubicBezTo>
                    <a:pt x="162351" y="-431"/>
                    <a:pt x="157987" y="576"/>
                    <a:pt x="154062" y="2589"/>
                  </a:cubicBezTo>
                  <a:cubicBezTo>
                    <a:pt x="149685" y="4988"/>
                    <a:pt x="146929" y="9552"/>
                    <a:pt x="146847" y="14544"/>
                  </a:cubicBezTo>
                  <a:lnTo>
                    <a:pt x="146847" y="14544"/>
                  </a:lnTo>
                  <a:cubicBezTo>
                    <a:pt x="146868" y="25085"/>
                    <a:pt x="146040" y="35608"/>
                    <a:pt x="144371" y="46016"/>
                  </a:cubicBezTo>
                  <a:cubicBezTo>
                    <a:pt x="142752" y="56390"/>
                    <a:pt x="140347" y="66625"/>
                    <a:pt x="137181" y="76636"/>
                  </a:cubicBezTo>
                  <a:cubicBezTo>
                    <a:pt x="136489" y="78899"/>
                    <a:pt x="135744" y="81109"/>
                    <a:pt x="134972" y="83293"/>
                  </a:cubicBezTo>
                  <a:cubicBezTo>
                    <a:pt x="131840" y="92263"/>
                    <a:pt x="127854" y="100911"/>
                    <a:pt x="123070" y="109120"/>
                  </a:cubicBezTo>
                  <a:cubicBezTo>
                    <a:pt x="122111" y="110744"/>
                    <a:pt x="121153" y="112262"/>
                    <a:pt x="120167" y="113700"/>
                  </a:cubicBezTo>
                  <a:cubicBezTo>
                    <a:pt x="119861" y="114166"/>
                    <a:pt x="119342" y="114448"/>
                    <a:pt x="118783" y="114445"/>
                  </a:cubicBezTo>
                  <a:cubicBezTo>
                    <a:pt x="118450" y="114437"/>
                    <a:pt x="118128" y="114336"/>
                    <a:pt x="117851" y="114152"/>
                  </a:cubicBezTo>
                  <a:cubicBezTo>
                    <a:pt x="117095" y="113641"/>
                    <a:pt x="116898" y="112616"/>
                    <a:pt x="117409" y="111860"/>
                  </a:cubicBezTo>
                  <a:cubicBezTo>
                    <a:pt x="117414" y="111852"/>
                    <a:pt x="117419" y="111844"/>
                    <a:pt x="117425" y="111836"/>
                  </a:cubicBezTo>
                  <a:cubicBezTo>
                    <a:pt x="118011" y="110957"/>
                    <a:pt x="118570" y="110052"/>
                    <a:pt x="119156" y="109173"/>
                  </a:cubicBezTo>
                  <a:cubicBezTo>
                    <a:pt x="124127" y="101010"/>
                    <a:pt x="128240" y="92356"/>
                    <a:pt x="131430" y="83346"/>
                  </a:cubicBezTo>
                  <a:cubicBezTo>
                    <a:pt x="132256" y="81056"/>
                    <a:pt x="133054" y="78713"/>
                    <a:pt x="133827" y="76343"/>
                  </a:cubicBezTo>
                  <a:cubicBezTo>
                    <a:pt x="137027" y="66292"/>
                    <a:pt x="139447" y="56012"/>
                    <a:pt x="141069" y="45590"/>
                  </a:cubicBezTo>
                  <a:cubicBezTo>
                    <a:pt x="142738" y="35158"/>
                    <a:pt x="143540" y="24603"/>
                    <a:pt x="143465" y="14038"/>
                  </a:cubicBezTo>
                  <a:lnTo>
                    <a:pt x="143465" y="13798"/>
                  </a:lnTo>
                  <a:lnTo>
                    <a:pt x="143465" y="13798"/>
                  </a:lnTo>
                  <a:cubicBezTo>
                    <a:pt x="142451" y="13655"/>
                    <a:pt x="141428" y="13583"/>
                    <a:pt x="140403" y="13585"/>
                  </a:cubicBezTo>
                  <a:cubicBezTo>
                    <a:pt x="135741" y="13418"/>
                    <a:pt x="131255" y="15375"/>
                    <a:pt x="128208" y="18911"/>
                  </a:cubicBezTo>
                  <a:cubicBezTo>
                    <a:pt x="124055" y="23890"/>
                    <a:pt x="121978" y="36670"/>
                    <a:pt x="121978" y="36670"/>
                  </a:cubicBezTo>
                  <a:cubicBezTo>
                    <a:pt x="121712" y="38401"/>
                    <a:pt x="121419" y="40105"/>
                    <a:pt x="121073" y="41809"/>
                  </a:cubicBezTo>
                  <a:cubicBezTo>
                    <a:pt x="121073" y="41809"/>
                    <a:pt x="121073" y="42608"/>
                    <a:pt x="120673" y="43993"/>
                  </a:cubicBezTo>
                  <a:cubicBezTo>
                    <a:pt x="118469" y="54936"/>
                    <a:pt x="115196" y="65640"/>
                    <a:pt x="110901" y="75944"/>
                  </a:cubicBezTo>
                  <a:cubicBezTo>
                    <a:pt x="109871" y="78394"/>
                    <a:pt x="108753" y="80896"/>
                    <a:pt x="107546" y="83453"/>
                  </a:cubicBezTo>
                  <a:cubicBezTo>
                    <a:pt x="103744" y="91483"/>
                    <a:pt x="99141" y="99111"/>
                    <a:pt x="93807" y="106218"/>
                  </a:cubicBezTo>
                  <a:cubicBezTo>
                    <a:pt x="93488" y="106633"/>
                    <a:pt x="92998" y="106878"/>
                    <a:pt x="92476" y="106883"/>
                  </a:cubicBezTo>
                  <a:cubicBezTo>
                    <a:pt x="92114" y="106886"/>
                    <a:pt x="91760" y="106774"/>
                    <a:pt x="91464" y="106564"/>
                  </a:cubicBezTo>
                  <a:cubicBezTo>
                    <a:pt x="90724" y="106013"/>
                    <a:pt x="90567" y="104964"/>
                    <a:pt x="91118" y="104221"/>
                  </a:cubicBezTo>
                  <a:cubicBezTo>
                    <a:pt x="95956" y="97626"/>
                    <a:pt x="100198" y="90615"/>
                    <a:pt x="103792" y="83266"/>
                  </a:cubicBezTo>
                  <a:cubicBezTo>
                    <a:pt x="104964" y="80896"/>
                    <a:pt x="106082" y="78473"/>
                    <a:pt x="107147" y="76024"/>
                  </a:cubicBezTo>
                  <a:cubicBezTo>
                    <a:pt x="111572" y="65733"/>
                    <a:pt x="114911" y="55005"/>
                    <a:pt x="117105" y="44019"/>
                  </a:cubicBezTo>
                  <a:cubicBezTo>
                    <a:pt x="117318" y="43034"/>
                    <a:pt x="117505" y="42049"/>
                    <a:pt x="117691" y="41064"/>
                  </a:cubicBezTo>
                  <a:cubicBezTo>
                    <a:pt x="113593" y="40212"/>
                    <a:pt x="109333" y="40619"/>
                    <a:pt x="105470" y="42235"/>
                  </a:cubicBezTo>
                  <a:cubicBezTo>
                    <a:pt x="103995" y="42872"/>
                    <a:pt x="102650" y="43774"/>
                    <a:pt x="101502" y="44898"/>
                  </a:cubicBezTo>
                  <a:cubicBezTo>
                    <a:pt x="99868" y="46583"/>
                    <a:pt x="98632" y="48612"/>
                    <a:pt x="97881" y="50835"/>
                  </a:cubicBezTo>
                  <a:cubicBezTo>
                    <a:pt x="97881" y="51208"/>
                    <a:pt x="97615" y="51581"/>
                    <a:pt x="97509" y="51980"/>
                  </a:cubicBezTo>
                  <a:cubicBezTo>
                    <a:pt x="95812" y="56914"/>
                    <a:pt x="93802" y="61734"/>
                    <a:pt x="91491" y="66412"/>
                  </a:cubicBezTo>
                  <a:cubicBezTo>
                    <a:pt x="89190" y="71013"/>
                    <a:pt x="86594" y="75459"/>
                    <a:pt x="83716" y="79725"/>
                  </a:cubicBezTo>
                  <a:cubicBezTo>
                    <a:pt x="82944" y="80923"/>
                    <a:pt x="82119" y="82095"/>
                    <a:pt x="81266" y="83293"/>
                  </a:cubicBezTo>
                  <a:lnTo>
                    <a:pt x="79909" y="85130"/>
                  </a:lnTo>
                  <a:cubicBezTo>
                    <a:pt x="75257" y="91334"/>
                    <a:pt x="69956" y="97019"/>
                    <a:pt x="64093" y="102091"/>
                  </a:cubicBezTo>
                  <a:cubicBezTo>
                    <a:pt x="61124" y="104610"/>
                    <a:pt x="58011" y="106958"/>
                    <a:pt x="54774" y="109120"/>
                  </a:cubicBezTo>
                  <a:lnTo>
                    <a:pt x="53043" y="110292"/>
                  </a:lnTo>
                  <a:lnTo>
                    <a:pt x="53043" y="110292"/>
                  </a:lnTo>
                  <a:lnTo>
                    <a:pt x="51578" y="111250"/>
                  </a:lnTo>
                  <a:cubicBezTo>
                    <a:pt x="40757" y="118197"/>
                    <a:pt x="30909" y="126550"/>
                    <a:pt x="22290" y="136092"/>
                  </a:cubicBezTo>
                  <a:cubicBezTo>
                    <a:pt x="12654" y="147339"/>
                    <a:pt x="5406" y="160429"/>
                    <a:pt x="989" y="174567"/>
                  </a:cubicBezTo>
                  <a:lnTo>
                    <a:pt x="1468" y="174700"/>
                  </a:lnTo>
                  <a:cubicBezTo>
                    <a:pt x="7888" y="176636"/>
                    <a:pt x="14435" y="178114"/>
                    <a:pt x="21065" y="179120"/>
                  </a:cubicBezTo>
                  <a:cubicBezTo>
                    <a:pt x="28491" y="180278"/>
                    <a:pt x="35994" y="180856"/>
                    <a:pt x="43511" y="180851"/>
                  </a:cubicBezTo>
                  <a:lnTo>
                    <a:pt x="43910" y="180851"/>
                  </a:lnTo>
                  <a:cubicBezTo>
                    <a:pt x="83532" y="180798"/>
                    <a:pt x="121432" y="164652"/>
                    <a:pt x="148924" y="136119"/>
                  </a:cubicBezTo>
                  <a:cubicBezTo>
                    <a:pt x="156824" y="127947"/>
                    <a:pt x="163749" y="118889"/>
                    <a:pt x="169559" y="109120"/>
                  </a:cubicBezTo>
                  <a:cubicBezTo>
                    <a:pt x="173507" y="102466"/>
                    <a:pt x="176926" y="95514"/>
                    <a:pt x="179783" y="88325"/>
                  </a:cubicBezTo>
                  <a:cubicBezTo>
                    <a:pt x="180449" y="86674"/>
                    <a:pt x="181088" y="84970"/>
                    <a:pt x="181674" y="83293"/>
                  </a:cubicBezTo>
                  <a:cubicBezTo>
                    <a:pt x="184304" y="75880"/>
                    <a:pt x="186325" y="68268"/>
                    <a:pt x="187718" y="60527"/>
                  </a:cubicBezTo>
                  <a:cubicBezTo>
                    <a:pt x="189283" y="51874"/>
                    <a:pt x="190066" y="43095"/>
                    <a:pt x="190061" y="34301"/>
                  </a:cubicBezTo>
                  <a:cubicBezTo>
                    <a:pt x="190061" y="32810"/>
                    <a:pt x="190061" y="31318"/>
                    <a:pt x="190061" y="29854"/>
                  </a:cubicBezTo>
                </a:path>
              </a:pathLst>
            </a:custGeom>
            <a:solidFill>
              <a:srgbClr val="143DCF"/>
            </a:solidFill>
            <a:ln w="2661" cap="flat">
              <a:noFill/>
              <a:prstDash val="solid"/>
              <a:miter/>
            </a:ln>
          </p:spPr>
          <p:txBody>
            <a:bodyPr rtlCol="0" anchor="ctr"/>
            <a:lstStyle/>
            <a:p>
              <a:endParaRPr lang="pl-PL"/>
            </a:p>
          </p:txBody>
        </p:sp>
        <p:sp>
          <p:nvSpPr>
            <p:cNvPr id="104" name="Freeform: Shape 103">
              <a:extLst>
                <a:ext uri="{FF2B5EF4-FFF2-40B4-BE49-F238E27FC236}">
                  <a16:creationId xmlns:a16="http://schemas.microsoft.com/office/drawing/2014/main" id="{C7247737-76A7-42A5-A362-D70A6F7217C6}"/>
                </a:ext>
              </a:extLst>
            </p:cNvPr>
            <p:cNvSpPr/>
            <p:nvPr/>
          </p:nvSpPr>
          <p:spPr>
            <a:xfrm>
              <a:off x="11502581" y="6714997"/>
              <a:ext cx="17090" cy="37099"/>
            </a:xfrm>
            <a:custGeom>
              <a:avLst/>
              <a:gdLst>
                <a:gd name="connsiteX0" fmla="*/ 31273 w 30283"/>
                <a:gd name="connsiteY0" fmla="*/ 400 h 65740"/>
                <a:gd name="connsiteX1" fmla="*/ 28024 w 30283"/>
                <a:gd name="connsiteY1" fmla="*/ -346 h 65740"/>
                <a:gd name="connsiteX2" fmla="*/ 27438 w 30283"/>
                <a:gd name="connsiteY2" fmla="*/ 2610 h 65740"/>
                <a:gd name="connsiteX3" fmla="*/ 17374 w 30283"/>
                <a:gd name="connsiteY3" fmla="*/ 34721 h 65740"/>
                <a:gd name="connsiteX4" fmla="*/ 13992 w 30283"/>
                <a:gd name="connsiteY4" fmla="*/ 41963 h 65740"/>
                <a:gd name="connsiteX5" fmla="*/ 1318 w 30283"/>
                <a:gd name="connsiteY5" fmla="*/ 62732 h 65740"/>
                <a:gd name="connsiteX6" fmla="*/ 1664 w 30283"/>
                <a:gd name="connsiteY6" fmla="*/ 65075 h 65740"/>
                <a:gd name="connsiteX7" fmla="*/ 2650 w 30283"/>
                <a:gd name="connsiteY7" fmla="*/ 65394 h 65740"/>
                <a:gd name="connsiteX8" fmla="*/ 4007 w 30283"/>
                <a:gd name="connsiteY8" fmla="*/ 64729 h 65740"/>
                <a:gd name="connsiteX9" fmla="*/ 17747 w 30283"/>
                <a:gd name="connsiteY9" fmla="*/ 41963 h 65740"/>
                <a:gd name="connsiteX10" fmla="*/ 21101 w 30283"/>
                <a:gd name="connsiteY10" fmla="*/ 34481 h 65740"/>
                <a:gd name="connsiteX11" fmla="*/ 30873 w 30283"/>
                <a:gd name="connsiteY11" fmla="*/ 2530 h 65740"/>
                <a:gd name="connsiteX12" fmla="*/ 31273 w 30283"/>
                <a:gd name="connsiteY12" fmla="*/ 347 h 6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283" h="65740">
                  <a:moveTo>
                    <a:pt x="31273" y="400"/>
                  </a:moveTo>
                  <a:cubicBezTo>
                    <a:pt x="30213" y="62"/>
                    <a:pt x="29126" y="-186"/>
                    <a:pt x="28024" y="-346"/>
                  </a:cubicBezTo>
                  <a:cubicBezTo>
                    <a:pt x="27838" y="640"/>
                    <a:pt x="27652" y="1625"/>
                    <a:pt x="27438" y="2610"/>
                  </a:cubicBezTo>
                  <a:cubicBezTo>
                    <a:pt x="25218" y="13636"/>
                    <a:pt x="21844" y="24398"/>
                    <a:pt x="17374" y="34721"/>
                  </a:cubicBezTo>
                  <a:cubicBezTo>
                    <a:pt x="16309" y="37171"/>
                    <a:pt x="15190" y="39594"/>
                    <a:pt x="13992" y="41963"/>
                  </a:cubicBezTo>
                  <a:cubicBezTo>
                    <a:pt x="10400" y="49254"/>
                    <a:pt x="6159" y="56203"/>
                    <a:pt x="1318" y="62732"/>
                  </a:cubicBezTo>
                  <a:cubicBezTo>
                    <a:pt x="767" y="63475"/>
                    <a:pt x="924" y="64524"/>
                    <a:pt x="1664" y="65075"/>
                  </a:cubicBezTo>
                  <a:cubicBezTo>
                    <a:pt x="1952" y="65283"/>
                    <a:pt x="2295" y="65394"/>
                    <a:pt x="2650" y="65394"/>
                  </a:cubicBezTo>
                  <a:cubicBezTo>
                    <a:pt x="3182" y="65405"/>
                    <a:pt x="3688" y="65157"/>
                    <a:pt x="4007" y="64729"/>
                  </a:cubicBezTo>
                  <a:cubicBezTo>
                    <a:pt x="9341" y="57622"/>
                    <a:pt x="13944" y="49994"/>
                    <a:pt x="17747" y="41963"/>
                  </a:cubicBezTo>
                  <a:cubicBezTo>
                    <a:pt x="18945" y="39301"/>
                    <a:pt x="20063" y="36931"/>
                    <a:pt x="21101" y="34481"/>
                  </a:cubicBezTo>
                  <a:cubicBezTo>
                    <a:pt x="25380" y="24172"/>
                    <a:pt x="28653" y="13471"/>
                    <a:pt x="30873" y="2530"/>
                  </a:cubicBezTo>
                  <a:cubicBezTo>
                    <a:pt x="31140" y="1145"/>
                    <a:pt x="31273" y="347"/>
                    <a:pt x="31273" y="347"/>
                  </a:cubicBezTo>
                </a:path>
              </a:pathLst>
            </a:custGeom>
            <a:solidFill>
              <a:srgbClr val="8FD942"/>
            </a:solidFill>
            <a:ln w="2661" cap="flat">
              <a:noFill/>
              <a:prstDash val="solid"/>
              <a:miter/>
            </a:ln>
          </p:spPr>
          <p:txBody>
            <a:bodyPr rtlCol="0" anchor="ctr"/>
            <a:lstStyle/>
            <a:p>
              <a:endParaRPr lang="pl-PL"/>
            </a:p>
          </p:txBody>
        </p:sp>
        <p:sp>
          <p:nvSpPr>
            <p:cNvPr id="105" name="Freeform: Shape 104">
              <a:extLst>
                <a:ext uri="{FF2B5EF4-FFF2-40B4-BE49-F238E27FC236}">
                  <a16:creationId xmlns:a16="http://schemas.microsoft.com/office/drawing/2014/main" id="{B96D0E45-2D00-458F-88A1-96CB049591CD}"/>
                </a:ext>
              </a:extLst>
            </p:cNvPr>
            <p:cNvSpPr/>
            <p:nvPr/>
          </p:nvSpPr>
          <p:spPr>
            <a:xfrm>
              <a:off x="11517500" y="6699685"/>
              <a:ext cx="16773" cy="56738"/>
            </a:xfrm>
            <a:custGeom>
              <a:avLst/>
              <a:gdLst>
                <a:gd name="connsiteX0" fmla="*/ 27995 w 29722"/>
                <a:gd name="connsiteY0" fmla="*/ -239 h 100540"/>
                <a:gd name="connsiteX1" fmla="*/ 27542 w 29722"/>
                <a:gd name="connsiteY1" fmla="*/ -239 h 100540"/>
                <a:gd name="connsiteX2" fmla="*/ 27356 w 29722"/>
                <a:gd name="connsiteY2" fmla="*/ -239 h 100540"/>
                <a:gd name="connsiteX3" fmla="*/ 27356 w 29722"/>
                <a:gd name="connsiteY3" fmla="*/ -239 h 100540"/>
                <a:gd name="connsiteX4" fmla="*/ 24959 w 29722"/>
                <a:gd name="connsiteY4" fmla="*/ 31313 h 100540"/>
                <a:gd name="connsiteX5" fmla="*/ 17691 w 29722"/>
                <a:gd name="connsiteY5" fmla="*/ 62093 h 100540"/>
                <a:gd name="connsiteX6" fmla="*/ 15294 w 29722"/>
                <a:gd name="connsiteY6" fmla="*/ 69095 h 100540"/>
                <a:gd name="connsiteX7" fmla="*/ 3020 w 29722"/>
                <a:gd name="connsiteY7" fmla="*/ 94923 h 100540"/>
                <a:gd name="connsiteX8" fmla="*/ 1289 w 29722"/>
                <a:gd name="connsiteY8" fmla="*/ 97585 h 100540"/>
                <a:gd name="connsiteX9" fmla="*/ 1691 w 29722"/>
                <a:gd name="connsiteY9" fmla="*/ 99886 h 100540"/>
                <a:gd name="connsiteX10" fmla="*/ 1715 w 29722"/>
                <a:gd name="connsiteY10" fmla="*/ 99902 h 100540"/>
                <a:gd name="connsiteX11" fmla="*/ 2647 w 29722"/>
                <a:gd name="connsiteY11" fmla="*/ 100195 h 100540"/>
                <a:gd name="connsiteX12" fmla="*/ 4031 w 29722"/>
                <a:gd name="connsiteY12" fmla="*/ 99449 h 100540"/>
                <a:gd name="connsiteX13" fmla="*/ 6933 w 29722"/>
                <a:gd name="connsiteY13" fmla="*/ 94870 h 100540"/>
                <a:gd name="connsiteX14" fmla="*/ 18835 w 29722"/>
                <a:gd name="connsiteY14" fmla="*/ 69042 h 100540"/>
                <a:gd name="connsiteX15" fmla="*/ 21045 w 29722"/>
                <a:gd name="connsiteY15" fmla="*/ 62386 h 100540"/>
                <a:gd name="connsiteX16" fmla="*/ 28234 w 29722"/>
                <a:gd name="connsiteY16" fmla="*/ 31766 h 100540"/>
                <a:gd name="connsiteX17" fmla="*/ 30711 w 29722"/>
                <a:gd name="connsiteY17" fmla="*/ 293 h 100540"/>
                <a:gd name="connsiteX18" fmla="*/ 30711 w 29722"/>
                <a:gd name="connsiteY18" fmla="*/ 293 h 100540"/>
                <a:gd name="connsiteX19" fmla="*/ 30711 w 29722"/>
                <a:gd name="connsiteY19" fmla="*/ 293 h 100540"/>
                <a:gd name="connsiteX20" fmla="*/ 28048 w 29722"/>
                <a:gd name="connsiteY20" fmla="*/ -346 h 100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722" h="100540">
                  <a:moveTo>
                    <a:pt x="27995" y="-239"/>
                  </a:moveTo>
                  <a:lnTo>
                    <a:pt x="27542" y="-239"/>
                  </a:lnTo>
                  <a:lnTo>
                    <a:pt x="27356" y="-239"/>
                  </a:lnTo>
                  <a:lnTo>
                    <a:pt x="27356" y="-239"/>
                  </a:lnTo>
                  <a:cubicBezTo>
                    <a:pt x="27430" y="10326"/>
                    <a:pt x="26629" y="20881"/>
                    <a:pt x="24959" y="31313"/>
                  </a:cubicBezTo>
                  <a:cubicBezTo>
                    <a:pt x="23330" y="41745"/>
                    <a:pt x="20899" y="52033"/>
                    <a:pt x="17691" y="62093"/>
                  </a:cubicBezTo>
                  <a:cubicBezTo>
                    <a:pt x="16918" y="64462"/>
                    <a:pt x="16120" y="66806"/>
                    <a:pt x="15294" y="69095"/>
                  </a:cubicBezTo>
                  <a:cubicBezTo>
                    <a:pt x="12104" y="78106"/>
                    <a:pt x="7991" y="86759"/>
                    <a:pt x="3020" y="94923"/>
                  </a:cubicBezTo>
                  <a:cubicBezTo>
                    <a:pt x="2434" y="95855"/>
                    <a:pt x="1875" y="96760"/>
                    <a:pt x="1289" y="97585"/>
                  </a:cubicBezTo>
                  <a:cubicBezTo>
                    <a:pt x="764" y="98331"/>
                    <a:pt x="945" y="99361"/>
                    <a:pt x="1691" y="99886"/>
                  </a:cubicBezTo>
                  <a:cubicBezTo>
                    <a:pt x="1699" y="99891"/>
                    <a:pt x="1707" y="99897"/>
                    <a:pt x="1715" y="99902"/>
                  </a:cubicBezTo>
                  <a:cubicBezTo>
                    <a:pt x="1992" y="100086"/>
                    <a:pt x="2314" y="100187"/>
                    <a:pt x="2647" y="100195"/>
                  </a:cubicBezTo>
                  <a:cubicBezTo>
                    <a:pt x="3203" y="100195"/>
                    <a:pt x="3725" y="99915"/>
                    <a:pt x="4031" y="99449"/>
                  </a:cubicBezTo>
                  <a:cubicBezTo>
                    <a:pt x="5016" y="98011"/>
                    <a:pt x="5975" y="96494"/>
                    <a:pt x="6933" y="94870"/>
                  </a:cubicBezTo>
                  <a:cubicBezTo>
                    <a:pt x="11718" y="86661"/>
                    <a:pt x="15704" y="78013"/>
                    <a:pt x="18835" y="69042"/>
                  </a:cubicBezTo>
                  <a:cubicBezTo>
                    <a:pt x="19608" y="66859"/>
                    <a:pt x="20327" y="64649"/>
                    <a:pt x="21045" y="62386"/>
                  </a:cubicBezTo>
                  <a:cubicBezTo>
                    <a:pt x="24211" y="52374"/>
                    <a:pt x="26616" y="42139"/>
                    <a:pt x="28234" y="31766"/>
                  </a:cubicBezTo>
                  <a:cubicBezTo>
                    <a:pt x="29904" y="21357"/>
                    <a:pt x="30732" y="10835"/>
                    <a:pt x="30711" y="293"/>
                  </a:cubicBezTo>
                  <a:lnTo>
                    <a:pt x="30711" y="293"/>
                  </a:lnTo>
                  <a:lnTo>
                    <a:pt x="30711" y="293"/>
                  </a:lnTo>
                  <a:cubicBezTo>
                    <a:pt x="29840" y="19"/>
                    <a:pt x="28948" y="-194"/>
                    <a:pt x="28048" y="-346"/>
                  </a:cubicBezTo>
                </a:path>
              </a:pathLst>
            </a:custGeom>
            <a:solidFill>
              <a:srgbClr val="8FD942"/>
            </a:solidFill>
            <a:ln w="2661" cap="flat">
              <a:noFill/>
              <a:prstDash val="solid"/>
              <a:miter/>
            </a:ln>
          </p:spPr>
          <p:txBody>
            <a:bodyPr rtlCol="0" anchor="ctr"/>
            <a:lstStyle/>
            <a:p>
              <a:endParaRPr lang="pl-PL"/>
            </a:p>
          </p:txBody>
        </p:sp>
        <p:sp>
          <p:nvSpPr>
            <p:cNvPr id="106" name="Freeform: Shape 105">
              <a:extLst>
                <a:ext uri="{FF2B5EF4-FFF2-40B4-BE49-F238E27FC236}">
                  <a16:creationId xmlns:a16="http://schemas.microsoft.com/office/drawing/2014/main" id="{3AF39D16-9813-4345-A52D-02D8744347C2}"/>
                </a:ext>
              </a:extLst>
            </p:cNvPr>
            <p:cNvSpPr/>
            <p:nvPr/>
          </p:nvSpPr>
          <p:spPr>
            <a:xfrm>
              <a:off x="11531661" y="6691648"/>
              <a:ext cx="16507" cy="68726"/>
            </a:xfrm>
            <a:custGeom>
              <a:avLst/>
              <a:gdLst>
                <a:gd name="connsiteX0" fmla="*/ 30239 w 29251"/>
                <a:gd name="connsiteY0" fmla="*/ 21351 h 121784"/>
                <a:gd name="connsiteX1" fmla="*/ 28934 w 29251"/>
                <a:gd name="connsiteY1" fmla="*/ -296 h 121784"/>
                <a:gd name="connsiteX2" fmla="*/ 25526 w 29251"/>
                <a:gd name="connsiteY2" fmla="*/ -296 h 121784"/>
                <a:gd name="connsiteX3" fmla="*/ 26911 w 29251"/>
                <a:gd name="connsiteY3" fmla="*/ 20313 h 121784"/>
                <a:gd name="connsiteX4" fmla="*/ 24514 w 29251"/>
                <a:gd name="connsiteY4" fmla="*/ 51412 h 121784"/>
                <a:gd name="connsiteX5" fmla="*/ 17911 w 29251"/>
                <a:gd name="connsiteY5" fmla="*/ 81074 h 121784"/>
                <a:gd name="connsiteX6" fmla="*/ 17192 w 29251"/>
                <a:gd name="connsiteY6" fmla="*/ 83417 h 121784"/>
                <a:gd name="connsiteX7" fmla="*/ 6861 w 29251"/>
                <a:gd name="connsiteY7" fmla="*/ 109244 h 121784"/>
                <a:gd name="connsiteX8" fmla="*/ 1270 w 29251"/>
                <a:gd name="connsiteY8" fmla="*/ 118830 h 121784"/>
                <a:gd name="connsiteX9" fmla="*/ 1722 w 29251"/>
                <a:gd name="connsiteY9" fmla="*/ 121146 h 121784"/>
                <a:gd name="connsiteX10" fmla="*/ 2654 w 29251"/>
                <a:gd name="connsiteY10" fmla="*/ 121439 h 121784"/>
                <a:gd name="connsiteX11" fmla="*/ 4039 w 29251"/>
                <a:gd name="connsiteY11" fmla="*/ 120694 h 121784"/>
                <a:gd name="connsiteX12" fmla="*/ 10642 w 29251"/>
                <a:gd name="connsiteY12" fmla="*/ 109244 h 121784"/>
                <a:gd name="connsiteX13" fmla="*/ 20813 w 29251"/>
                <a:gd name="connsiteY13" fmla="*/ 83417 h 121784"/>
                <a:gd name="connsiteX14" fmla="*/ 21239 w 29251"/>
                <a:gd name="connsiteY14" fmla="*/ 82032 h 121784"/>
                <a:gd name="connsiteX15" fmla="*/ 27869 w 29251"/>
                <a:gd name="connsiteY15" fmla="*/ 52557 h 121784"/>
                <a:gd name="connsiteX16" fmla="*/ 30239 w 29251"/>
                <a:gd name="connsiteY16" fmla="*/ 21511 h 121784"/>
                <a:gd name="connsiteX17" fmla="*/ 30239 w 29251"/>
                <a:gd name="connsiteY17" fmla="*/ 21511 h 121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251" h="121784">
                  <a:moveTo>
                    <a:pt x="30239" y="21351"/>
                  </a:moveTo>
                  <a:cubicBezTo>
                    <a:pt x="30207" y="14117"/>
                    <a:pt x="29770" y="6891"/>
                    <a:pt x="28934" y="-296"/>
                  </a:cubicBezTo>
                  <a:cubicBezTo>
                    <a:pt x="27800" y="-362"/>
                    <a:pt x="26660" y="-362"/>
                    <a:pt x="25526" y="-296"/>
                  </a:cubicBezTo>
                  <a:cubicBezTo>
                    <a:pt x="26448" y="6534"/>
                    <a:pt x="26911" y="13419"/>
                    <a:pt x="26911" y="20313"/>
                  </a:cubicBezTo>
                  <a:cubicBezTo>
                    <a:pt x="26898" y="30724"/>
                    <a:pt x="26096" y="41121"/>
                    <a:pt x="24514" y="51412"/>
                  </a:cubicBezTo>
                  <a:cubicBezTo>
                    <a:pt x="22991" y="61437"/>
                    <a:pt x="20784" y="71347"/>
                    <a:pt x="17911" y="81074"/>
                  </a:cubicBezTo>
                  <a:lnTo>
                    <a:pt x="17192" y="83417"/>
                  </a:lnTo>
                  <a:cubicBezTo>
                    <a:pt x="14487" y="92302"/>
                    <a:pt x="11031" y="100942"/>
                    <a:pt x="6861" y="109244"/>
                  </a:cubicBezTo>
                  <a:cubicBezTo>
                    <a:pt x="5189" y="112549"/>
                    <a:pt x="3323" y="115749"/>
                    <a:pt x="1270" y="118830"/>
                  </a:cubicBezTo>
                  <a:cubicBezTo>
                    <a:pt x="761" y="119596"/>
                    <a:pt x="961" y="120630"/>
                    <a:pt x="1722" y="121146"/>
                  </a:cubicBezTo>
                  <a:cubicBezTo>
                    <a:pt x="1999" y="121330"/>
                    <a:pt x="2321" y="121431"/>
                    <a:pt x="2654" y="121439"/>
                  </a:cubicBezTo>
                  <a:cubicBezTo>
                    <a:pt x="3211" y="121436"/>
                    <a:pt x="3730" y="121157"/>
                    <a:pt x="4039" y="120694"/>
                  </a:cubicBezTo>
                  <a:cubicBezTo>
                    <a:pt x="6483" y="117024"/>
                    <a:pt x="8691" y="113198"/>
                    <a:pt x="10642" y="109244"/>
                  </a:cubicBezTo>
                  <a:cubicBezTo>
                    <a:pt x="14729" y="100926"/>
                    <a:pt x="18129" y="92289"/>
                    <a:pt x="20813" y="83417"/>
                  </a:cubicBezTo>
                  <a:cubicBezTo>
                    <a:pt x="20813" y="82938"/>
                    <a:pt x="21080" y="82485"/>
                    <a:pt x="21239" y="82032"/>
                  </a:cubicBezTo>
                  <a:cubicBezTo>
                    <a:pt x="24123" y="72370"/>
                    <a:pt x="26338" y="62523"/>
                    <a:pt x="27869" y="52557"/>
                  </a:cubicBezTo>
                  <a:cubicBezTo>
                    <a:pt x="29483" y="42287"/>
                    <a:pt x="30276" y="31906"/>
                    <a:pt x="30239" y="21511"/>
                  </a:cubicBezTo>
                  <a:lnTo>
                    <a:pt x="30239" y="21511"/>
                  </a:lnTo>
                  <a:close/>
                </a:path>
              </a:pathLst>
            </a:custGeom>
            <a:solidFill>
              <a:srgbClr val="8FD942"/>
            </a:solidFill>
            <a:ln w="2661" cap="flat">
              <a:noFill/>
              <a:prstDash val="solid"/>
              <a:miter/>
            </a:ln>
          </p:spPr>
          <p:txBody>
            <a:bodyPr rtlCol="0" anchor="ctr"/>
            <a:lstStyle/>
            <a:p>
              <a:endParaRPr lang="pl-PL"/>
            </a:p>
          </p:txBody>
        </p:sp>
        <p:sp>
          <p:nvSpPr>
            <p:cNvPr id="107" name="Freeform: Shape 106">
              <a:extLst>
                <a:ext uri="{FF2B5EF4-FFF2-40B4-BE49-F238E27FC236}">
                  <a16:creationId xmlns:a16="http://schemas.microsoft.com/office/drawing/2014/main" id="{9CCA8D8E-1D15-4F48-A54A-BDA2FE5F4B97}"/>
                </a:ext>
              </a:extLst>
            </p:cNvPr>
            <p:cNvSpPr/>
            <p:nvPr/>
          </p:nvSpPr>
          <p:spPr>
            <a:xfrm>
              <a:off x="11646242" y="6644465"/>
              <a:ext cx="64654" cy="65032"/>
            </a:xfrm>
            <a:custGeom>
              <a:avLst/>
              <a:gdLst>
                <a:gd name="connsiteX0" fmla="*/ 989 w 114568"/>
                <a:gd name="connsiteY0" fmla="*/ 56475 h 115237"/>
                <a:gd name="connsiteX1" fmla="*/ 60738 w 114568"/>
                <a:gd name="connsiteY1" fmla="*/ 114892 h 115237"/>
                <a:gd name="connsiteX2" fmla="*/ 112233 w 114568"/>
                <a:gd name="connsiteY2" fmla="*/ 83340 h 115237"/>
                <a:gd name="connsiteX3" fmla="*/ 105550 w 114568"/>
                <a:gd name="connsiteY3" fmla="*/ 75219 h 115237"/>
                <a:gd name="connsiteX4" fmla="*/ 87870 w 114568"/>
                <a:gd name="connsiteY4" fmla="*/ 75219 h 115237"/>
                <a:gd name="connsiteX5" fmla="*/ 79057 w 114568"/>
                <a:gd name="connsiteY5" fmla="*/ 80545 h 115237"/>
                <a:gd name="connsiteX6" fmla="*/ 59833 w 114568"/>
                <a:gd name="connsiteY6" fmla="*/ 87361 h 115237"/>
                <a:gd name="connsiteX7" fmla="*/ 37440 w 114568"/>
                <a:gd name="connsiteY7" fmla="*/ 72850 h 115237"/>
                <a:gd name="connsiteX8" fmla="*/ 35523 w 114568"/>
                <a:gd name="connsiteY8" fmla="*/ 66646 h 115237"/>
                <a:gd name="connsiteX9" fmla="*/ 109011 w 114568"/>
                <a:gd name="connsiteY9" fmla="*/ 66646 h 115237"/>
                <a:gd name="connsiteX10" fmla="*/ 115447 w 114568"/>
                <a:gd name="connsiteY10" fmla="*/ 61488 h 115237"/>
                <a:gd name="connsiteX11" fmla="*/ 115481 w 114568"/>
                <a:gd name="connsiteY11" fmla="*/ 60895 h 115237"/>
                <a:gd name="connsiteX12" fmla="*/ 60685 w 114568"/>
                <a:gd name="connsiteY12" fmla="*/ -346 h 115237"/>
                <a:gd name="connsiteX13" fmla="*/ 989 w 114568"/>
                <a:gd name="connsiteY13" fmla="*/ 56368 h 115237"/>
                <a:gd name="connsiteX14" fmla="*/ 59380 w 114568"/>
                <a:gd name="connsiteY14" fmla="*/ 26946 h 115237"/>
                <a:gd name="connsiteX15" fmla="*/ 81533 w 114568"/>
                <a:gd name="connsiteY15" fmla="*/ 46303 h 115237"/>
                <a:gd name="connsiteX16" fmla="*/ 42605 w 114568"/>
                <a:gd name="connsiteY16" fmla="*/ 46303 h 115237"/>
                <a:gd name="connsiteX17" fmla="*/ 35683 w 114568"/>
                <a:gd name="connsiteY17" fmla="*/ 46303 h 115237"/>
                <a:gd name="connsiteX18" fmla="*/ 59380 w 114568"/>
                <a:gd name="connsiteY18" fmla="*/ 26973 h 11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4568" h="115237">
                  <a:moveTo>
                    <a:pt x="989" y="56475"/>
                  </a:moveTo>
                  <a:cubicBezTo>
                    <a:pt x="989" y="91089"/>
                    <a:pt x="27322" y="114892"/>
                    <a:pt x="60738" y="114892"/>
                  </a:cubicBezTo>
                  <a:cubicBezTo>
                    <a:pt x="87364" y="114892"/>
                    <a:pt x="105789" y="101446"/>
                    <a:pt x="112233" y="83340"/>
                  </a:cubicBezTo>
                  <a:cubicBezTo>
                    <a:pt x="113963" y="78415"/>
                    <a:pt x="110742" y="75219"/>
                    <a:pt x="105550" y="75219"/>
                  </a:cubicBezTo>
                  <a:lnTo>
                    <a:pt x="87870" y="75219"/>
                  </a:lnTo>
                  <a:cubicBezTo>
                    <a:pt x="83796" y="75219"/>
                    <a:pt x="81639" y="77350"/>
                    <a:pt x="79057" y="80545"/>
                  </a:cubicBezTo>
                  <a:cubicBezTo>
                    <a:pt x="75808" y="84379"/>
                    <a:pt x="69098" y="87361"/>
                    <a:pt x="59833" y="87361"/>
                  </a:cubicBezTo>
                  <a:cubicBezTo>
                    <a:pt x="50034" y="87806"/>
                    <a:pt x="41037" y="81975"/>
                    <a:pt x="37440" y="72850"/>
                  </a:cubicBezTo>
                  <a:cubicBezTo>
                    <a:pt x="36641" y="70834"/>
                    <a:pt x="35999" y="68760"/>
                    <a:pt x="35523" y="66646"/>
                  </a:cubicBezTo>
                  <a:lnTo>
                    <a:pt x="109011" y="66646"/>
                  </a:lnTo>
                  <a:cubicBezTo>
                    <a:pt x="112212" y="67000"/>
                    <a:pt x="115092" y="64689"/>
                    <a:pt x="115447" y="61488"/>
                  </a:cubicBezTo>
                  <a:cubicBezTo>
                    <a:pt x="115468" y="61291"/>
                    <a:pt x="115479" y="61094"/>
                    <a:pt x="115481" y="60895"/>
                  </a:cubicBezTo>
                  <a:cubicBezTo>
                    <a:pt x="117185" y="22926"/>
                    <a:pt x="89787" y="-346"/>
                    <a:pt x="60685" y="-346"/>
                  </a:cubicBezTo>
                  <a:cubicBezTo>
                    <a:pt x="26070" y="-346"/>
                    <a:pt x="989" y="22233"/>
                    <a:pt x="989" y="56368"/>
                  </a:cubicBezTo>
                  <a:moveTo>
                    <a:pt x="59380" y="26946"/>
                  </a:moveTo>
                  <a:cubicBezTo>
                    <a:pt x="79616" y="26946"/>
                    <a:pt x="81533" y="46303"/>
                    <a:pt x="81533" y="46303"/>
                  </a:cubicBezTo>
                  <a:lnTo>
                    <a:pt x="42605" y="46303"/>
                  </a:lnTo>
                  <a:lnTo>
                    <a:pt x="35683" y="46303"/>
                  </a:lnTo>
                  <a:cubicBezTo>
                    <a:pt x="35683" y="46303"/>
                    <a:pt x="39171" y="26973"/>
                    <a:pt x="59380" y="26973"/>
                  </a:cubicBezTo>
                </a:path>
              </a:pathLst>
            </a:custGeom>
            <a:solidFill>
              <a:srgbClr val="FFFFFF"/>
            </a:solidFill>
            <a:ln w="2661" cap="flat">
              <a:noFill/>
              <a:prstDash val="solid"/>
              <a:miter/>
            </a:ln>
          </p:spPr>
          <p:txBody>
            <a:bodyPr rtlCol="0" anchor="ctr"/>
            <a:lstStyle/>
            <a:p>
              <a:endParaRPr lang="pl-PL"/>
            </a:p>
          </p:txBody>
        </p:sp>
        <p:sp>
          <p:nvSpPr>
            <p:cNvPr id="108" name="Freeform: Shape 107">
              <a:extLst>
                <a:ext uri="{FF2B5EF4-FFF2-40B4-BE49-F238E27FC236}">
                  <a16:creationId xmlns:a16="http://schemas.microsoft.com/office/drawing/2014/main" id="{5F3B117F-706C-4EC4-BF32-897D1A1767F9}"/>
                </a:ext>
              </a:extLst>
            </p:cNvPr>
            <p:cNvSpPr/>
            <p:nvPr/>
          </p:nvSpPr>
          <p:spPr>
            <a:xfrm>
              <a:off x="11719462" y="6644495"/>
              <a:ext cx="64897" cy="89810"/>
            </a:xfrm>
            <a:custGeom>
              <a:avLst/>
              <a:gdLst>
                <a:gd name="connsiteX0" fmla="*/ 115987 w 114998"/>
                <a:gd name="connsiteY0" fmla="*/ 57140 h 159144"/>
                <a:gd name="connsiteX1" fmla="*/ 58501 w 114998"/>
                <a:gd name="connsiteY1" fmla="*/ -346 h 159144"/>
                <a:gd name="connsiteX2" fmla="*/ 58475 w 114998"/>
                <a:gd name="connsiteY2" fmla="*/ -346 h 159144"/>
                <a:gd name="connsiteX3" fmla="*/ 29958 w 114998"/>
                <a:gd name="connsiteY3" fmla="*/ 7269 h 159144"/>
                <a:gd name="connsiteX4" fmla="*/ 23142 w 114998"/>
                <a:gd name="connsiteY4" fmla="*/ 1784 h 159144"/>
                <a:gd name="connsiteX5" fmla="*/ 8178 w 114998"/>
                <a:gd name="connsiteY5" fmla="*/ 1784 h 159144"/>
                <a:gd name="connsiteX6" fmla="*/ 989 w 114998"/>
                <a:gd name="connsiteY6" fmla="*/ 8947 h 159144"/>
                <a:gd name="connsiteX7" fmla="*/ 989 w 114998"/>
                <a:gd name="connsiteY7" fmla="*/ 57114 h 159144"/>
                <a:gd name="connsiteX8" fmla="*/ 989 w 114998"/>
                <a:gd name="connsiteY8" fmla="*/ 57114 h 159144"/>
                <a:gd name="connsiteX9" fmla="*/ 989 w 114998"/>
                <a:gd name="connsiteY9" fmla="*/ 151610 h 159144"/>
                <a:gd name="connsiteX10" fmla="*/ 8178 w 114998"/>
                <a:gd name="connsiteY10" fmla="*/ 158799 h 159144"/>
                <a:gd name="connsiteX11" fmla="*/ 23142 w 114998"/>
                <a:gd name="connsiteY11" fmla="*/ 158799 h 159144"/>
                <a:gd name="connsiteX12" fmla="*/ 30304 w 114998"/>
                <a:gd name="connsiteY12" fmla="*/ 151610 h 159144"/>
                <a:gd name="connsiteX13" fmla="*/ 30304 w 114998"/>
                <a:gd name="connsiteY13" fmla="*/ 107197 h 159144"/>
                <a:gd name="connsiteX14" fmla="*/ 58475 w 114998"/>
                <a:gd name="connsiteY14" fmla="*/ 114599 h 159144"/>
                <a:gd name="connsiteX15" fmla="*/ 115934 w 114998"/>
                <a:gd name="connsiteY15" fmla="*/ 57140 h 159144"/>
                <a:gd name="connsiteX16" fmla="*/ 86432 w 114998"/>
                <a:gd name="connsiteY16" fmla="*/ 57140 h 159144"/>
                <a:gd name="connsiteX17" fmla="*/ 58475 w 114998"/>
                <a:gd name="connsiteY17" fmla="*/ 85098 h 159144"/>
                <a:gd name="connsiteX18" fmla="*/ 30491 w 114998"/>
                <a:gd name="connsiteY18" fmla="*/ 57140 h 159144"/>
                <a:gd name="connsiteX19" fmla="*/ 58475 w 114998"/>
                <a:gd name="connsiteY19" fmla="*/ 29156 h 159144"/>
                <a:gd name="connsiteX20" fmla="*/ 86432 w 114998"/>
                <a:gd name="connsiteY20" fmla="*/ 57140 h 159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998" h="159144">
                  <a:moveTo>
                    <a:pt x="115987" y="57140"/>
                  </a:moveTo>
                  <a:cubicBezTo>
                    <a:pt x="115987" y="25391"/>
                    <a:pt x="90250" y="-346"/>
                    <a:pt x="58501" y="-346"/>
                  </a:cubicBezTo>
                  <a:cubicBezTo>
                    <a:pt x="58493" y="-346"/>
                    <a:pt x="58483" y="-346"/>
                    <a:pt x="58475" y="-346"/>
                  </a:cubicBezTo>
                  <a:cubicBezTo>
                    <a:pt x="48466" y="-346"/>
                    <a:pt x="38633" y="2280"/>
                    <a:pt x="29958" y="7269"/>
                  </a:cubicBezTo>
                  <a:cubicBezTo>
                    <a:pt x="29220" y="4088"/>
                    <a:pt x="26406" y="1824"/>
                    <a:pt x="23142" y="1784"/>
                  </a:cubicBezTo>
                  <a:lnTo>
                    <a:pt x="8178" y="1784"/>
                  </a:lnTo>
                  <a:cubicBezTo>
                    <a:pt x="4224" y="1798"/>
                    <a:pt x="1018" y="4993"/>
                    <a:pt x="989" y="8947"/>
                  </a:cubicBezTo>
                  <a:lnTo>
                    <a:pt x="989" y="57114"/>
                  </a:lnTo>
                  <a:lnTo>
                    <a:pt x="989" y="57114"/>
                  </a:lnTo>
                  <a:lnTo>
                    <a:pt x="989" y="151610"/>
                  </a:lnTo>
                  <a:cubicBezTo>
                    <a:pt x="1002" y="155574"/>
                    <a:pt x="4213" y="158786"/>
                    <a:pt x="8178" y="158799"/>
                  </a:cubicBezTo>
                  <a:lnTo>
                    <a:pt x="23142" y="158799"/>
                  </a:lnTo>
                  <a:cubicBezTo>
                    <a:pt x="27096" y="158770"/>
                    <a:pt x="30291" y="155564"/>
                    <a:pt x="30304" y="151610"/>
                  </a:cubicBezTo>
                  <a:lnTo>
                    <a:pt x="30304" y="107197"/>
                  </a:lnTo>
                  <a:cubicBezTo>
                    <a:pt x="38899" y="112051"/>
                    <a:pt x="48604" y="114602"/>
                    <a:pt x="58475" y="114599"/>
                  </a:cubicBezTo>
                  <a:cubicBezTo>
                    <a:pt x="90208" y="114599"/>
                    <a:pt x="115934" y="88873"/>
                    <a:pt x="115934" y="57140"/>
                  </a:cubicBezTo>
                  <a:moveTo>
                    <a:pt x="86432" y="57140"/>
                  </a:moveTo>
                  <a:cubicBezTo>
                    <a:pt x="86432" y="72581"/>
                    <a:pt x="73915" y="85098"/>
                    <a:pt x="58475" y="85098"/>
                  </a:cubicBezTo>
                  <a:cubicBezTo>
                    <a:pt x="43029" y="85098"/>
                    <a:pt x="30506" y="72586"/>
                    <a:pt x="30491" y="57140"/>
                  </a:cubicBezTo>
                  <a:cubicBezTo>
                    <a:pt x="30504" y="41692"/>
                    <a:pt x="43026" y="29172"/>
                    <a:pt x="58475" y="29156"/>
                  </a:cubicBezTo>
                  <a:cubicBezTo>
                    <a:pt x="73921" y="29172"/>
                    <a:pt x="86432" y="41694"/>
                    <a:pt x="86432" y="57140"/>
                  </a:cubicBezTo>
                </a:path>
              </a:pathLst>
            </a:custGeom>
            <a:solidFill>
              <a:srgbClr val="FFFFFF"/>
            </a:solidFill>
            <a:ln w="2661" cap="flat">
              <a:noFill/>
              <a:prstDash val="solid"/>
              <a:miter/>
            </a:ln>
          </p:spPr>
          <p:txBody>
            <a:bodyPr rtlCol="0" anchor="ctr"/>
            <a:lstStyle/>
            <a:p>
              <a:endParaRPr lang="pl-PL"/>
            </a:p>
          </p:txBody>
        </p:sp>
        <p:sp>
          <p:nvSpPr>
            <p:cNvPr id="109" name="Freeform: Shape 108">
              <a:extLst>
                <a:ext uri="{FF2B5EF4-FFF2-40B4-BE49-F238E27FC236}">
                  <a16:creationId xmlns:a16="http://schemas.microsoft.com/office/drawing/2014/main" id="{531E02BB-382F-42CE-91DC-E53CBAF682CC}"/>
                </a:ext>
              </a:extLst>
            </p:cNvPr>
            <p:cNvSpPr/>
            <p:nvPr/>
          </p:nvSpPr>
          <p:spPr>
            <a:xfrm>
              <a:off x="11792669" y="6644495"/>
              <a:ext cx="64867" cy="64867"/>
            </a:xfrm>
            <a:custGeom>
              <a:avLst/>
              <a:gdLst>
                <a:gd name="connsiteX0" fmla="*/ 115934 w 114945"/>
                <a:gd name="connsiteY0" fmla="*/ 64596 h 114945"/>
                <a:gd name="connsiteX1" fmla="*/ 115934 w 114945"/>
                <a:gd name="connsiteY1" fmla="*/ 49632 h 114945"/>
                <a:gd name="connsiteX2" fmla="*/ 108745 w 114945"/>
                <a:gd name="connsiteY2" fmla="*/ 42443 h 114945"/>
                <a:gd name="connsiteX3" fmla="*/ 73119 w 114945"/>
                <a:gd name="connsiteY3" fmla="*/ 42443 h 114945"/>
                <a:gd name="connsiteX4" fmla="*/ 73119 w 114945"/>
                <a:gd name="connsiteY4" fmla="*/ 6843 h 114945"/>
                <a:gd name="connsiteX5" fmla="*/ 65930 w 114945"/>
                <a:gd name="connsiteY5" fmla="*/ -346 h 114945"/>
                <a:gd name="connsiteX6" fmla="*/ 50993 w 114945"/>
                <a:gd name="connsiteY6" fmla="*/ -346 h 114945"/>
                <a:gd name="connsiteX7" fmla="*/ 43804 w 114945"/>
                <a:gd name="connsiteY7" fmla="*/ 6843 h 114945"/>
                <a:gd name="connsiteX8" fmla="*/ 43804 w 114945"/>
                <a:gd name="connsiteY8" fmla="*/ 42469 h 114945"/>
                <a:gd name="connsiteX9" fmla="*/ 8178 w 114945"/>
                <a:gd name="connsiteY9" fmla="*/ 42469 h 114945"/>
                <a:gd name="connsiteX10" fmla="*/ 989 w 114945"/>
                <a:gd name="connsiteY10" fmla="*/ 49658 h 114945"/>
                <a:gd name="connsiteX11" fmla="*/ 989 w 114945"/>
                <a:gd name="connsiteY11" fmla="*/ 64596 h 114945"/>
                <a:gd name="connsiteX12" fmla="*/ 8178 w 114945"/>
                <a:gd name="connsiteY12" fmla="*/ 71785 h 114945"/>
                <a:gd name="connsiteX13" fmla="*/ 43804 w 114945"/>
                <a:gd name="connsiteY13" fmla="*/ 71785 h 114945"/>
                <a:gd name="connsiteX14" fmla="*/ 43804 w 114945"/>
                <a:gd name="connsiteY14" fmla="*/ 107410 h 114945"/>
                <a:gd name="connsiteX15" fmla="*/ 50993 w 114945"/>
                <a:gd name="connsiteY15" fmla="*/ 114599 h 114945"/>
                <a:gd name="connsiteX16" fmla="*/ 65930 w 114945"/>
                <a:gd name="connsiteY16" fmla="*/ 114599 h 114945"/>
                <a:gd name="connsiteX17" fmla="*/ 73119 w 114945"/>
                <a:gd name="connsiteY17" fmla="*/ 107410 h 114945"/>
                <a:gd name="connsiteX18" fmla="*/ 73119 w 114945"/>
                <a:gd name="connsiteY18" fmla="*/ 71785 h 114945"/>
                <a:gd name="connsiteX19" fmla="*/ 108745 w 114945"/>
                <a:gd name="connsiteY19" fmla="*/ 71785 h 114945"/>
                <a:gd name="connsiteX20" fmla="*/ 115934 w 114945"/>
                <a:gd name="connsiteY20" fmla="*/ 64596 h 114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945" h="114945">
                  <a:moveTo>
                    <a:pt x="115934" y="64596"/>
                  </a:moveTo>
                  <a:lnTo>
                    <a:pt x="115934" y="49632"/>
                  </a:lnTo>
                  <a:cubicBezTo>
                    <a:pt x="115918" y="45667"/>
                    <a:pt x="112709" y="42456"/>
                    <a:pt x="108745" y="42443"/>
                  </a:cubicBezTo>
                  <a:lnTo>
                    <a:pt x="73119" y="42443"/>
                  </a:lnTo>
                  <a:lnTo>
                    <a:pt x="73119" y="6843"/>
                  </a:lnTo>
                  <a:cubicBezTo>
                    <a:pt x="73103" y="2879"/>
                    <a:pt x="69894" y="-332"/>
                    <a:pt x="65930" y="-346"/>
                  </a:cubicBezTo>
                  <a:lnTo>
                    <a:pt x="50993" y="-346"/>
                  </a:lnTo>
                  <a:cubicBezTo>
                    <a:pt x="47028" y="-330"/>
                    <a:pt x="43817" y="2879"/>
                    <a:pt x="43804" y="6843"/>
                  </a:cubicBezTo>
                  <a:lnTo>
                    <a:pt x="43804" y="42469"/>
                  </a:lnTo>
                  <a:lnTo>
                    <a:pt x="8178" y="42469"/>
                  </a:lnTo>
                  <a:cubicBezTo>
                    <a:pt x="4213" y="42483"/>
                    <a:pt x="1002" y="45694"/>
                    <a:pt x="989" y="49658"/>
                  </a:cubicBezTo>
                  <a:lnTo>
                    <a:pt x="989" y="64596"/>
                  </a:lnTo>
                  <a:cubicBezTo>
                    <a:pt x="1002" y="68560"/>
                    <a:pt x="4213" y="71771"/>
                    <a:pt x="8178" y="71785"/>
                  </a:cubicBezTo>
                  <a:lnTo>
                    <a:pt x="43804" y="71785"/>
                  </a:lnTo>
                  <a:lnTo>
                    <a:pt x="43804" y="107410"/>
                  </a:lnTo>
                  <a:cubicBezTo>
                    <a:pt x="43820" y="111375"/>
                    <a:pt x="47028" y="114586"/>
                    <a:pt x="50993" y="114599"/>
                  </a:cubicBezTo>
                  <a:lnTo>
                    <a:pt x="65930" y="114599"/>
                  </a:lnTo>
                  <a:cubicBezTo>
                    <a:pt x="69900" y="114599"/>
                    <a:pt x="73119" y="111380"/>
                    <a:pt x="73119" y="107410"/>
                  </a:cubicBezTo>
                  <a:lnTo>
                    <a:pt x="73119" y="71785"/>
                  </a:lnTo>
                  <a:lnTo>
                    <a:pt x="108745" y="71785"/>
                  </a:lnTo>
                  <a:cubicBezTo>
                    <a:pt x="112709" y="71771"/>
                    <a:pt x="115918" y="68560"/>
                    <a:pt x="115934" y="64596"/>
                  </a:cubicBezTo>
                </a:path>
              </a:pathLst>
            </a:custGeom>
            <a:solidFill>
              <a:srgbClr val="8FDB42"/>
            </a:solidFill>
            <a:ln w="2661" cap="flat">
              <a:noFill/>
              <a:prstDash val="solid"/>
              <a:miter/>
            </a:ln>
          </p:spPr>
          <p:txBody>
            <a:bodyPr rtlCol="0" anchor="ctr"/>
            <a:lstStyle/>
            <a:p>
              <a:endParaRPr lang="pl-PL"/>
            </a:p>
          </p:txBody>
        </p:sp>
        <p:sp>
          <p:nvSpPr>
            <p:cNvPr id="110" name="Freeform: Shape 109">
              <a:extLst>
                <a:ext uri="{FF2B5EF4-FFF2-40B4-BE49-F238E27FC236}">
                  <a16:creationId xmlns:a16="http://schemas.microsoft.com/office/drawing/2014/main" id="{D84F7CC4-903E-4CFE-960F-7E5A63175969}"/>
                </a:ext>
              </a:extLst>
            </p:cNvPr>
            <p:cNvSpPr/>
            <p:nvPr/>
          </p:nvSpPr>
          <p:spPr>
            <a:xfrm>
              <a:off x="11574954" y="6644781"/>
              <a:ext cx="64867" cy="89524"/>
            </a:xfrm>
            <a:custGeom>
              <a:avLst/>
              <a:gdLst>
                <a:gd name="connsiteX0" fmla="*/ 115934 w 114945"/>
                <a:gd name="connsiteY0" fmla="*/ 57114 h 158638"/>
                <a:gd name="connsiteX1" fmla="*/ 58475 w 114945"/>
                <a:gd name="connsiteY1" fmla="*/ -346 h 158638"/>
                <a:gd name="connsiteX2" fmla="*/ 29905 w 114945"/>
                <a:gd name="connsiteY2" fmla="*/ 7296 h 158638"/>
                <a:gd name="connsiteX3" fmla="*/ 23115 w 114945"/>
                <a:gd name="connsiteY3" fmla="*/ 2131 h 158638"/>
                <a:gd name="connsiteX4" fmla="*/ 8178 w 114945"/>
                <a:gd name="connsiteY4" fmla="*/ 2131 h 158638"/>
                <a:gd name="connsiteX5" fmla="*/ 989 w 114945"/>
                <a:gd name="connsiteY5" fmla="*/ 9320 h 158638"/>
                <a:gd name="connsiteX6" fmla="*/ 989 w 114945"/>
                <a:gd name="connsiteY6" fmla="*/ 57114 h 158638"/>
                <a:gd name="connsiteX7" fmla="*/ 989 w 114945"/>
                <a:gd name="connsiteY7" fmla="*/ 57114 h 158638"/>
                <a:gd name="connsiteX8" fmla="*/ 989 w 114945"/>
                <a:gd name="connsiteY8" fmla="*/ 151104 h 158638"/>
                <a:gd name="connsiteX9" fmla="*/ 8178 w 114945"/>
                <a:gd name="connsiteY9" fmla="*/ 158293 h 158638"/>
                <a:gd name="connsiteX10" fmla="*/ 23115 w 114945"/>
                <a:gd name="connsiteY10" fmla="*/ 158293 h 158638"/>
                <a:gd name="connsiteX11" fmla="*/ 30304 w 114945"/>
                <a:gd name="connsiteY11" fmla="*/ 151104 h 158638"/>
                <a:gd name="connsiteX12" fmla="*/ 30304 w 114945"/>
                <a:gd name="connsiteY12" fmla="*/ 107171 h 158638"/>
                <a:gd name="connsiteX13" fmla="*/ 58475 w 114945"/>
                <a:gd name="connsiteY13" fmla="*/ 114573 h 158638"/>
                <a:gd name="connsiteX14" fmla="*/ 115934 w 114945"/>
                <a:gd name="connsiteY14" fmla="*/ 57114 h 158638"/>
                <a:gd name="connsiteX15" fmla="*/ 86432 w 114945"/>
                <a:gd name="connsiteY15" fmla="*/ 57114 h 158638"/>
                <a:gd name="connsiteX16" fmla="*/ 58475 w 114945"/>
                <a:gd name="connsiteY16" fmla="*/ 85098 h 158638"/>
                <a:gd name="connsiteX17" fmla="*/ 30491 w 114945"/>
                <a:gd name="connsiteY17" fmla="*/ 57114 h 158638"/>
                <a:gd name="connsiteX18" fmla="*/ 58475 w 114945"/>
                <a:gd name="connsiteY18" fmla="*/ 29156 h 158638"/>
                <a:gd name="connsiteX19" fmla="*/ 86432 w 114945"/>
                <a:gd name="connsiteY19" fmla="*/ 57114 h 158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4945" h="158638">
                  <a:moveTo>
                    <a:pt x="115934" y="57114"/>
                  </a:moveTo>
                  <a:cubicBezTo>
                    <a:pt x="115934" y="25381"/>
                    <a:pt x="90208" y="-346"/>
                    <a:pt x="58475" y="-346"/>
                  </a:cubicBezTo>
                  <a:cubicBezTo>
                    <a:pt x="48447" y="-340"/>
                    <a:pt x="38596" y="2293"/>
                    <a:pt x="29905" y="7296"/>
                  </a:cubicBezTo>
                  <a:cubicBezTo>
                    <a:pt x="29034" y="4261"/>
                    <a:pt x="26273" y="2160"/>
                    <a:pt x="23115" y="2131"/>
                  </a:cubicBezTo>
                  <a:lnTo>
                    <a:pt x="8178" y="2131"/>
                  </a:lnTo>
                  <a:cubicBezTo>
                    <a:pt x="4213" y="2144"/>
                    <a:pt x="1002" y="5355"/>
                    <a:pt x="989" y="9320"/>
                  </a:cubicBezTo>
                  <a:lnTo>
                    <a:pt x="989" y="57114"/>
                  </a:lnTo>
                  <a:lnTo>
                    <a:pt x="989" y="57114"/>
                  </a:lnTo>
                  <a:lnTo>
                    <a:pt x="989" y="151104"/>
                  </a:lnTo>
                  <a:cubicBezTo>
                    <a:pt x="1002" y="155069"/>
                    <a:pt x="4213" y="158280"/>
                    <a:pt x="8178" y="158293"/>
                  </a:cubicBezTo>
                  <a:lnTo>
                    <a:pt x="23115" y="158293"/>
                  </a:lnTo>
                  <a:cubicBezTo>
                    <a:pt x="27080" y="158280"/>
                    <a:pt x="30291" y="155069"/>
                    <a:pt x="30304" y="151104"/>
                  </a:cubicBezTo>
                  <a:lnTo>
                    <a:pt x="30304" y="107171"/>
                  </a:lnTo>
                  <a:cubicBezTo>
                    <a:pt x="38899" y="112025"/>
                    <a:pt x="48604" y="114575"/>
                    <a:pt x="58475" y="114573"/>
                  </a:cubicBezTo>
                  <a:cubicBezTo>
                    <a:pt x="90202" y="114557"/>
                    <a:pt x="115918" y="88841"/>
                    <a:pt x="115934" y="57114"/>
                  </a:cubicBezTo>
                  <a:moveTo>
                    <a:pt x="86432" y="57114"/>
                  </a:moveTo>
                  <a:cubicBezTo>
                    <a:pt x="86432" y="72559"/>
                    <a:pt x="73920" y="85082"/>
                    <a:pt x="58475" y="85098"/>
                  </a:cubicBezTo>
                  <a:cubicBezTo>
                    <a:pt x="43026" y="85082"/>
                    <a:pt x="30506" y="72562"/>
                    <a:pt x="30491" y="57114"/>
                  </a:cubicBezTo>
                  <a:cubicBezTo>
                    <a:pt x="30506" y="41668"/>
                    <a:pt x="43029" y="29156"/>
                    <a:pt x="58475" y="29156"/>
                  </a:cubicBezTo>
                  <a:cubicBezTo>
                    <a:pt x="73915" y="29156"/>
                    <a:pt x="86432" y="41673"/>
                    <a:pt x="86432" y="57114"/>
                  </a:cubicBezTo>
                </a:path>
              </a:pathLst>
            </a:custGeom>
            <a:solidFill>
              <a:srgbClr val="FFFFFF"/>
            </a:solidFill>
            <a:ln w="2661" cap="flat">
              <a:noFill/>
              <a:prstDash val="solid"/>
              <a:miter/>
            </a:ln>
          </p:spPr>
          <p:txBody>
            <a:bodyPr rtlCol="0" anchor="ctr"/>
            <a:lstStyle/>
            <a:p>
              <a:endParaRPr lang="pl-PL"/>
            </a:p>
          </p:txBody>
        </p:sp>
        <p:sp>
          <p:nvSpPr>
            <p:cNvPr id="111" name="Freeform: Shape 110">
              <a:extLst>
                <a:ext uri="{FF2B5EF4-FFF2-40B4-BE49-F238E27FC236}">
                  <a16:creationId xmlns:a16="http://schemas.microsoft.com/office/drawing/2014/main" id="{235D8B8C-13DF-4A94-B8E3-F60FA7F3D81C}"/>
                </a:ext>
              </a:extLst>
            </p:cNvPr>
            <p:cNvSpPr/>
            <p:nvPr/>
          </p:nvSpPr>
          <p:spPr>
            <a:xfrm>
              <a:off x="11574969" y="6750860"/>
              <a:ext cx="19691" cy="26558"/>
            </a:xfrm>
            <a:custGeom>
              <a:avLst/>
              <a:gdLst>
                <a:gd name="connsiteX0" fmla="*/ 1103 w 34893"/>
                <a:gd name="connsiteY0" fmla="*/ 44632 h 47062"/>
                <a:gd name="connsiteX1" fmla="*/ 1103 w 34893"/>
                <a:gd name="connsiteY1" fmla="*/ 2270 h 47062"/>
                <a:gd name="connsiteX2" fmla="*/ 2765 w 34893"/>
                <a:gd name="connsiteY2" fmla="*/ 273 h 47062"/>
                <a:gd name="connsiteX3" fmla="*/ 3100 w 34893"/>
                <a:gd name="connsiteY3" fmla="*/ 273 h 47062"/>
                <a:gd name="connsiteX4" fmla="*/ 5124 w 34893"/>
                <a:gd name="connsiteY4" fmla="*/ 273 h 47062"/>
                <a:gd name="connsiteX5" fmla="*/ 7387 w 34893"/>
                <a:gd name="connsiteY5" fmla="*/ 1897 h 47062"/>
                <a:gd name="connsiteX6" fmla="*/ 9704 w 34893"/>
                <a:gd name="connsiteY6" fmla="*/ 2589 h 47062"/>
                <a:gd name="connsiteX7" fmla="*/ 19316 w 34893"/>
                <a:gd name="connsiteY7" fmla="*/ -339 h 47062"/>
                <a:gd name="connsiteX8" fmla="*/ 35880 w 34893"/>
                <a:gd name="connsiteY8" fmla="*/ 16060 h 47062"/>
                <a:gd name="connsiteX9" fmla="*/ 35877 w 34893"/>
                <a:gd name="connsiteY9" fmla="*/ 16462 h 47062"/>
                <a:gd name="connsiteX10" fmla="*/ 19667 w 34893"/>
                <a:gd name="connsiteY10" fmla="*/ 33524 h 47062"/>
                <a:gd name="connsiteX11" fmla="*/ 19182 w 34893"/>
                <a:gd name="connsiteY11" fmla="*/ 33529 h 47062"/>
                <a:gd name="connsiteX12" fmla="*/ 11195 w 34893"/>
                <a:gd name="connsiteY12" fmla="*/ 31585 h 47062"/>
                <a:gd name="connsiteX13" fmla="*/ 9118 w 34893"/>
                <a:gd name="connsiteY13" fmla="*/ 32597 h 47062"/>
                <a:gd name="connsiteX14" fmla="*/ 9118 w 34893"/>
                <a:gd name="connsiteY14" fmla="*/ 44712 h 47062"/>
                <a:gd name="connsiteX15" fmla="*/ 7456 w 34893"/>
                <a:gd name="connsiteY15" fmla="*/ 46709 h 47062"/>
                <a:gd name="connsiteX16" fmla="*/ 7121 w 34893"/>
                <a:gd name="connsiteY16" fmla="*/ 46709 h 47062"/>
                <a:gd name="connsiteX17" fmla="*/ 2994 w 34893"/>
                <a:gd name="connsiteY17" fmla="*/ 46709 h 47062"/>
                <a:gd name="connsiteX18" fmla="*/ 997 w 34893"/>
                <a:gd name="connsiteY18" fmla="*/ 45048 h 47062"/>
                <a:gd name="connsiteX19" fmla="*/ 997 w 34893"/>
                <a:gd name="connsiteY19" fmla="*/ 44712 h 47062"/>
                <a:gd name="connsiteX20" fmla="*/ 10236 w 34893"/>
                <a:gd name="connsiteY20" fmla="*/ 22106 h 47062"/>
                <a:gd name="connsiteX21" fmla="*/ 18224 w 34893"/>
                <a:gd name="connsiteY21" fmla="*/ 26127 h 47062"/>
                <a:gd name="connsiteX22" fmla="*/ 26968 w 34893"/>
                <a:gd name="connsiteY22" fmla="*/ 16571 h 47062"/>
                <a:gd name="connsiteX23" fmla="*/ 26957 w 34893"/>
                <a:gd name="connsiteY23" fmla="*/ 16382 h 47062"/>
                <a:gd name="connsiteX24" fmla="*/ 18250 w 34893"/>
                <a:gd name="connsiteY24" fmla="*/ 6983 h 47062"/>
                <a:gd name="connsiteX25" fmla="*/ 10263 w 34893"/>
                <a:gd name="connsiteY25" fmla="*/ 10977 h 47062"/>
                <a:gd name="connsiteX26" fmla="*/ 9677 w 34893"/>
                <a:gd name="connsiteY26" fmla="*/ 13133 h 47062"/>
                <a:gd name="connsiteX27" fmla="*/ 9677 w 34893"/>
                <a:gd name="connsiteY27" fmla="*/ 19896 h 47062"/>
                <a:gd name="connsiteX28" fmla="*/ 10263 w 34893"/>
                <a:gd name="connsiteY28" fmla="*/ 22027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893" h="47062">
                  <a:moveTo>
                    <a:pt x="1103" y="44632"/>
                  </a:moveTo>
                  <a:lnTo>
                    <a:pt x="1103" y="2270"/>
                  </a:lnTo>
                  <a:cubicBezTo>
                    <a:pt x="1010" y="1261"/>
                    <a:pt x="1756" y="366"/>
                    <a:pt x="2765" y="273"/>
                  </a:cubicBezTo>
                  <a:cubicBezTo>
                    <a:pt x="2877" y="262"/>
                    <a:pt x="2988" y="262"/>
                    <a:pt x="3100" y="273"/>
                  </a:cubicBezTo>
                  <a:lnTo>
                    <a:pt x="5124" y="273"/>
                  </a:lnTo>
                  <a:cubicBezTo>
                    <a:pt x="6170" y="201"/>
                    <a:pt x="7121" y="883"/>
                    <a:pt x="7387" y="1897"/>
                  </a:cubicBezTo>
                  <a:cubicBezTo>
                    <a:pt x="7707" y="3228"/>
                    <a:pt x="8638" y="3415"/>
                    <a:pt x="9704" y="2589"/>
                  </a:cubicBezTo>
                  <a:cubicBezTo>
                    <a:pt x="12502" y="592"/>
                    <a:pt x="15878" y="-435"/>
                    <a:pt x="19316" y="-339"/>
                  </a:cubicBezTo>
                  <a:cubicBezTo>
                    <a:pt x="28419" y="-385"/>
                    <a:pt x="35834" y="6956"/>
                    <a:pt x="35880" y="16060"/>
                  </a:cubicBezTo>
                  <a:cubicBezTo>
                    <a:pt x="35880" y="16193"/>
                    <a:pt x="35880" y="16329"/>
                    <a:pt x="35877" y="16462"/>
                  </a:cubicBezTo>
                  <a:cubicBezTo>
                    <a:pt x="36111" y="25650"/>
                    <a:pt x="28856" y="33289"/>
                    <a:pt x="19667" y="33524"/>
                  </a:cubicBezTo>
                  <a:cubicBezTo>
                    <a:pt x="19505" y="33529"/>
                    <a:pt x="19345" y="33529"/>
                    <a:pt x="19182" y="33529"/>
                  </a:cubicBezTo>
                  <a:cubicBezTo>
                    <a:pt x="16397" y="33582"/>
                    <a:pt x="13644" y="32914"/>
                    <a:pt x="11195" y="31585"/>
                  </a:cubicBezTo>
                  <a:cubicBezTo>
                    <a:pt x="9943" y="30840"/>
                    <a:pt x="9118" y="31213"/>
                    <a:pt x="9118" y="32597"/>
                  </a:cubicBezTo>
                  <a:lnTo>
                    <a:pt x="9118" y="44712"/>
                  </a:lnTo>
                  <a:cubicBezTo>
                    <a:pt x="9211" y="45721"/>
                    <a:pt x="8465" y="46616"/>
                    <a:pt x="7456" y="46709"/>
                  </a:cubicBezTo>
                  <a:cubicBezTo>
                    <a:pt x="7344" y="46720"/>
                    <a:pt x="7233" y="46720"/>
                    <a:pt x="7121" y="46709"/>
                  </a:cubicBezTo>
                  <a:lnTo>
                    <a:pt x="2994" y="46709"/>
                  </a:lnTo>
                  <a:cubicBezTo>
                    <a:pt x="1982" y="46802"/>
                    <a:pt x="1090" y="46057"/>
                    <a:pt x="997" y="45048"/>
                  </a:cubicBezTo>
                  <a:cubicBezTo>
                    <a:pt x="986" y="44936"/>
                    <a:pt x="986" y="44824"/>
                    <a:pt x="997" y="44712"/>
                  </a:cubicBezTo>
                  <a:moveTo>
                    <a:pt x="10236" y="22106"/>
                  </a:moveTo>
                  <a:cubicBezTo>
                    <a:pt x="12039" y="24721"/>
                    <a:pt x="15050" y="26236"/>
                    <a:pt x="18224" y="26127"/>
                  </a:cubicBezTo>
                  <a:cubicBezTo>
                    <a:pt x="23277" y="25903"/>
                    <a:pt x="27192" y="21625"/>
                    <a:pt x="26968" y="16571"/>
                  </a:cubicBezTo>
                  <a:cubicBezTo>
                    <a:pt x="26965" y="16507"/>
                    <a:pt x="26963" y="16446"/>
                    <a:pt x="26957" y="16382"/>
                  </a:cubicBezTo>
                  <a:cubicBezTo>
                    <a:pt x="27122" y="11392"/>
                    <a:pt x="23238" y="7198"/>
                    <a:pt x="18250" y="6983"/>
                  </a:cubicBezTo>
                  <a:cubicBezTo>
                    <a:pt x="15085" y="6884"/>
                    <a:pt x="12081" y="8386"/>
                    <a:pt x="10263" y="10977"/>
                  </a:cubicBezTo>
                  <a:cubicBezTo>
                    <a:pt x="9837" y="11613"/>
                    <a:pt x="9632" y="12369"/>
                    <a:pt x="9677" y="13133"/>
                  </a:cubicBezTo>
                  <a:lnTo>
                    <a:pt x="9677" y="19896"/>
                  </a:lnTo>
                  <a:cubicBezTo>
                    <a:pt x="9650" y="20650"/>
                    <a:pt x="9855" y="21393"/>
                    <a:pt x="10263" y="22027"/>
                  </a:cubicBezTo>
                </a:path>
              </a:pathLst>
            </a:custGeom>
            <a:solidFill>
              <a:srgbClr val="FFFFFF"/>
            </a:solidFill>
            <a:ln w="2661" cap="flat">
              <a:noFill/>
              <a:prstDash val="solid"/>
              <a:miter/>
            </a:ln>
          </p:spPr>
          <p:txBody>
            <a:bodyPr rtlCol="0" anchor="ctr"/>
            <a:lstStyle/>
            <a:p>
              <a:endParaRPr lang="pl-PL"/>
            </a:p>
          </p:txBody>
        </p:sp>
        <p:sp>
          <p:nvSpPr>
            <p:cNvPr id="112" name="Freeform: Shape 111">
              <a:extLst>
                <a:ext uri="{FF2B5EF4-FFF2-40B4-BE49-F238E27FC236}">
                  <a16:creationId xmlns:a16="http://schemas.microsoft.com/office/drawing/2014/main" id="{99EAFD5B-2C1C-49A8-BDF9-85742F949BE7}"/>
                </a:ext>
              </a:extLst>
            </p:cNvPr>
            <p:cNvSpPr/>
            <p:nvPr/>
          </p:nvSpPr>
          <p:spPr>
            <a:xfrm>
              <a:off x="11597252" y="6750822"/>
              <a:ext cx="18514" cy="19157"/>
            </a:xfrm>
            <a:custGeom>
              <a:avLst/>
              <a:gdLst>
                <a:gd name="connsiteX0" fmla="*/ 18038 w 32808"/>
                <a:gd name="connsiteY0" fmla="*/ -324 h 33946"/>
                <a:gd name="connsiteX1" fmla="*/ 33795 w 32808"/>
                <a:gd name="connsiteY1" fmla="*/ 15867 h 33946"/>
                <a:gd name="connsiteX2" fmla="*/ 33721 w 32808"/>
                <a:gd name="connsiteY2" fmla="*/ 17196 h 33946"/>
                <a:gd name="connsiteX3" fmla="*/ 31915 w 32808"/>
                <a:gd name="connsiteY3" fmla="*/ 19012 h 33946"/>
                <a:gd name="connsiteX4" fmla="*/ 31777 w 32808"/>
                <a:gd name="connsiteY4" fmla="*/ 19006 h 33946"/>
                <a:gd name="connsiteX5" fmla="*/ 11568 w 32808"/>
                <a:gd name="connsiteY5" fmla="*/ 19006 h 33946"/>
                <a:gd name="connsiteX6" fmla="*/ 10130 w 32808"/>
                <a:gd name="connsiteY6" fmla="*/ 20950 h 33946"/>
                <a:gd name="connsiteX7" fmla="*/ 18118 w 32808"/>
                <a:gd name="connsiteY7" fmla="*/ 26488 h 33946"/>
                <a:gd name="connsiteX8" fmla="*/ 24455 w 32808"/>
                <a:gd name="connsiteY8" fmla="*/ 23613 h 33946"/>
                <a:gd name="connsiteX9" fmla="*/ 26771 w 32808"/>
                <a:gd name="connsiteY9" fmla="*/ 22148 h 33946"/>
                <a:gd name="connsiteX10" fmla="*/ 31058 w 32808"/>
                <a:gd name="connsiteY10" fmla="*/ 22148 h 33946"/>
                <a:gd name="connsiteX11" fmla="*/ 32815 w 32808"/>
                <a:gd name="connsiteY11" fmla="*/ 24358 h 33946"/>
                <a:gd name="connsiteX12" fmla="*/ 18118 w 32808"/>
                <a:gd name="connsiteY12" fmla="*/ 33571 h 33946"/>
                <a:gd name="connsiteX13" fmla="*/ 994 w 32808"/>
                <a:gd name="connsiteY13" fmla="*/ 17371 h 33946"/>
                <a:gd name="connsiteX14" fmla="*/ 997 w 32808"/>
                <a:gd name="connsiteY14" fmla="*/ 16370 h 33946"/>
                <a:gd name="connsiteX15" fmla="*/ 16866 w 32808"/>
                <a:gd name="connsiteY15" fmla="*/ -340 h 33946"/>
                <a:gd name="connsiteX16" fmla="*/ 18118 w 32808"/>
                <a:gd name="connsiteY16" fmla="*/ -324 h 33946"/>
                <a:gd name="connsiteX17" fmla="*/ 12020 w 32808"/>
                <a:gd name="connsiteY17" fmla="*/ 13362 h 33946"/>
                <a:gd name="connsiteX18" fmla="*/ 23257 w 32808"/>
                <a:gd name="connsiteY18" fmla="*/ 13362 h 33946"/>
                <a:gd name="connsiteX19" fmla="*/ 24774 w 32808"/>
                <a:gd name="connsiteY19" fmla="*/ 11365 h 33946"/>
                <a:gd name="connsiteX20" fmla="*/ 17985 w 32808"/>
                <a:gd name="connsiteY20" fmla="*/ 6705 h 33946"/>
                <a:gd name="connsiteX21" fmla="*/ 10582 w 32808"/>
                <a:gd name="connsiteY21" fmla="*/ 11285 h 33946"/>
                <a:gd name="connsiteX22" fmla="*/ 12020 w 32808"/>
                <a:gd name="connsiteY22" fmla="*/ 13362 h 3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808" h="33946">
                  <a:moveTo>
                    <a:pt x="18038" y="-324"/>
                  </a:moveTo>
                  <a:cubicBezTo>
                    <a:pt x="26859" y="-204"/>
                    <a:pt x="33915" y="7046"/>
                    <a:pt x="33795" y="15867"/>
                  </a:cubicBezTo>
                  <a:cubicBezTo>
                    <a:pt x="33787" y="16312"/>
                    <a:pt x="33763" y="16754"/>
                    <a:pt x="33721" y="17196"/>
                  </a:cubicBezTo>
                  <a:cubicBezTo>
                    <a:pt x="33723" y="18197"/>
                    <a:pt x="32914" y="19009"/>
                    <a:pt x="31915" y="19012"/>
                  </a:cubicBezTo>
                  <a:cubicBezTo>
                    <a:pt x="31870" y="19012"/>
                    <a:pt x="31822" y="19009"/>
                    <a:pt x="31777" y="19006"/>
                  </a:cubicBezTo>
                  <a:lnTo>
                    <a:pt x="11568" y="19006"/>
                  </a:lnTo>
                  <a:cubicBezTo>
                    <a:pt x="10396" y="19006"/>
                    <a:pt x="9624" y="19778"/>
                    <a:pt x="10130" y="20950"/>
                  </a:cubicBezTo>
                  <a:cubicBezTo>
                    <a:pt x="11272" y="24361"/>
                    <a:pt x="14523" y="26616"/>
                    <a:pt x="18118" y="26488"/>
                  </a:cubicBezTo>
                  <a:cubicBezTo>
                    <a:pt x="20589" y="26709"/>
                    <a:pt x="22996" y="25618"/>
                    <a:pt x="24455" y="23613"/>
                  </a:cubicBezTo>
                  <a:cubicBezTo>
                    <a:pt x="24897" y="22734"/>
                    <a:pt x="25789" y="22172"/>
                    <a:pt x="26771" y="22148"/>
                  </a:cubicBezTo>
                  <a:lnTo>
                    <a:pt x="31058" y="22148"/>
                  </a:lnTo>
                  <a:cubicBezTo>
                    <a:pt x="32443" y="22148"/>
                    <a:pt x="33295" y="23027"/>
                    <a:pt x="32815" y="24358"/>
                  </a:cubicBezTo>
                  <a:cubicBezTo>
                    <a:pt x="30403" y="30267"/>
                    <a:pt x="24487" y="33975"/>
                    <a:pt x="18118" y="33571"/>
                  </a:cubicBezTo>
                  <a:cubicBezTo>
                    <a:pt x="8916" y="33826"/>
                    <a:pt x="1250" y="26573"/>
                    <a:pt x="994" y="17371"/>
                  </a:cubicBezTo>
                  <a:cubicBezTo>
                    <a:pt x="986" y="17036"/>
                    <a:pt x="986" y="16703"/>
                    <a:pt x="997" y="16370"/>
                  </a:cubicBezTo>
                  <a:cubicBezTo>
                    <a:pt x="765" y="7373"/>
                    <a:pt x="7869" y="-109"/>
                    <a:pt x="16866" y="-340"/>
                  </a:cubicBezTo>
                  <a:cubicBezTo>
                    <a:pt x="17284" y="-351"/>
                    <a:pt x="17702" y="-346"/>
                    <a:pt x="18118" y="-324"/>
                  </a:cubicBezTo>
                  <a:moveTo>
                    <a:pt x="12020" y="13362"/>
                  </a:moveTo>
                  <a:lnTo>
                    <a:pt x="23257" y="13362"/>
                  </a:lnTo>
                  <a:cubicBezTo>
                    <a:pt x="24508" y="13362"/>
                    <a:pt x="25280" y="12616"/>
                    <a:pt x="24774" y="11365"/>
                  </a:cubicBezTo>
                  <a:cubicBezTo>
                    <a:pt x="23707" y="8545"/>
                    <a:pt x="20999" y="6686"/>
                    <a:pt x="17985" y="6705"/>
                  </a:cubicBezTo>
                  <a:cubicBezTo>
                    <a:pt x="14859" y="6737"/>
                    <a:pt x="12007" y="8502"/>
                    <a:pt x="10582" y="11285"/>
                  </a:cubicBezTo>
                  <a:cubicBezTo>
                    <a:pt x="10023" y="12483"/>
                    <a:pt x="10716" y="13362"/>
                    <a:pt x="12020" y="13362"/>
                  </a:cubicBezTo>
                </a:path>
              </a:pathLst>
            </a:custGeom>
            <a:solidFill>
              <a:srgbClr val="FFFFFF"/>
            </a:solidFill>
            <a:ln w="2661" cap="flat">
              <a:noFill/>
              <a:prstDash val="solid"/>
              <a:miter/>
            </a:ln>
          </p:spPr>
          <p:txBody>
            <a:bodyPr rtlCol="0" anchor="ctr"/>
            <a:lstStyle/>
            <a:p>
              <a:endParaRPr lang="pl-PL"/>
            </a:p>
          </p:txBody>
        </p:sp>
        <p:sp>
          <p:nvSpPr>
            <p:cNvPr id="113" name="Freeform: Shape 112">
              <a:extLst>
                <a:ext uri="{FF2B5EF4-FFF2-40B4-BE49-F238E27FC236}">
                  <a16:creationId xmlns:a16="http://schemas.microsoft.com/office/drawing/2014/main" id="{91CF6DD0-B17A-4FFE-A978-33E9083BC890}"/>
                </a:ext>
              </a:extLst>
            </p:cNvPr>
            <p:cNvSpPr/>
            <p:nvPr/>
          </p:nvSpPr>
          <p:spPr>
            <a:xfrm>
              <a:off x="11619475" y="6750860"/>
              <a:ext cx="19631" cy="26558"/>
            </a:xfrm>
            <a:custGeom>
              <a:avLst/>
              <a:gdLst>
                <a:gd name="connsiteX0" fmla="*/ 997 w 34787"/>
                <a:gd name="connsiteY0" fmla="*/ 44632 h 47062"/>
                <a:gd name="connsiteX1" fmla="*/ 997 w 34787"/>
                <a:gd name="connsiteY1" fmla="*/ 2270 h 47062"/>
                <a:gd name="connsiteX2" fmla="*/ 2658 w 34787"/>
                <a:gd name="connsiteY2" fmla="*/ 273 h 47062"/>
                <a:gd name="connsiteX3" fmla="*/ 2994 w 34787"/>
                <a:gd name="connsiteY3" fmla="*/ 273 h 47062"/>
                <a:gd name="connsiteX4" fmla="*/ 5017 w 34787"/>
                <a:gd name="connsiteY4" fmla="*/ 273 h 47062"/>
                <a:gd name="connsiteX5" fmla="*/ 7280 w 34787"/>
                <a:gd name="connsiteY5" fmla="*/ 1897 h 47062"/>
                <a:gd name="connsiteX6" fmla="*/ 9597 w 34787"/>
                <a:gd name="connsiteY6" fmla="*/ 2589 h 47062"/>
                <a:gd name="connsiteX7" fmla="*/ 19209 w 34787"/>
                <a:gd name="connsiteY7" fmla="*/ -339 h 47062"/>
                <a:gd name="connsiteX8" fmla="*/ 35773 w 34787"/>
                <a:gd name="connsiteY8" fmla="*/ 16060 h 47062"/>
                <a:gd name="connsiteX9" fmla="*/ 35770 w 34787"/>
                <a:gd name="connsiteY9" fmla="*/ 16462 h 47062"/>
                <a:gd name="connsiteX10" fmla="*/ 19560 w 34787"/>
                <a:gd name="connsiteY10" fmla="*/ 33524 h 47062"/>
                <a:gd name="connsiteX11" fmla="*/ 19076 w 34787"/>
                <a:gd name="connsiteY11" fmla="*/ 33529 h 47062"/>
                <a:gd name="connsiteX12" fmla="*/ 11088 w 34787"/>
                <a:gd name="connsiteY12" fmla="*/ 31585 h 47062"/>
                <a:gd name="connsiteX13" fmla="*/ 9011 w 34787"/>
                <a:gd name="connsiteY13" fmla="*/ 32597 h 47062"/>
                <a:gd name="connsiteX14" fmla="*/ 9011 w 34787"/>
                <a:gd name="connsiteY14" fmla="*/ 44712 h 47062"/>
                <a:gd name="connsiteX15" fmla="*/ 7350 w 34787"/>
                <a:gd name="connsiteY15" fmla="*/ 46709 h 47062"/>
                <a:gd name="connsiteX16" fmla="*/ 7014 w 34787"/>
                <a:gd name="connsiteY16" fmla="*/ 46709 h 47062"/>
                <a:gd name="connsiteX17" fmla="*/ 3100 w 34787"/>
                <a:gd name="connsiteY17" fmla="*/ 46709 h 47062"/>
                <a:gd name="connsiteX18" fmla="*/ 1103 w 34787"/>
                <a:gd name="connsiteY18" fmla="*/ 45048 h 47062"/>
                <a:gd name="connsiteX19" fmla="*/ 1103 w 34787"/>
                <a:gd name="connsiteY19" fmla="*/ 44712 h 47062"/>
                <a:gd name="connsiteX20" fmla="*/ 10342 w 34787"/>
                <a:gd name="connsiteY20" fmla="*/ 22106 h 47062"/>
                <a:gd name="connsiteX21" fmla="*/ 18330 w 34787"/>
                <a:gd name="connsiteY21" fmla="*/ 26127 h 47062"/>
                <a:gd name="connsiteX22" fmla="*/ 27042 w 34787"/>
                <a:gd name="connsiteY22" fmla="*/ 16539 h 47062"/>
                <a:gd name="connsiteX23" fmla="*/ 27037 w 34787"/>
                <a:gd name="connsiteY23" fmla="*/ 16462 h 47062"/>
                <a:gd name="connsiteX24" fmla="*/ 18330 w 34787"/>
                <a:gd name="connsiteY24" fmla="*/ 7063 h 47062"/>
                <a:gd name="connsiteX25" fmla="*/ 10342 w 34787"/>
                <a:gd name="connsiteY25" fmla="*/ 11057 h 47062"/>
                <a:gd name="connsiteX26" fmla="*/ 9757 w 34787"/>
                <a:gd name="connsiteY26" fmla="*/ 13213 h 47062"/>
                <a:gd name="connsiteX27" fmla="*/ 9757 w 34787"/>
                <a:gd name="connsiteY27" fmla="*/ 19976 h 47062"/>
                <a:gd name="connsiteX28" fmla="*/ 10342 w 34787"/>
                <a:gd name="connsiteY28" fmla="*/ 22106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787" h="47062">
                  <a:moveTo>
                    <a:pt x="997" y="44632"/>
                  </a:moveTo>
                  <a:lnTo>
                    <a:pt x="997" y="2270"/>
                  </a:lnTo>
                  <a:cubicBezTo>
                    <a:pt x="903" y="1261"/>
                    <a:pt x="1649" y="366"/>
                    <a:pt x="2658" y="273"/>
                  </a:cubicBezTo>
                  <a:cubicBezTo>
                    <a:pt x="2770" y="262"/>
                    <a:pt x="2882" y="262"/>
                    <a:pt x="2994" y="273"/>
                  </a:cubicBezTo>
                  <a:lnTo>
                    <a:pt x="5017" y="273"/>
                  </a:lnTo>
                  <a:cubicBezTo>
                    <a:pt x="6064" y="201"/>
                    <a:pt x="7014" y="883"/>
                    <a:pt x="7280" y="1897"/>
                  </a:cubicBezTo>
                  <a:cubicBezTo>
                    <a:pt x="7600" y="3228"/>
                    <a:pt x="8532" y="3415"/>
                    <a:pt x="9597" y="2589"/>
                  </a:cubicBezTo>
                  <a:cubicBezTo>
                    <a:pt x="12395" y="592"/>
                    <a:pt x="15771" y="-435"/>
                    <a:pt x="19209" y="-339"/>
                  </a:cubicBezTo>
                  <a:cubicBezTo>
                    <a:pt x="28312" y="-385"/>
                    <a:pt x="35728" y="6956"/>
                    <a:pt x="35773" y="16060"/>
                  </a:cubicBezTo>
                  <a:cubicBezTo>
                    <a:pt x="35773" y="16193"/>
                    <a:pt x="35773" y="16329"/>
                    <a:pt x="35770" y="16462"/>
                  </a:cubicBezTo>
                  <a:cubicBezTo>
                    <a:pt x="36005" y="25650"/>
                    <a:pt x="28749" y="33289"/>
                    <a:pt x="19560" y="33524"/>
                  </a:cubicBezTo>
                  <a:cubicBezTo>
                    <a:pt x="19398" y="33529"/>
                    <a:pt x="19238" y="33529"/>
                    <a:pt x="19076" y="33529"/>
                  </a:cubicBezTo>
                  <a:cubicBezTo>
                    <a:pt x="16291" y="33582"/>
                    <a:pt x="13538" y="32914"/>
                    <a:pt x="11088" y="31585"/>
                  </a:cubicBezTo>
                  <a:cubicBezTo>
                    <a:pt x="9836" y="30840"/>
                    <a:pt x="9011" y="31213"/>
                    <a:pt x="9011" y="32597"/>
                  </a:cubicBezTo>
                  <a:lnTo>
                    <a:pt x="9011" y="44712"/>
                  </a:lnTo>
                  <a:cubicBezTo>
                    <a:pt x="9104" y="45721"/>
                    <a:pt x="8359" y="46616"/>
                    <a:pt x="7350" y="46709"/>
                  </a:cubicBezTo>
                  <a:cubicBezTo>
                    <a:pt x="7238" y="46720"/>
                    <a:pt x="7126" y="46720"/>
                    <a:pt x="7014" y="46709"/>
                  </a:cubicBezTo>
                  <a:lnTo>
                    <a:pt x="3100" y="46709"/>
                  </a:lnTo>
                  <a:cubicBezTo>
                    <a:pt x="2088" y="46802"/>
                    <a:pt x="1196" y="46057"/>
                    <a:pt x="1103" y="45048"/>
                  </a:cubicBezTo>
                  <a:cubicBezTo>
                    <a:pt x="1092" y="44936"/>
                    <a:pt x="1092" y="44824"/>
                    <a:pt x="1103" y="44712"/>
                  </a:cubicBezTo>
                  <a:moveTo>
                    <a:pt x="10342" y="22106"/>
                  </a:moveTo>
                  <a:cubicBezTo>
                    <a:pt x="12145" y="24721"/>
                    <a:pt x="15156" y="26236"/>
                    <a:pt x="18330" y="26127"/>
                  </a:cubicBezTo>
                  <a:cubicBezTo>
                    <a:pt x="23384" y="25885"/>
                    <a:pt x="27282" y="21592"/>
                    <a:pt x="27042" y="16539"/>
                  </a:cubicBezTo>
                  <a:cubicBezTo>
                    <a:pt x="27040" y="16515"/>
                    <a:pt x="27040" y="16488"/>
                    <a:pt x="27037" y="16462"/>
                  </a:cubicBezTo>
                  <a:cubicBezTo>
                    <a:pt x="27202" y="11472"/>
                    <a:pt x="23317" y="7278"/>
                    <a:pt x="18330" y="7063"/>
                  </a:cubicBezTo>
                  <a:cubicBezTo>
                    <a:pt x="15164" y="6964"/>
                    <a:pt x="12161" y="8466"/>
                    <a:pt x="10342" y="11057"/>
                  </a:cubicBezTo>
                  <a:cubicBezTo>
                    <a:pt x="9919" y="11693"/>
                    <a:pt x="9711" y="12449"/>
                    <a:pt x="9757" y="13213"/>
                  </a:cubicBezTo>
                  <a:lnTo>
                    <a:pt x="9757" y="19976"/>
                  </a:lnTo>
                  <a:cubicBezTo>
                    <a:pt x="9730" y="20730"/>
                    <a:pt x="9935" y="21473"/>
                    <a:pt x="10342" y="22106"/>
                  </a:cubicBezTo>
                </a:path>
              </a:pathLst>
            </a:custGeom>
            <a:solidFill>
              <a:srgbClr val="FFFFFF"/>
            </a:solidFill>
            <a:ln w="2661" cap="flat">
              <a:noFill/>
              <a:prstDash val="solid"/>
              <a:miter/>
            </a:ln>
          </p:spPr>
          <p:txBody>
            <a:bodyPr rtlCol="0" anchor="ctr"/>
            <a:lstStyle/>
            <a:p>
              <a:endParaRPr lang="pl-PL"/>
            </a:p>
          </p:txBody>
        </p:sp>
        <p:sp>
          <p:nvSpPr>
            <p:cNvPr id="114" name="Freeform: Shape 113">
              <a:extLst>
                <a:ext uri="{FF2B5EF4-FFF2-40B4-BE49-F238E27FC236}">
                  <a16:creationId xmlns:a16="http://schemas.microsoft.com/office/drawing/2014/main" id="{95CCA642-8811-41C6-968C-797966A9E480}"/>
                </a:ext>
              </a:extLst>
            </p:cNvPr>
            <p:cNvSpPr/>
            <p:nvPr/>
          </p:nvSpPr>
          <p:spPr>
            <a:xfrm>
              <a:off x="11641544" y="6750833"/>
              <a:ext cx="16868" cy="19128"/>
            </a:xfrm>
            <a:custGeom>
              <a:avLst/>
              <a:gdLst>
                <a:gd name="connsiteX0" fmla="*/ 16181 w 29890"/>
                <a:gd name="connsiteY0" fmla="*/ -346 h 33895"/>
                <a:gd name="connsiteX1" fmla="*/ 30186 w 29890"/>
                <a:gd name="connsiteY1" fmla="*/ 9400 h 33895"/>
                <a:gd name="connsiteX2" fmla="*/ 28296 w 29890"/>
                <a:gd name="connsiteY2" fmla="*/ 11476 h 33895"/>
                <a:gd name="connsiteX3" fmla="*/ 24275 w 29890"/>
                <a:gd name="connsiteY3" fmla="*/ 11476 h 33895"/>
                <a:gd name="connsiteX4" fmla="*/ 22092 w 29890"/>
                <a:gd name="connsiteY4" fmla="*/ 9719 h 33895"/>
                <a:gd name="connsiteX5" fmla="*/ 16048 w 29890"/>
                <a:gd name="connsiteY5" fmla="*/ 6444 h 33895"/>
                <a:gd name="connsiteX6" fmla="*/ 10723 w 29890"/>
                <a:gd name="connsiteY6" fmla="*/ 9266 h 33895"/>
                <a:gd name="connsiteX7" fmla="*/ 30879 w 29890"/>
                <a:gd name="connsiteY7" fmla="*/ 23591 h 33895"/>
                <a:gd name="connsiteX8" fmla="*/ 16687 w 29890"/>
                <a:gd name="connsiteY8" fmla="*/ 33550 h 33895"/>
                <a:gd name="connsiteX9" fmla="*/ 1057 w 29890"/>
                <a:gd name="connsiteY9" fmla="*/ 23511 h 33895"/>
                <a:gd name="connsiteX10" fmla="*/ 2895 w 29890"/>
                <a:gd name="connsiteY10" fmla="*/ 21381 h 33895"/>
                <a:gd name="connsiteX11" fmla="*/ 7155 w 29890"/>
                <a:gd name="connsiteY11" fmla="*/ 21381 h 33895"/>
                <a:gd name="connsiteX12" fmla="*/ 9338 w 29890"/>
                <a:gd name="connsiteY12" fmla="*/ 23006 h 33895"/>
                <a:gd name="connsiteX13" fmla="*/ 16873 w 29890"/>
                <a:gd name="connsiteY13" fmla="*/ 26786 h 33895"/>
                <a:gd name="connsiteX14" fmla="*/ 22411 w 29890"/>
                <a:gd name="connsiteY14" fmla="*/ 23645 h 33895"/>
                <a:gd name="connsiteX15" fmla="*/ 2256 w 29890"/>
                <a:gd name="connsiteY15" fmla="*/ 9453 h 33895"/>
                <a:gd name="connsiteX16" fmla="*/ 16128 w 29890"/>
                <a:gd name="connsiteY16" fmla="*/ -346 h 3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890" h="33895">
                  <a:moveTo>
                    <a:pt x="16181" y="-346"/>
                  </a:moveTo>
                  <a:cubicBezTo>
                    <a:pt x="24169" y="-346"/>
                    <a:pt x="28855" y="3622"/>
                    <a:pt x="30186" y="9400"/>
                  </a:cubicBezTo>
                  <a:cubicBezTo>
                    <a:pt x="30479" y="10704"/>
                    <a:pt x="29681" y="11476"/>
                    <a:pt x="28296" y="11476"/>
                  </a:cubicBezTo>
                  <a:lnTo>
                    <a:pt x="24275" y="11476"/>
                  </a:lnTo>
                  <a:cubicBezTo>
                    <a:pt x="23077" y="11476"/>
                    <a:pt x="22518" y="10837"/>
                    <a:pt x="22092" y="9719"/>
                  </a:cubicBezTo>
                  <a:cubicBezTo>
                    <a:pt x="21320" y="7642"/>
                    <a:pt x="19429" y="6444"/>
                    <a:pt x="16048" y="6444"/>
                  </a:cubicBezTo>
                  <a:cubicBezTo>
                    <a:pt x="12666" y="6444"/>
                    <a:pt x="10723" y="7562"/>
                    <a:pt x="10723" y="9266"/>
                  </a:cubicBezTo>
                  <a:cubicBezTo>
                    <a:pt x="10723" y="15364"/>
                    <a:pt x="30879" y="10971"/>
                    <a:pt x="30879" y="23591"/>
                  </a:cubicBezTo>
                  <a:cubicBezTo>
                    <a:pt x="30879" y="29982"/>
                    <a:pt x="25048" y="33550"/>
                    <a:pt x="16687" y="33550"/>
                  </a:cubicBezTo>
                  <a:cubicBezTo>
                    <a:pt x="8326" y="33550"/>
                    <a:pt x="2389" y="29928"/>
                    <a:pt x="1057" y="23511"/>
                  </a:cubicBezTo>
                  <a:cubicBezTo>
                    <a:pt x="738" y="22127"/>
                    <a:pt x="1563" y="21381"/>
                    <a:pt x="2895" y="21381"/>
                  </a:cubicBezTo>
                  <a:lnTo>
                    <a:pt x="7155" y="21381"/>
                  </a:lnTo>
                  <a:cubicBezTo>
                    <a:pt x="8172" y="21347"/>
                    <a:pt x="9077" y="22020"/>
                    <a:pt x="9338" y="23006"/>
                  </a:cubicBezTo>
                  <a:cubicBezTo>
                    <a:pt x="10858" y="25668"/>
                    <a:pt x="13830" y="27159"/>
                    <a:pt x="16873" y="26786"/>
                  </a:cubicBezTo>
                  <a:cubicBezTo>
                    <a:pt x="20281" y="26786"/>
                    <a:pt x="22411" y="25721"/>
                    <a:pt x="22411" y="23645"/>
                  </a:cubicBezTo>
                  <a:cubicBezTo>
                    <a:pt x="22411" y="17494"/>
                    <a:pt x="2256" y="22127"/>
                    <a:pt x="2256" y="9453"/>
                  </a:cubicBezTo>
                  <a:cubicBezTo>
                    <a:pt x="2256" y="3808"/>
                    <a:pt x="7101" y="-346"/>
                    <a:pt x="16128" y="-346"/>
                  </a:cubicBezTo>
                </a:path>
              </a:pathLst>
            </a:custGeom>
            <a:solidFill>
              <a:srgbClr val="FFFFFF"/>
            </a:solidFill>
            <a:ln w="2661" cap="flat">
              <a:noFill/>
              <a:prstDash val="solid"/>
              <a:miter/>
            </a:ln>
          </p:spPr>
          <p:txBody>
            <a:bodyPr rtlCol="0" anchor="ctr"/>
            <a:lstStyle/>
            <a:p>
              <a:endParaRPr lang="pl-PL"/>
            </a:p>
          </p:txBody>
        </p:sp>
        <p:sp>
          <p:nvSpPr>
            <p:cNvPr id="115" name="Freeform: Shape 114">
              <a:extLst>
                <a:ext uri="{FF2B5EF4-FFF2-40B4-BE49-F238E27FC236}">
                  <a16:creationId xmlns:a16="http://schemas.microsoft.com/office/drawing/2014/main" id="{0D4F1D24-696E-4D2E-9647-BBB2C5C154D2}"/>
                </a:ext>
              </a:extLst>
            </p:cNvPr>
            <p:cNvSpPr/>
            <p:nvPr/>
          </p:nvSpPr>
          <p:spPr>
            <a:xfrm>
              <a:off x="11661657" y="6742209"/>
              <a:ext cx="6551" cy="27381"/>
            </a:xfrm>
            <a:custGeom>
              <a:avLst/>
              <a:gdLst>
                <a:gd name="connsiteX0" fmla="*/ 989 w 11609"/>
                <a:gd name="connsiteY0" fmla="*/ 5352 h 48520"/>
                <a:gd name="connsiteX1" fmla="*/ 6687 w 11609"/>
                <a:gd name="connsiteY1" fmla="*/ -346 h 48520"/>
                <a:gd name="connsiteX2" fmla="*/ 6767 w 11609"/>
                <a:gd name="connsiteY2" fmla="*/ -346 h 48520"/>
                <a:gd name="connsiteX3" fmla="*/ 12598 w 11609"/>
                <a:gd name="connsiteY3" fmla="*/ 5352 h 48520"/>
                <a:gd name="connsiteX4" fmla="*/ 6767 w 11609"/>
                <a:gd name="connsiteY4" fmla="*/ 11263 h 48520"/>
                <a:gd name="connsiteX5" fmla="*/ 989 w 11609"/>
                <a:gd name="connsiteY5" fmla="*/ 5432 h 48520"/>
                <a:gd name="connsiteX6" fmla="*/ 989 w 11609"/>
                <a:gd name="connsiteY6" fmla="*/ 5352 h 48520"/>
                <a:gd name="connsiteX7" fmla="*/ 10734 w 11609"/>
                <a:gd name="connsiteY7" fmla="*/ 17521 h 48520"/>
                <a:gd name="connsiteX8" fmla="*/ 10734 w 11609"/>
                <a:gd name="connsiteY8" fmla="*/ 46144 h 48520"/>
                <a:gd name="connsiteX9" fmla="*/ 9046 w 11609"/>
                <a:gd name="connsiteY9" fmla="*/ 48167 h 48520"/>
                <a:gd name="connsiteX10" fmla="*/ 8710 w 11609"/>
                <a:gd name="connsiteY10" fmla="*/ 48167 h 48520"/>
                <a:gd name="connsiteX11" fmla="*/ 3998 w 11609"/>
                <a:gd name="connsiteY11" fmla="*/ 48167 h 48520"/>
                <a:gd name="connsiteX12" fmla="*/ 1998 w 11609"/>
                <a:gd name="connsiteY12" fmla="*/ 46450 h 48520"/>
                <a:gd name="connsiteX13" fmla="*/ 2001 w 11609"/>
                <a:gd name="connsiteY13" fmla="*/ 46144 h 48520"/>
                <a:gd name="connsiteX14" fmla="*/ 2001 w 11609"/>
                <a:gd name="connsiteY14" fmla="*/ 17600 h 48520"/>
                <a:gd name="connsiteX15" fmla="*/ 3662 w 11609"/>
                <a:gd name="connsiteY15" fmla="*/ 15603 h 48520"/>
                <a:gd name="connsiteX16" fmla="*/ 3998 w 11609"/>
                <a:gd name="connsiteY16" fmla="*/ 15603 h 48520"/>
                <a:gd name="connsiteX17" fmla="*/ 8710 w 11609"/>
                <a:gd name="connsiteY17" fmla="*/ 15603 h 48520"/>
                <a:gd name="connsiteX18" fmla="*/ 10731 w 11609"/>
                <a:gd name="connsiteY18" fmla="*/ 17294 h 48520"/>
                <a:gd name="connsiteX19" fmla="*/ 10734 w 11609"/>
                <a:gd name="connsiteY19" fmla="*/ 17600 h 48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09" h="48520">
                  <a:moveTo>
                    <a:pt x="989" y="5352"/>
                  </a:moveTo>
                  <a:cubicBezTo>
                    <a:pt x="989" y="2205"/>
                    <a:pt x="3540" y="-346"/>
                    <a:pt x="6687" y="-346"/>
                  </a:cubicBezTo>
                  <a:cubicBezTo>
                    <a:pt x="6713" y="-346"/>
                    <a:pt x="6740" y="-346"/>
                    <a:pt x="6767" y="-346"/>
                  </a:cubicBezTo>
                  <a:cubicBezTo>
                    <a:pt x="9935" y="-346"/>
                    <a:pt x="12526" y="2184"/>
                    <a:pt x="12598" y="5352"/>
                  </a:cubicBezTo>
                  <a:cubicBezTo>
                    <a:pt x="12598" y="8585"/>
                    <a:pt x="9999" y="11221"/>
                    <a:pt x="6767" y="11263"/>
                  </a:cubicBezTo>
                  <a:cubicBezTo>
                    <a:pt x="3561" y="11250"/>
                    <a:pt x="973" y="8638"/>
                    <a:pt x="989" y="5432"/>
                  </a:cubicBezTo>
                  <a:cubicBezTo>
                    <a:pt x="989" y="5406"/>
                    <a:pt x="989" y="5379"/>
                    <a:pt x="989" y="5352"/>
                  </a:cubicBezTo>
                  <a:moveTo>
                    <a:pt x="10734" y="17521"/>
                  </a:moveTo>
                  <a:lnTo>
                    <a:pt x="10734" y="46144"/>
                  </a:lnTo>
                  <a:cubicBezTo>
                    <a:pt x="10827" y="47169"/>
                    <a:pt x="10071" y="48074"/>
                    <a:pt x="9046" y="48167"/>
                  </a:cubicBezTo>
                  <a:cubicBezTo>
                    <a:pt x="8934" y="48178"/>
                    <a:pt x="8822" y="48178"/>
                    <a:pt x="8710" y="48167"/>
                  </a:cubicBezTo>
                  <a:lnTo>
                    <a:pt x="3998" y="48167"/>
                  </a:lnTo>
                  <a:cubicBezTo>
                    <a:pt x="2972" y="48244"/>
                    <a:pt x="2075" y="47475"/>
                    <a:pt x="1998" y="46450"/>
                  </a:cubicBezTo>
                  <a:cubicBezTo>
                    <a:pt x="1990" y="46349"/>
                    <a:pt x="1993" y="46245"/>
                    <a:pt x="2001" y="46144"/>
                  </a:cubicBezTo>
                  <a:lnTo>
                    <a:pt x="2001" y="17600"/>
                  </a:lnTo>
                  <a:cubicBezTo>
                    <a:pt x="1907" y="16591"/>
                    <a:pt x="2653" y="15697"/>
                    <a:pt x="3662" y="15603"/>
                  </a:cubicBezTo>
                  <a:cubicBezTo>
                    <a:pt x="3774" y="15593"/>
                    <a:pt x="3886" y="15593"/>
                    <a:pt x="3998" y="15603"/>
                  </a:cubicBezTo>
                  <a:lnTo>
                    <a:pt x="8710" y="15603"/>
                  </a:lnTo>
                  <a:cubicBezTo>
                    <a:pt x="9735" y="15513"/>
                    <a:pt x="10641" y="16269"/>
                    <a:pt x="10731" y="17294"/>
                  </a:cubicBezTo>
                  <a:cubicBezTo>
                    <a:pt x="10742" y="17395"/>
                    <a:pt x="10742" y="17499"/>
                    <a:pt x="10734" y="17600"/>
                  </a:cubicBezTo>
                </a:path>
              </a:pathLst>
            </a:custGeom>
            <a:solidFill>
              <a:srgbClr val="FFFFFF"/>
            </a:solidFill>
            <a:ln w="2661" cap="flat">
              <a:noFill/>
              <a:prstDash val="solid"/>
              <a:miter/>
            </a:ln>
          </p:spPr>
          <p:txBody>
            <a:bodyPr rtlCol="0" anchor="ctr"/>
            <a:lstStyle/>
            <a:p>
              <a:endParaRPr lang="pl-PL"/>
            </a:p>
          </p:txBody>
        </p:sp>
        <p:sp>
          <p:nvSpPr>
            <p:cNvPr id="116" name="Freeform: Shape 115">
              <a:extLst>
                <a:ext uri="{FF2B5EF4-FFF2-40B4-BE49-F238E27FC236}">
                  <a16:creationId xmlns:a16="http://schemas.microsoft.com/office/drawing/2014/main" id="{2BE26080-C452-45BF-B22D-C3BE3F2761B0}"/>
                </a:ext>
              </a:extLst>
            </p:cNvPr>
            <p:cNvSpPr/>
            <p:nvPr/>
          </p:nvSpPr>
          <p:spPr>
            <a:xfrm>
              <a:off x="11670912" y="6750850"/>
              <a:ext cx="18928" cy="19154"/>
            </a:xfrm>
            <a:custGeom>
              <a:avLst/>
              <a:gdLst>
                <a:gd name="connsiteX0" fmla="*/ 25781 w 33540"/>
                <a:gd name="connsiteY0" fmla="*/ 11128 h 33942"/>
                <a:gd name="connsiteX1" fmla="*/ 18672 w 33540"/>
                <a:gd name="connsiteY1" fmla="*/ 7001 h 33942"/>
                <a:gd name="connsiteX2" fmla="*/ 9850 w 33540"/>
                <a:gd name="connsiteY2" fmla="*/ 15699 h 33942"/>
                <a:gd name="connsiteX3" fmla="*/ 9885 w 33540"/>
                <a:gd name="connsiteY3" fmla="*/ 16533 h 33942"/>
                <a:gd name="connsiteX4" fmla="*/ 17838 w 33540"/>
                <a:gd name="connsiteY4" fmla="*/ 26030 h 33942"/>
                <a:gd name="connsiteX5" fmla="*/ 18618 w 33540"/>
                <a:gd name="connsiteY5" fmla="*/ 26065 h 33942"/>
                <a:gd name="connsiteX6" fmla="*/ 25514 w 33540"/>
                <a:gd name="connsiteY6" fmla="*/ 22364 h 33942"/>
                <a:gd name="connsiteX7" fmla="*/ 27778 w 33540"/>
                <a:gd name="connsiteY7" fmla="*/ 20793 h 33942"/>
                <a:gd name="connsiteX8" fmla="*/ 32411 w 33540"/>
                <a:gd name="connsiteY8" fmla="*/ 20793 h 33942"/>
                <a:gd name="connsiteX9" fmla="*/ 34301 w 33540"/>
                <a:gd name="connsiteY9" fmla="*/ 22923 h 33942"/>
                <a:gd name="connsiteX10" fmla="*/ 18805 w 33540"/>
                <a:gd name="connsiteY10" fmla="*/ 33573 h 33942"/>
                <a:gd name="connsiteX11" fmla="*/ 1013 w 33540"/>
                <a:gd name="connsiteY11" fmla="*/ 17545 h 33942"/>
                <a:gd name="connsiteX12" fmla="*/ 992 w 33540"/>
                <a:gd name="connsiteY12" fmla="*/ 16373 h 33942"/>
                <a:gd name="connsiteX13" fmla="*/ 17503 w 33540"/>
                <a:gd name="connsiteY13" fmla="*/ -346 h 33942"/>
                <a:gd name="connsiteX14" fmla="*/ 18485 w 33540"/>
                <a:gd name="connsiteY14" fmla="*/ -322 h 33942"/>
                <a:gd name="connsiteX15" fmla="*/ 34461 w 33540"/>
                <a:gd name="connsiteY15" fmla="*/ 10728 h 33942"/>
                <a:gd name="connsiteX16" fmla="*/ 33324 w 33540"/>
                <a:gd name="connsiteY16" fmla="*/ 12810 h 33942"/>
                <a:gd name="connsiteX17" fmla="*/ 32597 w 33540"/>
                <a:gd name="connsiteY17" fmla="*/ 12858 h 33942"/>
                <a:gd name="connsiteX18" fmla="*/ 28124 w 33540"/>
                <a:gd name="connsiteY18" fmla="*/ 12858 h 33942"/>
                <a:gd name="connsiteX19" fmla="*/ 25887 w 33540"/>
                <a:gd name="connsiteY19" fmla="*/ 11234 h 33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3540" h="33942">
                  <a:moveTo>
                    <a:pt x="25781" y="11128"/>
                  </a:moveTo>
                  <a:cubicBezTo>
                    <a:pt x="24463" y="8441"/>
                    <a:pt x="21656" y="6814"/>
                    <a:pt x="18672" y="7001"/>
                  </a:cubicBezTo>
                  <a:cubicBezTo>
                    <a:pt x="13834" y="6966"/>
                    <a:pt x="9885" y="10861"/>
                    <a:pt x="9850" y="15699"/>
                  </a:cubicBezTo>
                  <a:cubicBezTo>
                    <a:pt x="9850" y="15979"/>
                    <a:pt x="9861" y="16256"/>
                    <a:pt x="9885" y="16533"/>
                  </a:cubicBezTo>
                  <a:cubicBezTo>
                    <a:pt x="9459" y="21352"/>
                    <a:pt x="13019" y="25604"/>
                    <a:pt x="17838" y="26030"/>
                  </a:cubicBezTo>
                  <a:cubicBezTo>
                    <a:pt x="18099" y="26054"/>
                    <a:pt x="18357" y="26065"/>
                    <a:pt x="18618" y="26065"/>
                  </a:cubicBezTo>
                  <a:cubicBezTo>
                    <a:pt x="21441" y="26281"/>
                    <a:pt x="24133" y="24835"/>
                    <a:pt x="25514" y="22364"/>
                  </a:cubicBezTo>
                  <a:cubicBezTo>
                    <a:pt x="25869" y="21421"/>
                    <a:pt x="26771" y="20796"/>
                    <a:pt x="27778" y="20793"/>
                  </a:cubicBezTo>
                  <a:lnTo>
                    <a:pt x="32411" y="20793"/>
                  </a:lnTo>
                  <a:cubicBezTo>
                    <a:pt x="33742" y="20793"/>
                    <a:pt x="34621" y="21618"/>
                    <a:pt x="34301" y="22923"/>
                  </a:cubicBezTo>
                  <a:cubicBezTo>
                    <a:pt x="32810" y="29340"/>
                    <a:pt x="26313" y="33573"/>
                    <a:pt x="18805" y="33573"/>
                  </a:cubicBezTo>
                  <a:cubicBezTo>
                    <a:pt x="9464" y="34061"/>
                    <a:pt x="1498" y="26882"/>
                    <a:pt x="1013" y="17545"/>
                  </a:cubicBezTo>
                  <a:cubicBezTo>
                    <a:pt x="992" y="17153"/>
                    <a:pt x="984" y="16764"/>
                    <a:pt x="992" y="16373"/>
                  </a:cubicBezTo>
                  <a:cubicBezTo>
                    <a:pt x="936" y="7198"/>
                    <a:pt x="8327" y="-287"/>
                    <a:pt x="17503" y="-346"/>
                  </a:cubicBezTo>
                  <a:cubicBezTo>
                    <a:pt x="17830" y="-346"/>
                    <a:pt x="18158" y="-340"/>
                    <a:pt x="18485" y="-322"/>
                  </a:cubicBezTo>
                  <a:cubicBezTo>
                    <a:pt x="27724" y="-322"/>
                    <a:pt x="32996" y="4578"/>
                    <a:pt x="34461" y="10728"/>
                  </a:cubicBezTo>
                  <a:cubicBezTo>
                    <a:pt x="34722" y="11618"/>
                    <a:pt x="34213" y="12549"/>
                    <a:pt x="33324" y="12810"/>
                  </a:cubicBezTo>
                  <a:cubicBezTo>
                    <a:pt x="33087" y="12880"/>
                    <a:pt x="32839" y="12896"/>
                    <a:pt x="32597" y="12858"/>
                  </a:cubicBezTo>
                  <a:lnTo>
                    <a:pt x="28124" y="12858"/>
                  </a:lnTo>
                  <a:cubicBezTo>
                    <a:pt x="27006" y="12858"/>
                    <a:pt x="26446" y="12299"/>
                    <a:pt x="25887" y="11234"/>
                  </a:cubicBezTo>
                </a:path>
              </a:pathLst>
            </a:custGeom>
            <a:solidFill>
              <a:srgbClr val="FFFFFF"/>
            </a:solidFill>
            <a:ln w="2661" cap="flat">
              <a:noFill/>
              <a:prstDash val="solid"/>
              <a:miter/>
            </a:ln>
          </p:spPr>
          <p:txBody>
            <a:bodyPr rtlCol="0" anchor="ctr"/>
            <a:lstStyle/>
            <a:p>
              <a:endParaRPr lang="pl-PL"/>
            </a:p>
          </p:txBody>
        </p:sp>
        <p:sp>
          <p:nvSpPr>
            <p:cNvPr id="117" name="Freeform: Shape 116">
              <a:extLst>
                <a:ext uri="{FF2B5EF4-FFF2-40B4-BE49-F238E27FC236}">
                  <a16:creationId xmlns:a16="http://schemas.microsoft.com/office/drawing/2014/main" id="{27E209FF-07B2-468B-BBE7-BACBA65CB8CD}"/>
                </a:ext>
              </a:extLst>
            </p:cNvPr>
            <p:cNvSpPr/>
            <p:nvPr/>
          </p:nvSpPr>
          <p:spPr>
            <a:xfrm>
              <a:off x="11692340" y="6750833"/>
              <a:ext cx="20150" cy="19139"/>
            </a:xfrm>
            <a:custGeom>
              <a:avLst/>
              <a:gdLst>
                <a:gd name="connsiteX0" fmla="*/ 18856 w 35707"/>
                <a:gd name="connsiteY0" fmla="*/ -346 h 33914"/>
                <a:gd name="connsiteX1" fmla="*/ 36695 w 35707"/>
                <a:gd name="connsiteY1" fmla="*/ 16349 h 33914"/>
                <a:gd name="connsiteX2" fmla="*/ 19833 w 35707"/>
                <a:gd name="connsiteY2" fmla="*/ 33568 h 33914"/>
                <a:gd name="connsiteX3" fmla="*/ 18856 w 35707"/>
                <a:gd name="connsiteY3" fmla="*/ 33550 h 33914"/>
                <a:gd name="connsiteX4" fmla="*/ 1008 w 35707"/>
                <a:gd name="connsiteY4" fmla="*/ 17300 h 33914"/>
                <a:gd name="connsiteX5" fmla="*/ 989 w 35707"/>
                <a:gd name="connsiteY5" fmla="*/ 16349 h 33914"/>
                <a:gd name="connsiteX6" fmla="*/ 18856 w 35707"/>
                <a:gd name="connsiteY6" fmla="*/ -346 h 33914"/>
                <a:gd name="connsiteX7" fmla="*/ 18856 w 35707"/>
                <a:gd name="connsiteY7" fmla="*/ 26147 h 33914"/>
                <a:gd name="connsiteX8" fmla="*/ 28028 w 35707"/>
                <a:gd name="connsiteY8" fmla="*/ 17214 h 33914"/>
                <a:gd name="connsiteX9" fmla="*/ 28015 w 35707"/>
                <a:gd name="connsiteY9" fmla="*/ 16615 h 33914"/>
                <a:gd name="connsiteX10" fmla="*/ 19455 w 35707"/>
                <a:gd name="connsiteY10" fmla="*/ 7096 h 33914"/>
                <a:gd name="connsiteX11" fmla="*/ 18856 w 35707"/>
                <a:gd name="connsiteY11" fmla="*/ 7083 h 33914"/>
                <a:gd name="connsiteX12" fmla="*/ 9683 w 35707"/>
                <a:gd name="connsiteY12" fmla="*/ 15960 h 33914"/>
                <a:gd name="connsiteX13" fmla="*/ 9696 w 35707"/>
                <a:gd name="connsiteY13" fmla="*/ 16615 h 33914"/>
                <a:gd name="connsiteX14" fmla="*/ 18200 w 35707"/>
                <a:gd name="connsiteY14" fmla="*/ 26134 h 33914"/>
                <a:gd name="connsiteX15" fmla="*/ 18856 w 35707"/>
                <a:gd name="connsiteY15" fmla="*/ 26147 h 33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07" h="33914">
                  <a:moveTo>
                    <a:pt x="18856" y="-346"/>
                  </a:moveTo>
                  <a:cubicBezTo>
                    <a:pt x="29346" y="-346"/>
                    <a:pt x="36695" y="7003"/>
                    <a:pt x="36695" y="16349"/>
                  </a:cubicBezTo>
                  <a:cubicBezTo>
                    <a:pt x="36794" y="25759"/>
                    <a:pt x="29245" y="33470"/>
                    <a:pt x="19833" y="33568"/>
                  </a:cubicBezTo>
                  <a:cubicBezTo>
                    <a:pt x="19508" y="33571"/>
                    <a:pt x="19180" y="33565"/>
                    <a:pt x="18856" y="33550"/>
                  </a:cubicBezTo>
                  <a:cubicBezTo>
                    <a:pt x="9440" y="33991"/>
                    <a:pt x="1450" y="26717"/>
                    <a:pt x="1008" y="17300"/>
                  </a:cubicBezTo>
                  <a:cubicBezTo>
                    <a:pt x="992" y="16983"/>
                    <a:pt x="987" y="16666"/>
                    <a:pt x="989" y="16349"/>
                  </a:cubicBezTo>
                  <a:cubicBezTo>
                    <a:pt x="989" y="7003"/>
                    <a:pt x="8391" y="-346"/>
                    <a:pt x="18856" y="-346"/>
                  </a:cubicBezTo>
                  <a:moveTo>
                    <a:pt x="18856" y="26147"/>
                  </a:moveTo>
                  <a:cubicBezTo>
                    <a:pt x="23856" y="26214"/>
                    <a:pt x="27962" y="22215"/>
                    <a:pt x="28028" y="17214"/>
                  </a:cubicBezTo>
                  <a:cubicBezTo>
                    <a:pt x="28031" y="17015"/>
                    <a:pt x="28026" y="16815"/>
                    <a:pt x="28015" y="16615"/>
                  </a:cubicBezTo>
                  <a:cubicBezTo>
                    <a:pt x="28281" y="11623"/>
                    <a:pt x="24447" y="7360"/>
                    <a:pt x="19455" y="7096"/>
                  </a:cubicBezTo>
                  <a:cubicBezTo>
                    <a:pt x="19255" y="7086"/>
                    <a:pt x="19055" y="7080"/>
                    <a:pt x="18856" y="7083"/>
                  </a:cubicBezTo>
                  <a:cubicBezTo>
                    <a:pt x="13871" y="7001"/>
                    <a:pt x="9765" y="10976"/>
                    <a:pt x="9683" y="15960"/>
                  </a:cubicBezTo>
                  <a:cubicBezTo>
                    <a:pt x="9680" y="16179"/>
                    <a:pt x="9683" y="16397"/>
                    <a:pt x="9696" y="16615"/>
                  </a:cubicBezTo>
                  <a:cubicBezTo>
                    <a:pt x="9417" y="21592"/>
                    <a:pt x="13224" y="25855"/>
                    <a:pt x="18200" y="26134"/>
                  </a:cubicBezTo>
                  <a:cubicBezTo>
                    <a:pt x="18419" y="26147"/>
                    <a:pt x="18637" y="26150"/>
                    <a:pt x="18856" y="26147"/>
                  </a:cubicBezTo>
                </a:path>
              </a:pathLst>
            </a:custGeom>
            <a:solidFill>
              <a:srgbClr val="FFFFFF"/>
            </a:solidFill>
            <a:ln w="2661" cap="flat">
              <a:noFill/>
              <a:prstDash val="solid"/>
              <a:miter/>
            </a:ln>
          </p:spPr>
          <p:txBody>
            <a:bodyPr rtlCol="0" anchor="ctr"/>
            <a:lstStyle/>
            <a:p>
              <a:endParaRPr lang="pl-PL"/>
            </a:p>
          </p:txBody>
        </p:sp>
        <p:sp>
          <p:nvSpPr>
            <p:cNvPr id="118" name="Freeform: Shape 117">
              <a:extLst>
                <a:ext uri="{FF2B5EF4-FFF2-40B4-BE49-F238E27FC236}">
                  <a16:creationId xmlns:a16="http://schemas.microsoft.com/office/drawing/2014/main" id="{ED98EF04-5229-47FC-B788-0BC1873C8E7D}"/>
                </a:ext>
              </a:extLst>
            </p:cNvPr>
            <p:cNvSpPr/>
            <p:nvPr/>
          </p:nvSpPr>
          <p:spPr>
            <a:xfrm>
              <a:off x="11719549" y="6750860"/>
              <a:ext cx="19630" cy="26558"/>
            </a:xfrm>
            <a:custGeom>
              <a:avLst/>
              <a:gdLst>
                <a:gd name="connsiteX0" fmla="*/ 994 w 34784"/>
                <a:gd name="connsiteY0" fmla="*/ 44632 h 47062"/>
                <a:gd name="connsiteX1" fmla="*/ 994 w 34784"/>
                <a:gd name="connsiteY1" fmla="*/ 2270 h 47062"/>
                <a:gd name="connsiteX2" fmla="*/ 2711 w 34784"/>
                <a:gd name="connsiteY2" fmla="*/ 270 h 47062"/>
                <a:gd name="connsiteX3" fmla="*/ 3018 w 34784"/>
                <a:gd name="connsiteY3" fmla="*/ 273 h 47062"/>
                <a:gd name="connsiteX4" fmla="*/ 5015 w 34784"/>
                <a:gd name="connsiteY4" fmla="*/ 273 h 47062"/>
                <a:gd name="connsiteX5" fmla="*/ 7278 w 34784"/>
                <a:gd name="connsiteY5" fmla="*/ 1897 h 47062"/>
                <a:gd name="connsiteX6" fmla="*/ 9594 w 34784"/>
                <a:gd name="connsiteY6" fmla="*/ 2589 h 47062"/>
                <a:gd name="connsiteX7" fmla="*/ 19206 w 34784"/>
                <a:gd name="connsiteY7" fmla="*/ -339 h 47062"/>
                <a:gd name="connsiteX8" fmla="*/ 35771 w 34784"/>
                <a:gd name="connsiteY8" fmla="*/ 16060 h 47062"/>
                <a:gd name="connsiteX9" fmla="*/ 35768 w 34784"/>
                <a:gd name="connsiteY9" fmla="*/ 16462 h 47062"/>
                <a:gd name="connsiteX10" fmla="*/ 19558 w 34784"/>
                <a:gd name="connsiteY10" fmla="*/ 33524 h 47062"/>
                <a:gd name="connsiteX11" fmla="*/ 19073 w 34784"/>
                <a:gd name="connsiteY11" fmla="*/ 33529 h 47062"/>
                <a:gd name="connsiteX12" fmla="*/ 11085 w 34784"/>
                <a:gd name="connsiteY12" fmla="*/ 31585 h 47062"/>
                <a:gd name="connsiteX13" fmla="*/ 9009 w 34784"/>
                <a:gd name="connsiteY13" fmla="*/ 32597 h 47062"/>
                <a:gd name="connsiteX14" fmla="*/ 9009 w 34784"/>
                <a:gd name="connsiteY14" fmla="*/ 44712 h 47062"/>
                <a:gd name="connsiteX15" fmla="*/ 7347 w 34784"/>
                <a:gd name="connsiteY15" fmla="*/ 46709 h 47062"/>
                <a:gd name="connsiteX16" fmla="*/ 7012 w 34784"/>
                <a:gd name="connsiteY16" fmla="*/ 46709 h 47062"/>
                <a:gd name="connsiteX17" fmla="*/ 3124 w 34784"/>
                <a:gd name="connsiteY17" fmla="*/ 46709 h 47062"/>
                <a:gd name="connsiteX18" fmla="*/ 1103 w 34784"/>
                <a:gd name="connsiteY18" fmla="*/ 45018 h 47062"/>
                <a:gd name="connsiteX19" fmla="*/ 1101 w 34784"/>
                <a:gd name="connsiteY19" fmla="*/ 44712 h 47062"/>
                <a:gd name="connsiteX20" fmla="*/ 10340 w 34784"/>
                <a:gd name="connsiteY20" fmla="*/ 22106 h 47062"/>
                <a:gd name="connsiteX21" fmla="*/ 18328 w 34784"/>
                <a:gd name="connsiteY21" fmla="*/ 26127 h 47062"/>
                <a:gd name="connsiteX22" fmla="*/ 27064 w 34784"/>
                <a:gd name="connsiteY22" fmla="*/ 16512 h 47062"/>
                <a:gd name="connsiteX23" fmla="*/ 27061 w 34784"/>
                <a:gd name="connsiteY23" fmla="*/ 16462 h 47062"/>
                <a:gd name="connsiteX24" fmla="*/ 18328 w 34784"/>
                <a:gd name="connsiteY24" fmla="*/ 7063 h 47062"/>
                <a:gd name="connsiteX25" fmla="*/ 10340 w 34784"/>
                <a:gd name="connsiteY25" fmla="*/ 11057 h 47062"/>
                <a:gd name="connsiteX26" fmla="*/ 9781 w 34784"/>
                <a:gd name="connsiteY26" fmla="*/ 13213 h 47062"/>
                <a:gd name="connsiteX27" fmla="*/ 9781 w 34784"/>
                <a:gd name="connsiteY27" fmla="*/ 19976 h 47062"/>
                <a:gd name="connsiteX28" fmla="*/ 10340 w 34784"/>
                <a:gd name="connsiteY28" fmla="*/ 22106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784" h="47062">
                  <a:moveTo>
                    <a:pt x="994" y="44632"/>
                  </a:moveTo>
                  <a:lnTo>
                    <a:pt x="994" y="2270"/>
                  </a:lnTo>
                  <a:cubicBezTo>
                    <a:pt x="917" y="1245"/>
                    <a:pt x="1686" y="348"/>
                    <a:pt x="2711" y="270"/>
                  </a:cubicBezTo>
                  <a:cubicBezTo>
                    <a:pt x="2813" y="262"/>
                    <a:pt x="2917" y="265"/>
                    <a:pt x="3018" y="273"/>
                  </a:cubicBezTo>
                  <a:lnTo>
                    <a:pt x="5015" y="273"/>
                  </a:lnTo>
                  <a:cubicBezTo>
                    <a:pt x="6064" y="190"/>
                    <a:pt x="7022" y="875"/>
                    <a:pt x="7278" y="1897"/>
                  </a:cubicBezTo>
                  <a:cubicBezTo>
                    <a:pt x="7597" y="3228"/>
                    <a:pt x="8529" y="3415"/>
                    <a:pt x="9594" y="2589"/>
                  </a:cubicBezTo>
                  <a:cubicBezTo>
                    <a:pt x="12393" y="592"/>
                    <a:pt x="15769" y="-435"/>
                    <a:pt x="19206" y="-339"/>
                  </a:cubicBezTo>
                  <a:cubicBezTo>
                    <a:pt x="28310" y="-385"/>
                    <a:pt x="35725" y="6956"/>
                    <a:pt x="35771" y="16060"/>
                  </a:cubicBezTo>
                  <a:cubicBezTo>
                    <a:pt x="35771" y="16193"/>
                    <a:pt x="35771" y="16329"/>
                    <a:pt x="35768" y="16462"/>
                  </a:cubicBezTo>
                  <a:cubicBezTo>
                    <a:pt x="36002" y="25650"/>
                    <a:pt x="28747" y="33289"/>
                    <a:pt x="19558" y="33524"/>
                  </a:cubicBezTo>
                  <a:cubicBezTo>
                    <a:pt x="19395" y="33529"/>
                    <a:pt x="19236" y="33529"/>
                    <a:pt x="19073" y="33529"/>
                  </a:cubicBezTo>
                  <a:cubicBezTo>
                    <a:pt x="16288" y="33580"/>
                    <a:pt x="13538" y="32909"/>
                    <a:pt x="11085" y="31585"/>
                  </a:cubicBezTo>
                  <a:cubicBezTo>
                    <a:pt x="9834" y="30840"/>
                    <a:pt x="9009" y="31213"/>
                    <a:pt x="9009" y="32597"/>
                  </a:cubicBezTo>
                  <a:lnTo>
                    <a:pt x="9009" y="44712"/>
                  </a:lnTo>
                  <a:cubicBezTo>
                    <a:pt x="9102" y="45721"/>
                    <a:pt x="8356" y="46616"/>
                    <a:pt x="7347" y="46709"/>
                  </a:cubicBezTo>
                  <a:cubicBezTo>
                    <a:pt x="7235" y="46720"/>
                    <a:pt x="7123" y="46720"/>
                    <a:pt x="7012" y="46709"/>
                  </a:cubicBezTo>
                  <a:lnTo>
                    <a:pt x="3124" y="46709"/>
                  </a:lnTo>
                  <a:cubicBezTo>
                    <a:pt x="2099" y="46799"/>
                    <a:pt x="1194" y="46043"/>
                    <a:pt x="1103" y="45018"/>
                  </a:cubicBezTo>
                  <a:cubicBezTo>
                    <a:pt x="1093" y="44917"/>
                    <a:pt x="1093" y="44813"/>
                    <a:pt x="1101" y="44712"/>
                  </a:cubicBezTo>
                  <a:moveTo>
                    <a:pt x="10340" y="22106"/>
                  </a:moveTo>
                  <a:cubicBezTo>
                    <a:pt x="12148" y="24716"/>
                    <a:pt x="15154" y="26231"/>
                    <a:pt x="18328" y="26127"/>
                  </a:cubicBezTo>
                  <a:cubicBezTo>
                    <a:pt x="23395" y="25885"/>
                    <a:pt x="27306" y="21579"/>
                    <a:pt x="27064" y="16512"/>
                  </a:cubicBezTo>
                  <a:cubicBezTo>
                    <a:pt x="27064" y="16496"/>
                    <a:pt x="27061" y="16478"/>
                    <a:pt x="27061" y="16462"/>
                  </a:cubicBezTo>
                  <a:cubicBezTo>
                    <a:pt x="27210" y="11467"/>
                    <a:pt x="23320" y="7278"/>
                    <a:pt x="18328" y="7063"/>
                  </a:cubicBezTo>
                  <a:cubicBezTo>
                    <a:pt x="15165" y="6972"/>
                    <a:pt x="12166" y="8471"/>
                    <a:pt x="10340" y="11057"/>
                  </a:cubicBezTo>
                  <a:cubicBezTo>
                    <a:pt x="9924" y="11696"/>
                    <a:pt x="9727" y="12452"/>
                    <a:pt x="9781" y="13213"/>
                  </a:cubicBezTo>
                  <a:lnTo>
                    <a:pt x="9781" y="19976"/>
                  </a:lnTo>
                  <a:cubicBezTo>
                    <a:pt x="9746" y="20727"/>
                    <a:pt x="9941" y="21470"/>
                    <a:pt x="10340" y="22106"/>
                  </a:cubicBezTo>
                </a:path>
              </a:pathLst>
            </a:custGeom>
            <a:solidFill>
              <a:srgbClr val="8FDB42"/>
            </a:solidFill>
            <a:ln w="2661" cap="flat">
              <a:noFill/>
              <a:prstDash val="solid"/>
              <a:miter/>
            </a:ln>
          </p:spPr>
          <p:txBody>
            <a:bodyPr rtlCol="0" anchor="ctr"/>
            <a:lstStyle/>
            <a:p>
              <a:endParaRPr lang="pl-PL"/>
            </a:p>
          </p:txBody>
        </p:sp>
        <p:sp>
          <p:nvSpPr>
            <p:cNvPr id="119" name="Freeform: Shape 118">
              <a:extLst>
                <a:ext uri="{FF2B5EF4-FFF2-40B4-BE49-F238E27FC236}">
                  <a16:creationId xmlns:a16="http://schemas.microsoft.com/office/drawing/2014/main" id="{55B45665-4D39-45EC-BB7D-073C317D4437}"/>
                </a:ext>
              </a:extLst>
            </p:cNvPr>
            <p:cNvSpPr/>
            <p:nvPr/>
          </p:nvSpPr>
          <p:spPr>
            <a:xfrm>
              <a:off x="11741806" y="6750833"/>
              <a:ext cx="20150" cy="19139"/>
            </a:xfrm>
            <a:custGeom>
              <a:avLst/>
              <a:gdLst>
                <a:gd name="connsiteX0" fmla="*/ 18882 w 35707"/>
                <a:gd name="connsiteY0" fmla="*/ -346 h 33914"/>
                <a:gd name="connsiteX1" fmla="*/ 36695 w 35707"/>
                <a:gd name="connsiteY1" fmla="*/ 16349 h 33914"/>
                <a:gd name="connsiteX2" fmla="*/ 19833 w 35707"/>
                <a:gd name="connsiteY2" fmla="*/ 33565 h 33914"/>
                <a:gd name="connsiteX3" fmla="*/ 18882 w 35707"/>
                <a:gd name="connsiteY3" fmla="*/ 33550 h 33914"/>
                <a:gd name="connsiteX4" fmla="*/ 1008 w 35707"/>
                <a:gd name="connsiteY4" fmla="*/ 17273 h 33914"/>
                <a:gd name="connsiteX5" fmla="*/ 989 w 35707"/>
                <a:gd name="connsiteY5" fmla="*/ 16349 h 33914"/>
                <a:gd name="connsiteX6" fmla="*/ 18882 w 35707"/>
                <a:gd name="connsiteY6" fmla="*/ -346 h 33914"/>
                <a:gd name="connsiteX7" fmla="*/ 18882 w 35707"/>
                <a:gd name="connsiteY7" fmla="*/ 26147 h 33914"/>
                <a:gd name="connsiteX8" fmla="*/ 28052 w 35707"/>
                <a:gd name="connsiteY8" fmla="*/ 17158 h 33914"/>
                <a:gd name="connsiteX9" fmla="*/ 28041 w 35707"/>
                <a:gd name="connsiteY9" fmla="*/ 16615 h 33914"/>
                <a:gd name="connsiteX10" fmla="*/ 19425 w 35707"/>
                <a:gd name="connsiteY10" fmla="*/ 7094 h 33914"/>
                <a:gd name="connsiteX11" fmla="*/ 18882 w 35707"/>
                <a:gd name="connsiteY11" fmla="*/ 7083 h 33914"/>
                <a:gd name="connsiteX12" fmla="*/ 9709 w 35707"/>
                <a:gd name="connsiteY12" fmla="*/ 15960 h 33914"/>
                <a:gd name="connsiteX13" fmla="*/ 9723 w 35707"/>
                <a:gd name="connsiteY13" fmla="*/ 16615 h 33914"/>
                <a:gd name="connsiteX14" fmla="*/ 18227 w 35707"/>
                <a:gd name="connsiteY14" fmla="*/ 26134 h 33914"/>
                <a:gd name="connsiteX15" fmla="*/ 18882 w 35707"/>
                <a:gd name="connsiteY15" fmla="*/ 26147 h 33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07" h="33914">
                  <a:moveTo>
                    <a:pt x="18882" y="-346"/>
                  </a:moveTo>
                  <a:cubicBezTo>
                    <a:pt x="29346" y="-346"/>
                    <a:pt x="36695" y="7003"/>
                    <a:pt x="36695" y="16349"/>
                  </a:cubicBezTo>
                  <a:cubicBezTo>
                    <a:pt x="36793" y="25759"/>
                    <a:pt x="29242" y="33467"/>
                    <a:pt x="19833" y="33565"/>
                  </a:cubicBezTo>
                  <a:cubicBezTo>
                    <a:pt x="19516" y="33568"/>
                    <a:pt x="19199" y="33563"/>
                    <a:pt x="18882" y="33550"/>
                  </a:cubicBezTo>
                  <a:cubicBezTo>
                    <a:pt x="9451" y="33991"/>
                    <a:pt x="1450" y="26704"/>
                    <a:pt x="1008" y="17273"/>
                  </a:cubicBezTo>
                  <a:cubicBezTo>
                    <a:pt x="992" y="16967"/>
                    <a:pt x="987" y="16658"/>
                    <a:pt x="989" y="16349"/>
                  </a:cubicBezTo>
                  <a:cubicBezTo>
                    <a:pt x="989" y="7003"/>
                    <a:pt x="8391" y="-346"/>
                    <a:pt x="18882" y="-346"/>
                  </a:cubicBezTo>
                  <a:moveTo>
                    <a:pt x="18882" y="26147"/>
                  </a:moveTo>
                  <a:cubicBezTo>
                    <a:pt x="23896" y="26198"/>
                    <a:pt x="28002" y="22175"/>
                    <a:pt x="28052" y="17158"/>
                  </a:cubicBezTo>
                  <a:cubicBezTo>
                    <a:pt x="28055" y="16977"/>
                    <a:pt x="28049" y="16796"/>
                    <a:pt x="28041" y="16615"/>
                  </a:cubicBezTo>
                  <a:cubicBezTo>
                    <a:pt x="28292" y="11607"/>
                    <a:pt x="24434" y="7344"/>
                    <a:pt x="19425" y="7094"/>
                  </a:cubicBezTo>
                  <a:cubicBezTo>
                    <a:pt x="19244" y="7086"/>
                    <a:pt x="19063" y="7080"/>
                    <a:pt x="18882" y="7083"/>
                  </a:cubicBezTo>
                  <a:cubicBezTo>
                    <a:pt x="13898" y="7001"/>
                    <a:pt x="9792" y="10976"/>
                    <a:pt x="9709" y="15960"/>
                  </a:cubicBezTo>
                  <a:cubicBezTo>
                    <a:pt x="9707" y="16179"/>
                    <a:pt x="9709" y="16397"/>
                    <a:pt x="9723" y="16615"/>
                  </a:cubicBezTo>
                  <a:cubicBezTo>
                    <a:pt x="9443" y="21592"/>
                    <a:pt x="13251" y="25855"/>
                    <a:pt x="18227" y="26134"/>
                  </a:cubicBezTo>
                  <a:cubicBezTo>
                    <a:pt x="18445" y="26147"/>
                    <a:pt x="18664" y="26150"/>
                    <a:pt x="18882" y="26147"/>
                  </a:cubicBezTo>
                </a:path>
              </a:pathLst>
            </a:custGeom>
            <a:solidFill>
              <a:srgbClr val="8FDB42"/>
            </a:solidFill>
            <a:ln w="2661" cap="flat">
              <a:noFill/>
              <a:prstDash val="solid"/>
              <a:miter/>
            </a:ln>
          </p:spPr>
          <p:txBody>
            <a:bodyPr rtlCol="0" anchor="ctr"/>
            <a:lstStyle/>
            <a:p>
              <a:endParaRPr lang="pl-PL"/>
            </a:p>
          </p:txBody>
        </p:sp>
        <p:sp>
          <p:nvSpPr>
            <p:cNvPr id="120" name="Freeform: Shape 119">
              <a:extLst>
                <a:ext uri="{FF2B5EF4-FFF2-40B4-BE49-F238E27FC236}">
                  <a16:creationId xmlns:a16="http://schemas.microsoft.com/office/drawing/2014/main" id="{4969C6C5-0FE6-4477-8E2A-50F89F804C34}"/>
                </a:ext>
              </a:extLst>
            </p:cNvPr>
            <p:cNvSpPr/>
            <p:nvPr/>
          </p:nvSpPr>
          <p:spPr>
            <a:xfrm>
              <a:off x="11764305" y="6750833"/>
              <a:ext cx="16853" cy="19128"/>
            </a:xfrm>
            <a:custGeom>
              <a:avLst/>
              <a:gdLst>
                <a:gd name="connsiteX0" fmla="*/ 16288 w 29863"/>
                <a:gd name="connsiteY0" fmla="*/ -346 h 33895"/>
                <a:gd name="connsiteX1" fmla="*/ 30266 w 29863"/>
                <a:gd name="connsiteY1" fmla="*/ 9400 h 33895"/>
                <a:gd name="connsiteX2" fmla="*/ 28376 w 29863"/>
                <a:gd name="connsiteY2" fmla="*/ 11476 h 33895"/>
                <a:gd name="connsiteX3" fmla="*/ 24275 w 29863"/>
                <a:gd name="connsiteY3" fmla="*/ 11476 h 33895"/>
                <a:gd name="connsiteX4" fmla="*/ 22065 w 29863"/>
                <a:gd name="connsiteY4" fmla="*/ 9719 h 33895"/>
                <a:gd name="connsiteX5" fmla="*/ 16048 w 29863"/>
                <a:gd name="connsiteY5" fmla="*/ 6444 h 33895"/>
                <a:gd name="connsiteX6" fmla="*/ 10723 w 29863"/>
                <a:gd name="connsiteY6" fmla="*/ 9266 h 33895"/>
                <a:gd name="connsiteX7" fmla="*/ 30852 w 29863"/>
                <a:gd name="connsiteY7" fmla="*/ 23591 h 33895"/>
                <a:gd name="connsiteX8" fmla="*/ 16687 w 29863"/>
                <a:gd name="connsiteY8" fmla="*/ 33550 h 33895"/>
                <a:gd name="connsiteX9" fmla="*/ 1058 w 29863"/>
                <a:gd name="connsiteY9" fmla="*/ 23511 h 33895"/>
                <a:gd name="connsiteX10" fmla="*/ 2868 w 29863"/>
                <a:gd name="connsiteY10" fmla="*/ 21381 h 33895"/>
                <a:gd name="connsiteX11" fmla="*/ 7128 w 29863"/>
                <a:gd name="connsiteY11" fmla="*/ 21381 h 33895"/>
                <a:gd name="connsiteX12" fmla="*/ 9338 w 29863"/>
                <a:gd name="connsiteY12" fmla="*/ 23006 h 33895"/>
                <a:gd name="connsiteX13" fmla="*/ 16873 w 29863"/>
                <a:gd name="connsiteY13" fmla="*/ 26786 h 33895"/>
                <a:gd name="connsiteX14" fmla="*/ 22385 w 29863"/>
                <a:gd name="connsiteY14" fmla="*/ 23645 h 33895"/>
                <a:gd name="connsiteX15" fmla="*/ 2256 w 29863"/>
                <a:gd name="connsiteY15" fmla="*/ 9453 h 33895"/>
                <a:gd name="connsiteX16" fmla="*/ 16128 w 29863"/>
                <a:gd name="connsiteY16" fmla="*/ -346 h 3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863" h="33895">
                  <a:moveTo>
                    <a:pt x="16288" y="-346"/>
                  </a:moveTo>
                  <a:cubicBezTo>
                    <a:pt x="24275" y="-346"/>
                    <a:pt x="28962" y="3622"/>
                    <a:pt x="30266" y="9400"/>
                  </a:cubicBezTo>
                  <a:cubicBezTo>
                    <a:pt x="30586" y="10704"/>
                    <a:pt x="29760" y="11476"/>
                    <a:pt x="28376" y="11476"/>
                  </a:cubicBezTo>
                  <a:lnTo>
                    <a:pt x="24275" y="11476"/>
                  </a:lnTo>
                  <a:cubicBezTo>
                    <a:pt x="23077" y="11476"/>
                    <a:pt x="22518" y="10837"/>
                    <a:pt x="22065" y="9719"/>
                  </a:cubicBezTo>
                  <a:cubicBezTo>
                    <a:pt x="21320" y="7642"/>
                    <a:pt x="19403" y="6444"/>
                    <a:pt x="16048" y="6444"/>
                  </a:cubicBezTo>
                  <a:cubicBezTo>
                    <a:pt x="12693" y="6444"/>
                    <a:pt x="10723" y="7562"/>
                    <a:pt x="10723" y="9266"/>
                  </a:cubicBezTo>
                  <a:cubicBezTo>
                    <a:pt x="10723" y="15364"/>
                    <a:pt x="30852" y="10971"/>
                    <a:pt x="30852" y="23591"/>
                  </a:cubicBezTo>
                  <a:cubicBezTo>
                    <a:pt x="30852" y="29982"/>
                    <a:pt x="25021" y="33550"/>
                    <a:pt x="16687" y="33550"/>
                  </a:cubicBezTo>
                  <a:cubicBezTo>
                    <a:pt x="8353" y="33550"/>
                    <a:pt x="2362" y="29928"/>
                    <a:pt x="1058" y="23511"/>
                  </a:cubicBezTo>
                  <a:cubicBezTo>
                    <a:pt x="738" y="22127"/>
                    <a:pt x="1563" y="21381"/>
                    <a:pt x="2868" y="21381"/>
                  </a:cubicBezTo>
                  <a:lnTo>
                    <a:pt x="7128" y="21381"/>
                  </a:lnTo>
                  <a:cubicBezTo>
                    <a:pt x="8153" y="21344"/>
                    <a:pt x="9067" y="22018"/>
                    <a:pt x="9338" y="23006"/>
                  </a:cubicBezTo>
                  <a:cubicBezTo>
                    <a:pt x="10853" y="25673"/>
                    <a:pt x="13827" y="27165"/>
                    <a:pt x="16873" y="26786"/>
                  </a:cubicBezTo>
                  <a:cubicBezTo>
                    <a:pt x="20255" y="26786"/>
                    <a:pt x="22385" y="25721"/>
                    <a:pt x="22385" y="23645"/>
                  </a:cubicBezTo>
                  <a:cubicBezTo>
                    <a:pt x="22385" y="17494"/>
                    <a:pt x="2256" y="22127"/>
                    <a:pt x="2256" y="9453"/>
                  </a:cubicBezTo>
                  <a:cubicBezTo>
                    <a:pt x="2256" y="3808"/>
                    <a:pt x="7075" y="-346"/>
                    <a:pt x="16128" y="-346"/>
                  </a:cubicBezTo>
                </a:path>
              </a:pathLst>
            </a:custGeom>
            <a:solidFill>
              <a:srgbClr val="8FDB42"/>
            </a:solidFill>
            <a:ln w="2661" cap="flat">
              <a:noFill/>
              <a:prstDash val="solid"/>
              <a:miter/>
            </a:ln>
          </p:spPr>
          <p:txBody>
            <a:bodyPr rtlCol="0" anchor="ctr"/>
            <a:lstStyle/>
            <a:p>
              <a:endParaRPr lang="pl-PL"/>
            </a:p>
          </p:txBody>
        </p:sp>
        <p:sp>
          <p:nvSpPr>
            <p:cNvPr id="121" name="Freeform: Shape 120">
              <a:extLst>
                <a:ext uri="{FF2B5EF4-FFF2-40B4-BE49-F238E27FC236}">
                  <a16:creationId xmlns:a16="http://schemas.microsoft.com/office/drawing/2014/main" id="{F7AF5D51-B520-4E17-A007-77BDEE36E6C2}"/>
                </a:ext>
              </a:extLst>
            </p:cNvPr>
            <p:cNvSpPr/>
            <p:nvPr/>
          </p:nvSpPr>
          <p:spPr>
            <a:xfrm>
              <a:off x="11784416" y="6742209"/>
              <a:ext cx="6552" cy="27380"/>
            </a:xfrm>
            <a:custGeom>
              <a:avLst/>
              <a:gdLst>
                <a:gd name="connsiteX0" fmla="*/ 1098 w 11611"/>
                <a:gd name="connsiteY0" fmla="*/ 5352 h 48518"/>
                <a:gd name="connsiteX1" fmla="*/ 6796 w 11611"/>
                <a:gd name="connsiteY1" fmla="*/ -346 h 48518"/>
                <a:gd name="connsiteX2" fmla="*/ 6876 w 11611"/>
                <a:gd name="connsiteY2" fmla="*/ -346 h 48518"/>
                <a:gd name="connsiteX3" fmla="*/ 12600 w 11611"/>
                <a:gd name="connsiteY3" fmla="*/ 5352 h 48518"/>
                <a:gd name="connsiteX4" fmla="*/ 6769 w 11611"/>
                <a:gd name="connsiteY4" fmla="*/ 11263 h 48518"/>
                <a:gd name="connsiteX5" fmla="*/ 989 w 11611"/>
                <a:gd name="connsiteY5" fmla="*/ 5488 h 48518"/>
                <a:gd name="connsiteX6" fmla="*/ 991 w 11611"/>
                <a:gd name="connsiteY6" fmla="*/ 5352 h 48518"/>
                <a:gd name="connsiteX7" fmla="*/ 10710 w 11611"/>
                <a:gd name="connsiteY7" fmla="*/ 17521 h 48518"/>
                <a:gd name="connsiteX8" fmla="*/ 10710 w 11611"/>
                <a:gd name="connsiteY8" fmla="*/ 46144 h 48518"/>
                <a:gd name="connsiteX9" fmla="*/ 9019 w 11611"/>
                <a:gd name="connsiteY9" fmla="*/ 48165 h 48518"/>
                <a:gd name="connsiteX10" fmla="*/ 8713 w 11611"/>
                <a:gd name="connsiteY10" fmla="*/ 48167 h 48518"/>
                <a:gd name="connsiteX11" fmla="*/ 4000 w 11611"/>
                <a:gd name="connsiteY11" fmla="*/ 48167 h 48518"/>
                <a:gd name="connsiteX12" fmla="*/ 2001 w 11611"/>
                <a:gd name="connsiteY12" fmla="*/ 46450 h 48518"/>
                <a:gd name="connsiteX13" fmla="*/ 2003 w 11611"/>
                <a:gd name="connsiteY13" fmla="*/ 46144 h 48518"/>
                <a:gd name="connsiteX14" fmla="*/ 2003 w 11611"/>
                <a:gd name="connsiteY14" fmla="*/ 17600 h 48518"/>
                <a:gd name="connsiteX15" fmla="*/ 3665 w 11611"/>
                <a:gd name="connsiteY15" fmla="*/ 15603 h 48518"/>
                <a:gd name="connsiteX16" fmla="*/ 4000 w 11611"/>
                <a:gd name="connsiteY16" fmla="*/ 15603 h 48518"/>
                <a:gd name="connsiteX17" fmla="*/ 8713 w 11611"/>
                <a:gd name="connsiteY17" fmla="*/ 15603 h 48518"/>
                <a:gd name="connsiteX18" fmla="*/ 10710 w 11611"/>
                <a:gd name="connsiteY18" fmla="*/ 17265 h 48518"/>
                <a:gd name="connsiteX19" fmla="*/ 10710 w 11611"/>
                <a:gd name="connsiteY19" fmla="*/ 17600 h 48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11" h="48518">
                  <a:moveTo>
                    <a:pt x="1098" y="5352"/>
                  </a:moveTo>
                  <a:cubicBezTo>
                    <a:pt x="1098" y="2205"/>
                    <a:pt x="3649" y="-346"/>
                    <a:pt x="6796" y="-346"/>
                  </a:cubicBezTo>
                  <a:cubicBezTo>
                    <a:pt x="6823" y="-346"/>
                    <a:pt x="6849" y="-346"/>
                    <a:pt x="6876" y="-346"/>
                  </a:cubicBezTo>
                  <a:cubicBezTo>
                    <a:pt x="10004" y="-290"/>
                    <a:pt x="12529" y="2224"/>
                    <a:pt x="12600" y="5352"/>
                  </a:cubicBezTo>
                  <a:cubicBezTo>
                    <a:pt x="12600" y="8585"/>
                    <a:pt x="10002" y="11221"/>
                    <a:pt x="6769" y="11263"/>
                  </a:cubicBezTo>
                  <a:cubicBezTo>
                    <a:pt x="3579" y="11263"/>
                    <a:pt x="991" y="8678"/>
                    <a:pt x="989" y="5488"/>
                  </a:cubicBezTo>
                  <a:cubicBezTo>
                    <a:pt x="989" y="5443"/>
                    <a:pt x="991" y="5398"/>
                    <a:pt x="991" y="5352"/>
                  </a:cubicBezTo>
                  <a:moveTo>
                    <a:pt x="10710" y="17521"/>
                  </a:moveTo>
                  <a:lnTo>
                    <a:pt x="10710" y="46144"/>
                  </a:lnTo>
                  <a:cubicBezTo>
                    <a:pt x="10800" y="47169"/>
                    <a:pt x="10044" y="48074"/>
                    <a:pt x="9019" y="48165"/>
                  </a:cubicBezTo>
                  <a:cubicBezTo>
                    <a:pt x="8918" y="48175"/>
                    <a:pt x="8814" y="48175"/>
                    <a:pt x="8713" y="48167"/>
                  </a:cubicBezTo>
                  <a:lnTo>
                    <a:pt x="4000" y="48167"/>
                  </a:lnTo>
                  <a:cubicBezTo>
                    <a:pt x="2975" y="48244"/>
                    <a:pt x="2078" y="47475"/>
                    <a:pt x="2001" y="46450"/>
                  </a:cubicBezTo>
                  <a:cubicBezTo>
                    <a:pt x="1993" y="46349"/>
                    <a:pt x="1995" y="46245"/>
                    <a:pt x="2003" y="46144"/>
                  </a:cubicBezTo>
                  <a:lnTo>
                    <a:pt x="2003" y="17600"/>
                  </a:lnTo>
                  <a:cubicBezTo>
                    <a:pt x="1910" y="16591"/>
                    <a:pt x="2656" y="15697"/>
                    <a:pt x="3665" y="15603"/>
                  </a:cubicBezTo>
                  <a:cubicBezTo>
                    <a:pt x="3776" y="15593"/>
                    <a:pt x="3888" y="15593"/>
                    <a:pt x="4000" y="15603"/>
                  </a:cubicBezTo>
                  <a:lnTo>
                    <a:pt x="8713" y="15603"/>
                  </a:lnTo>
                  <a:cubicBezTo>
                    <a:pt x="9722" y="15510"/>
                    <a:pt x="10617" y="16256"/>
                    <a:pt x="10710" y="17265"/>
                  </a:cubicBezTo>
                  <a:cubicBezTo>
                    <a:pt x="10721" y="17377"/>
                    <a:pt x="10721" y="17489"/>
                    <a:pt x="10710" y="17600"/>
                  </a:cubicBezTo>
                </a:path>
              </a:pathLst>
            </a:custGeom>
            <a:solidFill>
              <a:srgbClr val="8FDB42"/>
            </a:solidFill>
            <a:ln w="2661" cap="flat">
              <a:noFill/>
              <a:prstDash val="solid"/>
              <a:miter/>
            </a:ln>
          </p:spPr>
          <p:txBody>
            <a:bodyPr rtlCol="0" anchor="ctr"/>
            <a:lstStyle/>
            <a:p>
              <a:endParaRPr lang="pl-PL"/>
            </a:p>
          </p:txBody>
        </p:sp>
        <p:sp>
          <p:nvSpPr>
            <p:cNvPr id="122" name="Freeform: Shape 121">
              <a:extLst>
                <a:ext uri="{FF2B5EF4-FFF2-40B4-BE49-F238E27FC236}">
                  <a16:creationId xmlns:a16="http://schemas.microsoft.com/office/drawing/2014/main" id="{ACC4058D-B765-425D-A758-42D193236E49}"/>
                </a:ext>
              </a:extLst>
            </p:cNvPr>
            <p:cNvSpPr/>
            <p:nvPr/>
          </p:nvSpPr>
          <p:spPr>
            <a:xfrm>
              <a:off x="11793381" y="6746197"/>
              <a:ext cx="13675" cy="23794"/>
            </a:xfrm>
            <a:custGeom>
              <a:avLst/>
              <a:gdLst>
                <a:gd name="connsiteX0" fmla="*/ 1029 w 24233"/>
                <a:gd name="connsiteY0" fmla="*/ 13782 h 42164"/>
                <a:gd name="connsiteX1" fmla="*/ 1029 w 24233"/>
                <a:gd name="connsiteY1" fmla="*/ 10533 h 42164"/>
                <a:gd name="connsiteX2" fmla="*/ 2608 w 24233"/>
                <a:gd name="connsiteY2" fmla="*/ 8518 h 42164"/>
                <a:gd name="connsiteX3" fmla="*/ 2972 w 24233"/>
                <a:gd name="connsiteY3" fmla="*/ 8510 h 42164"/>
                <a:gd name="connsiteX4" fmla="*/ 5049 w 24233"/>
                <a:gd name="connsiteY4" fmla="*/ 8510 h 42164"/>
                <a:gd name="connsiteX5" fmla="*/ 5741 w 24233"/>
                <a:gd name="connsiteY5" fmla="*/ 7817 h 42164"/>
                <a:gd name="connsiteX6" fmla="*/ 5741 w 24233"/>
                <a:gd name="connsiteY6" fmla="*/ 3105 h 42164"/>
                <a:gd name="connsiteX7" fmla="*/ 7419 w 24233"/>
                <a:gd name="connsiteY7" fmla="*/ 921 h 42164"/>
                <a:gd name="connsiteX8" fmla="*/ 11892 w 24233"/>
                <a:gd name="connsiteY8" fmla="*/ -224 h 42164"/>
                <a:gd name="connsiteX9" fmla="*/ 14043 w 24233"/>
                <a:gd name="connsiteY9" fmla="*/ 684 h 42164"/>
                <a:gd name="connsiteX10" fmla="*/ 14155 w 24233"/>
                <a:gd name="connsiteY10" fmla="*/ 1480 h 42164"/>
                <a:gd name="connsiteX11" fmla="*/ 14155 w 24233"/>
                <a:gd name="connsiteY11" fmla="*/ 7871 h 42164"/>
                <a:gd name="connsiteX12" fmla="*/ 14794 w 24233"/>
                <a:gd name="connsiteY12" fmla="*/ 8563 h 42164"/>
                <a:gd name="connsiteX13" fmla="*/ 14848 w 24233"/>
                <a:gd name="connsiteY13" fmla="*/ 8563 h 42164"/>
                <a:gd name="connsiteX14" fmla="*/ 22835 w 24233"/>
                <a:gd name="connsiteY14" fmla="*/ 8563 h 42164"/>
                <a:gd name="connsiteX15" fmla="*/ 24859 w 24233"/>
                <a:gd name="connsiteY15" fmla="*/ 10251 h 42164"/>
                <a:gd name="connsiteX16" fmla="*/ 24859 w 24233"/>
                <a:gd name="connsiteY16" fmla="*/ 10587 h 42164"/>
                <a:gd name="connsiteX17" fmla="*/ 24859 w 24233"/>
                <a:gd name="connsiteY17" fmla="*/ 13888 h 42164"/>
                <a:gd name="connsiteX18" fmla="*/ 23171 w 24233"/>
                <a:gd name="connsiteY18" fmla="*/ 15912 h 42164"/>
                <a:gd name="connsiteX19" fmla="*/ 22835 w 24233"/>
                <a:gd name="connsiteY19" fmla="*/ 15912 h 42164"/>
                <a:gd name="connsiteX20" fmla="*/ 14848 w 24233"/>
                <a:gd name="connsiteY20" fmla="*/ 15912 h 42164"/>
                <a:gd name="connsiteX21" fmla="*/ 14150 w 24233"/>
                <a:gd name="connsiteY21" fmla="*/ 16545 h 42164"/>
                <a:gd name="connsiteX22" fmla="*/ 14155 w 24233"/>
                <a:gd name="connsiteY22" fmla="*/ 16657 h 42164"/>
                <a:gd name="connsiteX23" fmla="*/ 14155 w 24233"/>
                <a:gd name="connsiteY23" fmla="*/ 30157 h 42164"/>
                <a:gd name="connsiteX24" fmla="*/ 17590 w 24233"/>
                <a:gd name="connsiteY24" fmla="*/ 34177 h 42164"/>
                <a:gd name="connsiteX25" fmla="*/ 22436 w 24233"/>
                <a:gd name="connsiteY25" fmla="*/ 33485 h 42164"/>
                <a:gd name="connsiteX26" fmla="*/ 24683 w 24233"/>
                <a:gd name="connsiteY26" fmla="*/ 34454 h 42164"/>
                <a:gd name="connsiteX27" fmla="*/ 24806 w 24233"/>
                <a:gd name="connsiteY27" fmla="*/ 35109 h 42164"/>
                <a:gd name="connsiteX28" fmla="*/ 25178 w 24233"/>
                <a:gd name="connsiteY28" fmla="*/ 38384 h 42164"/>
                <a:gd name="connsiteX29" fmla="*/ 23639 w 24233"/>
                <a:gd name="connsiteY29" fmla="*/ 40754 h 42164"/>
                <a:gd name="connsiteX30" fmla="*/ 23634 w 24233"/>
                <a:gd name="connsiteY30" fmla="*/ 40754 h 42164"/>
                <a:gd name="connsiteX31" fmla="*/ 15966 w 24233"/>
                <a:gd name="connsiteY31" fmla="*/ 41819 h 42164"/>
                <a:gd name="connsiteX32" fmla="*/ 5315 w 24233"/>
                <a:gd name="connsiteY32" fmla="*/ 30343 h 42164"/>
                <a:gd name="connsiteX33" fmla="*/ 5315 w 24233"/>
                <a:gd name="connsiteY33" fmla="*/ 16657 h 42164"/>
                <a:gd name="connsiteX34" fmla="*/ 4703 w 24233"/>
                <a:gd name="connsiteY34" fmla="*/ 15859 h 42164"/>
                <a:gd name="connsiteX35" fmla="*/ 2946 w 24233"/>
                <a:gd name="connsiteY35" fmla="*/ 15859 h 42164"/>
                <a:gd name="connsiteX36" fmla="*/ 994 w 24233"/>
                <a:gd name="connsiteY36" fmla="*/ 14200 h 42164"/>
                <a:gd name="connsiteX37" fmla="*/ 1002 w 24233"/>
                <a:gd name="connsiteY37" fmla="*/ 13835 h 42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233" h="42164">
                  <a:moveTo>
                    <a:pt x="1029" y="13782"/>
                  </a:moveTo>
                  <a:lnTo>
                    <a:pt x="1029" y="10533"/>
                  </a:lnTo>
                  <a:cubicBezTo>
                    <a:pt x="909" y="9540"/>
                    <a:pt x="1614" y="8637"/>
                    <a:pt x="2608" y="8518"/>
                  </a:cubicBezTo>
                  <a:cubicBezTo>
                    <a:pt x="2727" y="8502"/>
                    <a:pt x="2850" y="8499"/>
                    <a:pt x="2972" y="8510"/>
                  </a:cubicBezTo>
                  <a:lnTo>
                    <a:pt x="5049" y="8510"/>
                  </a:lnTo>
                  <a:cubicBezTo>
                    <a:pt x="5432" y="8510"/>
                    <a:pt x="5741" y="8201"/>
                    <a:pt x="5741" y="7817"/>
                  </a:cubicBezTo>
                  <a:lnTo>
                    <a:pt x="5741" y="3105"/>
                  </a:lnTo>
                  <a:cubicBezTo>
                    <a:pt x="5630" y="2045"/>
                    <a:pt x="6367" y="1086"/>
                    <a:pt x="7419" y="921"/>
                  </a:cubicBezTo>
                  <a:lnTo>
                    <a:pt x="11892" y="-224"/>
                  </a:lnTo>
                  <a:cubicBezTo>
                    <a:pt x="12736" y="-567"/>
                    <a:pt x="13700" y="-160"/>
                    <a:pt x="14043" y="684"/>
                  </a:cubicBezTo>
                  <a:cubicBezTo>
                    <a:pt x="14145" y="937"/>
                    <a:pt x="14184" y="1209"/>
                    <a:pt x="14155" y="1480"/>
                  </a:cubicBezTo>
                  <a:lnTo>
                    <a:pt x="14155" y="7871"/>
                  </a:lnTo>
                  <a:cubicBezTo>
                    <a:pt x="14139" y="8238"/>
                    <a:pt x="14427" y="8547"/>
                    <a:pt x="14794" y="8563"/>
                  </a:cubicBezTo>
                  <a:cubicBezTo>
                    <a:pt x="14810" y="8563"/>
                    <a:pt x="14829" y="8563"/>
                    <a:pt x="14848" y="8563"/>
                  </a:cubicBezTo>
                  <a:lnTo>
                    <a:pt x="22835" y="8563"/>
                  </a:lnTo>
                  <a:cubicBezTo>
                    <a:pt x="23861" y="8470"/>
                    <a:pt x="24766" y="9226"/>
                    <a:pt x="24859" y="10251"/>
                  </a:cubicBezTo>
                  <a:cubicBezTo>
                    <a:pt x="24870" y="10363"/>
                    <a:pt x="24870" y="10475"/>
                    <a:pt x="24859" y="10587"/>
                  </a:cubicBezTo>
                  <a:lnTo>
                    <a:pt x="24859" y="13888"/>
                  </a:lnTo>
                  <a:cubicBezTo>
                    <a:pt x="24952" y="14913"/>
                    <a:pt x="24196" y="15819"/>
                    <a:pt x="23171" y="15912"/>
                  </a:cubicBezTo>
                  <a:cubicBezTo>
                    <a:pt x="23059" y="15922"/>
                    <a:pt x="22947" y="15922"/>
                    <a:pt x="22835" y="15912"/>
                  </a:cubicBezTo>
                  <a:lnTo>
                    <a:pt x="14848" y="15912"/>
                  </a:lnTo>
                  <a:cubicBezTo>
                    <a:pt x="14480" y="15893"/>
                    <a:pt x="14169" y="16178"/>
                    <a:pt x="14150" y="16545"/>
                  </a:cubicBezTo>
                  <a:cubicBezTo>
                    <a:pt x="14150" y="16583"/>
                    <a:pt x="14150" y="16620"/>
                    <a:pt x="14155" y="16657"/>
                  </a:cubicBezTo>
                  <a:lnTo>
                    <a:pt x="14155" y="30157"/>
                  </a:lnTo>
                  <a:cubicBezTo>
                    <a:pt x="14155" y="32819"/>
                    <a:pt x="15034" y="34177"/>
                    <a:pt x="17590" y="34177"/>
                  </a:cubicBezTo>
                  <a:cubicBezTo>
                    <a:pt x="19230" y="34175"/>
                    <a:pt x="20860" y="33940"/>
                    <a:pt x="22436" y="33485"/>
                  </a:cubicBezTo>
                  <a:cubicBezTo>
                    <a:pt x="23325" y="33131"/>
                    <a:pt x="24332" y="33565"/>
                    <a:pt x="24683" y="34454"/>
                  </a:cubicBezTo>
                  <a:cubicBezTo>
                    <a:pt x="24766" y="34662"/>
                    <a:pt x="24808" y="34886"/>
                    <a:pt x="24806" y="35109"/>
                  </a:cubicBezTo>
                  <a:lnTo>
                    <a:pt x="25178" y="38384"/>
                  </a:lnTo>
                  <a:cubicBezTo>
                    <a:pt x="25407" y="39463"/>
                    <a:pt x="24718" y="40522"/>
                    <a:pt x="23639" y="40754"/>
                  </a:cubicBezTo>
                  <a:cubicBezTo>
                    <a:pt x="23639" y="40754"/>
                    <a:pt x="23637" y="40754"/>
                    <a:pt x="23634" y="40754"/>
                  </a:cubicBezTo>
                  <a:cubicBezTo>
                    <a:pt x="21139" y="41462"/>
                    <a:pt x="18559" y="41822"/>
                    <a:pt x="15966" y="41819"/>
                  </a:cubicBezTo>
                  <a:cubicBezTo>
                    <a:pt x="10241" y="41819"/>
                    <a:pt x="5315" y="38943"/>
                    <a:pt x="5315" y="30343"/>
                  </a:cubicBezTo>
                  <a:lnTo>
                    <a:pt x="5315" y="16657"/>
                  </a:lnTo>
                  <a:cubicBezTo>
                    <a:pt x="5363" y="16269"/>
                    <a:pt x="5092" y="15914"/>
                    <a:pt x="4703" y="15859"/>
                  </a:cubicBezTo>
                  <a:lnTo>
                    <a:pt x="2946" y="15859"/>
                  </a:lnTo>
                  <a:cubicBezTo>
                    <a:pt x="1950" y="15938"/>
                    <a:pt x="1076" y="15198"/>
                    <a:pt x="994" y="14200"/>
                  </a:cubicBezTo>
                  <a:cubicBezTo>
                    <a:pt x="986" y="14080"/>
                    <a:pt x="986" y="13957"/>
                    <a:pt x="1002" y="13835"/>
                  </a:cubicBezTo>
                </a:path>
              </a:pathLst>
            </a:custGeom>
            <a:solidFill>
              <a:srgbClr val="8FDB42"/>
            </a:solidFill>
            <a:ln w="2661" cap="flat">
              <a:noFill/>
              <a:prstDash val="solid"/>
              <a:miter/>
            </a:ln>
          </p:spPr>
          <p:txBody>
            <a:bodyPr rtlCol="0" anchor="ctr"/>
            <a:lstStyle/>
            <a:p>
              <a:endParaRPr lang="pl-PL"/>
            </a:p>
          </p:txBody>
        </p:sp>
        <p:sp>
          <p:nvSpPr>
            <p:cNvPr id="123" name="Freeform: Shape 122">
              <a:extLst>
                <a:ext uri="{FF2B5EF4-FFF2-40B4-BE49-F238E27FC236}">
                  <a16:creationId xmlns:a16="http://schemas.microsoft.com/office/drawing/2014/main" id="{3867BE86-047F-4264-AB1D-1BE37507FEDF}"/>
                </a:ext>
              </a:extLst>
            </p:cNvPr>
            <p:cNvSpPr/>
            <p:nvPr/>
          </p:nvSpPr>
          <p:spPr>
            <a:xfrm>
              <a:off x="11809766" y="6742209"/>
              <a:ext cx="6552" cy="27380"/>
            </a:xfrm>
            <a:custGeom>
              <a:avLst/>
              <a:gdLst>
                <a:gd name="connsiteX0" fmla="*/ 991 w 11611"/>
                <a:gd name="connsiteY0" fmla="*/ 5352 h 48518"/>
                <a:gd name="connsiteX1" fmla="*/ 6689 w 11611"/>
                <a:gd name="connsiteY1" fmla="*/ -346 h 48518"/>
                <a:gd name="connsiteX2" fmla="*/ 6769 w 11611"/>
                <a:gd name="connsiteY2" fmla="*/ -346 h 48518"/>
                <a:gd name="connsiteX3" fmla="*/ 12600 w 11611"/>
                <a:gd name="connsiteY3" fmla="*/ 5352 h 48518"/>
                <a:gd name="connsiteX4" fmla="*/ 6769 w 11611"/>
                <a:gd name="connsiteY4" fmla="*/ 11263 h 48518"/>
                <a:gd name="connsiteX5" fmla="*/ 989 w 11611"/>
                <a:gd name="connsiteY5" fmla="*/ 5488 h 48518"/>
                <a:gd name="connsiteX6" fmla="*/ 991 w 11611"/>
                <a:gd name="connsiteY6" fmla="*/ 5352 h 48518"/>
                <a:gd name="connsiteX7" fmla="*/ 10710 w 11611"/>
                <a:gd name="connsiteY7" fmla="*/ 17521 h 48518"/>
                <a:gd name="connsiteX8" fmla="*/ 10710 w 11611"/>
                <a:gd name="connsiteY8" fmla="*/ 46144 h 48518"/>
                <a:gd name="connsiteX9" fmla="*/ 9019 w 11611"/>
                <a:gd name="connsiteY9" fmla="*/ 48165 h 48518"/>
                <a:gd name="connsiteX10" fmla="*/ 8713 w 11611"/>
                <a:gd name="connsiteY10" fmla="*/ 48167 h 48518"/>
                <a:gd name="connsiteX11" fmla="*/ 4000 w 11611"/>
                <a:gd name="connsiteY11" fmla="*/ 48167 h 48518"/>
                <a:gd name="connsiteX12" fmla="*/ 2001 w 11611"/>
                <a:gd name="connsiteY12" fmla="*/ 46450 h 48518"/>
                <a:gd name="connsiteX13" fmla="*/ 2003 w 11611"/>
                <a:gd name="connsiteY13" fmla="*/ 46144 h 48518"/>
                <a:gd name="connsiteX14" fmla="*/ 2003 w 11611"/>
                <a:gd name="connsiteY14" fmla="*/ 17600 h 48518"/>
                <a:gd name="connsiteX15" fmla="*/ 3665 w 11611"/>
                <a:gd name="connsiteY15" fmla="*/ 15603 h 48518"/>
                <a:gd name="connsiteX16" fmla="*/ 4000 w 11611"/>
                <a:gd name="connsiteY16" fmla="*/ 15603 h 48518"/>
                <a:gd name="connsiteX17" fmla="*/ 8713 w 11611"/>
                <a:gd name="connsiteY17" fmla="*/ 15603 h 48518"/>
                <a:gd name="connsiteX18" fmla="*/ 10710 w 11611"/>
                <a:gd name="connsiteY18" fmla="*/ 17265 h 48518"/>
                <a:gd name="connsiteX19" fmla="*/ 10710 w 11611"/>
                <a:gd name="connsiteY19" fmla="*/ 17600 h 48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11" h="48518">
                  <a:moveTo>
                    <a:pt x="991" y="5352"/>
                  </a:moveTo>
                  <a:cubicBezTo>
                    <a:pt x="991" y="2205"/>
                    <a:pt x="3542" y="-346"/>
                    <a:pt x="6689" y="-346"/>
                  </a:cubicBezTo>
                  <a:cubicBezTo>
                    <a:pt x="6716" y="-346"/>
                    <a:pt x="6743" y="-346"/>
                    <a:pt x="6769" y="-346"/>
                  </a:cubicBezTo>
                  <a:cubicBezTo>
                    <a:pt x="9938" y="-346"/>
                    <a:pt x="12529" y="2184"/>
                    <a:pt x="12600" y="5352"/>
                  </a:cubicBezTo>
                  <a:cubicBezTo>
                    <a:pt x="12600" y="8585"/>
                    <a:pt x="10002" y="11221"/>
                    <a:pt x="6769" y="11263"/>
                  </a:cubicBezTo>
                  <a:cubicBezTo>
                    <a:pt x="3579" y="11263"/>
                    <a:pt x="991" y="8678"/>
                    <a:pt x="989" y="5488"/>
                  </a:cubicBezTo>
                  <a:cubicBezTo>
                    <a:pt x="989" y="5443"/>
                    <a:pt x="991" y="5398"/>
                    <a:pt x="991" y="5352"/>
                  </a:cubicBezTo>
                  <a:moveTo>
                    <a:pt x="10710" y="17521"/>
                  </a:moveTo>
                  <a:lnTo>
                    <a:pt x="10710" y="46144"/>
                  </a:lnTo>
                  <a:cubicBezTo>
                    <a:pt x="10800" y="47169"/>
                    <a:pt x="10044" y="48074"/>
                    <a:pt x="9019" y="48165"/>
                  </a:cubicBezTo>
                  <a:cubicBezTo>
                    <a:pt x="8918" y="48175"/>
                    <a:pt x="8814" y="48175"/>
                    <a:pt x="8713" y="48167"/>
                  </a:cubicBezTo>
                  <a:lnTo>
                    <a:pt x="4000" y="48167"/>
                  </a:lnTo>
                  <a:cubicBezTo>
                    <a:pt x="2975" y="48244"/>
                    <a:pt x="2078" y="47475"/>
                    <a:pt x="2001" y="46450"/>
                  </a:cubicBezTo>
                  <a:cubicBezTo>
                    <a:pt x="1993" y="46349"/>
                    <a:pt x="1995" y="46245"/>
                    <a:pt x="2003" y="46144"/>
                  </a:cubicBezTo>
                  <a:lnTo>
                    <a:pt x="2003" y="17600"/>
                  </a:lnTo>
                  <a:cubicBezTo>
                    <a:pt x="1910" y="16591"/>
                    <a:pt x="2656" y="15697"/>
                    <a:pt x="3665" y="15603"/>
                  </a:cubicBezTo>
                  <a:cubicBezTo>
                    <a:pt x="3777" y="15593"/>
                    <a:pt x="3888" y="15593"/>
                    <a:pt x="4000" y="15603"/>
                  </a:cubicBezTo>
                  <a:lnTo>
                    <a:pt x="8713" y="15603"/>
                  </a:lnTo>
                  <a:cubicBezTo>
                    <a:pt x="9722" y="15510"/>
                    <a:pt x="10617" y="16256"/>
                    <a:pt x="10710" y="17265"/>
                  </a:cubicBezTo>
                  <a:cubicBezTo>
                    <a:pt x="10721" y="17377"/>
                    <a:pt x="10721" y="17489"/>
                    <a:pt x="10710" y="17600"/>
                  </a:cubicBezTo>
                </a:path>
              </a:pathLst>
            </a:custGeom>
            <a:solidFill>
              <a:srgbClr val="8FDB42"/>
            </a:solidFill>
            <a:ln w="2661" cap="flat">
              <a:noFill/>
              <a:prstDash val="solid"/>
              <a:miter/>
            </a:ln>
          </p:spPr>
          <p:txBody>
            <a:bodyPr rtlCol="0" anchor="ctr"/>
            <a:lstStyle/>
            <a:p>
              <a:endParaRPr lang="pl-PL"/>
            </a:p>
          </p:txBody>
        </p:sp>
        <p:sp>
          <p:nvSpPr>
            <p:cNvPr id="124" name="Freeform: Shape 123">
              <a:extLst>
                <a:ext uri="{FF2B5EF4-FFF2-40B4-BE49-F238E27FC236}">
                  <a16:creationId xmlns:a16="http://schemas.microsoft.com/office/drawing/2014/main" id="{85868B32-FB89-40FF-88EA-3F3CE44C98E5}"/>
                </a:ext>
              </a:extLst>
            </p:cNvPr>
            <p:cNvSpPr/>
            <p:nvPr/>
          </p:nvSpPr>
          <p:spPr>
            <a:xfrm>
              <a:off x="11818135" y="6751161"/>
              <a:ext cx="19391" cy="18427"/>
            </a:xfrm>
            <a:custGeom>
              <a:avLst/>
              <a:gdLst>
                <a:gd name="connsiteX0" fmla="*/ 3041 w 34361"/>
                <a:gd name="connsiteY0" fmla="*/ -340 h 32653"/>
                <a:gd name="connsiteX1" fmla="*/ 8766 w 34361"/>
                <a:gd name="connsiteY1" fmla="*/ -340 h 32653"/>
                <a:gd name="connsiteX2" fmla="*/ 11029 w 34361"/>
                <a:gd name="connsiteY2" fmla="*/ 1364 h 32653"/>
                <a:gd name="connsiteX3" fmla="*/ 17606 w 34361"/>
                <a:gd name="connsiteY3" fmla="*/ 22665 h 32653"/>
                <a:gd name="connsiteX4" fmla="*/ 19257 w 34361"/>
                <a:gd name="connsiteY4" fmla="*/ 22665 h 32653"/>
                <a:gd name="connsiteX5" fmla="*/ 26020 w 34361"/>
                <a:gd name="connsiteY5" fmla="*/ 1364 h 32653"/>
                <a:gd name="connsiteX6" fmla="*/ 28230 w 34361"/>
                <a:gd name="connsiteY6" fmla="*/ -340 h 32653"/>
                <a:gd name="connsiteX7" fmla="*/ 33555 w 34361"/>
                <a:gd name="connsiteY7" fmla="*/ -340 h 32653"/>
                <a:gd name="connsiteX8" fmla="*/ 35179 w 34361"/>
                <a:gd name="connsiteY8" fmla="*/ 1976 h 32653"/>
                <a:gd name="connsiteX9" fmla="*/ 23623 w 34361"/>
                <a:gd name="connsiteY9" fmla="*/ 30546 h 32653"/>
                <a:gd name="connsiteX10" fmla="*/ 20961 w 34361"/>
                <a:gd name="connsiteY10" fmla="*/ 32304 h 32653"/>
                <a:gd name="connsiteX11" fmla="*/ 15130 w 34361"/>
                <a:gd name="connsiteY11" fmla="*/ 32304 h 32653"/>
                <a:gd name="connsiteX12" fmla="*/ 12467 w 34361"/>
                <a:gd name="connsiteY12" fmla="*/ 30546 h 32653"/>
                <a:gd name="connsiteX13" fmla="*/ 1178 w 34361"/>
                <a:gd name="connsiteY13" fmla="*/ 1923 h 32653"/>
                <a:gd name="connsiteX14" fmla="*/ 2748 w 34361"/>
                <a:gd name="connsiteY14" fmla="*/ -340 h 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361" h="32653">
                  <a:moveTo>
                    <a:pt x="3041" y="-340"/>
                  </a:moveTo>
                  <a:lnTo>
                    <a:pt x="8766" y="-340"/>
                  </a:lnTo>
                  <a:cubicBezTo>
                    <a:pt x="9839" y="-417"/>
                    <a:pt x="10806" y="310"/>
                    <a:pt x="11029" y="1364"/>
                  </a:cubicBezTo>
                  <a:lnTo>
                    <a:pt x="17606" y="22665"/>
                  </a:lnTo>
                  <a:cubicBezTo>
                    <a:pt x="18005" y="23757"/>
                    <a:pt x="18884" y="23757"/>
                    <a:pt x="19257" y="22665"/>
                  </a:cubicBezTo>
                  <a:lnTo>
                    <a:pt x="26020" y="1364"/>
                  </a:lnTo>
                  <a:cubicBezTo>
                    <a:pt x="26230" y="326"/>
                    <a:pt x="27173" y="-401"/>
                    <a:pt x="28230" y="-340"/>
                  </a:cubicBezTo>
                  <a:lnTo>
                    <a:pt x="33555" y="-340"/>
                  </a:lnTo>
                  <a:cubicBezTo>
                    <a:pt x="35046" y="-340"/>
                    <a:pt x="35685" y="592"/>
                    <a:pt x="35179" y="1976"/>
                  </a:cubicBezTo>
                  <a:lnTo>
                    <a:pt x="23623" y="30546"/>
                  </a:lnTo>
                  <a:cubicBezTo>
                    <a:pt x="23224" y="31657"/>
                    <a:pt x="22140" y="32373"/>
                    <a:pt x="20961" y="32304"/>
                  </a:cubicBezTo>
                  <a:lnTo>
                    <a:pt x="15130" y="32304"/>
                  </a:lnTo>
                  <a:cubicBezTo>
                    <a:pt x="13950" y="32373"/>
                    <a:pt x="12866" y="31657"/>
                    <a:pt x="12467" y="30546"/>
                  </a:cubicBezTo>
                  <a:lnTo>
                    <a:pt x="1178" y="1923"/>
                  </a:lnTo>
                  <a:cubicBezTo>
                    <a:pt x="672" y="592"/>
                    <a:pt x="1178" y="-340"/>
                    <a:pt x="2748" y="-340"/>
                  </a:cubicBezTo>
                </a:path>
              </a:pathLst>
            </a:custGeom>
            <a:solidFill>
              <a:srgbClr val="8FDB42"/>
            </a:solidFill>
            <a:ln w="2661" cap="flat">
              <a:noFill/>
              <a:prstDash val="solid"/>
              <a:miter/>
            </a:ln>
          </p:spPr>
          <p:txBody>
            <a:bodyPr rtlCol="0" anchor="ctr"/>
            <a:lstStyle/>
            <a:p>
              <a:endParaRPr lang="pl-PL"/>
            </a:p>
          </p:txBody>
        </p:sp>
        <p:sp>
          <p:nvSpPr>
            <p:cNvPr id="125" name="Freeform: Shape 124">
              <a:extLst>
                <a:ext uri="{FF2B5EF4-FFF2-40B4-BE49-F238E27FC236}">
                  <a16:creationId xmlns:a16="http://schemas.microsoft.com/office/drawing/2014/main" id="{679E9F4C-F852-428D-A0B2-1240450D4814}"/>
                </a:ext>
              </a:extLst>
            </p:cNvPr>
            <p:cNvSpPr/>
            <p:nvPr/>
          </p:nvSpPr>
          <p:spPr>
            <a:xfrm>
              <a:off x="11839093" y="6750822"/>
              <a:ext cx="18454" cy="19157"/>
            </a:xfrm>
            <a:custGeom>
              <a:avLst/>
              <a:gdLst>
                <a:gd name="connsiteX0" fmla="*/ 17931 w 32701"/>
                <a:gd name="connsiteY0" fmla="*/ -324 h 33946"/>
                <a:gd name="connsiteX1" fmla="*/ 33689 w 32701"/>
                <a:gd name="connsiteY1" fmla="*/ 15867 h 33946"/>
                <a:gd name="connsiteX2" fmla="*/ 33614 w 32701"/>
                <a:gd name="connsiteY2" fmla="*/ 17196 h 33946"/>
                <a:gd name="connsiteX3" fmla="*/ 31809 w 32701"/>
                <a:gd name="connsiteY3" fmla="*/ 19012 h 33946"/>
                <a:gd name="connsiteX4" fmla="*/ 31670 w 32701"/>
                <a:gd name="connsiteY4" fmla="*/ 19006 h 33946"/>
                <a:gd name="connsiteX5" fmla="*/ 11568 w 32701"/>
                <a:gd name="connsiteY5" fmla="*/ 19006 h 33946"/>
                <a:gd name="connsiteX6" fmla="*/ 10130 w 32701"/>
                <a:gd name="connsiteY6" fmla="*/ 20950 h 33946"/>
                <a:gd name="connsiteX7" fmla="*/ 18118 w 32701"/>
                <a:gd name="connsiteY7" fmla="*/ 26488 h 33946"/>
                <a:gd name="connsiteX8" fmla="*/ 24455 w 32701"/>
                <a:gd name="connsiteY8" fmla="*/ 23613 h 33946"/>
                <a:gd name="connsiteX9" fmla="*/ 26771 w 32701"/>
                <a:gd name="connsiteY9" fmla="*/ 22148 h 33946"/>
                <a:gd name="connsiteX10" fmla="*/ 31058 w 32701"/>
                <a:gd name="connsiteY10" fmla="*/ 22148 h 33946"/>
                <a:gd name="connsiteX11" fmla="*/ 32789 w 32701"/>
                <a:gd name="connsiteY11" fmla="*/ 24358 h 33946"/>
                <a:gd name="connsiteX12" fmla="*/ 18118 w 32701"/>
                <a:gd name="connsiteY12" fmla="*/ 33571 h 33946"/>
                <a:gd name="connsiteX13" fmla="*/ 994 w 32701"/>
                <a:gd name="connsiteY13" fmla="*/ 17371 h 33946"/>
                <a:gd name="connsiteX14" fmla="*/ 997 w 32701"/>
                <a:gd name="connsiteY14" fmla="*/ 16370 h 33946"/>
                <a:gd name="connsiteX15" fmla="*/ 16866 w 32701"/>
                <a:gd name="connsiteY15" fmla="*/ -340 h 33946"/>
                <a:gd name="connsiteX16" fmla="*/ 18118 w 32701"/>
                <a:gd name="connsiteY16" fmla="*/ -324 h 33946"/>
                <a:gd name="connsiteX17" fmla="*/ 12020 w 32701"/>
                <a:gd name="connsiteY17" fmla="*/ 13362 h 33946"/>
                <a:gd name="connsiteX18" fmla="*/ 23257 w 32701"/>
                <a:gd name="connsiteY18" fmla="*/ 13362 h 33946"/>
                <a:gd name="connsiteX19" fmla="*/ 24774 w 32701"/>
                <a:gd name="connsiteY19" fmla="*/ 11365 h 33946"/>
                <a:gd name="connsiteX20" fmla="*/ 17984 w 32701"/>
                <a:gd name="connsiteY20" fmla="*/ 6705 h 33946"/>
                <a:gd name="connsiteX21" fmla="*/ 10582 w 32701"/>
                <a:gd name="connsiteY21" fmla="*/ 11285 h 33946"/>
                <a:gd name="connsiteX22" fmla="*/ 12020 w 32701"/>
                <a:gd name="connsiteY22" fmla="*/ 13362 h 3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701" h="33946">
                  <a:moveTo>
                    <a:pt x="17931" y="-324"/>
                  </a:moveTo>
                  <a:cubicBezTo>
                    <a:pt x="26753" y="-204"/>
                    <a:pt x="33809" y="7046"/>
                    <a:pt x="33689" y="15867"/>
                  </a:cubicBezTo>
                  <a:cubicBezTo>
                    <a:pt x="33681" y="16312"/>
                    <a:pt x="33657" y="16754"/>
                    <a:pt x="33614" y="17196"/>
                  </a:cubicBezTo>
                  <a:cubicBezTo>
                    <a:pt x="33617" y="18197"/>
                    <a:pt x="32807" y="19009"/>
                    <a:pt x="31809" y="19012"/>
                  </a:cubicBezTo>
                  <a:cubicBezTo>
                    <a:pt x="31764" y="19012"/>
                    <a:pt x="31716" y="19009"/>
                    <a:pt x="31670" y="19006"/>
                  </a:cubicBezTo>
                  <a:lnTo>
                    <a:pt x="11568" y="19006"/>
                  </a:lnTo>
                  <a:cubicBezTo>
                    <a:pt x="10369" y="19006"/>
                    <a:pt x="9624" y="19778"/>
                    <a:pt x="10130" y="20950"/>
                  </a:cubicBezTo>
                  <a:cubicBezTo>
                    <a:pt x="11272" y="24361"/>
                    <a:pt x="14523" y="26616"/>
                    <a:pt x="18118" y="26488"/>
                  </a:cubicBezTo>
                  <a:cubicBezTo>
                    <a:pt x="20589" y="26709"/>
                    <a:pt x="22996" y="25618"/>
                    <a:pt x="24455" y="23613"/>
                  </a:cubicBezTo>
                  <a:cubicBezTo>
                    <a:pt x="24897" y="22734"/>
                    <a:pt x="25789" y="22172"/>
                    <a:pt x="26771" y="22148"/>
                  </a:cubicBezTo>
                  <a:lnTo>
                    <a:pt x="31058" y="22148"/>
                  </a:lnTo>
                  <a:cubicBezTo>
                    <a:pt x="32416" y="22148"/>
                    <a:pt x="33295" y="23027"/>
                    <a:pt x="32789" y="24358"/>
                  </a:cubicBezTo>
                  <a:cubicBezTo>
                    <a:pt x="30387" y="30264"/>
                    <a:pt x="24479" y="33973"/>
                    <a:pt x="18118" y="33571"/>
                  </a:cubicBezTo>
                  <a:cubicBezTo>
                    <a:pt x="8916" y="33826"/>
                    <a:pt x="1250" y="26573"/>
                    <a:pt x="994" y="17371"/>
                  </a:cubicBezTo>
                  <a:cubicBezTo>
                    <a:pt x="986" y="17036"/>
                    <a:pt x="986" y="16703"/>
                    <a:pt x="997" y="16370"/>
                  </a:cubicBezTo>
                  <a:cubicBezTo>
                    <a:pt x="765" y="7373"/>
                    <a:pt x="7869" y="-109"/>
                    <a:pt x="16866" y="-340"/>
                  </a:cubicBezTo>
                  <a:cubicBezTo>
                    <a:pt x="17284" y="-351"/>
                    <a:pt x="17700" y="-346"/>
                    <a:pt x="18118" y="-324"/>
                  </a:cubicBezTo>
                  <a:moveTo>
                    <a:pt x="12020" y="13362"/>
                  </a:moveTo>
                  <a:lnTo>
                    <a:pt x="23257" y="13362"/>
                  </a:lnTo>
                  <a:cubicBezTo>
                    <a:pt x="24508" y="13362"/>
                    <a:pt x="25280" y="12616"/>
                    <a:pt x="24774" y="11365"/>
                  </a:cubicBezTo>
                  <a:cubicBezTo>
                    <a:pt x="23707" y="8545"/>
                    <a:pt x="20999" y="6686"/>
                    <a:pt x="17984" y="6705"/>
                  </a:cubicBezTo>
                  <a:cubicBezTo>
                    <a:pt x="14859" y="6737"/>
                    <a:pt x="12007" y="8502"/>
                    <a:pt x="10582" y="11285"/>
                  </a:cubicBezTo>
                  <a:cubicBezTo>
                    <a:pt x="10023" y="12483"/>
                    <a:pt x="10716" y="13362"/>
                    <a:pt x="12020" y="13362"/>
                  </a:cubicBezTo>
                </a:path>
              </a:pathLst>
            </a:custGeom>
            <a:solidFill>
              <a:srgbClr val="8FDB42"/>
            </a:solidFill>
            <a:ln w="2661" cap="flat">
              <a:noFill/>
              <a:prstDash val="solid"/>
              <a:miter/>
            </a:ln>
          </p:spPr>
          <p:txBody>
            <a:bodyPr rtlCol="0" anchor="ctr"/>
            <a:lstStyle/>
            <a:p>
              <a:endParaRPr lang="pl-PL"/>
            </a:p>
          </p:txBody>
        </p:sp>
        <p:sp>
          <p:nvSpPr>
            <p:cNvPr id="126" name="Freeform: Shape 125">
              <a:extLst>
                <a:ext uri="{FF2B5EF4-FFF2-40B4-BE49-F238E27FC236}">
                  <a16:creationId xmlns:a16="http://schemas.microsoft.com/office/drawing/2014/main" id="{E53C37AA-28E0-49A6-8891-D6279A8143AA}"/>
                </a:ext>
              </a:extLst>
            </p:cNvPr>
            <p:cNvSpPr/>
            <p:nvPr/>
          </p:nvSpPr>
          <p:spPr>
            <a:xfrm>
              <a:off x="11575064" y="6784526"/>
              <a:ext cx="208318" cy="27505"/>
            </a:xfrm>
            <a:custGeom>
              <a:avLst/>
              <a:gdLst>
                <a:gd name="connsiteX0" fmla="*/ 2220 w 369143"/>
                <a:gd name="connsiteY0" fmla="*/ 48333 h 48740"/>
                <a:gd name="connsiteX1" fmla="*/ 4004 w 369143"/>
                <a:gd name="connsiteY1" fmla="*/ 48333 h 48740"/>
                <a:gd name="connsiteX2" fmla="*/ 5226 w 369143"/>
                <a:gd name="connsiteY2" fmla="*/ 47390 h 48740"/>
                <a:gd name="connsiteX3" fmla="*/ 5229 w 369143"/>
                <a:gd name="connsiteY3" fmla="*/ 47135 h 48740"/>
                <a:gd name="connsiteX4" fmla="*/ 5229 w 369143"/>
                <a:gd name="connsiteY4" fmla="*/ 37043 h 48740"/>
                <a:gd name="connsiteX5" fmla="*/ 7172 w 369143"/>
                <a:gd name="connsiteY5" fmla="*/ 36165 h 48740"/>
                <a:gd name="connsiteX6" fmla="*/ 14202 w 369143"/>
                <a:gd name="connsiteY6" fmla="*/ 38109 h 48740"/>
                <a:gd name="connsiteX7" fmla="*/ 26961 w 369143"/>
                <a:gd name="connsiteY7" fmla="*/ 25096 h 48740"/>
                <a:gd name="connsiteX8" fmla="*/ 26955 w 369143"/>
                <a:gd name="connsiteY8" fmla="*/ 24795 h 48740"/>
                <a:gd name="connsiteX9" fmla="*/ 14444 w 369143"/>
                <a:gd name="connsiteY9" fmla="*/ 11751 h 48740"/>
                <a:gd name="connsiteX10" fmla="*/ 14281 w 369143"/>
                <a:gd name="connsiteY10" fmla="*/ 11749 h 48740"/>
                <a:gd name="connsiteX11" fmla="*/ 6533 w 369143"/>
                <a:gd name="connsiteY11" fmla="*/ 14198 h 48740"/>
                <a:gd name="connsiteX12" fmla="*/ 4403 w 369143"/>
                <a:gd name="connsiteY12" fmla="*/ 13453 h 48740"/>
                <a:gd name="connsiteX13" fmla="*/ 4403 w 369143"/>
                <a:gd name="connsiteY13" fmla="*/ 13453 h 48740"/>
                <a:gd name="connsiteX14" fmla="*/ 3098 w 369143"/>
                <a:gd name="connsiteY14" fmla="*/ 12334 h 48740"/>
                <a:gd name="connsiteX15" fmla="*/ 2220 w 369143"/>
                <a:gd name="connsiteY15" fmla="*/ 12334 h 48740"/>
                <a:gd name="connsiteX16" fmla="*/ 998 w 369143"/>
                <a:gd name="connsiteY16" fmla="*/ 13277 h 48740"/>
                <a:gd name="connsiteX17" fmla="*/ 995 w 369143"/>
                <a:gd name="connsiteY17" fmla="*/ 13533 h 48740"/>
                <a:gd name="connsiteX18" fmla="*/ 995 w 369143"/>
                <a:gd name="connsiteY18" fmla="*/ 47135 h 48740"/>
                <a:gd name="connsiteX19" fmla="*/ 1964 w 369143"/>
                <a:gd name="connsiteY19" fmla="*/ 48336 h 48740"/>
                <a:gd name="connsiteX20" fmla="*/ 2220 w 369143"/>
                <a:gd name="connsiteY20" fmla="*/ 48333 h 48740"/>
                <a:gd name="connsiteX21" fmla="*/ 5575 w 369143"/>
                <a:gd name="connsiteY21" fmla="*/ 27991 h 48740"/>
                <a:gd name="connsiteX22" fmla="*/ 5575 w 369143"/>
                <a:gd name="connsiteY22" fmla="*/ 21920 h 48740"/>
                <a:gd name="connsiteX23" fmla="*/ 6107 w 369143"/>
                <a:gd name="connsiteY23" fmla="*/ 19816 h 48740"/>
                <a:gd name="connsiteX24" fmla="*/ 13749 w 369143"/>
                <a:gd name="connsiteY24" fmla="*/ 15769 h 48740"/>
                <a:gd name="connsiteX25" fmla="*/ 22269 w 369143"/>
                <a:gd name="connsiteY25" fmla="*/ 24875 h 48740"/>
                <a:gd name="connsiteX26" fmla="*/ 13749 w 369143"/>
                <a:gd name="connsiteY26" fmla="*/ 34195 h 48740"/>
                <a:gd name="connsiteX27" fmla="*/ 6107 w 369143"/>
                <a:gd name="connsiteY27" fmla="*/ 30094 h 48740"/>
                <a:gd name="connsiteX28" fmla="*/ 5575 w 369143"/>
                <a:gd name="connsiteY28" fmla="*/ 27991 h 48740"/>
                <a:gd name="connsiteX29" fmla="*/ 36967 w 369143"/>
                <a:gd name="connsiteY29" fmla="*/ -340 h 48740"/>
                <a:gd name="connsiteX30" fmla="*/ 34837 w 369143"/>
                <a:gd name="connsiteY30" fmla="*/ -340 h 48740"/>
                <a:gd name="connsiteX31" fmla="*/ 33612 w 369143"/>
                <a:gd name="connsiteY31" fmla="*/ 662 h 48740"/>
                <a:gd name="connsiteX32" fmla="*/ 33612 w 369143"/>
                <a:gd name="connsiteY32" fmla="*/ 885 h 48740"/>
                <a:gd name="connsiteX33" fmla="*/ 33612 w 369143"/>
                <a:gd name="connsiteY33" fmla="*/ 36431 h 48740"/>
                <a:gd name="connsiteX34" fmla="*/ 34581 w 369143"/>
                <a:gd name="connsiteY34" fmla="*/ 37632 h 48740"/>
                <a:gd name="connsiteX35" fmla="*/ 34837 w 369143"/>
                <a:gd name="connsiteY35" fmla="*/ 37629 h 48740"/>
                <a:gd name="connsiteX36" fmla="*/ 36967 w 369143"/>
                <a:gd name="connsiteY36" fmla="*/ 37629 h 48740"/>
                <a:gd name="connsiteX37" fmla="*/ 38189 w 369143"/>
                <a:gd name="connsiteY37" fmla="*/ 36687 h 48740"/>
                <a:gd name="connsiteX38" fmla="*/ 38192 w 369143"/>
                <a:gd name="connsiteY38" fmla="*/ 36431 h 48740"/>
                <a:gd name="connsiteX39" fmla="*/ 38192 w 369143"/>
                <a:gd name="connsiteY39" fmla="*/ 885 h 48740"/>
                <a:gd name="connsiteX40" fmla="*/ 37191 w 369143"/>
                <a:gd name="connsiteY40" fmla="*/ -340 h 48740"/>
                <a:gd name="connsiteX41" fmla="*/ 36967 w 369143"/>
                <a:gd name="connsiteY41" fmla="*/ -340 h 48740"/>
                <a:gd name="connsiteX42" fmla="*/ 44768 w 369143"/>
                <a:gd name="connsiteY42" fmla="*/ 30680 h 48740"/>
                <a:gd name="connsiteX43" fmla="*/ 52485 w 369143"/>
                <a:gd name="connsiteY43" fmla="*/ 38141 h 48740"/>
                <a:gd name="connsiteX44" fmla="*/ 53049 w 369143"/>
                <a:gd name="connsiteY44" fmla="*/ 38109 h 48740"/>
                <a:gd name="connsiteX45" fmla="*/ 61756 w 369143"/>
                <a:gd name="connsiteY45" fmla="*/ 35446 h 48740"/>
                <a:gd name="connsiteX46" fmla="*/ 63992 w 369143"/>
                <a:gd name="connsiteY46" fmla="*/ 36218 h 48740"/>
                <a:gd name="connsiteX47" fmla="*/ 64152 w 369143"/>
                <a:gd name="connsiteY47" fmla="*/ 36724 h 48740"/>
                <a:gd name="connsiteX48" fmla="*/ 65510 w 369143"/>
                <a:gd name="connsiteY48" fmla="*/ 37736 h 48740"/>
                <a:gd name="connsiteX49" fmla="*/ 66096 w 369143"/>
                <a:gd name="connsiteY49" fmla="*/ 37736 h 48740"/>
                <a:gd name="connsiteX50" fmla="*/ 67294 w 369143"/>
                <a:gd name="connsiteY50" fmla="*/ 36761 h 48740"/>
                <a:gd name="connsiteX51" fmla="*/ 67294 w 369143"/>
                <a:gd name="connsiteY51" fmla="*/ 36538 h 48740"/>
                <a:gd name="connsiteX52" fmla="*/ 67294 w 369143"/>
                <a:gd name="connsiteY52" fmla="*/ 22905 h 48740"/>
                <a:gd name="connsiteX53" fmla="*/ 56644 w 369143"/>
                <a:gd name="connsiteY53" fmla="*/ 11935 h 48740"/>
                <a:gd name="connsiteX54" fmla="*/ 45993 w 369143"/>
                <a:gd name="connsiteY54" fmla="*/ 19497 h 48740"/>
                <a:gd name="connsiteX55" fmla="*/ 46712 w 369143"/>
                <a:gd name="connsiteY55" fmla="*/ 20778 h 48740"/>
                <a:gd name="connsiteX56" fmla="*/ 47165 w 369143"/>
                <a:gd name="connsiteY56" fmla="*/ 20802 h 48740"/>
                <a:gd name="connsiteX57" fmla="*/ 49055 w 369143"/>
                <a:gd name="connsiteY57" fmla="*/ 20802 h 48740"/>
                <a:gd name="connsiteX58" fmla="*/ 50386 w 369143"/>
                <a:gd name="connsiteY58" fmla="*/ 19736 h 48740"/>
                <a:gd name="connsiteX59" fmla="*/ 56510 w 369143"/>
                <a:gd name="connsiteY59" fmla="*/ 15929 h 48740"/>
                <a:gd name="connsiteX60" fmla="*/ 62938 w 369143"/>
                <a:gd name="connsiteY60" fmla="*/ 20791 h 48740"/>
                <a:gd name="connsiteX61" fmla="*/ 62981 w 369143"/>
                <a:gd name="connsiteY61" fmla="*/ 21920 h 48740"/>
                <a:gd name="connsiteX62" fmla="*/ 61277 w 369143"/>
                <a:gd name="connsiteY62" fmla="*/ 23491 h 48740"/>
                <a:gd name="connsiteX63" fmla="*/ 55632 w 369143"/>
                <a:gd name="connsiteY63" fmla="*/ 23491 h 48740"/>
                <a:gd name="connsiteX64" fmla="*/ 44981 w 369143"/>
                <a:gd name="connsiteY64" fmla="*/ 30840 h 48740"/>
                <a:gd name="connsiteX65" fmla="*/ 49561 w 369143"/>
                <a:gd name="connsiteY65" fmla="*/ 30840 h 48740"/>
                <a:gd name="connsiteX66" fmla="*/ 55792 w 369143"/>
                <a:gd name="connsiteY66" fmla="*/ 27325 h 48740"/>
                <a:gd name="connsiteX67" fmla="*/ 61330 w 369143"/>
                <a:gd name="connsiteY67" fmla="*/ 27325 h 48740"/>
                <a:gd name="connsiteX68" fmla="*/ 63034 w 369143"/>
                <a:gd name="connsiteY68" fmla="*/ 28691 h 48740"/>
                <a:gd name="connsiteX69" fmla="*/ 63034 w 369143"/>
                <a:gd name="connsiteY69" fmla="*/ 29029 h 48740"/>
                <a:gd name="connsiteX70" fmla="*/ 63034 w 369143"/>
                <a:gd name="connsiteY70" fmla="*/ 29535 h 48740"/>
                <a:gd name="connsiteX71" fmla="*/ 62022 w 369143"/>
                <a:gd name="connsiteY71" fmla="*/ 31585 h 48740"/>
                <a:gd name="connsiteX72" fmla="*/ 54274 w 369143"/>
                <a:gd name="connsiteY72" fmla="*/ 34248 h 48740"/>
                <a:gd name="connsiteX73" fmla="*/ 49561 w 369143"/>
                <a:gd name="connsiteY73" fmla="*/ 30733 h 48740"/>
                <a:gd name="connsiteX74" fmla="*/ 76826 w 369143"/>
                <a:gd name="connsiteY74" fmla="*/ 37789 h 48740"/>
                <a:gd name="connsiteX75" fmla="*/ 78956 w 369143"/>
                <a:gd name="connsiteY75" fmla="*/ 37789 h 48740"/>
                <a:gd name="connsiteX76" fmla="*/ 80179 w 369143"/>
                <a:gd name="connsiteY76" fmla="*/ 36846 h 48740"/>
                <a:gd name="connsiteX77" fmla="*/ 80181 w 369143"/>
                <a:gd name="connsiteY77" fmla="*/ 36591 h 48740"/>
                <a:gd name="connsiteX78" fmla="*/ 80181 w 369143"/>
                <a:gd name="connsiteY78" fmla="*/ 20988 h 48740"/>
                <a:gd name="connsiteX79" fmla="*/ 81299 w 369143"/>
                <a:gd name="connsiteY79" fmla="*/ 18964 h 48740"/>
                <a:gd name="connsiteX80" fmla="*/ 89580 w 369143"/>
                <a:gd name="connsiteY80" fmla="*/ 16035 h 48740"/>
                <a:gd name="connsiteX81" fmla="*/ 95140 w 369143"/>
                <a:gd name="connsiteY81" fmla="*/ 20658 h 48740"/>
                <a:gd name="connsiteX82" fmla="*/ 95118 w 369143"/>
                <a:gd name="connsiteY82" fmla="*/ 21787 h 48740"/>
                <a:gd name="connsiteX83" fmla="*/ 95118 w 369143"/>
                <a:gd name="connsiteY83" fmla="*/ 36591 h 48740"/>
                <a:gd name="connsiteX84" fmla="*/ 96088 w 369143"/>
                <a:gd name="connsiteY84" fmla="*/ 37792 h 48740"/>
                <a:gd name="connsiteX85" fmla="*/ 96343 w 369143"/>
                <a:gd name="connsiteY85" fmla="*/ 37789 h 48740"/>
                <a:gd name="connsiteX86" fmla="*/ 98473 w 369143"/>
                <a:gd name="connsiteY86" fmla="*/ 37789 h 48740"/>
                <a:gd name="connsiteX87" fmla="*/ 99696 w 369143"/>
                <a:gd name="connsiteY87" fmla="*/ 36846 h 48740"/>
                <a:gd name="connsiteX88" fmla="*/ 99698 w 369143"/>
                <a:gd name="connsiteY88" fmla="*/ 36591 h 48740"/>
                <a:gd name="connsiteX89" fmla="*/ 99698 w 369143"/>
                <a:gd name="connsiteY89" fmla="*/ 21574 h 48740"/>
                <a:gd name="connsiteX90" fmla="*/ 90885 w 369143"/>
                <a:gd name="connsiteY90" fmla="*/ 11988 h 48740"/>
                <a:gd name="connsiteX91" fmla="*/ 81326 w 369143"/>
                <a:gd name="connsiteY91" fmla="*/ 14811 h 48740"/>
                <a:gd name="connsiteX92" fmla="*/ 79143 w 369143"/>
                <a:gd name="connsiteY92" fmla="*/ 13932 h 48740"/>
                <a:gd name="connsiteX93" fmla="*/ 79143 w 369143"/>
                <a:gd name="connsiteY93" fmla="*/ 13559 h 48740"/>
                <a:gd name="connsiteX94" fmla="*/ 77758 w 369143"/>
                <a:gd name="connsiteY94" fmla="*/ 12494 h 48740"/>
                <a:gd name="connsiteX95" fmla="*/ 76906 w 369143"/>
                <a:gd name="connsiteY95" fmla="*/ 12494 h 48740"/>
                <a:gd name="connsiteX96" fmla="*/ 75684 w 369143"/>
                <a:gd name="connsiteY96" fmla="*/ 13437 h 48740"/>
                <a:gd name="connsiteX97" fmla="*/ 75681 w 369143"/>
                <a:gd name="connsiteY97" fmla="*/ 13692 h 48740"/>
                <a:gd name="connsiteX98" fmla="*/ 75681 w 369143"/>
                <a:gd name="connsiteY98" fmla="*/ 36591 h 48740"/>
                <a:gd name="connsiteX99" fmla="*/ 76651 w 369143"/>
                <a:gd name="connsiteY99" fmla="*/ 37792 h 48740"/>
                <a:gd name="connsiteX100" fmla="*/ 76906 w 369143"/>
                <a:gd name="connsiteY100" fmla="*/ 37789 h 48740"/>
                <a:gd name="connsiteX101" fmla="*/ 106195 w 369143"/>
                <a:gd name="connsiteY101" fmla="*/ 24982 h 48740"/>
                <a:gd name="connsiteX102" fmla="*/ 118323 w 369143"/>
                <a:gd name="connsiteY102" fmla="*/ 38282 h 48740"/>
                <a:gd name="connsiteX103" fmla="*/ 119055 w 369143"/>
                <a:gd name="connsiteY103" fmla="*/ 38295 h 48740"/>
                <a:gd name="connsiteX104" fmla="*/ 129945 w 369143"/>
                <a:gd name="connsiteY104" fmla="*/ 31212 h 48740"/>
                <a:gd name="connsiteX105" fmla="*/ 128880 w 369143"/>
                <a:gd name="connsiteY105" fmla="*/ 29828 h 48740"/>
                <a:gd name="connsiteX106" fmla="*/ 127043 w 369143"/>
                <a:gd name="connsiteY106" fmla="*/ 29828 h 48740"/>
                <a:gd name="connsiteX107" fmla="*/ 125632 w 369143"/>
                <a:gd name="connsiteY107" fmla="*/ 30813 h 48740"/>
                <a:gd name="connsiteX108" fmla="*/ 119055 w 369143"/>
                <a:gd name="connsiteY108" fmla="*/ 34381 h 48740"/>
                <a:gd name="connsiteX109" fmla="*/ 111068 w 369143"/>
                <a:gd name="connsiteY109" fmla="*/ 28177 h 48740"/>
                <a:gd name="connsiteX110" fmla="*/ 112638 w 369143"/>
                <a:gd name="connsiteY110" fmla="*/ 26340 h 48740"/>
                <a:gd name="connsiteX111" fmla="*/ 129173 w 369143"/>
                <a:gd name="connsiteY111" fmla="*/ 26340 h 48740"/>
                <a:gd name="connsiteX112" fmla="*/ 130821 w 369143"/>
                <a:gd name="connsiteY112" fmla="*/ 24905 h 48740"/>
                <a:gd name="connsiteX113" fmla="*/ 130824 w 369143"/>
                <a:gd name="connsiteY113" fmla="*/ 24769 h 48740"/>
                <a:gd name="connsiteX114" fmla="*/ 119372 w 369143"/>
                <a:gd name="connsiteY114" fmla="*/ 11975 h 48740"/>
                <a:gd name="connsiteX115" fmla="*/ 119055 w 369143"/>
                <a:gd name="connsiteY115" fmla="*/ 11962 h 48740"/>
                <a:gd name="connsiteX116" fmla="*/ 106245 w 369143"/>
                <a:gd name="connsiteY116" fmla="*/ 24444 h 48740"/>
                <a:gd name="connsiteX117" fmla="*/ 106248 w 369143"/>
                <a:gd name="connsiteY117" fmla="*/ 24955 h 48740"/>
                <a:gd name="connsiteX118" fmla="*/ 111707 w 369143"/>
                <a:gd name="connsiteY118" fmla="*/ 20535 h 48740"/>
                <a:gd name="connsiteX119" fmla="*/ 119002 w 369143"/>
                <a:gd name="connsiteY119" fmla="*/ 15849 h 48740"/>
                <a:gd name="connsiteX120" fmla="*/ 125792 w 369143"/>
                <a:gd name="connsiteY120" fmla="*/ 20589 h 48740"/>
                <a:gd name="connsiteX121" fmla="*/ 124327 w 369143"/>
                <a:gd name="connsiteY121" fmla="*/ 22532 h 48740"/>
                <a:gd name="connsiteX122" fmla="*/ 113065 w 369143"/>
                <a:gd name="connsiteY122" fmla="*/ 22532 h 48740"/>
                <a:gd name="connsiteX123" fmla="*/ 111707 w 369143"/>
                <a:gd name="connsiteY123" fmla="*/ 20589 h 48740"/>
                <a:gd name="connsiteX124" fmla="*/ 135670 w 369143"/>
                <a:gd name="connsiteY124" fmla="*/ 16408 h 48740"/>
                <a:gd name="connsiteX125" fmla="*/ 137720 w 369143"/>
                <a:gd name="connsiteY125" fmla="*/ 16408 h 48740"/>
                <a:gd name="connsiteX126" fmla="*/ 138200 w 369143"/>
                <a:gd name="connsiteY126" fmla="*/ 16832 h 48740"/>
                <a:gd name="connsiteX127" fmla="*/ 138200 w 369143"/>
                <a:gd name="connsiteY127" fmla="*/ 16888 h 48740"/>
                <a:gd name="connsiteX128" fmla="*/ 138200 w 369143"/>
                <a:gd name="connsiteY128" fmla="*/ 30414 h 48740"/>
                <a:gd name="connsiteX129" fmla="*/ 145495 w 369143"/>
                <a:gd name="connsiteY129" fmla="*/ 38401 h 48740"/>
                <a:gd name="connsiteX130" fmla="*/ 151592 w 369143"/>
                <a:gd name="connsiteY130" fmla="*/ 37443 h 48740"/>
                <a:gd name="connsiteX131" fmla="*/ 151939 w 369143"/>
                <a:gd name="connsiteY131" fmla="*/ 35819 h 48740"/>
                <a:gd name="connsiteX132" fmla="*/ 151779 w 369143"/>
                <a:gd name="connsiteY132" fmla="*/ 34354 h 48740"/>
                <a:gd name="connsiteX133" fmla="*/ 150314 w 369143"/>
                <a:gd name="connsiteY133" fmla="*/ 33476 h 48740"/>
                <a:gd name="connsiteX134" fmla="*/ 145735 w 369143"/>
                <a:gd name="connsiteY134" fmla="*/ 34221 h 48740"/>
                <a:gd name="connsiteX135" fmla="*/ 142247 w 369143"/>
                <a:gd name="connsiteY135" fmla="*/ 30281 h 48740"/>
                <a:gd name="connsiteX136" fmla="*/ 142247 w 369143"/>
                <a:gd name="connsiteY136" fmla="*/ 16834 h 48740"/>
                <a:gd name="connsiteX137" fmla="*/ 142670 w 369143"/>
                <a:gd name="connsiteY137" fmla="*/ 16355 h 48740"/>
                <a:gd name="connsiteX138" fmla="*/ 142726 w 369143"/>
                <a:gd name="connsiteY138" fmla="*/ 16355 h 48740"/>
                <a:gd name="connsiteX139" fmla="*/ 150714 w 369143"/>
                <a:gd name="connsiteY139" fmla="*/ 16355 h 48740"/>
                <a:gd name="connsiteX140" fmla="*/ 151939 w 369143"/>
                <a:gd name="connsiteY140" fmla="*/ 15354 h 48740"/>
                <a:gd name="connsiteX141" fmla="*/ 151939 w 369143"/>
                <a:gd name="connsiteY141" fmla="*/ 15130 h 48740"/>
                <a:gd name="connsiteX142" fmla="*/ 151939 w 369143"/>
                <a:gd name="connsiteY142" fmla="*/ 13666 h 48740"/>
                <a:gd name="connsiteX143" fmla="*/ 150969 w 369143"/>
                <a:gd name="connsiteY143" fmla="*/ 12465 h 48740"/>
                <a:gd name="connsiteX144" fmla="*/ 150714 w 369143"/>
                <a:gd name="connsiteY144" fmla="*/ 12468 h 48740"/>
                <a:gd name="connsiteX145" fmla="*/ 142726 w 369143"/>
                <a:gd name="connsiteY145" fmla="*/ 12468 h 48740"/>
                <a:gd name="connsiteX146" fmla="*/ 142247 w 369143"/>
                <a:gd name="connsiteY146" fmla="*/ 11988 h 48740"/>
                <a:gd name="connsiteX147" fmla="*/ 142247 w 369143"/>
                <a:gd name="connsiteY147" fmla="*/ 11962 h 48740"/>
                <a:gd name="connsiteX148" fmla="*/ 142247 w 369143"/>
                <a:gd name="connsiteY148" fmla="*/ 6636 h 48740"/>
                <a:gd name="connsiteX149" fmla="*/ 140889 w 369143"/>
                <a:gd name="connsiteY149" fmla="*/ 5571 h 48740"/>
                <a:gd name="connsiteX150" fmla="*/ 138839 w 369143"/>
                <a:gd name="connsiteY150" fmla="*/ 6104 h 48740"/>
                <a:gd name="connsiteX151" fmla="*/ 137827 w 369143"/>
                <a:gd name="connsiteY151" fmla="*/ 7462 h 48740"/>
                <a:gd name="connsiteX152" fmla="*/ 137827 w 369143"/>
                <a:gd name="connsiteY152" fmla="*/ 11855 h 48740"/>
                <a:gd name="connsiteX153" fmla="*/ 137377 w 369143"/>
                <a:gd name="connsiteY153" fmla="*/ 12361 h 48740"/>
                <a:gd name="connsiteX154" fmla="*/ 137321 w 369143"/>
                <a:gd name="connsiteY154" fmla="*/ 12361 h 48740"/>
                <a:gd name="connsiteX155" fmla="*/ 135138 w 369143"/>
                <a:gd name="connsiteY155" fmla="*/ 12361 h 48740"/>
                <a:gd name="connsiteX156" fmla="*/ 133915 w 369143"/>
                <a:gd name="connsiteY156" fmla="*/ 13304 h 48740"/>
                <a:gd name="connsiteX157" fmla="*/ 133913 w 369143"/>
                <a:gd name="connsiteY157" fmla="*/ 13559 h 48740"/>
                <a:gd name="connsiteX158" fmla="*/ 133913 w 369143"/>
                <a:gd name="connsiteY158" fmla="*/ 15024 h 48740"/>
                <a:gd name="connsiteX159" fmla="*/ 134914 w 369143"/>
                <a:gd name="connsiteY159" fmla="*/ 16248 h 48740"/>
                <a:gd name="connsiteX160" fmla="*/ 135138 w 369143"/>
                <a:gd name="connsiteY160" fmla="*/ 16248 h 48740"/>
                <a:gd name="connsiteX161" fmla="*/ 168820 w 369143"/>
                <a:gd name="connsiteY161" fmla="*/ 24023 h 48740"/>
                <a:gd name="connsiteX162" fmla="*/ 169821 w 369143"/>
                <a:gd name="connsiteY162" fmla="*/ 25248 h 48740"/>
                <a:gd name="connsiteX163" fmla="*/ 170044 w 369143"/>
                <a:gd name="connsiteY163" fmla="*/ 25248 h 48740"/>
                <a:gd name="connsiteX164" fmla="*/ 175609 w 369143"/>
                <a:gd name="connsiteY164" fmla="*/ 25248 h 48740"/>
                <a:gd name="connsiteX165" fmla="*/ 176674 w 369143"/>
                <a:gd name="connsiteY165" fmla="*/ 26087 h 48740"/>
                <a:gd name="connsiteX166" fmla="*/ 176674 w 369143"/>
                <a:gd name="connsiteY166" fmla="*/ 26313 h 48740"/>
                <a:gd name="connsiteX167" fmla="*/ 176674 w 369143"/>
                <a:gd name="connsiteY167" fmla="*/ 31772 h 48740"/>
                <a:gd name="connsiteX168" fmla="*/ 177556 w 369143"/>
                <a:gd name="connsiteY168" fmla="*/ 32994 h 48740"/>
                <a:gd name="connsiteX169" fmla="*/ 177872 w 369143"/>
                <a:gd name="connsiteY169" fmla="*/ 32996 h 48740"/>
                <a:gd name="connsiteX170" fmla="*/ 179230 w 369143"/>
                <a:gd name="connsiteY170" fmla="*/ 32996 h 48740"/>
                <a:gd name="connsiteX171" fmla="*/ 180455 w 369143"/>
                <a:gd name="connsiteY171" fmla="*/ 31995 h 48740"/>
                <a:gd name="connsiteX172" fmla="*/ 180455 w 369143"/>
                <a:gd name="connsiteY172" fmla="*/ 31772 h 48740"/>
                <a:gd name="connsiteX173" fmla="*/ 180455 w 369143"/>
                <a:gd name="connsiteY173" fmla="*/ 26313 h 48740"/>
                <a:gd name="connsiteX174" fmla="*/ 181353 w 369143"/>
                <a:gd name="connsiteY174" fmla="*/ 25248 h 48740"/>
                <a:gd name="connsiteX175" fmla="*/ 181520 w 369143"/>
                <a:gd name="connsiteY175" fmla="*/ 25248 h 48740"/>
                <a:gd name="connsiteX176" fmla="*/ 186979 w 369143"/>
                <a:gd name="connsiteY176" fmla="*/ 25248 h 48740"/>
                <a:gd name="connsiteX177" fmla="*/ 188203 w 369143"/>
                <a:gd name="connsiteY177" fmla="*/ 24247 h 48740"/>
                <a:gd name="connsiteX178" fmla="*/ 188203 w 369143"/>
                <a:gd name="connsiteY178" fmla="*/ 24023 h 48740"/>
                <a:gd name="connsiteX179" fmla="*/ 188203 w 369143"/>
                <a:gd name="connsiteY179" fmla="*/ 22665 h 48740"/>
                <a:gd name="connsiteX180" fmla="*/ 187234 w 369143"/>
                <a:gd name="connsiteY180" fmla="*/ 21465 h 48740"/>
                <a:gd name="connsiteX181" fmla="*/ 186979 w 369143"/>
                <a:gd name="connsiteY181" fmla="*/ 21467 h 48740"/>
                <a:gd name="connsiteX182" fmla="*/ 181520 w 369143"/>
                <a:gd name="connsiteY182" fmla="*/ 21467 h 48740"/>
                <a:gd name="connsiteX183" fmla="*/ 180453 w 369143"/>
                <a:gd name="connsiteY183" fmla="*/ 20573 h 48740"/>
                <a:gd name="connsiteX184" fmla="*/ 180455 w 369143"/>
                <a:gd name="connsiteY184" fmla="*/ 20376 h 48740"/>
                <a:gd name="connsiteX185" fmla="*/ 180455 w 369143"/>
                <a:gd name="connsiteY185" fmla="*/ 15050 h 48740"/>
                <a:gd name="connsiteX186" fmla="*/ 179515 w 369143"/>
                <a:gd name="connsiteY186" fmla="*/ 13825 h 48740"/>
                <a:gd name="connsiteX187" fmla="*/ 179230 w 369143"/>
                <a:gd name="connsiteY187" fmla="*/ 13825 h 48740"/>
                <a:gd name="connsiteX188" fmla="*/ 177846 w 369143"/>
                <a:gd name="connsiteY188" fmla="*/ 13825 h 48740"/>
                <a:gd name="connsiteX189" fmla="*/ 176621 w 369143"/>
                <a:gd name="connsiteY189" fmla="*/ 14702 h 48740"/>
                <a:gd name="connsiteX190" fmla="*/ 176621 w 369143"/>
                <a:gd name="connsiteY190" fmla="*/ 15050 h 48740"/>
                <a:gd name="connsiteX191" fmla="*/ 176621 w 369143"/>
                <a:gd name="connsiteY191" fmla="*/ 20376 h 48740"/>
                <a:gd name="connsiteX192" fmla="*/ 175814 w 369143"/>
                <a:gd name="connsiteY192" fmla="*/ 21465 h 48740"/>
                <a:gd name="connsiteX193" fmla="*/ 175556 w 369143"/>
                <a:gd name="connsiteY193" fmla="*/ 21467 h 48740"/>
                <a:gd name="connsiteX194" fmla="*/ 170044 w 369143"/>
                <a:gd name="connsiteY194" fmla="*/ 21467 h 48740"/>
                <a:gd name="connsiteX195" fmla="*/ 168822 w 369143"/>
                <a:gd name="connsiteY195" fmla="*/ 22410 h 48740"/>
                <a:gd name="connsiteX196" fmla="*/ 168820 w 369143"/>
                <a:gd name="connsiteY196" fmla="*/ 22665 h 48740"/>
                <a:gd name="connsiteX197" fmla="*/ 209185 w 369143"/>
                <a:gd name="connsiteY197" fmla="*/ 48360 h 48740"/>
                <a:gd name="connsiteX198" fmla="*/ 210995 w 369143"/>
                <a:gd name="connsiteY198" fmla="*/ 48360 h 48740"/>
                <a:gd name="connsiteX199" fmla="*/ 212194 w 369143"/>
                <a:gd name="connsiteY199" fmla="*/ 47385 h 48740"/>
                <a:gd name="connsiteX200" fmla="*/ 212194 w 369143"/>
                <a:gd name="connsiteY200" fmla="*/ 47161 h 48740"/>
                <a:gd name="connsiteX201" fmla="*/ 212194 w 369143"/>
                <a:gd name="connsiteY201" fmla="*/ 37070 h 48740"/>
                <a:gd name="connsiteX202" fmla="*/ 214137 w 369143"/>
                <a:gd name="connsiteY202" fmla="*/ 36192 h 48740"/>
                <a:gd name="connsiteX203" fmla="*/ 221167 w 369143"/>
                <a:gd name="connsiteY203" fmla="*/ 38135 h 48740"/>
                <a:gd name="connsiteX204" fmla="*/ 233926 w 369143"/>
                <a:gd name="connsiteY204" fmla="*/ 25123 h 48740"/>
                <a:gd name="connsiteX205" fmla="*/ 233921 w 369143"/>
                <a:gd name="connsiteY205" fmla="*/ 24822 h 48740"/>
                <a:gd name="connsiteX206" fmla="*/ 221409 w 369143"/>
                <a:gd name="connsiteY206" fmla="*/ 11778 h 48740"/>
                <a:gd name="connsiteX207" fmla="*/ 221247 w 369143"/>
                <a:gd name="connsiteY207" fmla="*/ 11775 h 48740"/>
                <a:gd name="connsiteX208" fmla="*/ 213525 w 369143"/>
                <a:gd name="connsiteY208" fmla="*/ 14225 h 48740"/>
                <a:gd name="connsiteX209" fmla="*/ 211368 w 369143"/>
                <a:gd name="connsiteY209" fmla="*/ 13479 h 48740"/>
                <a:gd name="connsiteX210" fmla="*/ 211368 w 369143"/>
                <a:gd name="connsiteY210" fmla="*/ 13479 h 48740"/>
                <a:gd name="connsiteX211" fmla="*/ 210064 w 369143"/>
                <a:gd name="connsiteY211" fmla="*/ 12361 h 48740"/>
                <a:gd name="connsiteX212" fmla="*/ 209185 w 369143"/>
                <a:gd name="connsiteY212" fmla="*/ 12361 h 48740"/>
                <a:gd name="connsiteX213" fmla="*/ 207963 w 369143"/>
                <a:gd name="connsiteY213" fmla="*/ 13304 h 48740"/>
                <a:gd name="connsiteX214" fmla="*/ 207960 w 369143"/>
                <a:gd name="connsiteY214" fmla="*/ 13559 h 48740"/>
                <a:gd name="connsiteX215" fmla="*/ 207960 w 369143"/>
                <a:gd name="connsiteY215" fmla="*/ 47161 h 48740"/>
                <a:gd name="connsiteX216" fmla="*/ 208929 w 369143"/>
                <a:gd name="connsiteY216" fmla="*/ 48362 h 48740"/>
                <a:gd name="connsiteX217" fmla="*/ 209185 w 369143"/>
                <a:gd name="connsiteY217" fmla="*/ 48360 h 48740"/>
                <a:gd name="connsiteX218" fmla="*/ 212540 w 369143"/>
                <a:gd name="connsiteY218" fmla="*/ 28017 h 48740"/>
                <a:gd name="connsiteX219" fmla="*/ 212540 w 369143"/>
                <a:gd name="connsiteY219" fmla="*/ 21947 h 48740"/>
                <a:gd name="connsiteX220" fmla="*/ 213072 w 369143"/>
                <a:gd name="connsiteY220" fmla="*/ 19843 h 48740"/>
                <a:gd name="connsiteX221" fmla="*/ 220714 w 369143"/>
                <a:gd name="connsiteY221" fmla="*/ 15796 h 48740"/>
                <a:gd name="connsiteX222" fmla="*/ 229234 w 369143"/>
                <a:gd name="connsiteY222" fmla="*/ 24902 h 48740"/>
                <a:gd name="connsiteX223" fmla="*/ 220714 w 369143"/>
                <a:gd name="connsiteY223" fmla="*/ 34221 h 48740"/>
                <a:gd name="connsiteX224" fmla="*/ 213072 w 369143"/>
                <a:gd name="connsiteY224" fmla="*/ 30121 h 48740"/>
                <a:gd name="connsiteX225" fmla="*/ 212540 w 369143"/>
                <a:gd name="connsiteY225" fmla="*/ 28017 h 48740"/>
                <a:gd name="connsiteX226" fmla="*/ 238740 w 369143"/>
                <a:gd name="connsiteY226" fmla="*/ 24849 h 48740"/>
                <a:gd name="connsiteX227" fmla="*/ 250868 w 369143"/>
                <a:gd name="connsiteY227" fmla="*/ 38148 h 48740"/>
                <a:gd name="connsiteX228" fmla="*/ 251600 w 369143"/>
                <a:gd name="connsiteY228" fmla="*/ 38162 h 48740"/>
                <a:gd name="connsiteX229" fmla="*/ 262491 w 369143"/>
                <a:gd name="connsiteY229" fmla="*/ 31079 h 48740"/>
                <a:gd name="connsiteX230" fmla="*/ 261425 w 369143"/>
                <a:gd name="connsiteY230" fmla="*/ 29695 h 48740"/>
                <a:gd name="connsiteX231" fmla="*/ 259588 w 369143"/>
                <a:gd name="connsiteY231" fmla="*/ 29695 h 48740"/>
                <a:gd name="connsiteX232" fmla="*/ 258177 w 369143"/>
                <a:gd name="connsiteY232" fmla="*/ 30680 h 48740"/>
                <a:gd name="connsiteX233" fmla="*/ 251600 w 369143"/>
                <a:gd name="connsiteY233" fmla="*/ 34248 h 48740"/>
                <a:gd name="connsiteX234" fmla="*/ 243612 w 369143"/>
                <a:gd name="connsiteY234" fmla="*/ 28044 h 48740"/>
                <a:gd name="connsiteX235" fmla="*/ 245184 w 369143"/>
                <a:gd name="connsiteY235" fmla="*/ 26207 h 48740"/>
                <a:gd name="connsiteX236" fmla="*/ 261718 w 369143"/>
                <a:gd name="connsiteY236" fmla="*/ 26207 h 48740"/>
                <a:gd name="connsiteX237" fmla="*/ 263366 w 369143"/>
                <a:gd name="connsiteY237" fmla="*/ 24774 h 48740"/>
                <a:gd name="connsiteX238" fmla="*/ 263369 w 369143"/>
                <a:gd name="connsiteY238" fmla="*/ 24636 h 48740"/>
                <a:gd name="connsiteX239" fmla="*/ 251917 w 369143"/>
                <a:gd name="connsiteY239" fmla="*/ 11842 h 48740"/>
                <a:gd name="connsiteX240" fmla="*/ 251600 w 369143"/>
                <a:gd name="connsiteY240" fmla="*/ 11829 h 48740"/>
                <a:gd name="connsiteX241" fmla="*/ 238791 w 369143"/>
                <a:gd name="connsiteY241" fmla="*/ 24311 h 48740"/>
                <a:gd name="connsiteX242" fmla="*/ 238793 w 369143"/>
                <a:gd name="connsiteY242" fmla="*/ 24822 h 48740"/>
                <a:gd name="connsiteX243" fmla="*/ 244118 w 369143"/>
                <a:gd name="connsiteY243" fmla="*/ 20402 h 48740"/>
                <a:gd name="connsiteX244" fmla="*/ 251414 w 369143"/>
                <a:gd name="connsiteY244" fmla="*/ 15716 h 48740"/>
                <a:gd name="connsiteX245" fmla="*/ 258204 w 369143"/>
                <a:gd name="connsiteY245" fmla="*/ 20455 h 48740"/>
                <a:gd name="connsiteX246" fmla="*/ 256739 w 369143"/>
                <a:gd name="connsiteY246" fmla="*/ 22399 h 48740"/>
                <a:gd name="connsiteX247" fmla="*/ 245476 w 369143"/>
                <a:gd name="connsiteY247" fmla="*/ 22399 h 48740"/>
                <a:gd name="connsiteX248" fmla="*/ 244118 w 369143"/>
                <a:gd name="connsiteY248" fmla="*/ 20455 h 48740"/>
                <a:gd name="connsiteX249" fmla="*/ 268082 w 369143"/>
                <a:gd name="connsiteY249" fmla="*/ 24875 h 48740"/>
                <a:gd name="connsiteX250" fmla="*/ 280801 w 369143"/>
                <a:gd name="connsiteY250" fmla="*/ 38188 h 48740"/>
                <a:gd name="connsiteX251" fmla="*/ 281395 w 369143"/>
                <a:gd name="connsiteY251" fmla="*/ 38188 h 48740"/>
                <a:gd name="connsiteX252" fmla="*/ 294708 w 369143"/>
                <a:gd name="connsiteY252" fmla="*/ 25469 h 48740"/>
                <a:gd name="connsiteX253" fmla="*/ 294708 w 369143"/>
                <a:gd name="connsiteY253" fmla="*/ 24875 h 48740"/>
                <a:gd name="connsiteX254" fmla="*/ 281989 w 369143"/>
                <a:gd name="connsiteY254" fmla="*/ 11874 h 48740"/>
                <a:gd name="connsiteX255" fmla="*/ 281395 w 369143"/>
                <a:gd name="connsiteY255" fmla="*/ 11882 h 48740"/>
                <a:gd name="connsiteX256" fmla="*/ 268087 w 369143"/>
                <a:gd name="connsiteY256" fmla="*/ 24335 h 48740"/>
                <a:gd name="connsiteX257" fmla="*/ 268082 w 369143"/>
                <a:gd name="connsiteY257" fmla="*/ 24875 h 48740"/>
                <a:gd name="connsiteX258" fmla="*/ 272662 w 369143"/>
                <a:gd name="connsiteY258" fmla="*/ 25035 h 48740"/>
                <a:gd name="connsiteX259" fmla="*/ 281012 w 369143"/>
                <a:gd name="connsiteY259" fmla="*/ 15833 h 48740"/>
                <a:gd name="connsiteX260" fmla="*/ 281528 w 369143"/>
                <a:gd name="connsiteY260" fmla="*/ 15822 h 48740"/>
                <a:gd name="connsiteX261" fmla="*/ 290349 w 369143"/>
                <a:gd name="connsiteY261" fmla="*/ 24628 h 48740"/>
                <a:gd name="connsiteX262" fmla="*/ 290341 w 369143"/>
                <a:gd name="connsiteY262" fmla="*/ 25035 h 48740"/>
                <a:gd name="connsiteX263" fmla="*/ 281882 w 369143"/>
                <a:gd name="connsiteY263" fmla="*/ 34240 h 48740"/>
                <a:gd name="connsiteX264" fmla="*/ 281528 w 369143"/>
                <a:gd name="connsiteY264" fmla="*/ 34248 h 48740"/>
                <a:gd name="connsiteX265" fmla="*/ 272654 w 369143"/>
                <a:gd name="connsiteY265" fmla="*/ 25442 h 48740"/>
                <a:gd name="connsiteX266" fmla="*/ 272662 w 369143"/>
                <a:gd name="connsiteY266" fmla="*/ 25035 h 48740"/>
                <a:gd name="connsiteX267" fmla="*/ 302749 w 369143"/>
                <a:gd name="connsiteY267" fmla="*/ 48386 h 48740"/>
                <a:gd name="connsiteX268" fmla="*/ 304533 w 369143"/>
                <a:gd name="connsiteY268" fmla="*/ 48386 h 48740"/>
                <a:gd name="connsiteX269" fmla="*/ 305755 w 369143"/>
                <a:gd name="connsiteY269" fmla="*/ 47444 h 48740"/>
                <a:gd name="connsiteX270" fmla="*/ 305758 w 369143"/>
                <a:gd name="connsiteY270" fmla="*/ 47188 h 48740"/>
                <a:gd name="connsiteX271" fmla="*/ 305758 w 369143"/>
                <a:gd name="connsiteY271" fmla="*/ 37097 h 48740"/>
                <a:gd name="connsiteX272" fmla="*/ 307702 w 369143"/>
                <a:gd name="connsiteY272" fmla="*/ 36218 h 48740"/>
                <a:gd name="connsiteX273" fmla="*/ 314731 w 369143"/>
                <a:gd name="connsiteY273" fmla="*/ 38162 h 48740"/>
                <a:gd name="connsiteX274" fmla="*/ 327490 w 369143"/>
                <a:gd name="connsiteY274" fmla="*/ 25096 h 48740"/>
                <a:gd name="connsiteX275" fmla="*/ 327485 w 369143"/>
                <a:gd name="connsiteY275" fmla="*/ 24849 h 48740"/>
                <a:gd name="connsiteX276" fmla="*/ 314973 w 369143"/>
                <a:gd name="connsiteY276" fmla="*/ 11805 h 48740"/>
                <a:gd name="connsiteX277" fmla="*/ 314811 w 369143"/>
                <a:gd name="connsiteY277" fmla="*/ 11802 h 48740"/>
                <a:gd name="connsiteX278" fmla="*/ 307063 w 369143"/>
                <a:gd name="connsiteY278" fmla="*/ 14252 h 48740"/>
                <a:gd name="connsiteX279" fmla="*/ 304933 w 369143"/>
                <a:gd name="connsiteY279" fmla="*/ 13506 h 48740"/>
                <a:gd name="connsiteX280" fmla="*/ 304933 w 369143"/>
                <a:gd name="connsiteY280" fmla="*/ 13506 h 48740"/>
                <a:gd name="connsiteX281" fmla="*/ 303628 w 369143"/>
                <a:gd name="connsiteY281" fmla="*/ 12388 h 48740"/>
                <a:gd name="connsiteX282" fmla="*/ 302749 w 369143"/>
                <a:gd name="connsiteY282" fmla="*/ 12388 h 48740"/>
                <a:gd name="connsiteX283" fmla="*/ 301527 w 369143"/>
                <a:gd name="connsiteY283" fmla="*/ 13330 h 48740"/>
                <a:gd name="connsiteX284" fmla="*/ 301524 w 369143"/>
                <a:gd name="connsiteY284" fmla="*/ 13586 h 48740"/>
                <a:gd name="connsiteX285" fmla="*/ 301524 w 369143"/>
                <a:gd name="connsiteY285" fmla="*/ 47188 h 48740"/>
                <a:gd name="connsiteX286" fmla="*/ 302494 w 369143"/>
                <a:gd name="connsiteY286" fmla="*/ 48389 h 48740"/>
                <a:gd name="connsiteX287" fmla="*/ 302749 w 369143"/>
                <a:gd name="connsiteY287" fmla="*/ 48386 h 48740"/>
                <a:gd name="connsiteX288" fmla="*/ 306104 w 369143"/>
                <a:gd name="connsiteY288" fmla="*/ 28044 h 48740"/>
                <a:gd name="connsiteX289" fmla="*/ 306104 w 369143"/>
                <a:gd name="connsiteY289" fmla="*/ 21973 h 48740"/>
                <a:gd name="connsiteX290" fmla="*/ 306637 w 369143"/>
                <a:gd name="connsiteY290" fmla="*/ 19870 h 48740"/>
                <a:gd name="connsiteX291" fmla="*/ 314278 w 369143"/>
                <a:gd name="connsiteY291" fmla="*/ 15822 h 48740"/>
                <a:gd name="connsiteX292" fmla="*/ 322799 w 369143"/>
                <a:gd name="connsiteY292" fmla="*/ 24929 h 48740"/>
                <a:gd name="connsiteX293" fmla="*/ 314278 w 369143"/>
                <a:gd name="connsiteY293" fmla="*/ 34248 h 48740"/>
                <a:gd name="connsiteX294" fmla="*/ 306637 w 369143"/>
                <a:gd name="connsiteY294" fmla="*/ 30147 h 48740"/>
                <a:gd name="connsiteX295" fmla="*/ 306104 w 369143"/>
                <a:gd name="connsiteY295" fmla="*/ 28044 h 48740"/>
                <a:gd name="connsiteX296" fmla="*/ 337496 w 369143"/>
                <a:gd name="connsiteY296" fmla="*/ -286 h 48740"/>
                <a:gd name="connsiteX297" fmla="*/ 335366 w 369143"/>
                <a:gd name="connsiteY297" fmla="*/ -286 h 48740"/>
                <a:gd name="connsiteX298" fmla="*/ 334141 w 369143"/>
                <a:gd name="connsiteY298" fmla="*/ 715 h 48740"/>
                <a:gd name="connsiteX299" fmla="*/ 334141 w 369143"/>
                <a:gd name="connsiteY299" fmla="*/ 938 h 48740"/>
                <a:gd name="connsiteX300" fmla="*/ 334141 w 369143"/>
                <a:gd name="connsiteY300" fmla="*/ 36484 h 48740"/>
                <a:gd name="connsiteX301" fmla="*/ 335111 w 369143"/>
                <a:gd name="connsiteY301" fmla="*/ 37685 h 48740"/>
                <a:gd name="connsiteX302" fmla="*/ 335366 w 369143"/>
                <a:gd name="connsiteY302" fmla="*/ 37683 h 48740"/>
                <a:gd name="connsiteX303" fmla="*/ 337496 w 369143"/>
                <a:gd name="connsiteY303" fmla="*/ 37683 h 48740"/>
                <a:gd name="connsiteX304" fmla="*/ 338718 w 369143"/>
                <a:gd name="connsiteY304" fmla="*/ 36740 h 48740"/>
                <a:gd name="connsiteX305" fmla="*/ 338721 w 369143"/>
                <a:gd name="connsiteY305" fmla="*/ 36484 h 48740"/>
                <a:gd name="connsiteX306" fmla="*/ 338721 w 369143"/>
                <a:gd name="connsiteY306" fmla="*/ 885 h 48740"/>
                <a:gd name="connsiteX307" fmla="*/ 337720 w 369143"/>
                <a:gd name="connsiteY307" fmla="*/ -340 h 48740"/>
                <a:gd name="connsiteX308" fmla="*/ 337496 w 369143"/>
                <a:gd name="connsiteY308" fmla="*/ -340 h 48740"/>
                <a:gd name="connsiteX309" fmla="*/ 345484 w 369143"/>
                <a:gd name="connsiteY309" fmla="*/ 24822 h 48740"/>
                <a:gd name="connsiteX310" fmla="*/ 357612 w 369143"/>
                <a:gd name="connsiteY310" fmla="*/ 38122 h 48740"/>
                <a:gd name="connsiteX311" fmla="*/ 358345 w 369143"/>
                <a:gd name="connsiteY311" fmla="*/ 38135 h 48740"/>
                <a:gd name="connsiteX312" fmla="*/ 369235 w 369143"/>
                <a:gd name="connsiteY312" fmla="*/ 31053 h 48740"/>
                <a:gd name="connsiteX313" fmla="*/ 368170 w 369143"/>
                <a:gd name="connsiteY313" fmla="*/ 29668 h 48740"/>
                <a:gd name="connsiteX314" fmla="*/ 366333 w 369143"/>
                <a:gd name="connsiteY314" fmla="*/ 29668 h 48740"/>
                <a:gd name="connsiteX315" fmla="*/ 364921 w 369143"/>
                <a:gd name="connsiteY315" fmla="*/ 30653 h 48740"/>
                <a:gd name="connsiteX316" fmla="*/ 358345 w 369143"/>
                <a:gd name="connsiteY316" fmla="*/ 34221 h 48740"/>
                <a:gd name="connsiteX317" fmla="*/ 350357 w 369143"/>
                <a:gd name="connsiteY317" fmla="*/ 28017 h 48740"/>
                <a:gd name="connsiteX318" fmla="*/ 351928 w 369143"/>
                <a:gd name="connsiteY318" fmla="*/ 26180 h 48740"/>
                <a:gd name="connsiteX319" fmla="*/ 368463 w 369143"/>
                <a:gd name="connsiteY319" fmla="*/ 26180 h 48740"/>
                <a:gd name="connsiteX320" fmla="*/ 370111 w 369143"/>
                <a:gd name="connsiteY320" fmla="*/ 24745 h 48740"/>
                <a:gd name="connsiteX321" fmla="*/ 370113 w 369143"/>
                <a:gd name="connsiteY321" fmla="*/ 24609 h 48740"/>
                <a:gd name="connsiteX322" fmla="*/ 358661 w 369143"/>
                <a:gd name="connsiteY322" fmla="*/ 11815 h 48740"/>
                <a:gd name="connsiteX323" fmla="*/ 358371 w 369143"/>
                <a:gd name="connsiteY323" fmla="*/ 11802 h 48740"/>
                <a:gd name="connsiteX324" fmla="*/ 345535 w 369143"/>
                <a:gd name="connsiteY324" fmla="*/ 24311 h 48740"/>
                <a:gd name="connsiteX325" fmla="*/ 345538 w 369143"/>
                <a:gd name="connsiteY325" fmla="*/ 24795 h 48740"/>
                <a:gd name="connsiteX326" fmla="*/ 350863 w 369143"/>
                <a:gd name="connsiteY326" fmla="*/ 20376 h 48740"/>
                <a:gd name="connsiteX327" fmla="*/ 358185 w 369143"/>
                <a:gd name="connsiteY327" fmla="*/ 15689 h 48740"/>
                <a:gd name="connsiteX328" fmla="*/ 364948 w 369143"/>
                <a:gd name="connsiteY328" fmla="*/ 20429 h 48740"/>
                <a:gd name="connsiteX329" fmla="*/ 363484 w 369143"/>
                <a:gd name="connsiteY329" fmla="*/ 22373 h 48740"/>
                <a:gd name="connsiteX330" fmla="*/ 352221 w 369143"/>
                <a:gd name="connsiteY330" fmla="*/ 22373 h 48740"/>
                <a:gd name="connsiteX331" fmla="*/ 350863 w 369143"/>
                <a:gd name="connsiteY331" fmla="*/ 20429 h 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Lst>
              <a:rect l="l" t="t" r="r" b="b"/>
              <a:pathLst>
                <a:path w="369143" h="48740">
                  <a:moveTo>
                    <a:pt x="2220" y="48333"/>
                  </a:moveTo>
                  <a:lnTo>
                    <a:pt x="4004" y="48333"/>
                  </a:lnTo>
                  <a:cubicBezTo>
                    <a:pt x="4603" y="48410"/>
                    <a:pt x="5149" y="47987"/>
                    <a:pt x="5226" y="47390"/>
                  </a:cubicBezTo>
                  <a:cubicBezTo>
                    <a:pt x="5237" y="47305"/>
                    <a:pt x="5237" y="47220"/>
                    <a:pt x="5229" y="47135"/>
                  </a:cubicBezTo>
                  <a:lnTo>
                    <a:pt x="5229" y="37043"/>
                  </a:lnTo>
                  <a:cubicBezTo>
                    <a:pt x="5229" y="35632"/>
                    <a:pt x="6001" y="35339"/>
                    <a:pt x="7172" y="36165"/>
                  </a:cubicBezTo>
                  <a:cubicBezTo>
                    <a:pt x="9265" y="37507"/>
                    <a:pt x="11717" y="38183"/>
                    <a:pt x="14202" y="38109"/>
                  </a:cubicBezTo>
                  <a:cubicBezTo>
                    <a:pt x="21319" y="38039"/>
                    <a:pt x="27033" y="32214"/>
                    <a:pt x="26961" y="25096"/>
                  </a:cubicBezTo>
                  <a:cubicBezTo>
                    <a:pt x="26961" y="24995"/>
                    <a:pt x="26958" y="24897"/>
                    <a:pt x="26955" y="24795"/>
                  </a:cubicBezTo>
                  <a:cubicBezTo>
                    <a:pt x="27102" y="17740"/>
                    <a:pt x="21502" y="11898"/>
                    <a:pt x="14444" y="11751"/>
                  </a:cubicBezTo>
                  <a:cubicBezTo>
                    <a:pt x="14391" y="11749"/>
                    <a:pt x="14335" y="11749"/>
                    <a:pt x="14281" y="11749"/>
                  </a:cubicBezTo>
                  <a:cubicBezTo>
                    <a:pt x="11496" y="11671"/>
                    <a:pt x="8767" y="12534"/>
                    <a:pt x="6533" y="14198"/>
                  </a:cubicBezTo>
                  <a:cubicBezTo>
                    <a:pt x="5468" y="15024"/>
                    <a:pt x="4643" y="14837"/>
                    <a:pt x="4403" y="13453"/>
                  </a:cubicBezTo>
                  <a:lnTo>
                    <a:pt x="4403" y="13453"/>
                  </a:lnTo>
                  <a:cubicBezTo>
                    <a:pt x="4347" y="12787"/>
                    <a:pt x="3767" y="12289"/>
                    <a:pt x="3098" y="12334"/>
                  </a:cubicBezTo>
                  <a:lnTo>
                    <a:pt x="2220" y="12334"/>
                  </a:lnTo>
                  <a:cubicBezTo>
                    <a:pt x="1621" y="12257"/>
                    <a:pt x="1075" y="12681"/>
                    <a:pt x="998" y="13277"/>
                  </a:cubicBezTo>
                  <a:cubicBezTo>
                    <a:pt x="987" y="13362"/>
                    <a:pt x="987" y="13447"/>
                    <a:pt x="995" y="13533"/>
                  </a:cubicBezTo>
                  <a:lnTo>
                    <a:pt x="995" y="47135"/>
                  </a:lnTo>
                  <a:cubicBezTo>
                    <a:pt x="931" y="47734"/>
                    <a:pt x="1365" y="48272"/>
                    <a:pt x="1964" y="48336"/>
                  </a:cubicBezTo>
                  <a:cubicBezTo>
                    <a:pt x="2049" y="48344"/>
                    <a:pt x="2134" y="48344"/>
                    <a:pt x="2220" y="48333"/>
                  </a:cubicBezTo>
                  <a:moveTo>
                    <a:pt x="5575" y="27991"/>
                  </a:moveTo>
                  <a:lnTo>
                    <a:pt x="5575" y="21920"/>
                  </a:lnTo>
                  <a:cubicBezTo>
                    <a:pt x="5535" y="21180"/>
                    <a:pt x="5721" y="20447"/>
                    <a:pt x="6107" y="19816"/>
                  </a:cubicBezTo>
                  <a:cubicBezTo>
                    <a:pt x="7777" y="17228"/>
                    <a:pt x="10671" y="15695"/>
                    <a:pt x="13749" y="15769"/>
                  </a:cubicBezTo>
                  <a:cubicBezTo>
                    <a:pt x="18606" y="15958"/>
                    <a:pt x="22405" y="20019"/>
                    <a:pt x="22269" y="24875"/>
                  </a:cubicBezTo>
                  <a:cubicBezTo>
                    <a:pt x="22480" y="29799"/>
                    <a:pt x="18672" y="33965"/>
                    <a:pt x="13749" y="34195"/>
                  </a:cubicBezTo>
                  <a:cubicBezTo>
                    <a:pt x="10655" y="34285"/>
                    <a:pt x="7745" y="32722"/>
                    <a:pt x="6107" y="30094"/>
                  </a:cubicBezTo>
                  <a:cubicBezTo>
                    <a:pt x="5721" y="29463"/>
                    <a:pt x="5535" y="28731"/>
                    <a:pt x="5575" y="27991"/>
                  </a:cubicBezTo>
                  <a:moveTo>
                    <a:pt x="36967" y="-340"/>
                  </a:moveTo>
                  <a:lnTo>
                    <a:pt x="34837" y="-340"/>
                  </a:lnTo>
                  <a:cubicBezTo>
                    <a:pt x="34222" y="-401"/>
                    <a:pt x="33673" y="46"/>
                    <a:pt x="33612" y="662"/>
                  </a:cubicBezTo>
                  <a:cubicBezTo>
                    <a:pt x="33604" y="736"/>
                    <a:pt x="33604" y="811"/>
                    <a:pt x="33612" y="885"/>
                  </a:cubicBezTo>
                  <a:lnTo>
                    <a:pt x="33612" y="36431"/>
                  </a:lnTo>
                  <a:cubicBezTo>
                    <a:pt x="33548" y="37030"/>
                    <a:pt x="33982" y="37568"/>
                    <a:pt x="34581" y="37632"/>
                  </a:cubicBezTo>
                  <a:cubicBezTo>
                    <a:pt x="34666" y="37640"/>
                    <a:pt x="34752" y="37640"/>
                    <a:pt x="34837" y="37629"/>
                  </a:cubicBezTo>
                  <a:lnTo>
                    <a:pt x="36967" y="37629"/>
                  </a:lnTo>
                  <a:cubicBezTo>
                    <a:pt x="37566" y="37707"/>
                    <a:pt x="38112" y="37283"/>
                    <a:pt x="38189" y="36687"/>
                  </a:cubicBezTo>
                  <a:cubicBezTo>
                    <a:pt x="38200" y="36602"/>
                    <a:pt x="38200" y="36516"/>
                    <a:pt x="38192" y="36431"/>
                  </a:cubicBezTo>
                  <a:lnTo>
                    <a:pt x="38192" y="885"/>
                  </a:lnTo>
                  <a:cubicBezTo>
                    <a:pt x="38253" y="270"/>
                    <a:pt x="37806" y="-278"/>
                    <a:pt x="37191" y="-340"/>
                  </a:cubicBezTo>
                  <a:cubicBezTo>
                    <a:pt x="37116" y="-348"/>
                    <a:pt x="37041" y="-348"/>
                    <a:pt x="36967" y="-340"/>
                  </a:cubicBezTo>
                  <a:moveTo>
                    <a:pt x="44768" y="30680"/>
                  </a:moveTo>
                  <a:cubicBezTo>
                    <a:pt x="44840" y="34871"/>
                    <a:pt x="48294" y="38210"/>
                    <a:pt x="52485" y="38141"/>
                  </a:cubicBezTo>
                  <a:cubicBezTo>
                    <a:pt x="52674" y="38135"/>
                    <a:pt x="52860" y="38125"/>
                    <a:pt x="53049" y="38109"/>
                  </a:cubicBezTo>
                  <a:cubicBezTo>
                    <a:pt x="56154" y="38127"/>
                    <a:pt x="59192" y="37198"/>
                    <a:pt x="61756" y="35446"/>
                  </a:cubicBezTo>
                  <a:cubicBezTo>
                    <a:pt x="62821" y="34780"/>
                    <a:pt x="63646" y="35020"/>
                    <a:pt x="63992" y="36218"/>
                  </a:cubicBezTo>
                  <a:lnTo>
                    <a:pt x="64152" y="36724"/>
                  </a:lnTo>
                  <a:cubicBezTo>
                    <a:pt x="64275" y="37363"/>
                    <a:pt x="64863" y="37802"/>
                    <a:pt x="65510" y="37736"/>
                  </a:cubicBezTo>
                  <a:lnTo>
                    <a:pt x="66096" y="37736"/>
                  </a:lnTo>
                  <a:cubicBezTo>
                    <a:pt x="66695" y="37797"/>
                    <a:pt x="67233" y="37363"/>
                    <a:pt x="67294" y="36761"/>
                  </a:cubicBezTo>
                  <a:cubicBezTo>
                    <a:pt x="67302" y="36687"/>
                    <a:pt x="67302" y="36612"/>
                    <a:pt x="67294" y="36538"/>
                  </a:cubicBezTo>
                  <a:lnTo>
                    <a:pt x="67294" y="22905"/>
                  </a:lnTo>
                  <a:cubicBezTo>
                    <a:pt x="67294" y="15982"/>
                    <a:pt x="63353" y="11935"/>
                    <a:pt x="56644" y="11935"/>
                  </a:cubicBezTo>
                  <a:cubicBezTo>
                    <a:pt x="50892" y="11935"/>
                    <a:pt x="46872" y="14864"/>
                    <a:pt x="45993" y="19497"/>
                  </a:cubicBezTo>
                  <a:cubicBezTo>
                    <a:pt x="45839" y="20048"/>
                    <a:pt x="46161" y="20623"/>
                    <a:pt x="46712" y="20778"/>
                  </a:cubicBezTo>
                  <a:cubicBezTo>
                    <a:pt x="46858" y="20818"/>
                    <a:pt x="47013" y="20825"/>
                    <a:pt x="47165" y="20802"/>
                  </a:cubicBezTo>
                  <a:lnTo>
                    <a:pt x="49055" y="20802"/>
                  </a:lnTo>
                  <a:cubicBezTo>
                    <a:pt x="49702" y="20825"/>
                    <a:pt x="50269" y="20373"/>
                    <a:pt x="50386" y="19736"/>
                  </a:cubicBezTo>
                  <a:cubicBezTo>
                    <a:pt x="51305" y="17207"/>
                    <a:pt x="53835" y="15633"/>
                    <a:pt x="56510" y="15929"/>
                  </a:cubicBezTo>
                  <a:cubicBezTo>
                    <a:pt x="59628" y="15498"/>
                    <a:pt x="62504" y="17673"/>
                    <a:pt x="62938" y="20791"/>
                  </a:cubicBezTo>
                  <a:cubicBezTo>
                    <a:pt x="62989" y="21164"/>
                    <a:pt x="63005" y="21542"/>
                    <a:pt x="62981" y="21920"/>
                  </a:cubicBezTo>
                  <a:cubicBezTo>
                    <a:pt x="62981" y="22958"/>
                    <a:pt x="62368" y="23491"/>
                    <a:pt x="61277" y="23491"/>
                  </a:cubicBezTo>
                  <a:lnTo>
                    <a:pt x="55632" y="23491"/>
                  </a:lnTo>
                  <a:cubicBezTo>
                    <a:pt x="48975" y="23491"/>
                    <a:pt x="44981" y="26606"/>
                    <a:pt x="44981" y="30840"/>
                  </a:cubicBezTo>
                  <a:moveTo>
                    <a:pt x="49561" y="30840"/>
                  </a:moveTo>
                  <a:cubicBezTo>
                    <a:pt x="49561" y="28417"/>
                    <a:pt x="51638" y="27325"/>
                    <a:pt x="55792" y="27325"/>
                  </a:cubicBezTo>
                  <a:lnTo>
                    <a:pt x="61330" y="27325"/>
                  </a:lnTo>
                  <a:cubicBezTo>
                    <a:pt x="62177" y="27232"/>
                    <a:pt x="62941" y="27844"/>
                    <a:pt x="63034" y="28691"/>
                  </a:cubicBezTo>
                  <a:cubicBezTo>
                    <a:pt x="63047" y="28803"/>
                    <a:pt x="63047" y="28917"/>
                    <a:pt x="63034" y="29029"/>
                  </a:cubicBezTo>
                  <a:lnTo>
                    <a:pt x="63034" y="29535"/>
                  </a:lnTo>
                  <a:cubicBezTo>
                    <a:pt x="63071" y="30347"/>
                    <a:pt x="62688" y="31119"/>
                    <a:pt x="62022" y="31585"/>
                  </a:cubicBezTo>
                  <a:cubicBezTo>
                    <a:pt x="59767" y="33233"/>
                    <a:pt x="57067" y="34160"/>
                    <a:pt x="54274" y="34248"/>
                  </a:cubicBezTo>
                  <a:cubicBezTo>
                    <a:pt x="51611" y="34248"/>
                    <a:pt x="49561" y="33129"/>
                    <a:pt x="49561" y="30733"/>
                  </a:cubicBezTo>
                  <a:moveTo>
                    <a:pt x="76826" y="37789"/>
                  </a:moveTo>
                  <a:lnTo>
                    <a:pt x="78956" y="37789"/>
                  </a:lnTo>
                  <a:cubicBezTo>
                    <a:pt x="79555" y="37866"/>
                    <a:pt x="80101" y="37443"/>
                    <a:pt x="80179" y="36846"/>
                  </a:cubicBezTo>
                  <a:cubicBezTo>
                    <a:pt x="80189" y="36761"/>
                    <a:pt x="80189" y="36676"/>
                    <a:pt x="80181" y="36591"/>
                  </a:cubicBezTo>
                  <a:lnTo>
                    <a:pt x="80181" y="20988"/>
                  </a:lnTo>
                  <a:cubicBezTo>
                    <a:pt x="80123" y="20152"/>
                    <a:pt x="80562" y="19361"/>
                    <a:pt x="81299" y="18964"/>
                  </a:cubicBezTo>
                  <a:cubicBezTo>
                    <a:pt x="83752" y="17274"/>
                    <a:pt x="86609" y="16264"/>
                    <a:pt x="89580" y="16035"/>
                  </a:cubicBezTo>
                  <a:cubicBezTo>
                    <a:pt x="92392" y="15777"/>
                    <a:pt x="94881" y="17846"/>
                    <a:pt x="95140" y="20658"/>
                  </a:cubicBezTo>
                  <a:cubicBezTo>
                    <a:pt x="95174" y="21033"/>
                    <a:pt x="95166" y="21411"/>
                    <a:pt x="95118" y="21787"/>
                  </a:cubicBezTo>
                  <a:lnTo>
                    <a:pt x="95118" y="36591"/>
                  </a:lnTo>
                  <a:cubicBezTo>
                    <a:pt x="95054" y="37190"/>
                    <a:pt x="95489" y="37728"/>
                    <a:pt x="96088" y="37792"/>
                  </a:cubicBezTo>
                  <a:cubicBezTo>
                    <a:pt x="96173" y="37800"/>
                    <a:pt x="96258" y="37800"/>
                    <a:pt x="96343" y="37789"/>
                  </a:cubicBezTo>
                  <a:lnTo>
                    <a:pt x="98473" y="37789"/>
                  </a:lnTo>
                  <a:cubicBezTo>
                    <a:pt x="99072" y="37866"/>
                    <a:pt x="99618" y="37443"/>
                    <a:pt x="99696" y="36846"/>
                  </a:cubicBezTo>
                  <a:cubicBezTo>
                    <a:pt x="99706" y="36761"/>
                    <a:pt x="99706" y="36676"/>
                    <a:pt x="99698" y="36591"/>
                  </a:cubicBezTo>
                  <a:lnTo>
                    <a:pt x="99698" y="21574"/>
                  </a:lnTo>
                  <a:cubicBezTo>
                    <a:pt x="99698" y="15343"/>
                    <a:pt x="96397" y="11988"/>
                    <a:pt x="90885" y="11988"/>
                  </a:cubicBezTo>
                  <a:cubicBezTo>
                    <a:pt x="87495" y="11996"/>
                    <a:pt x="84178" y="12976"/>
                    <a:pt x="81326" y="14811"/>
                  </a:cubicBezTo>
                  <a:cubicBezTo>
                    <a:pt x="80261" y="15503"/>
                    <a:pt x="79436" y="15210"/>
                    <a:pt x="79143" y="13932"/>
                  </a:cubicBezTo>
                  <a:lnTo>
                    <a:pt x="79143" y="13559"/>
                  </a:lnTo>
                  <a:cubicBezTo>
                    <a:pt x="79023" y="12902"/>
                    <a:pt x="78424" y="12444"/>
                    <a:pt x="77758" y="12494"/>
                  </a:cubicBezTo>
                  <a:lnTo>
                    <a:pt x="76906" y="12494"/>
                  </a:lnTo>
                  <a:cubicBezTo>
                    <a:pt x="76307" y="12417"/>
                    <a:pt x="75761" y="12840"/>
                    <a:pt x="75684" y="13437"/>
                  </a:cubicBezTo>
                  <a:cubicBezTo>
                    <a:pt x="75673" y="13522"/>
                    <a:pt x="75673" y="13607"/>
                    <a:pt x="75681" y="13692"/>
                  </a:cubicBezTo>
                  <a:lnTo>
                    <a:pt x="75681" y="36591"/>
                  </a:lnTo>
                  <a:cubicBezTo>
                    <a:pt x="75617" y="37190"/>
                    <a:pt x="76051" y="37728"/>
                    <a:pt x="76651" y="37792"/>
                  </a:cubicBezTo>
                  <a:cubicBezTo>
                    <a:pt x="76736" y="37800"/>
                    <a:pt x="76821" y="37800"/>
                    <a:pt x="76906" y="37789"/>
                  </a:cubicBezTo>
                  <a:moveTo>
                    <a:pt x="106195" y="24982"/>
                  </a:moveTo>
                  <a:cubicBezTo>
                    <a:pt x="105870" y="32003"/>
                    <a:pt x="111299" y="37959"/>
                    <a:pt x="118323" y="38282"/>
                  </a:cubicBezTo>
                  <a:cubicBezTo>
                    <a:pt x="118565" y="38292"/>
                    <a:pt x="118810" y="38298"/>
                    <a:pt x="119055" y="38295"/>
                  </a:cubicBezTo>
                  <a:cubicBezTo>
                    <a:pt x="123824" y="38492"/>
                    <a:pt x="128193" y="35651"/>
                    <a:pt x="129945" y="31212"/>
                  </a:cubicBezTo>
                  <a:cubicBezTo>
                    <a:pt x="130238" y="30387"/>
                    <a:pt x="129706" y="29828"/>
                    <a:pt x="128880" y="29828"/>
                  </a:cubicBezTo>
                  <a:lnTo>
                    <a:pt x="127043" y="29828"/>
                  </a:lnTo>
                  <a:cubicBezTo>
                    <a:pt x="126409" y="29817"/>
                    <a:pt x="125840" y="30214"/>
                    <a:pt x="125632" y="30813"/>
                  </a:cubicBezTo>
                  <a:cubicBezTo>
                    <a:pt x="124357" y="33217"/>
                    <a:pt x="121766" y="34623"/>
                    <a:pt x="119055" y="34381"/>
                  </a:cubicBezTo>
                  <a:cubicBezTo>
                    <a:pt x="115256" y="34477"/>
                    <a:pt x="111914" y="31881"/>
                    <a:pt x="111068" y="28177"/>
                  </a:cubicBezTo>
                  <a:cubicBezTo>
                    <a:pt x="110775" y="27059"/>
                    <a:pt x="111467" y="26340"/>
                    <a:pt x="112638" y="26340"/>
                  </a:cubicBezTo>
                  <a:lnTo>
                    <a:pt x="129173" y="26340"/>
                  </a:lnTo>
                  <a:cubicBezTo>
                    <a:pt x="130025" y="26398"/>
                    <a:pt x="130763" y="25757"/>
                    <a:pt x="130821" y="24905"/>
                  </a:cubicBezTo>
                  <a:cubicBezTo>
                    <a:pt x="130824" y="24859"/>
                    <a:pt x="130824" y="24814"/>
                    <a:pt x="130824" y="24769"/>
                  </a:cubicBezTo>
                  <a:cubicBezTo>
                    <a:pt x="131194" y="18072"/>
                    <a:pt x="126069" y="12345"/>
                    <a:pt x="119372" y="11975"/>
                  </a:cubicBezTo>
                  <a:cubicBezTo>
                    <a:pt x="119266" y="11970"/>
                    <a:pt x="119162" y="11964"/>
                    <a:pt x="119055" y="11962"/>
                  </a:cubicBezTo>
                  <a:cubicBezTo>
                    <a:pt x="112071" y="11871"/>
                    <a:pt x="106336" y="17460"/>
                    <a:pt x="106245" y="24444"/>
                  </a:cubicBezTo>
                  <a:cubicBezTo>
                    <a:pt x="106243" y="24614"/>
                    <a:pt x="106243" y="24785"/>
                    <a:pt x="106248" y="24955"/>
                  </a:cubicBezTo>
                  <a:moveTo>
                    <a:pt x="111707" y="20535"/>
                  </a:moveTo>
                  <a:cubicBezTo>
                    <a:pt x="113006" y="17676"/>
                    <a:pt x="115860" y="15841"/>
                    <a:pt x="119002" y="15849"/>
                  </a:cubicBezTo>
                  <a:cubicBezTo>
                    <a:pt x="122038" y="15844"/>
                    <a:pt x="124751" y="17737"/>
                    <a:pt x="125792" y="20589"/>
                  </a:cubicBezTo>
                  <a:cubicBezTo>
                    <a:pt x="126218" y="21760"/>
                    <a:pt x="125526" y="22532"/>
                    <a:pt x="124327" y="22532"/>
                  </a:cubicBezTo>
                  <a:lnTo>
                    <a:pt x="113065" y="22532"/>
                  </a:lnTo>
                  <a:cubicBezTo>
                    <a:pt x="111786" y="22532"/>
                    <a:pt x="111121" y="21707"/>
                    <a:pt x="111707" y="20589"/>
                  </a:cubicBezTo>
                  <a:moveTo>
                    <a:pt x="135670" y="16408"/>
                  </a:moveTo>
                  <a:lnTo>
                    <a:pt x="137720" y="16408"/>
                  </a:lnTo>
                  <a:cubicBezTo>
                    <a:pt x="137971" y="16392"/>
                    <a:pt x="138184" y="16584"/>
                    <a:pt x="138200" y="16832"/>
                  </a:cubicBezTo>
                  <a:cubicBezTo>
                    <a:pt x="138200" y="16850"/>
                    <a:pt x="138200" y="16869"/>
                    <a:pt x="138200" y="16888"/>
                  </a:cubicBezTo>
                  <a:lnTo>
                    <a:pt x="138200" y="30414"/>
                  </a:lnTo>
                  <a:cubicBezTo>
                    <a:pt x="138200" y="36218"/>
                    <a:pt x="141475" y="38401"/>
                    <a:pt x="145495" y="38401"/>
                  </a:cubicBezTo>
                  <a:cubicBezTo>
                    <a:pt x="147564" y="38404"/>
                    <a:pt x="149622" y="38079"/>
                    <a:pt x="151592" y="37443"/>
                  </a:cubicBezTo>
                  <a:cubicBezTo>
                    <a:pt x="152090" y="37059"/>
                    <a:pt x="152239" y="36373"/>
                    <a:pt x="151939" y="35819"/>
                  </a:cubicBezTo>
                  <a:lnTo>
                    <a:pt x="151779" y="34354"/>
                  </a:lnTo>
                  <a:cubicBezTo>
                    <a:pt x="151779" y="33529"/>
                    <a:pt x="151140" y="33183"/>
                    <a:pt x="150314" y="33476"/>
                  </a:cubicBezTo>
                  <a:cubicBezTo>
                    <a:pt x="148837" y="33963"/>
                    <a:pt x="147292" y="34216"/>
                    <a:pt x="145735" y="34221"/>
                  </a:cubicBezTo>
                  <a:cubicBezTo>
                    <a:pt x="143472" y="34221"/>
                    <a:pt x="142247" y="32996"/>
                    <a:pt x="142247" y="30281"/>
                  </a:cubicBezTo>
                  <a:lnTo>
                    <a:pt x="142247" y="16834"/>
                  </a:lnTo>
                  <a:cubicBezTo>
                    <a:pt x="142231" y="16584"/>
                    <a:pt x="142423" y="16371"/>
                    <a:pt x="142670" y="16355"/>
                  </a:cubicBezTo>
                  <a:cubicBezTo>
                    <a:pt x="142689" y="16355"/>
                    <a:pt x="142707" y="16355"/>
                    <a:pt x="142726" y="16355"/>
                  </a:cubicBezTo>
                  <a:lnTo>
                    <a:pt x="150714" y="16355"/>
                  </a:lnTo>
                  <a:cubicBezTo>
                    <a:pt x="151329" y="16416"/>
                    <a:pt x="151877" y="15969"/>
                    <a:pt x="151939" y="15354"/>
                  </a:cubicBezTo>
                  <a:cubicBezTo>
                    <a:pt x="151947" y="15279"/>
                    <a:pt x="151947" y="15205"/>
                    <a:pt x="151939" y="15130"/>
                  </a:cubicBezTo>
                  <a:lnTo>
                    <a:pt x="151939" y="13666"/>
                  </a:lnTo>
                  <a:cubicBezTo>
                    <a:pt x="152003" y="13067"/>
                    <a:pt x="151569" y="12529"/>
                    <a:pt x="150969" y="12465"/>
                  </a:cubicBezTo>
                  <a:cubicBezTo>
                    <a:pt x="150884" y="12457"/>
                    <a:pt x="150799" y="12457"/>
                    <a:pt x="150714" y="12468"/>
                  </a:cubicBezTo>
                  <a:lnTo>
                    <a:pt x="142726" y="12468"/>
                  </a:lnTo>
                  <a:cubicBezTo>
                    <a:pt x="142462" y="12468"/>
                    <a:pt x="142247" y="12255"/>
                    <a:pt x="142247" y="11988"/>
                  </a:cubicBezTo>
                  <a:cubicBezTo>
                    <a:pt x="142247" y="11980"/>
                    <a:pt x="142247" y="11970"/>
                    <a:pt x="142247" y="11962"/>
                  </a:cubicBezTo>
                  <a:lnTo>
                    <a:pt x="142247" y="6636"/>
                  </a:lnTo>
                  <a:cubicBezTo>
                    <a:pt x="142247" y="5811"/>
                    <a:pt x="141767" y="5332"/>
                    <a:pt x="140889" y="5571"/>
                  </a:cubicBezTo>
                  <a:lnTo>
                    <a:pt x="138839" y="6104"/>
                  </a:lnTo>
                  <a:cubicBezTo>
                    <a:pt x="138200" y="6224"/>
                    <a:pt x="137760" y="6815"/>
                    <a:pt x="137827" y="7462"/>
                  </a:cubicBezTo>
                  <a:lnTo>
                    <a:pt x="137827" y="11855"/>
                  </a:lnTo>
                  <a:cubicBezTo>
                    <a:pt x="137843" y="12119"/>
                    <a:pt x="137640" y="12345"/>
                    <a:pt x="137377" y="12361"/>
                  </a:cubicBezTo>
                  <a:cubicBezTo>
                    <a:pt x="137358" y="12361"/>
                    <a:pt x="137340" y="12361"/>
                    <a:pt x="137321" y="12361"/>
                  </a:cubicBezTo>
                  <a:lnTo>
                    <a:pt x="135138" y="12361"/>
                  </a:lnTo>
                  <a:cubicBezTo>
                    <a:pt x="134539" y="12284"/>
                    <a:pt x="133993" y="12707"/>
                    <a:pt x="133915" y="13304"/>
                  </a:cubicBezTo>
                  <a:cubicBezTo>
                    <a:pt x="133905" y="13389"/>
                    <a:pt x="133905" y="13474"/>
                    <a:pt x="133913" y="13559"/>
                  </a:cubicBezTo>
                  <a:lnTo>
                    <a:pt x="133913" y="15024"/>
                  </a:lnTo>
                  <a:cubicBezTo>
                    <a:pt x="133851" y="15639"/>
                    <a:pt x="134299" y="16187"/>
                    <a:pt x="134914" y="16248"/>
                  </a:cubicBezTo>
                  <a:cubicBezTo>
                    <a:pt x="134988" y="16257"/>
                    <a:pt x="135063" y="16257"/>
                    <a:pt x="135138" y="16248"/>
                  </a:cubicBezTo>
                  <a:moveTo>
                    <a:pt x="168820" y="24023"/>
                  </a:moveTo>
                  <a:cubicBezTo>
                    <a:pt x="168758" y="24638"/>
                    <a:pt x="169206" y="25187"/>
                    <a:pt x="169821" y="25248"/>
                  </a:cubicBezTo>
                  <a:cubicBezTo>
                    <a:pt x="169895" y="25256"/>
                    <a:pt x="169970" y="25256"/>
                    <a:pt x="170044" y="25248"/>
                  </a:cubicBezTo>
                  <a:lnTo>
                    <a:pt x="175609" y="25248"/>
                  </a:lnTo>
                  <a:cubicBezTo>
                    <a:pt x="176134" y="25187"/>
                    <a:pt x="176613" y="25562"/>
                    <a:pt x="176674" y="26087"/>
                  </a:cubicBezTo>
                  <a:cubicBezTo>
                    <a:pt x="176682" y="26161"/>
                    <a:pt x="176682" y="26239"/>
                    <a:pt x="176674" y="26313"/>
                  </a:cubicBezTo>
                  <a:lnTo>
                    <a:pt x="176674" y="31772"/>
                  </a:lnTo>
                  <a:cubicBezTo>
                    <a:pt x="176581" y="32352"/>
                    <a:pt x="176975" y="32898"/>
                    <a:pt x="177556" y="32994"/>
                  </a:cubicBezTo>
                  <a:cubicBezTo>
                    <a:pt x="177659" y="33010"/>
                    <a:pt x="177769" y="33010"/>
                    <a:pt x="177872" y="32996"/>
                  </a:cubicBezTo>
                  <a:lnTo>
                    <a:pt x="179230" y="32996"/>
                  </a:lnTo>
                  <a:cubicBezTo>
                    <a:pt x="179846" y="33058"/>
                    <a:pt x="180394" y="32610"/>
                    <a:pt x="180455" y="31995"/>
                  </a:cubicBezTo>
                  <a:cubicBezTo>
                    <a:pt x="180463" y="31921"/>
                    <a:pt x="180463" y="31846"/>
                    <a:pt x="180455" y="31772"/>
                  </a:cubicBezTo>
                  <a:lnTo>
                    <a:pt x="180455" y="26313"/>
                  </a:lnTo>
                  <a:cubicBezTo>
                    <a:pt x="180410" y="25770"/>
                    <a:pt x="180812" y="25293"/>
                    <a:pt x="181353" y="25248"/>
                  </a:cubicBezTo>
                  <a:cubicBezTo>
                    <a:pt x="181408" y="25243"/>
                    <a:pt x="181464" y="25243"/>
                    <a:pt x="181520" y="25248"/>
                  </a:cubicBezTo>
                  <a:lnTo>
                    <a:pt x="186979" y="25248"/>
                  </a:lnTo>
                  <a:cubicBezTo>
                    <a:pt x="187594" y="25309"/>
                    <a:pt x="188142" y="24862"/>
                    <a:pt x="188203" y="24247"/>
                  </a:cubicBezTo>
                  <a:cubicBezTo>
                    <a:pt x="188211" y="24172"/>
                    <a:pt x="188211" y="24098"/>
                    <a:pt x="188203" y="24023"/>
                  </a:cubicBezTo>
                  <a:lnTo>
                    <a:pt x="188203" y="22665"/>
                  </a:lnTo>
                  <a:cubicBezTo>
                    <a:pt x="188267" y="22066"/>
                    <a:pt x="187833" y="21528"/>
                    <a:pt x="187234" y="21465"/>
                  </a:cubicBezTo>
                  <a:cubicBezTo>
                    <a:pt x="187149" y="21457"/>
                    <a:pt x="187064" y="21457"/>
                    <a:pt x="186979" y="21467"/>
                  </a:cubicBezTo>
                  <a:lnTo>
                    <a:pt x="181520" y="21467"/>
                  </a:lnTo>
                  <a:cubicBezTo>
                    <a:pt x="180977" y="21515"/>
                    <a:pt x="180500" y="21113"/>
                    <a:pt x="180453" y="20573"/>
                  </a:cubicBezTo>
                  <a:cubicBezTo>
                    <a:pt x="180447" y="20506"/>
                    <a:pt x="180447" y="20439"/>
                    <a:pt x="180455" y="20376"/>
                  </a:cubicBezTo>
                  <a:lnTo>
                    <a:pt x="180455" y="15050"/>
                  </a:lnTo>
                  <a:cubicBezTo>
                    <a:pt x="180535" y="14454"/>
                    <a:pt x="180114" y="13905"/>
                    <a:pt x="179515" y="13825"/>
                  </a:cubicBezTo>
                  <a:cubicBezTo>
                    <a:pt x="179422" y="13812"/>
                    <a:pt x="179326" y="13812"/>
                    <a:pt x="179230" y="13825"/>
                  </a:cubicBezTo>
                  <a:lnTo>
                    <a:pt x="177846" y="13825"/>
                  </a:lnTo>
                  <a:cubicBezTo>
                    <a:pt x="177266" y="13730"/>
                    <a:pt x="176717" y="14121"/>
                    <a:pt x="176621" y="14702"/>
                  </a:cubicBezTo>
                  <a:cubicBezTo>
                    <a:pt x="176602" y="14819"/>
                    <a:pt x="176602" y="14936"/>
                    <a:pt x="176621" y="15050"/>
                  </a:cubicBezTo>
                  <a:lnTo>
                    <a:pt x="176621" y="20376"/>
                  </a:lnTo>
                  <a:cubicBezTo>
                    <a:pt x="176698" y="20900"/>
                    <a:pt x="176336" y="21387"/>
                    <a:pt x="175814" y="21465"/>
                  </a:cubicBezTo>
                  <a:cubicBezTo>
                    <a:pt x="175729" y="21478"/>
                    <a:pt x="175641" y="21478"/>
                    <a:pt x="175556" y="21467"/>
                  </a:cubicBezTo>
                  <a:lnTo>
                    <a:pt x="170044" y="21467"/>
                  </a:lnTo>
                  <a:cubicBezTo>
                    <a:pt x="169445" y="21390"/>
                    <a:pt x="168899" y="21813"/>
                    <a:pt x="168822" y="22410"/>
                  </a:cubicBezTo>
                  <a:cubicBezTo>
                    <a:pt x="168812" y="22495"/>
                    <a:pt x="168812" y="22580"/>
                    <a:pt x="168820" y="22665"/>
                  </a:cubicBezTo>
                  <a:close/>
                  <a:moveTo>
                    <a:pt x="209185" y="48360"/>
                  </a:moveTo>
                  <a:lnTo>
                    <a:pt x="210995" y="48360"/>
                  </a:lnTo>
                  <a:cubicBezTo>
                    <a:pt x="211595" y="48421"/>
                    <a:pt x="212132" y="47987"/>
                    <a:pt x="212194" y="47385"/>
                  </a:cubicBezTo>
                  <a:cubicBezTo>
                    <a:pt x="212202" y="47311"/>
                    <a:pt x="212202" y="47236"/>
                    <a:pt x="212194" y="47161"/>
                  </a:cubicBezTo>
                  <a:lnTo>
                    <a:pt x="212194" y="37070"/>
                  </a:lnTo>
                  <a:cubicBezTo>
                    <a:pt x="212194" y="35659"/>
                    <a:pt x="212966" y="35366"/>
                    <a:pt x="214137" y="36192"/>
                  </a:cubicBezTo>
                  <a:cubicBezTo>
                    <a:pt x="216233" y="37528"/>
                    <a:pt x="218682" y="38207"/>
                    <a:pt x="221167" y="38135"/>
                  </a:cubicBezTo>
                  <a:cubicBezTo>
                    <a:pt x="228284" y="38066"/>
                    <a:pt x="233998" y="32240"/>
                    <a:pt x="233926" y="25123"/>
                  </a:cubicBezTo>
                  <a:cubicBezTo>
                    <a:pt x="233926" y="25022"/>
                    <a:pt x="233923" y="24923"/>
                    <a:pt x="233921" y="24822"/>
                  </a:cubicBezTo>
                  <a:cubicBezTo>
                    <a:pt x="234067" y="17766"/>
                    <a:pt x="228468" y="11924"/>
                    <a:pt x="221409" y="11778"/>
                  </a:cubicBezTo>
                  <a:cubicBezTo>
                    <a:pt x="221356" y="11775"/>
                    <a:pt x="221300" y="11775"/>
                    <a:pt x="221247" y="11775"/>
                  </a:cubicBezTo>
                  <a:cubicBezTo>
                    <a:pt x="218469" y="11695"/>
                    <a:pt x="215748" y="12558"/>
                    <a:pt x="213525" y="14225"/>
                  </a:cubicBezTo>
                  <a:cubicBezTo>
                    <a:pt x="212433" y="15050"/>
                    <a:pt x="211608" y="14864"/>
                    <a:pt x="211368" y="13479"/>
                  </a:cubicBezTo>
                  <a:lnTo>
                    <a:pt x="211368" y="13479"/>
                  </a:lnTo>
                  <a:cubicBezTo>
                    <a:pt x="211312" y="12814"/>
                    <a:pt x="210732" y="12316"/>
                    <a:pt x="210064" y="12361"/>
                  </a:cubicBezTo>
                  <a:lnTo>
                    <a:pt x="209185" y="12361"/>
                  </a:lnTo>
                  <a:cubicBezTo>
                    <a:pt x="208586" y="12284"/>
                    <a:pt x="208040" y="12707"/>
                    <a:pt x="207963" y="13304"/>
                  </a:cubicBezTo>
                  <a:cubicBezTo>
                    <a:pt x="207952" y="13389"/>
                    <a:pt x="207952" y="13474"/>
                    <a:pt x="207960" y="13559"/>
                  </a:cubicBezTo>
                  <a:lnTo>
                    <a:pt x="207960" y="47161"/>
                  </a:lnTo>
                  <a:cubicBezTo>
                    <a:pt x="207896" y="47760"/>
                    <a:pt x="208330" y="48298"/>
                    <a:pt x="208929" y="48362"/>
                  </a:cubicBezTo>
                  <a:cubicBezTo>
                    <a:pt x="209014" y="48370"/>
                    <a:pt x="209100" y="48370"/>
                    <a:pt x="209185" y="48360"/>
                  </a:cubicBezTo>
                  <a:moveTo>
                    <a:pt x="212540" y="28017"/>
                  </a:moveTo>
                  <a:lnTo>
                    <a:pt x="212540" y="21947"/>
                  </a:lnTo>
                  <a:cubicBezTo>
                    <a:pt x="212500" y="21206"/>
                    <a:pt x="212686" y="20474"/>
                    <a:pt x="213072" y="19843"/>
                  </a:cubicBezTo>
                  <a:cubicBezTo>
                    <a:pt x="214744" y="17260"/>
                    <a:pt x="217636" y="15727"/>
                    <a:pt x="220714" y="15796"/>
                  </a:cubicBezTo>
                  <a:cubicBezTo>
                    <a:pt x="225571" y="15985"/>
                    <a:pt x="229370" y="20045"/>
                    <a:pt x="229234" y="24902"/>
                  </a:cubicBezTo>
                  <a:cubicBezTo>
                    <a:pt x="229445" y="29825"/>
                    <a:pt x="225637" y="33992"/>
                    <a:pt x="220714" y="34221"/>
                  </a:cubicBezTo>
                  <a:cubicBezTo>
                    <a:pt x="217620" y="34304"/>
                    <a:pt x="214712" y="32746"/>
                    <a:pt x="213072" y="30121"/>
                  </a:cubicBezTo>
                  <a:cubicBezTo>
                    <a:pt x="212686" y="29490"/>
                    <a:pt x="212500" y="28757"/>
                    <a:pt x="212540" y="28017"/>
                  </a:cubicBezTo>
                  <a:moveTo>
                    <a:pt x="238740" y="24849"/>
                  </a:moveTo>
                  <a:cubicBezTo>
                    <a:pt x="238415" y="31870"/>
                    <a:pt x="243844" y="37826"/>
                    <a:pt x="250868" y="38148"/>
                  </a:cubicBezTo>
                  <a:cubicBezTo>
                    <a:pt x="251110" y="38159"/>
                    <a:pt x="251355" y="38165"/>
                    <a:pt x="251600" y="38162"/>
                  </a:cubicBezTo>
                  <a:cubicBezTo>
                    <a:pt x="256369" y="38359"/>
                    <a:pt x="260738" y="35518"/>
                    <a:pt x="262491" y="31079"/>
                  </a:cubicBezTo>
                  <a:cubicBezTo>
                    <a:pt x="262783" y="30254"/>
                    <a:pt x="262251" y="29695"/>
                    <a:pt x="261425" y="29695"/>
                  </a:cubicBezTo>
                  <a:lnTo>
                    <a:pt x="259588" y="29695"/>
                  </a:lnTo>
                  <a:cubicBezTo>
                    <a:pt x="258955" y="29684"/>
                    <a:pt x="258385" y="30081"/>
                    <a:pt x="258177" y="30680"/>
                  </a:cubicBezTo>
                  <a:cubicBezTo>
                    <a:pt x="256907" y="33090"/>
                    <a:pt x="254311" y="34498"/>
                    <a:pt x="251600" y="34248"/>
                  </a:cubicBezTo>
                  <a:cubicBezTo>
                    <a:pt x="247801" y="34344"/>
                    <a:pt x="244459" y="31748"/>
                    <a:pt x="243612" y="28044"/>
                  </a:cubicBezTo>
                  <a:cubicBezTo>
                    <a:pt x="243320" y="26926"/>
                    <a:pt x="244012" y="26207"/>
                    <a:pt x="245184" y="26207"/>
                  </a:cubicBezTo>
                  <a:lnTo>
                    <a:pt x="261718" y="26207"/>
                  </a:lnTo>
                  <a:cubicBezTo>
                    <a:pt x="262570" y="26265"/>
                    <a:pt x="263308" y="25624"/>
                    <a:pt x="263366" y="24774"/>
                  </a:cubicBezTo>
                  <a:cubicBezTo>
                    <a:pt x="263369" y="24726"/>
                    <a:pt x="263369" y="24681"/>
                    <a:pt x="263369" y="24636"/>
                  </a:cubicBezTo>
                  <a:cubicBezTo>
                    <a:pt x="263739" y="17939"/>
                    <a:pt x="258611" y="12212"/>
                    <a:pt x="251917" y="11842"/>
                  </a:cubicBezTo>
                  <a:cubicBezTo>
                    <a:pt x="251811" y="11837"/>
                    <a:pt x="251707" y="11831"/>
                    <a:pt x="251600" y="11829"/>
                  </a:cubicBezTo>
                  <a:cubicBezTo>
                    <a:pt x="244616" y="11738"/>
                    <a:pt x="238881" y="17327"/>
                    <a:pt x="238791" y="24311"/>
                  </a:cubicBezTo>
                  <a:cubicBezTo>
                    <a:pt x="238788" y="24481"/>
                    <a:pt x="238788" y="24652"/>
                    <a:pt x="238793" y="24822"/>
                  </a:cubicBezTo>
                  <a:moveTo>
                    <a:pt x="244118" y="20402"/>
                  </a:moveTo>
                  <a:cubicBezTo>
                    <a:pt x="245418" y="17542"/>
                    <a:pt x="248272" y="15708"/>
                    <a:pt x="251414" y="15716"/>
                  </a:cubicBezTo>
                  <a:cubicBezTo>
                    <a:pt x="254449" y="15711"/>
                    <a:pt x="257163" y="17604"/>
                    <a:pt x="258204" y="20455"/>
                  </a:cubicBezTo>
                  <a:cubicBezTo>
                    <a:pt x="258630" y="21627"/>
                    <a:pt x="257964" y="22399"/>
                    <a:pt x="256739" y="22399"/>
                  </a:cubicBezTo>
                  <a:lnTo>
                    <a:pt x="245476" y="22399"/>
                  </a:lnTo>
                  <a:cubicBezTo>
                    <a:pt x="244225" y="22399"/>
                    <a:pt x="243533" y="21574"/>
                    <a:pt x="244118" y="20455"/>
                  </a:cubicBezTo>
                  <a:moveTo>
                    <a:pt x="268082" y="24875"/>
                  </a:moveTo>
                  <a:cubicBezTo>
                    <a:pt x="267920" y="32064"/>
                    <a:pt x="273615" y="38026"/>
                    <a:pt x="280801" y="38188"/>
                  </a:cubicBezTo>
                  <a:cubicBezTo>
                    <a:pt x="281001" y="38194"/>
                    <a:pt x="281198" y="38194"/>
                    <a:pt x="281395" y="38188"/>
                  </a:cubicBezTo>
                  <a:cubicBezTo>
                    <a:pt x="288584" y="38351"/>
                    <a:pt x="294546" y="32658"/>
                    <a:pt x="294708" y="25469"/>
                  </a:cubicBezTo>
                  <a:cubicBezTo>
                    <a:pt x="294713" y="25269"/>
                    <a:pt x="294713" y="25072"/>
                    <a:pt x="294708" y="24875"/>
                  </a:cubicBezTo>
                  <a:cubicBezTo>
                    <a:pt x="294785" y="17774"/>
                    <a:pt x="289093" y="11954"/>
                    <a:pt x="281989" y="11874"/>
                  </a:cubicBezTo>
                  <a:cubicBezTo>
                    <a:pt x="281792" y="11871"/>
                    <a:pt x="281592" y="11874"/>
                    <a:pt x="281395" y="11882"/>
                  </a:cubicBezTo>
                  <a:cubicBezTo>
                    <a:pt x="274281" y="11647"/>
                    <a:pt x="268324" y="17223"/>
                    <a:pt x="268087" y="24335"/>
                  </a:cubicBezTo>
                  <a:cubicBezTo>
                    <a:pt x="268082" y="24516"/>
                    <a:pt x="268079" y="24694"/>
                    <a:pt x="268082" y="24875"/>
                  </a:cubicBezTo>
                  <a:moveTo>
                    <a:pt x="272662" y="25035"/>
                  </a:moveTo>
                  <a:cubicBezTo>
                    <a:pt x="272427" y="20189"/>
                    <a:pt x="276166" y="16067"/>
                    <a:pt x="281012" y="15833"/>
                  </a:cubicBezTo>
                  <a:cubicBezTo>
                    <a:pt x="281185" y="15825"/>
                    <a:pt x="281355" y="15820"/>
                    <a:pt x="281528" y="15822"/>
                  </a:cubicBezTo>
                  <a:cubicBezTo>
                    <a:pt x="286395" y="15817"/>
                    <a:pt x="290347" y="19760"/>
                    <a:pt x="290349" y="24628"/>
                  </a:cubicBezTo>
                  <a:cubicBezTo>
                    <a:pt x="290352" y="24764"/>
                    <a:pt x="290347" y="24899"/>
                    <a:pt x="290341" y="25035"/>
                  </a:cubicBezTo>
                  <a:cubicBezTo>
                    <a:pt x="290546" y="29913"/>
                    <a:pt x="286760" y="34035"/>
                    <a:pt x="281882" y="34240"/>
                  </a:cubicBezTo>
                  <a:cubicBezTo>
                    <a:pt x="281765" y="34245"/>
                    <a:pt x="281645" y="34248"/>
                    <a:pt x="281528" y="34248"/>
                  </a:cubicBezTo>
                  <a:cubicBezTo>
                    <a:pt x="276645" y="34266"/>
                    <a:pt x="272672" y="30326"/>
                    <a:pt x="272654" y="25442"/>
                  </a:cubicBezTo>
                  <a:cubicBezTo>
                    <a:pt x="272654" y="25307"/>
                    <a:pt x="272656" y="25171"/>
                    <a:pt x="272662" y="25035"/>
                  </a:cubicBezTo>
                  <a:moveTo>
                    <a:pt x="302749" y="48386"/>
                  </a:moveTo>
                  <a:lnTo>
                    <a:pt x="304533" y="48386"/>
                  </a:lnTo>
                  <a:cubicBezTo>
                    <a:pt x="305132" y="48463"/>
                    <a:pt x="305678" y="48040"/>
                    <a:pt x="305755" y="47444"/>
                  </a:cubicBezTo>
                  <a:cubicBezTo>
                    <a:pt x="305766" y="47359"/>
                    <a:pt x="305766" y="47273"/>
                    <a:pt x="305758" y="47188"/>
                  </a:cubicBezTo>
                  <a:lnTo>
                    <a:pt x="305758" y="37097"/>
                  </a:lnTo>
                  <a:cubicBezTo>
                    <a:pt x="305758" y="35686"/>
                    <a:pt x="306530" y="35393"/>
                    <a:pt x="307702" y="36218"/>
                  </a:cubicBezTo>
                  <a:cubicBezTo>
                    <a:pt x="309795" y="37560"/>
                    <a:pt x="312247" y="38236"/>
                    <a:pt x="314731" y="38162"/>
                  </a:cubicBezTo>
                  <a:cubicBezTo>
                    <a:pt x="321861" y="38077"/>
                    <a:pt x="327575" y="32227"/>
                    <a:pt x="327490" y="25096"/>
                  </a:cubicBezTo>
                  <a:cubicBezTo>
                    <a:pt x="327490" y="25014"/>
                    <a:pt x="327488" y="24931"/>
                    <a:pt x="327485" y="24849"/>
                  </a:cubicBezTo>
                  <a:cubicBezTo>
                    <a:pt x="327631" y="17793"/>
                    <a:pt x="322032" y="11951"/>
                    <a:pt x="314973" y="11805"/>
                  </a:cubicBezTo>
                  <a:cubicBezTo>
                    <a:pt x="314920" y="11802"/>
                    <a:pt x="314864" y="11802"/>
                    <a:pt x="314811" y="11802"/>
                  </a:cubicBezTo>
                  <a:cubicBezTo>
                    <a:pt x="312026" y="11725"/>
                    <a:pt x="309297" y="12587"/>
                    <a:pt x="307063" y="14252"/>
                  </a:cubicBezTo>
                  <a:cubicBezTo>
                    <a:pt x="305998" y="15077"/>
                    <a:pt x="305172" y="14891"/>
                    <a:pt x="304933" y="13506"/>
                  </a:cubicBezTo>
                  <a:lnTo>
                    <a:pt x="304933" y="13506"/>
                  </a:lnTo>
                  <a:cubicBezTo>
                    <a:pt x="304877" y="12840"/>
                    <a:pt x="304296" y="12342"/>
                    <a:pt x="303628" y="12388"/>
                  </a:cubicBezTo>
                  <a:lnTo>
                    <a:pt x="302749" y="12388"/>
                  </a:lnTo>
                  <a:cubicBezTo>
                    <a:pt x="302150" y="12310"/>
                    <a:pt x="301604" y="12734"/>
                    <a:pt x="301527" y="13330"/>
                  </a:cubicBezTo>
                  <a:cubicBezTo>
                    <a:pt x="301516" y="13415"/>
                    <a:pt x="301516" y="13501"/>
                    <a:pt x="301524" y="13586"/>
                  </a:cubicBezTo>
                  <a:lnTo>
                    <a:pt x="301524" y="47188"/>
                  </a:lnTo>
                  <a:cubicBezTo>
                    <a:pt x="301461" y="47787"/>
                    <a:pt x="301894" y="48325"/>
                    <a:pt x="302494" y="48389"/>
                  </a:cubicBezTo>
                  <a:cubicBezTo>
                    <a:pt x="302579" y="48397"/>
                    <a:pt x="302664" y="48397"/>
                    <a:pt x="302749" y="48386"/>
                  </a:cubicBezTo>
                  <a:moveTo>
                    <a:pt x="306104" y="28044"/>
                  </a:moveTo>
                  <a:lnTo>
                    <a:pt x="306104" y="21973"/>
                  </a:lnTo>
                  <a:cubicBezTo>
                    <a:pt x="306051" y="21233"/>
                    <a:pt x="306237" y="20495"/>
                    <a:pt x="306637" y="19870"/>
                  </a:cubicBezTo>
                  <a:cubicBezTo>
                    <a:pt x="308306" y="17282"/>
                    <a:pt x="311200" y="15748"/>
                    <a:pt x="314278" y="15822"/>
                  </a:cubicBezTo>
                  <a:cubicBezTo>
                    <a:pt x="319135" y="16012"/>
                    <a:pt x="322935" y="20072"/>
                    <a:pt x="322799" y="24929"/>
                  </a:cubicBezTo>
                  <a:cubicBezTo>
                    <a:pt x="323009" y="29852"/>
                    <a:pt x="319201" y="34019"/>
                    <a:pt x="314278" y="34248"/>
                  </a:cubicBezTo>
                  <a:cubicBezTo>
                    <a:pt x="311184" y="34338"/>
                    <a:pt x="308274" y="32775"/>
                    <a:pt x="306637" y="30147"/>
                  </a:cubicBezTo>
                  <a:cubicBezTo>
                    <a:pt x="306237" y="29522"/>
                    <a:pt x="306051" y="28784"/>
                    <a:pt x="306104" y="28044"/>
                  </a:cubicBezTo>
                  <a:moveTo>
                    <a:pt x="337496" y="-286"/>
                  </a:moveTo>
                  <a:lnTo>
                    <a:pt x="335366" y="-286"/>
                  </a:lnTo>
                  <a:cubicBezTo>
                    <a:pt x="334751" y="-348"/>
                    <a:pt x="334203" y="100"/>
                    <a:pt x="334141" y="715"/>
                  </a:cubicBezTo>
                  <a:cubicBezTo>
                    <a:pt x="334133" y="789"/>
                    <a:pt x="334133" y="864"/>
                    <a:pt x="334141" y="938"/>
                  </a:cubicBezTo>
                  <a:lnTo>
                    <a:pt x="334141" y="36484"/>
                  </a:lnTo>
                  <a:cubicBezTo>
                    <a:pt x="334078" y="37083"/>
                    <a:pt x="334511" y="37621"/>
                    <a:pt x="335111" y="37685"/>
                  </a:cubicBezTo>
                  <a:cubicBezTo>
                    <a:pt x="335196" y="37693"/>
                    <a:pt x="335281" y="37693"/>
                    <a:pt x="335366" y="37683"/>
                  </a:cubicBezTo>
                  <a:lnTo>
                    <a:pt x="337496" y="37683"/>
                  </a:lnTo>
                  <a:cubicBezTo>
                    <a:pt x="338095" y="37760"/>
                    <a:pt x="338641" y="37336"/>
                    <a:pt x="338718" y="36740"/>
                  </a:cubicBezTo>
                  <a:cubicBezTo>
                    <a:pt x="338729" y="36655"/>
                    <a:pt x="338729" y="36570"/>
                    <a:pt x="338721" y="36484"/>
                  </a:cubicBezTo>
                  <a:lnTo>
                    <a:pt x="338721" y="885"/>
                  </a:lnTo>
                  <a:cubicBezTo>
                    <a:pt x="338782" y="270"/>
                    <a:pt x="338335" y="-278"/>
                    <a:pt x="337720" y="-340"/>
                  </a:cubicBezTo>
                  <a:cubicBezTo>
                    <a:pt x="337645" y="-348"/>
                    <a:pt x="337571" y="-348"/>
                    <a:pt x="337496" y="-340"/>
                  </a:cubicBezTo>
                  <a:moveTo>
                    <a:pt x="345484" y="24822"/>
                  </a:moveTo>
                  <a:cubicBezTo>
                    <a:pt x="345159" y="31843"/>
                    <a:pt x="350588" y="37800"/>
                    <a:pt x="357612" y="38122"/>
                  </a:cubicBezTo>
                  <a:cubicBezTo>
                    <a:pt x="357855" y="38132"/>
                    <a:pt x="358100" y="38138"/>
                    <a:pt x="358345" y="38135"/>
                  </a:cubicBezTo>
                  <a:cubicBezTo>
                    <a:pt x="363113" y="38332"/>
                    <a:pt x="367483" y="35491"/>
                    <a:pt x="369235" y="31053"/>
                  </a:cubicBezTo>
                  <a:cubicBezTo>
                    <a:pt x="369528" y="30227"/>
                    <a:pt x="368995" y="29668"/>
                    <a:pt x="368170" y="29668"/>
                  </a:cubicBezTo>
                  <a:lnTo>
                    <a:pt x="366333" y="29668"/>
                  </a:lnTo>
                  <a:cubicBezTo>
                    <a:pt x="365699" y="29657"/>
                    <a:pt x="365129" y="30054"/>
                    <a:pt x="364921" y="30653"/>
                  </a:cubicBezTo>
                  <a:cubicBezTo>
                    <a:pt x="363651" y="33063"/>
                    <a:pt x="361058" y="34471"/>
                    <a:pt x="358345" y="34221"/>
                  </a:cubicBezTo>
                  <a:cubicBezTo>
                    <a:pt x="354561" y="34266"/>
                    <a:pt x="351249" y="31694"/>
                    <a:pt x="350357" y="28017"/>
                  </a:cubicBezTo>
                  <a:cubicBezTo>
                    <a:pt x="350064" y="26899"/>
                    <a:pt x="350756" y="26180"/>
                    <a:pt x="351928" y="26180"/>
                  </a:cubicBezTo>
                  <a:lnTo>
                    <a:pt x="368463" y="26180"/>
                  </a:lnTo>
                  <a:cubicBezTo>
                    <a:pt x="369315" y="26239"/>
                    <a:pt x="370052" y="25597"/>
                    <a:pt x="370111" y="24745"/>
                  </a:cubicBezTo>
                  <a:cubicBezTo>
                    <a:pt x="370113" y="24700"/>
                    <a:pt x="370113" y="24654"/>
                    <a:pt x="370113" y="24609"/>
                  </a:cubicBezTo>
                  <a:cubicBezTo>
                    <a:pt x="370483" y="17913"/>
                    <a:pt x="365358" y="12185"/>
                    <a:pt x="358661" y="11815"/>
                  </a:cubicBezTo>
                  <a:cubicBezTo>
                    <a:pt x="358566" y="11810"/>
                    <a:pt x="358467" y="11805"/>
                    <a:pt x="358371" y="11802"/>
                  </a:cubicBezTo>
                  <a:cubicBezTo>
                    <a:pt x="351371" y="11711"/>
                    <a:pt x="345625" y="17311"/>
                    <a:pt x="345535" y="24311"/>
                  </a:cubicBezTo>
                  <a:cubicBezTo>
                    <a:pt x="345532" y="24473"/>
                    <a:pt x="345532" y="24633"/>
                    <a:pt x="345538" y="24795"/>
                  </a:cubicBezTo>
                  <a:moveTo>
                    <a:pt x="350863" y="20376"/>
                  </a:moveTo>
                  <a:cubicBezTo>
                    <a:pt x="352165" y="17505"/>
                    <a:pt x="355032" y="15671"/>
                    <a:pt x="358185" y="15689"/>
                  </a:cubicBezTo>
                  <a:cubicBezTo>
                    <a:pt x="361215" y="15679"/>
                    <a:pt x="363923" y="17577"/>
                    <a:pt x="364948" y="20429"/>
                  </a:cubicBezTo>
                  <a:cubicBezTo>
                    <a:pt x="365401" y="21600"/>
                    <a:pt x="364708" y="22373"/>
                    <a:pt x="363484" y="22373"/>
                  </a:cubicBezTo>
                  <a:lnTo>
                    <a:pt x="352221" y="22373"/>
                  </a:lnTo>
                  <a:cubicBezTo>
                    <a:pt x="350969" y="22373"/>
                    <a:pt x="350277" y="21547"/>
                    <a:pt x="350863" y="20429"/>
                  </a:cubicBezTo>
                </a:path>
              </a:pathLst>
            </a:custGeom>
            <a:solidFill>
              <a:srgbClr val="FFFFFF"/>
            </a:solidFill>
            <a:ln w="2661" cap="flat">
              <a:noFill/>
              <a:prstDash val="solid"/>
              <a:miter/>
            </a:ln>
          </p:spPr>
          <p:txBody>
            <a:bodyPr rtlCol="0" anchor="ctr"/>
            <a:lstStyle/>
            <a:p>
              <a:endParaRPr lang="pl-PL"/>
            </a:p>
          </p:txBody>
        </p:sp>
        <p:sp>
          <p:nvSpPr>
            <p:cNvPr id="127" name="Freeform: Shape 126">
              <a:extLst>
                <a:ext uri="{FF2B5EF4-FFF2-40B4-BE49-F238E27FC236}">
                  <a16:creationId xmlns:a16="http://schemas.microsoft.com/office/drawing/2014/main" id="{46005908-AC03-49EA-810A-D0C0C8623D89}"/>
                </a:ext>
              </a:extLst>
            </p:cNvPr>
            <p:cNvSpPr/>
            <p:nvPr/>
          </p:nvSpPr>
          <p:spPr>
            <a:xfrm>
              <a:off x="11848503" y="6635533"/>
              <a:ext cx="6855" cy="8973"/>
            </a:xfrm>
            <a:custGeom>
              <a:avLst/>
              <a:gdLst>
                <a:gd name="connsiteX0" fmla="*/ 992 w 12147"/>
                <a:gd name="connsiteY0" fmla="*/ 1467 h 15900"/>
                <a:gd name="connsiteX1" fmla="*/ 992 w 12147"/>
                <a:gd name="connsiteY1" fmla="*/ 295 h 15900"/>
                <a:gd name="connsiteX2" fmla="*/ 1519 w 12147"/>
                <a:gd name="connsiteY2" fmla="*/ -344 h 15900"/>
                <a:gd name="connsiteX3" fmla="*/ 1631 w 12147"/>
                <a:gd name="connsiteY3" fmla="*/ -344 h 15900"/>
                <a:gd name="connsiteX4" fmla="*/ 12521 w 12147"/>
                <a:gd name="connsiteY4" fmla="*/ -344 h 15900"/>
                <a:gd name="connsiteX5" fmla="*/ 13136 w 12147"/>
                <a:gd name="connsiteY5" fmla="*/ 213 h 15900"/>
                <a:gd name="connsiteX6" fmla="*/ 13133 w 12147"/>
                <a:gd name="connsiteY6" fmla="*/ 295 h 15900"/>
                <a:gd name="connsiteX7" fmla="*/ 13133 w 12147"/>
                <a:gd name="connsiteY7" fmla="*/ 1467 h 15900"/>
                <a:gd name="connsiteX8" fmla="*/ 12603 w 12147"/>
                <a:gd name="connsiteY8" fmla="*/ 2103 h 15900"/>
                <a:gd name="connsiteX9" fmla="*/ 12521 w 12147"/>
                <a:gd name="connsiteY9" fmla="*/ 2106 h 15900"/>
                <a:gd name="connsiteX10" fmla="*/ 8926 w 12147"/>
                <a:gd name="connsiteY10" fmla="*/ 2106 h 15900"/>
                <a:gd name="connsiteX11" fmla="*/ 8447 w 12147"/>
                <a:gd name="connsiteY11" fmla="*/ 2471 h 15900"/>
                <a:gd name="connsiteX12" fmla="*/ 8447 w 12147"/>
                <a:gd name="connsiteY12" fmla="*/ 2585 h 15900"/>
                <a:gd name="connsiteX13" fmla="*/ 8447 w 12147"/>
                <a:gd name="connsiteY13" fmla="*/ 14940 h 15900"/>
                <a:gd name="connsiteX14" fmla="*/ 7890 w 12147"/>
                <a:gd name="connsiteY14" fmla="*/ 15555 h 15900"/>
                <a:gd name="connsiteX15" fmla="*/ 7808 w 12147"/>
                <a:gd name="connsiteY15" fmla="*/ 15552 h 15900"/>
                <a:gd name="connsiteX16" fmla="*/ 6184 w 12147"/>
                <a:gd name="connsiteY16" fmla="*/ 15552 h 15900"/>
                <a:gd name="connsiteX17" fmla="*/ 5547 w 12147"/>
                <a:gd name="connsiteY17" fmla="*/ 15022 h 15900"/>
                <a:gd name="connsiteX18" fmla="*/ 5545 w 12147"/>
                <a:gd name="connsiteY18" fmla="*/ 14940 h 15900"/>
                <a:gd name="connsiteX19" fmla="*/ 5545 w 12147"/>
                <a:gd name="connsiteY19" fmla="*/ 2585 h 15900"/>
                <a:gd name="connsiteX20" fmla="*/ 5180 w 12147"/>
                <a:gd name="connsiteY20" fmla="*/ 2106 h 15900"/>
                <a:gd name="connsiteX21" fmla="*/ 5065 w 12147"/>
                <a:gd name="connsiteY21" fmla="*/ 2106 h 15900"/>
                <a:gd name="connsiteX22" fmla="*/ 1631 w 12147"/>
                <a:gd name="connsiteY22" fmla="*/ 2106 h 15900"/>
                <a:gd name="connsiteX23" fmla="*/ 992 w 12147"/>
                <a:gd name="connsiteY23" fmla="*/ 1579 h 15900"/>
                <a:gd name="connsiteX24" fmla="*/ 992 w 12147"/>
                <a:gd name="connsiteY24" fmla="*/ 1467 h 1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147" h="15900">
                  <a:moveTo>
                    <a:pt x="992" y="1467"/>
                  </a:moveTo>
                  <a:lnTo>
                    <a:pt x="992" y="295"/>
                  </a:lnTo>
                  <a:cubicBezTo>
                    <a:pt x="960" y="-27"/>
                    <a:pt x="1197" y="-312"/>
                    <a:pt x="1519" y="-344"/>
                  </a:cubicBezTo>
                  <a:cubicBezTo>
                    <a:pt x="1556" y="-346"/>
                    <a:pt x="1593" y="-346"/>
                    <a:pt x="1631" y="-344"/>
                  </a:cubicBezTo>
                  <a:lnTo>
                    <a:pt x="12521" y="-344"/>
                  </a:lnTo>
                  <a:cubicBezTo>
                    <a:pt x="12843" y="-360"/>
                    <a:pt x="13120" y="-112"/>
                    <a:pt x="13136" y="213"/>
                  </a:cubicBezTo>
                  <a:cubicBezTo>
                    <a:pt x="13136" y="240"/>
                    <a:pt x="13136" y="269"/>
                    <a:pt x="13133" y="295"/>
                  </a:cubicBezTo>
                  <a:lnTo>
                    <a:pt x="13133" y="1467"/>
                  </a:lnTo>
                  <a:cubicBezTo>
                    <a:pt x="13163" y="1789"/>
                    <a:pt x="12925" y="2074"/>
                    <a:pt x="12603" y="2103"/>
                  </a:cubicBezTo>
                  <a:cubicBezTo>
                    <a:pt x="12577" y="2106"/>
                    <a:pt x="12547" y="2109"/>
                    <a:pt x="12521" y="2106"/>
                  </a:cubicBezTo>
                  <a:lnTo>
                    <a:pt x="8926" y="2106"/>
                  </a:lnTo>
                  <a:cubicBezTo>
                    <a:pt x="8692" y="2074"/>
                    <a:pt x="8479" y="2239"/>
                    <a:pt x="8447" y="2471"/>
                  </a:cubicBezTo>
                  <a:cubicBezTo>
                    <a:pt x="8442" y="2508"/>
                    <a:pt x="8442" y="2548"/>
                    <a:pt x="8447" y="2585"/>
                  </a:cubicBezTo>
                  <a:lnTo>
                    <a:pt x="8447" y="14940"/>
                  </a:lnTo>
                  <a:cubicBezTo>
                    <a:pt x="8463" y="15262"/>
                    <a:pt x="8215" y="15539"/>
                    <a:pt x="7890" y="15555"/>
                  </a:cubicBezTo>
                  <a:cubicBezTo>
                    <a:pt x="7864" y="15555"/>
                    <a:pt x="7835" y="15555"/>
                    <a:pt x="7808" y="15552"/>
                  </a:cubicBezTo>
                  <a:lnTo>
                    <a:pt x="6184" y="15552"/>
                  </a:lnTo>
                  <a:cubicBezTo>
                    <a:pt x="5862" y="15581"/>
                    <a:pt x="5577" y="15345"/>
                    <a:pt x="5547" y="15022"/>
                  </a:cubicBezTo>
                  <a:cubicBezTo>
                    <a:pt x="5545" y="14996"/>
                    <a:pt x="5545" y="14966"/>
                    <a:pt x="5545" y="14940"/>
                  </a:cubicBezTo>
                  <a:lnTo>
                    <a:pt x="5545" y="2585"/>
                  </a:lnTo>
                  <a:cubicBezTo>
                    <a:pt x="5577" y="2351"/>
                    <a:pt x="5412" y="2138"/>
                    <a:pt x="5180" y="2106"/>
                  </a:cubicBezTo>
                  <a:cubicBezTo>
                    <a:pt x="5143" y="2101"/>
                    <a:pt x="5103" y="2101"/>
                    <a:pt x="5065" y="2106"/>
                  </a:cubicBezTo>
                  <a:lnTo>
                    <a:pt x="1631" y="2106"/>
                  </a:lnTo>
                  <a:cubicBezTo>
                    <a:pt x="1308" y="2138"/>
                    <a:pt x="1024" y="1901"/>
                    <a:pt x="992" y="1579"/>
                  </a:cubicBezTo>
                  <a:cubicBezTo>
                    <a:pt x="989" y="1542"/>
                    <a:pt x="989" y="1504"/>
                    <a:pt x="992" y="1467"/>
                  </a:cubicBezTo>
                </a:path>
              </a:pathLst>
            </a:custGeom>
            <a:solidFill>
              <a:srgbClr val="FFFFFF"/>
            </a:solidFill>
            <a:ln w="2661" cap="flat">
              <a:noFill/>
              <a:prstDash val="solid"/>
              <a:miter/>
            </a:ln>
          </p:spPr>
          <p:txBody>
            <a:bodyPr rtlCol="0" anchor="ctr"/>
            <a:lstStyle/>
            <a:p>
              <a:endParaRPr lang="pl-PL"/>
            </a:p>
          </p:txBody>
        </p:sp>
        <p:sp>
          <p:nvSpPr>
            <p:cNvPr id="128" name="Freeform: Shape 127">
              <a:extLst>
                <a:ext uri="{FF2B5EF4-FFF2-40B4-BE49-F238E27FC236}">
                  <a16:creationId xmlns:a16="http://schemas.microsoft.com/office/drawing/2014/main" id="{A6439A4F-CC24-470E-8EF6-99D9275E5FE1}"/>
                </a:ext>
              </a:extLst>
            </p:cNvPr>
            <p:cNvSpPr/>
            <p:nvPr/>
          </p:nvSpPr>
          <p:spPr>
            <a:xfrm>
              <a:off x="11857776" y="6635662"/>
              <a:ext cx="8810" cy="8977"/>
            </a:xfrm>
            <a:custGeom>
              <a:avLst/>
              <a:gdLst>
                <a:gd name="connsiteX0" fmla="*/ 991 w 15611"/>
                <a:gd name="connsiteY0" fmla="*/ 14943 h 15907"/>
                <a:gd name="connsiteX1" fmla="*/ 991 w 15611"/>
                <a:gd name="connsiteY1" fmla="*/ 458 h 15907"/>
                <a:gd name="connsiteX2" fmla="*/ 1675 w 15611"/>
                <a:gd name="connsiteY2" fmla="*/ -343 h 15907"/>
                <a:gd name="connsiteX3" fmla="*/ 1816 w 15611"/>
                <a:gd name="connsiteY3" fmla="*/ -340 h 15907"/>
                <a:gd name="connsiteX4" fmla="*/ 2668 w 15611"/>
                <a:gd name="connsiteY4" fmla="*/ -340 h 15907"/>
                <a:gd name="connsiteX5" fmla="*/ 3627 w 15611"/>
                <a:gd name="connsiteY5" fmla="*/ 192 h 15907"/>
                <a:gd name="connsiteX6" fmla="*/ 8526 w 15611"/>
                <a:gd name="connsiteY6" fmla="*/ 7381 h 15907"/>
                <a:gd name="connsiteX7" fmla="*/ 8915 w 15611"/>
                <a:gd name="connsiteY7" fmla="*/ 7525 h 15907"/>
                <a:gd name="connsiteX8" fmla="*/ 9059 w 15611"/>
                <a:gd name="connsiteY8" fmla="*/ 7381 h 15907"/>
                <a:gd name="connsiteX9" fmla="*/ 14064 w 15611"/>
                <a:gd name="connsiteY9" fmla="*/ 166 h 15907"/>
                <a:gd name="connsiteX10" fmla="*/ 15050 w 15611"/>
                <a:gd name="connsiteY10" fmla="*/ -340 h 15907"/>
                <a:gd name="connsiteX11" fmla="*/ 15795 w 15611"/>
                <a:gd name="connsiteY11" fmla="*/ -340 h 15907"/>
                <a:gd name="connsiteX12" fmla="*/ 16594 w 15611"/>
                <a:gd name="connsiteY12" fmla="*/ 288 h 15907"/>
                <a:gd name="connsiteX13" fmla="*/ 16594 w 15611"/>
                <a:gd name="connsiteY13" fmla="*/ 458 h 15907"/>
                <a:gd name="connsiteX14" fmla="*/ 16594 w 15611"/>
                <a:gd name="connsiteY14" fmla="*/ 14943 h 15907"/>
                <a:gd name="connsiteX15" fmla="*/ 16035 w 15611"/>
                <a:gd name="connsiteY15" fmla="*/ 15556 h 15907"/>
                <a:gd name="connsiteX16" fmla="*/ 15982 w 15611"/>
                <a:gd name="connsiteY16" fmla="*/ 15556 h 15907"/>
                <a:gd name="connsiteX17" fmla="*/ 14677 w 15611"/>
                <a:gd name="connsiteY17" fmla="*/ 15556 h 15907"/>
                <a:gd name="connsiteX18" fmla="*/ 14064 w 15611"/>
                <a:gd name="connsiteY18" fmla="*/ 15055 h 15907"/>
                <a:gd name="connsiteX19" fmla="*/ 14064 w 15611"/>
                <a:gd name="connsiteY19" fmla="*/ 14943 h 15907"/>
                <a:gd name="connsiteX20" fmla="*/ 14064 w 15611"/>
                <a:gd name="connsiteY20" fmla="*/ 4878 h 15907"/>
                <a:gd name="connsiteX21" fmla="*/ 13585 w 15611"/>
                <a:gd name="connsiteY21" fmla="*/ 4745 h 15907"/>
                <a:gd name="connsiteX22" fmla="*/ 9804 w 15611"/>
                <a:gd name="connsiteY22" fmla="*/ 10284 h 15907"/>
                <a:gd name="connsiteX23" fmla="*/ 8846 w 15611"/>
                <a:gd name="connsiteY23" fmla="*/ 10789 h 15907"/>
                <a:gd name="connsiteX24" fmla="*/ 8846 w 15611"/>
                <a:gd name="connsiteY24" fmla="*/ 10789 h 15907"/>
                <a:gd name="connsiteX25" fmla="*/ 7914 w 15611"/>
                <a:gd name="connsiteY25" fmla="*/ 10284 h 15907"/>
                <a:gd name="connsiteX26" fmla="*/ 4133 w 15611"/>
                <a:gd name="connsiteY26" fmla="*/ 4745 h 15907"/>
                <a:gd name="connsiteX27" fmla="*/ 3654 w 15611"/>
                <a:gd name="connsiteY27" fmla="*/ 4905 h 15907"/>
                <a:gd name="connsiteX28" fmla="*/ 3654 w 15611"/>
                <a:gd name="connsiteY28" fmla="*/ 14943 h 15907"/>
                <a:gd name="connsiteX29" fmla="*/ 3097 w 15611"/>
                <a:gd name="connsiteY29" fmla="*/ 15558 h 15907"/>
                <a:gd name="connsiteX30" fmla="*/ 3015 w 15611"/>
                <a:gd name="connsiteY30" fmla="*/ 15556 h 15907"/>
                <a:gd name="connsiteX31" fmla="*/ 1736 w 15611"/>
                <a:gd name="connsiteY31" fmla="*/ 15556 h 15907"/>
                <a:gd name="connsiteX32" fmla="*/ 1100 w 15611"/>
                <a:gd name="connsiteY32" fmla="*/ 15087 h 15907"/>
                <a:gd name="connsiteX33" fmla="*/ 1097 w 15611"/>
                <a:gd name="connsiteY33" fmla="*/ 14943 h 15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611" h="15907">
                  <a:moveTo>
                    <a:pt x="991" y="14943"/>
                  </a:moveTo>
                  <a:lnTo>
                    <a:pt x="991" y="458"/>
                  </a:lnTo>
                  <a:cubicBezTo>
                    <a:pt x="959" y="48"/>
                    <a:pt x="1265" y="-311"/>
                    <a:pt x="1675" y="-343"/>
                  </a:cubicBezTo>
                  <a:cubicBezTo>
                    <a:pt x="1723" y="-346"/>
                    <a:pt x="1771" y="-346"/>
                    <a:pt x="1816" y="-340"/>
                  </a:cubicBezTo>
                  <a:lnTo>
                    <a:pt x="2668" y="-340"/>
                  </a:lnTo>
                  <a:cubicBezTo>
                    <a:pt x="3062" y="-359"/>
                    <a:pt x="3435" y="-154"/>
                    <a:pt x="3627" y="192"/>
                  </a:cubicBezTo>
                  <a:lnTo>
                    <a:pt x="8526" y="7381"/>
                  </a:lnTo>
                  <a:cubicBezTo>
                    <a:pt x="8593" y="7528"/>
                    <a:pt x="8768" y="7592"/>
                    <a:pt x="8915" y="7525"/>
                  </a:cubicBezTo>
                  <a:cubicBezTo>
                    <a:pt x="8979" y="7496"/>
                    <a:pt x="9029" y="7445"/>
                    <a:pt x="9059" y="7381"/>
                  </a:cubicBezTo>
                  <a:lnTo>
                    <a:pt x="14064" y="166"/>
                  </a:lnTo>
                  <a:cubicBezTo>
                    <a:pt x="14280" y="-165"/>
                    <a:pt x="14655" y="-356"/>
                    <a:pt x="15050" y="-340"/>
                  </a:cubicBezTo>
                  <a:lnTo>
                    <a:pt x="15795" y="-340"/>
                  </a:lnTo>
                  <a:cubicBezTo>
                    <a:pt x="16189" y="-388"/>
                    <a:pt x="16546" y="-106"/>
                    <a:pt x="16594" y="288"/>
                  </a:cubicBezTo>
                  <a:cubicBezTo>
                    <a:pt x="16602" y="344"/>
                    <a:pt x="16602" y="403"/>
                    <a:pt x="16594" y="458"/>
                  </a:cubicBezTo>
                  <a:lnTo>
                    <a:pt x="16594" y="14943"/>
                  </a:lnTo>
                  <a:cubicBezTo>
                    <a:pt x="16610" y="15265"/>
                    <a:pt x="16360" y="15540"/>
                    <a:pt x="16035" y="15556"/>
                  </a:cubicBezTo>
                  <a:cubicBezTo>
                    <a:pt x="16019" y="15556"/>
                    <a:pt x="16000" y="15556"/>
                    <a:pt x="15982" y="15556"/>
                  </a:cubicBezTo>
                  <a:lnTo>
                    <a:pt x="14677" y="15556"/>
                  </a:lnTo>
                  <a:cubicBezTo>
                    <a:pt x="14371" y="15587"/>
                    <a:pt x="14096" y="15364"/>
                    <a:pt x="14064" y="15055"/>
                  </a:cubicBezTo>
                  <a:cubicBezTo>
                    <a:pt x="14062" y="15018"/>
                    <a:pt x="14062" y="14980"/>
                    <a:pt x="14064" y="14943"/>
                  </a:cubicBezTo>
                  <a:lnTo>
                    <a:pt x="14064" y="4878"/>
                  </a:lnTo>
                  <a:cubicBezTo>
                    <a:pt x="14064" y="4506"/>
                    <a:pt x="13798" y="4399"/>
                    <a:pt x="13585" y="4745"/>
                  </a:cubicBezTo>
                  <a:lnTo>
                    <a:pt x="9804" y="10284"/>
                  </a:lnTo>
                  <a:cubicBezTo>
                    <a:pt x="9602" y="10614"/>
                    <a:pt x="9234" y="10808"/>
                    <a:pt x="8846" y="10789"/>
                  </a:cubicBezTo>
                  <a:lnTo>
                    <a:pt x="8846" y="10789"/>
                  </a:lnTo>
                  <a:cubicBezTo>
                    <a:pt x="8465" y="10803"/>
                    <a:pt x="8108" y="10611"/>
                    <a:pt x="7914" y="10284"/>
                  </a:cubicBezTo>
                  <a:lnTo>
                    <a:pt x="4133" y="4745"/>
                  </a:lnTo>
                  <a:cubicBezTo>
                    <a:pt x="3920" y="4452"/>
                    <a:pt x="3654" y="4532"/>
                    <a:pt x="3654" y="4905"/>
                  </a:cubicBezTo>
                  <a:lnTo>
                    <a:pt x="3654" y="14943"/>
                  </a:lnTo>
                  <a:cubicBezTo>
                    <a:pt x="3670" y="15265"/>
                    <a:pt x="3422" y="15542"/>
                    <a:pt x="3097" y="15558"/>
                  </a:cubicBezTo>
                  <a:cubicBezTo>
                    <a:pt x="3071" y="15558"/>
                    <a:pt x="3041" y="15558"/>
                    <a:pt x="3015" y="15556"/>
                  </a:cubicBezTo>
                  <a:lnTo>
                    <a:pt x="1736" y="15556"/>
                  </a:lnTo>
                  <a:cubicBezTo>
                    <a:pt x="1430" y="15601"/>
                    <a:pt x="1145" y="15390"/>
                    <a:pt x="1100" y="15087"/>
                  </a:cubicBezTo>
                  <a:cubicBezTo>
                    <a:pt x="1092" y="15039"/>
                    <a:pt x="1092" y="14991"/>
                    <a:pt x="1097" y="14943"/>
                  </a:cubicBezTo>
                </a:path>
              </a:pathLst>
            </a:custGeom>
            <a:solidFill>
              <a:srgbClr val="FFFFFF"/>
            </a:solidFill>
            <a:ln w="2661" cap="flat">
              <a:noFill/>
              <a:prstDash val="solid"/>
              <a:miter/>
            </a:ln>
          </p:spPr>
          <p:txBody>
            <a:bodyPr rtlCol="0" anchor="ctr"/>
            <a:lstStyle/>
            <a:p>
              <a:endParaRPr lang="pl-PL"/>
            </a:p>
          </p:txBody>
        </p:sp>
      </p:grpSp>
      <p:grpSp>
        <p:nvGrpSpPr>
          <p:cNvPr id="129" name="Group 128">
            <a:extLst>
              <a:ext uri="{FF2B5EF4-FFF2-40B4-BE49-F238E27FC236}">
                <a16:creationId xmlns:a16="http://schemas.microsoft.com/office/drawing/2014/main" id="{1489010B-0A43-4C54-8877-0A3914FC1DEB}"/>
              </a:ext>
            </a:extLst>
          </p:cNvPr>
          <p:cNvGrpSpPr/>
          <p:nvPr userDrawn="1"/>
        </p:nvGrpSpPr>
        <p:grpSpPr>
          <a:xfrm>
            <a:off x="10855488" y="6628477"/>
            <a:ext cx="218951" cy="162658"/>
            <a:chOff x="10506075" y="6628477"/>
            <a:chExt cx="218951" cy="162658"/>
          </a:xfrm>
        </p:grpSpPr>
        <p:sp>
          <p:nvSpPr>
            <p:cNvPr id="130" name="Rectangle: Rounded Corners 129">
              <a:hlinkClick r:id="" action="ppaction://noaction"/>
              <a:extLst>
                <a:ext uri="{FF2B5EF4-FFF2-40B4-BE49-F238E27FC236}">
                  <a16:creationId xmlns:a16="http://schemas.microsoft.com/office/drawing/2014/main" id="{81538311-0F51-4462-B488-A0882A91EF1C}"/>
                </a:ext>
              </a:extLst>
            </p:cNvPr>
            <p:cNvSpPr/>
            <p:nvPr userDrawn="1"/>
          </p:nvSpPr>
          <p:spPr>
            <a:xfrm>
              <a:off x="10506075" y="6628477"/>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31" name="Rectangle: Rounded Corners 130">
              <a:hlinkClick r:id="" action="ppaction://noaction"/>
              <a:extLst>
                <a:ext uri="{FF2B5EF4-FFF2-40B4-BE49-F238E27FC236}">
                  <a16:creationId xmlns:a16="http://schemas.microsoft.com/office/drawing/2014/main" id="{3E2D37B7-E854-4AEE-AF72-723356DA3194}"/>
                </a:ext>
              </a:extLst>
            </p:cNvPr>
            <p:cNvSpPr/>
            <p:nvPr userDrawn="1"/>
          </p:nvSpPr>
          <p:spPr>
            <a:xfrm>
              <a:off x="10506075" y="6691806"/>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32" name="Rectangle: Rounded Corners 131">
              <a:hlinkClick r:id="" action="ppaction://noaction"/>
              <a:extLst>
                <a:ext uri="{FF2B5EF4-FFF2-40B4-BE49-F238E27FC236}">
                  <a16:creationId xmlns:a16="http://schemas.microsoft.com/office/drawing/2014/main" id="{F8758183-FF47-4B08-B7AD-79E5219C0267}"/>
                </a:ext>
              </a:extLst>
            </p:cNvPr>
            <p:cNvSpPr/>
            <p:nvPr userDrawn="1"/>
          </p:nvSpPr>
          <p:spPr>
            <a:xfrm>
              <a:off x="10506075" y="6755135"/>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grpSp>
      <p:sp>
        <p:nvSpPr>
          <p:cNvPr id="133" name="Rectangle 132">
            <a:hlinkClick r:id="" action="ppaction://noaction"/>
            <a:extLst>
              <a:ext uri="{FF2B5EF4-FFF2-40B4-BE49-F238E27FC236}">
                <a16:creationId xmlns:a16="http://schemas.microsoft.com/office/drawing/2014/main" id="{F35ACCB3-D409-43A5-AA6C-AFDD3AD45DAB}"/>
              </a:ext>
            </a:extLst>
          </p:cNvPr>
          <p:cNvSpPr/>
          <p:nvPr userDrawn="1"/>
        </p:nvSpPr>
        <p:spPr>
          <a:xfrm>
            <a:off x="10760869" y="6579908"/>
            <a:ext cx="406177" cy="273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cxnSp>
        <p:nvCxnSpPr>
          <p:cNvPr id="134" name="Straight Connector 133">
            <a:extLst>
              <a:ext uri="{FF2B5EF4-FFF2-40B4-BE49-F238E27FC236}">
                <a16:creationId xmlns:a16="http://schemas.microsoft.com/office/drawing/2014/main" id="{3C3C60AF-8050-4B37-BD46-93CC9FE5C3E1}"/>
              </a:ext>
            </a:extLst>
          </p:cNvPr>
          <p:cNvCxnSpPr/>
          <p:nvPr userDrawn="1"/>
        </p:nvCxnSpPr>
        <p:spPr>
          <a:xfrm>
            <a:off x="521472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35" name="Rectangle 134">
            <a:hlinkClick r:id="" action="ppaction://noaction"/>
            <a:hlinkHover r:id="" action="ppaction://noaction" highlightClick="1"/>
            <a:extLst>
              <a:ext uri="{FF2B5EF4-FFF2-40B4-BE49-F238E27FC236}">
                <a16:creationId xmlns:a16="http://schemas.microsoft.com/office/drawing/2014/main" id="{95AEFB09-291F-4CFA-8371-12DB0033D57A}"/>
              </a:ext>
            </a:extLst>
          </p:cNvPr>
          <p:cNvSpPr/>
          <p:nvPr userDrawn="1"/>
        </p:nvSpPr>
        <p:spPr>
          <a:xfrm>
            <a:off x="9539162" y="6570000"/>
            <a:ext cx="1200924"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r>
              <a:rPr lang="en-GB" sz="800" b="0" noProof="0">
                <a:solidFill>
                  <a:schemeClr val="bg1">
                    <a:alpha val="50000"/>
                  </a:schemeClr>
                </a:solidFill>
                <a:latin typeface="Leelawadee" panose="020B0502040204020203" pitchFamily="34" charset="-34"/>
                <a:cs typeface="Leelawadee" panose="020B0502040204020203" pitchFamily="34" charset="-34"/>
              </a:rPr>
              <a:t>Additional </a:t>
            </a:r>
            <a:br>
              <a:rPr lang="en-GB" sz="800" b="0" noProof="0">
                <a:solidFill>
                  <a:schemeClr val="bg1">
                    <a:alpha val="50000"/>
                  </a:schemeClr>
                </a:solidFill>
                <a:latin typeface="Leelawadee" panose="020B0502040204020203" pitchFamily="34" charset="-34"/>
                <a:cs typeface="Leelawadee" panose="020B0502040204020203" pitchFamily="34" charset="-34"/>
              </a:rPr>
            </a:br>
            <a:r>
              <a:rPr lang="en-GB" sz="800" b="0" noProof="0">
                <a:solidFill>
                  <a:schemeClr val="bg1">
                    <a:alpha val="50000"/>
                  </a:schemeClr>
                </a:solidFill>
                <a:latin typeface="Leelawadee" panose="020B0502040204020203" pitchFamily="34" charset="-34"/>
                <a:cs typeface="Leelawadee" panose="020B0502040204020203" pitchFamily="34" charset="-34"/>
              </a:rPr>
              <a:t>Supporting content</a:t>
            </a:r>
          </a:p>
        </p:txBody>
      </p:sp>
      <p:cxnSp>
        <p:nvCxnSpPr>
          <p:cNvPr id="136" name="Straight Connector 135">
            <a:extLst>
              <a:ext uri="{FF2B5EF4-FFF2-40B4-BE49-F238E27FC236}">
                <a16:creationId xmlns:a16="http://schemas.microsoft.com/office/drawing/2014/main" id="{F7B0B6CC-3DB0-47FC-B76D-2EF67919F21A}"/>
              </a:ext>
            </a:extLst>
          </p:cNvPr>
          <p:cNvCxnSpPr/>
          <p:nvPr userDrawn="1"/>
        </p:nvCxnSpPr>
        <p:spPr>
          <a:xfrm>
            <a:off x="10737865"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37" name="TextBox 136">
            <a:extLst>
              <a:ext uri="{FF2B5EF4-FFF2-40B4-BE49-F238E27FC236}">
                <a16:creationId xmlns:a16="http://schemas.microsoft.com/office/drawing/2014/main" id="{5526780B-4BBB-4A9C-8C33-7A38D3FE8BB0}"/>
              </a:ext>
            </a:extLst>
          </p:cNvPr>
          <p:cNvSpPr txBox="1"/>
          <p:nvPr userDrawn="1"/>
        </p:nvSpPr>
        <p:spPr>
          <a:xfrm>
            <a:off x="208348" y="6587078"/>
            <a:ext cx="428589" cy="261610"/>
          </a:xfrm>
          <a:prstGeom prst="rect">
            <a:avLst/>
          </a:prstGeom>
          <a:noFill/>
        </p:spPr>
        <p:txBody>
          <a:bodyPr wrap="square" rtlCol="0">
            <a:spAutoFit/>
          </a:bodyPr>
          <a:lstStyle/>
          <a:p>
            <a:fld id="{2AD15D81-AC1A-4BFA-95F9-38C1BF89B685}" type="slidenum">
              <a:rPr lang="pl-PL" sz="1050" smtClean="0">
                <a:solidFill>
                  <a:schemeClr val="bg1"/>
                </a:solidFill>
                <a:latin typeface="Leelawadee" panose="020B0502040204020203" pitchFamily="34" charset="-34"/>
                <a:cs typeface="Leelawadee" panose="020B0502040204020203" pitchFamily="34" charset="-34"/>
              </a:rPr>
              <a:t>‹#›</a:t>
            </a:fld>
            <a:endParaRPr lang="pl-PL" sz="1200">
              <a:solidFill>
                <a:schemeClr val="bg1"/>
              </a:solidFill>
              <a:latin typeface="Leelawadee" panose="020B0502040204020203" pitchFamily="34" charset="-34"/>
              <a:cs typeface="Leelawadee" panose="020B0502040204020203" pitchFamily="34" charset="-34"/>
            </a:endParaRPr>
          </a:p>
        </p:txBody>
      </p:sp>
    </p:spTree>
    <p:extLst>
      <p:ext uri="{BB962C8B-B14F-4D97-AF65-F5344CB8AC3E}">
        <p14:creationId xmlns:p14="http://schemas.microsoft.com/office/powerpoint/2010/main" val="340500015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156DAB0-81BD-6D3F-3DDD-691C8DB29D1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extBox 1">
            <a:extLst>
              <a:ext uri="{FF2B5EF4-FFF2-40B4-BE49-F238E27FC236}">
                <a16:creationId xmlns:a16="http://schemas.microsoft.com/office/drawing/2014/main" id="{F57DA647-B83A-3C6D-D58D-6A6CFF2DA4F3}"/>
              </a:ext>
            </a:extLst>
          </p:cNvPr>
          <p:cNvSpPr txBox="1"/>
          <p:nvPr userDrawn="1"/>
        </p:nvSpPr>
        <p:spPr>
          <a:xfrm>
            <a:off x="9724401" y="6601220"/>
            <a:ext cx="2513779" cy="215444"/>
          </a:xfrm>
          <a:prstGeom prst="rect">
            <a:avLst/>
          </a:prstGeom>
          <a:noFill/>
        </p:spPr>
        <p:txBody>
          <a:bodyPr wrap="square">
            <a:spAutoFit/>
          </a:bodyPr>
          <a:lstStyle/>
          <a:p>
            <a:r>
              <a:rPr lang="en-US" sz="800" b="0" i="0" u="none" strike="noStrike" err="1">
                <a:solidFill>
                  <a:schemeClr val="bg1"/>
                </a:solidFill>
                <a:effectLst/>
                <a:latin typeface="Fibra One" panose="00000500000000000000" pitchFamily="50" charset="0"/>
              </a:rPr>
              <a:t>pepsico</a:t>
            </a:r>
            <a:r>
              <a:rPr lang="en-US" sz="800" b="0" i="0" u="none" strike="noStrike">
                <a:solidFill>
                  <a:schemeClr val="bg1"/>
                </a:solidFill>
                <a:effectLst/>
                <a:latin typeface="Fibra One" panose="00000500000000000000" pitchFamily="50" charset="0"/>
              </a:rPr>
              <a:t> positive I confidential &amp; proprietary</a:t>
            </a:r>
            <a:endParaRPr lang="en-US" sz="800">
              <a:solidFill>
                <a:schemeClr val="bg1"/>
              </a:solidFill>
            </a:endParaRPr>
          </a:p>
        </p:txBody>
      </p:sp>
    </p:spTree>
    <p:extLst>
      <p:ext uri="{BB962C8B-B14F-4D97-AF65-F5344CB8AC3E}">
        <p14:creationId xmlns:p14="http://schemas.microsoft.com/office/powerpoint/2010/main" val="3585406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EO Message">
    <p:spTree>
      <p:nvGrpSpPr>
        <p:cNvPr id="1" name=""/>
        <p:cNvGrpSpPr/>
        <p:nvPr/>
      </p:nvGrpSpPr>
      <p:grpSpPr>
        <a:xfrm>
          <a:off x="0" y="0"/>
          <a:ext cx="0" cy="0"/>
          <a:chOff x="0" y="0"/>
          <a:chExt cx="0" cy="0"/>
        </a:xfrm>
      </p:grpSpPr>
      <p:sp>
        <p:nvSpPr>
          <p:cNvPr id="2" name="Round Diagonal Corner Rectangle 1">
            <a:extLst>
              <a:ext uri="{FF2B5EF4-FFF2-40B4-BE49-F238E27FC236}">
                <a16:creationId xmlns:a16="http://schemas.microsoft.com/office/drawing/2014/main" id="{C33A297E-790C-3C79-81E2-E351C7442FA1}"/>
              </a:ext>
            </a:extLst>
          </p:cNvPr>
          <p:cNvSpPr/>
          <p:nvPr userDrawn="1"/>
        </p:nvSpPr>
        <p:spPr>
          <a:xfrm flipH="1">
            <a:off x="5909096" y="3979216"/>
            <a:ext cx="5711403" cy="2560320"/>
          </a:xfrm>
          <a:prstGeom prst="round2DiagRect">
            <a:avLst>
              <a:gd name="adj1" fmla="val 17030"/>
              <a:gd name="adj2" fmla="val 0"/>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ingle Corner Rectangle 2">
            <a:extLst>
              <a:ext uri="{FF2B5EF4-FFF2-40B4-BE49-F238E27FC236}">
                <a16:creationId xmlns:a16="http://schemas.microsoft.com/office/drawing/2014/main" id="{EF976616-8848-460B-D13F-B57173A0E6FD}"/>
              </a:ext>
            </a:extLst>
          </p:cNvPr>
          <p:cNvSpPr/>
          <p:nvPr userDrawn="1"/>
        </p:nvSpPr>
        <p:spPr>
          <a:xfrm rot="10800000" flipH="1" flipV="1">
            <a:off x="2" y="1295397"/>
            <a:ext cx="5711403" cy="5562599"/>
          </a:xfrm>
          <a:prstGeom prst="round1Rect">
            <a:avLst>
              <a:gd name="adj" fmla="val 13214"/>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 Diagonal Corner Rectangle 4">
            <a:extLst>
              <a:ext uri="{FF2B5EF4-FFF2-40B4-BE49-F238E27FC236}">
                <a16:creationId xmlns:a16="http://schemas.microsoft.com/office/drawing/2014/main" id="{48643D2C-27A3-F872-8057-EAA88E97219F}"/>
              </a:ext>
            </a:extLst>
          </p:cNvPr>
          <p:cNvSpPr/>
          <p:nvPr userDrawn="1"/>
        </p:nvSpPr>
        <p:spPr>
          <a:xfrm flipH="1">
            <a:off x="5909096" y="1295393"/>
            <a:ext cx="5711403" cy="2560320"/>
          </a:xfrm>
          <a:prstGeom prst="round2DiagRect">
            <a:avLst>
              <a:gd name="adj1" fmla="val 17030"/>
              <a:gd name="adj2" fmla="val 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a:extLst>
              <a:ext uri="{FF2B5EF4-FFF2-40B4-BE49-F238E27FC236}">
                <a16:creationId xmlns:a16="http://schemas.microsoft.com/office/drawing/2014/main" id="{B03BD9C4-2EAE-1B04-BDE5-5DC59CECF9D0}"/>
              </a:ext>
            </a:extLst>
          </p:cNvPr>
          <p:cNvGrpSpPr>
            <a:grpSpLocks noChangeAspect="1"/>
          </p:cNvGrpSpPr>
          <p:nvPr userDrawn="1"/>
        </p:nvGrpSpPr>
        <p:grpSpPr>
          <a:xfrm flipH="1">
            <a:off x="6127242" y="1509316"/>
            <a:ext cx="1411946" cy="508552"/>
            <a:chOff x="8214662" y="648755"/>
            <a:chExt cx="3558253" cy="1281606"/>
          </a:xfrm>
          <a:solidFill>
            <a:schemeClr val="bg1"/>
          </a:solidFill>
        </p:grpSpPr>
        <p:pic>
          <p:nvPicPr>
            <p:cNvPr id="7" name="Graphic 6">
              <a:extLst>
                <a:ext uri="{FF2B5EF4-FFF2-40B4-BE49-F238E27FC236}">
                  <a16:creationId xmlns:a16="http://schemas.microsoft.com/office/drawing/2014/main" id="{9A5CBB0B-C124-F5A3-F3D9-EE8E653D10F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225539" y="1306622"/>
              <a:ext cx="547362" cy="623739"/>
            </a:xfrm>
            <a:prstGeom prst="rect">
              <a:avLst/>
            </a:prstGeom>
          </p:spPr>
        </p:pic>
        <p:sp>
          <p:nvSpPr>
            <p:cNvPr id="8" name="Rounded Rectangle 7">
              <a:extLst>
                <a:ext uri="{FF2B5EF4-FFF2-40B4-BE49-F238E27FC236}">
                  <a16:creationId xmlns:a16="http://schemas.microsoft.com/office/drawing/2014/main" id="{42D67F17-44F9-5415-8939-4311AAE0CD51}"/>
                </a:ext>
              </a:extLst>
            </p:cNvPr>
            <p:cNvSpPr/>
            <p:nvPr/>
          </p:nvSpPr>
          <p:spPr>
            <a:xfrm>
              <a:off x="8214662" y="648755"/>
              <a:ext cx="3558253" cy="1047619"/>
            </a:xfrm>
            <a:prstGeom prst="roundRect">
              <a:avLst>
                <a:gd name="adj" fmla="val 22144"/>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extBox 8">
            <a:extLst>
              <a:ext uri="{FF2B5EF4-FFF2-40B4-BE49-F238E27FC236}">
                <a16:creationId xmlns:a16="http://schemas.microsoft.com/office/drawing/2014/main" id="{6C017C8E-F142-CD9A-8ED9-31240E244E29}"/>
              </a:ext>
            </a:extLst>
          </p:cNvPr>
          <p:cNvSpPr txBox="1"/>
          <p:nvPr userDrawn="1"/>
        </p:nvSpPr>
        <p:spPr>
          <a:xfrm>
            <a:off x="6092949" y="1624835"/>
            <a:ext cx="1411947" cy="184666"/>
          </a:xfrm>
          <a:prstGeom prst="rect">
            <a:avLst/>
          </a:prstGeom>
          <a:noFill/>
        </p:spPr>
        <p:txBody>
          <a:bodyPr wrap="square" lIns="0" tIns="0" rIns="0" bIns="0" anchor="ctr">
            <a:spAutoFit/>
          </a:bodyPr>
          <a:lstStyle/>
          <a:p>
            <a:pPr algn="ctr">
              <a:defRPr/>
            </a:pPr>
            <a:r>
              <a:rPr lang="en-US" sz="1200" b="1">
                <a:latin typeface="Fibra One SemiBold" pitchFamily="2" charset="77"/>
                <a:ea typeface="+mj-ea"/>
                <a:cs typeface="+mj-cs"/>
              </a:rPr>
              <a:t>CSO message</a:t>
            </a:r>
          </a:p>
        </p:txBody>
      </p:sp>
      <p:grpSp>
        <p:nvGrpSpPr>
          <p:cNvPr id="10" name="Group 9">
            <a:extLst>
              <a:ext uri="{FF2B5EF4-FFF2-40B4-BE49-F238E27FC236}">
                <a16:creationId xmlns:a16="http://schemas.microsoft.com/office/drawing/2014/main" id="{740D185D-65E2-C7E0-F72C-0072D42CF194}"/>
              </a:ext>
            </a:extLst>
          </p:cNvPr>
          <p:cNvGrpSpPr>
            <a:grpSpLocks noChangeAspect="1"/>
          </p:cNvGrpSpPr>
          <p:nvPr userDrawn="1"/>
        </p:nvGrpSpPr>
        <p:grpSpPr>
          <a:xfrm flipH="1">
            <a:off x="6127242" y="4193139"/>
            <a:ext cx="1411946" cy="508552"/>
            <a:chOff x="8214662" y="648755"/>
            <a:chExt cx="3558253" cy="1281606"/>
          </a:xfrm>
          <a:solidFill>
            <a:schemeClr val="bg1"/>
          </a:solidFill>
        </p:grpSpPr>
        <p:pic>
          <p:nvPicPr>
            <p:cNvPr id="11" name="Graphic 10">
              <a:extLst>
                <a:ext uri="{FF2B5EF4-FFF2-40B4-BE49-F238E27FC236}">
                  <a16:creationId xmlns:a16="http://schemas.microsoft.com/office/drawing/2014/main" id="{40D3B02B-31FD-047F-EF5D-40696B994B8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225539" y="1306622"/>
              <a:ext cx="547362" cy="623739"/>
            </a:xfrm>
            <a:prstGeom prst="rect">
              <a:avLst/>
            </a:prstGeom>
          </p:spPr>
        </p:pic>
        <p:sp>
          <p:nvSpPr>
            <p:cNvPr id="12" name="Rounded Rectangle 11">
              <a:extLst>
                <a:ext uri="{FF2B5EF4-FFF2-40B4-BE49-F238E27FC236}">
                  <a16:creationId xmlns:a16="http://schemas.microsoft.com/office/drawing/2014/main" id="{C9F35401-C8D4-843B-F48B-7A6A5ADC42CF}"/>
                </a:ext>
              </a:extLst>
            </p:cNvPr>
            <p:cNvSpPr/>
            <p:nvPr/>
          </p:nvSpPr>
          <p:spPr>
            <a:xfrm>
              <a:off x="8214662" y="648755"/>
              <a:ext cx="3558253" cy="1047619"/>
            </a:xfrm>
            <a:prstGeom prst="roundRect">
              <a:avLst>
                <a:gd name="adj" fmla="val 22144"/>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TextBox 12">
            <a:extLst>
              <a:ext uri="{FF2B5EF4-FFF2-40B4-BE49-F238E27FC236}">
                <a16:creationId xmlns:a16="http://schemas.microsoft.com/office/drawing/2014/main" id="{35A5C22F-AB27-26EC-F8DC-9DA97FCAA99D}"/>
              </a:ext>
            </a:extLst>
          </p:cNvPr>
          <p:cNvSpPr txBox="1"/>
          <p:nvPr userDrawn="1"/>
        </p:nvSpPr>
        <p:spPr>
          <a:xfrm>
            <a:off x="6127242" y="4308658"/>
            <a:ext cx="1411947" cy="184666"/>
          </a:xfrm>
          <a:prstGeom prst="rect">
            <a:avLst/>
          </a:prstGeom>
          <a:noFill/>
        </p:spPr>
        <p:txBody>
          <a:bodyPr wrap="square" lIns="0" tIns="0" rIns="0" bIns="0" anchor="ctr">
            <a:spAutoFit/>
          </a:bodyPr>
          <a:lstStyle/>
          <a:p>
            <a:pPr algn="ctr">
              <a:defRPr/>
            </a:pPr>
            <a:r>
              <a:rPr lang="en-US" sz="1200" b="1">
                <a:latin typeface="Fibra One SemiBold" pitchFamily="2" charset="77"/>
                <a:ea typeface="+mj-ea"/>
                <a:cs typeface="+mj-cs"/>
              </a:rPr>
              <a:t>CFO message</a:t>
            </a:r>
          </a:p>
        </p:txBody>
      </p:sp>
      <p:sp>
        <p:nvSpPr>
          <p:cNvPr id="4" name="Title 3">
            <a:extLst>
              <a:ext uri="{FF2B5EF4-FFF2-40B4-BE49-F238E27FC236}">
                <a16:creationId xmlns:a16="http://schemas.microsoft.com/office/drawing/2014/main" id="{58ED6EDD-1FE0-DA4E-BBAF-48D636384CE5}"/>
              </a:ext>
            </a:extLst>
          </p:cNvPr>
          <p:cNvSpPr>
            <a:spLocks noGrp="1"/>
          </p:cNvSpPr>
          <p:nvPr>
            <p:ph type="title"/>
          </p:nvPr>
        </p:nvSpPr>
        <p:spPr>
          <a:xfrm>
            <a:off x="342900" y="689347"/>
            <a:ext cx="5905500" cy="332399"/>
          </a:xfrm>
        </p:spPr>
        <p:txBody>
          <a:bodyPr/>
          <a:lstStyle/>
          <a:p>
            <a:r>
              <a:rPr lang="en-US"/>
              <a:t>Click to edit Master title style</a:t>
            </a:r>
          </a:p>
        </p:txBody>
      </p:sp>
      <p:sp>
        <p:nvSpPr>
          <p:cNvPr id="17" name="Text Placeholder 16">
            <a:extLst>
              <a:ext uri="{FF2B5EF4-FFF2-40B4-BE49-F238E27FC236}">
                <a16:creationId xmlns:a16="http://schemas.microsoft.com/office/drawing/2014/main" id="{5A69F7A8-29DF-84AB-E55A-CFB2483361E5}"/>
              </a:ext>
            </a:extLst>
          </p:cNvPr>
          <p:cNvSpPr>
            <a:spLocks noGrp="1"/>
          </p:cNvSpPr>
          <p:nvPr>
            <p:ph type="body" sz="quarter" idx="10"/>
          </p:nvPr>
        </p:nvSpPr>
        <p:spPr>
          <a:xfrm>
            <a:off x="6127241" y="2102161"/>
            <a:ext cx="5279511" cy="1078992"/>
          </a:xfrm>
        </p:spPr>
        <p:txBody>
          <a:bodyPr/>
          <a:lstStyle>
            <a:lvl1pPr marL="0" algn="l" defTabSz="914400" rtl="0" eaLnBrk="1" latinLnBrk="0" hangingPunct="1">
              <a:lnSpc>
                <a:spcPct val="110000"/>
              </a:lnSpc>
              <a:spcAft>
                <a:spcPts val="0"/>
              </a:spcAft>
              <a:defRPr lang="en-US" sz="800" kern="1200" dirty="0" smtClean="0">
                <a:solidFill>
                  <a:schemeClr val="tx1"/>
                </a:solidFill>
                <a:latin typeface="Fibra One Light" pitchFamily="2" charset="77"/>
                <a:ea typeface="+mj-ea"/>
                <a:cs typeface="+mj-cs"/>
              </a:defRPr>
            </a:lvl1pPr>
          </a:lstStyle>
          <a:p>
            <a:pPr lvl="0"/>
            <a:r>
              <a:rPr lang="en-US"/>
              <a:t>Click to edit Master text styles</a:t>
            </a:r>
          </a:p>
        </p:txBody>
      </p:sp>
      <p:sp>
        <p:nvSpPr>
          <p:cNvPr id="18" name="Text Placeholder 16">
            <a:extLst>
              <a:ext uri="{FF2B5EF4-FFF2-40B4-BE49-F238E27FC236}">
                <a16:creationId xmlns:a16="http://schemas.microsoft.com/office/drawing/2014/main" id="{202EF7B1-F126-E83D-2205-13916ADD7853}"/>
              </a:ext>
            </a:extLst>
          </p:cNvPr>
          <p:cNvSpPr>
            <a:spLocks noGrp="1"/>
          </p:cNvSpPr>
          <p:nvPr>
            <p:ph type="body" sz="quarter" idx="11"/>
          </p:nvPr>
        </p:nvSpPr>
        <p:spPr>
          <a:xfrm>
            <a:off x="6127241" y="4787886"/>
            <a:ext cx="5279511" cy="1078992"/>
          </a:xfrm>
        </p:spPr>
        <p:txBody>
          <a:bodyPr/>
          <a:lstStyle>
            <a:lvl1pPr marL="0" algn="l" defTabSz="914400" rtl="0" eaLnBrk="1" latinLnBrk="0" hangingPunct="1">
              <a:lnSpc>
                <a:spcPct val="110000"/>
              </a:lnSpc>
              <a:spcAft>
                <a:spcPts val="0"/>
              </a:spcAft>
              <a:defRPr lang="en-US" sz="800" kern="1200" dirty="0" smtClean="0">
                <a:solidFill>
                  <a:schemeClr val="bg1"/>
                </a:solidFill>
                <a:latin typeface="Fibra One Light" pitchFamily="2" charset="77"/>
                <a:ea typeface="+mj-ea"/>
                <a:cs typeface="+mj-cs"/>
              </a:defRPr>
            </a:lvl1pPr>
          </a:lstStyle>
          <a:p>
            <a:pPr lvl="0"/>
            <a:r>
              <a:rPr lang="en-US"/>
              <a:t>Click to edit Master text styles</a:t>
            </a:r>
          </a:p>
        </p:txBody>
      </p:sp>
      <p:sp>
        <p:nvSpPr>
          <p:cNvPr id="22" name="Text Placeholder 16">
            <a:extLst>
              <a:ext uri="{FF2B5EF4-FFF2-40B4-BE49-F238E27FC236}">
                <a16:creationId xmlns:a16="http://schemas.microsoft.com/office/drawing/2014/main" id="{3E336196-DAC1-8E7B-B22F-D7D8540496D0}"/>
              </a:ext>
            </a:extLst>
          </p:cNvPr>
          <p:cNvSpPr>
            <a:spLocks noGrp="1"/>
          </p:cNvSpPr>
          <p:nvPr>
            <p:ph type="body" sz="quarter" idx="13"/>
          </p:nvPr>
        </p:nvSpPr>
        <p:spPr>
          <a:xfrm>
            <a:off x="342900" y="2222547"/>
            <a:ext cx="4768116" cy="4316988"/>
          </a:xfrm>
        </p:spPr>
        <p:txBody>
          <a:bodyPr numCol="2" spcCol="228600"/>
          <a:lstStyle>
            <a:lvl1pPr marL="0" algn="l" defTabSz="914400" rtl="0" eaLnBrk="1" latinLnBrk="0" hangingPunct="1">
              <a:lnSpc>
                <a:spcPct val="110000"/>
              </a:lnSpc>
              <a:spcAft>
                <a:spcPts val="0"/>
              </a:spcAft>
              <a:defRPr lang="en-US" sz="800" kern="1200" dirty="0" smtClean="0">
                <a:solidFill>
                  <a:schemeClr val="tx1"/>
                </a:solidFill>
                <a:latin typeface="Fibra One Light" pitchFamily="2" charset="77"/>
                <a:ea typeface="+mj-ea"/>
                <a:cs typeface="+mj-cs"/>
              </a:defRPr>
            </a:lvl1pPr>
          </a:lstStyle>
          <a:p>
            <a:pPr lvl="0"/>
            <a:r>
              <a:rPr lang="en-US"/>
              <a:t>Click to edit Master text styles</a:t>
            </a:r>
          </a:p>
        </p:txBody>
      </p:sp>
      <p:sp>
        <p:nvSpPr>
          <p:cNvPr id="26" name="Text Placeholder 25">
            <a:extLst>
              <a:ext uri="{FF2B5EF4-FFF2-40B4-BE49-F238E27FC236}">
                <a16:creationId xmlns:a16="http://schemas.microsoft.com/office/drawing/2014/main" id="{22F0AF28-16D6-4E23-49D4-DFAAE7EAE85F}"/>
              </a:ext>
            </a:extLst>
          </p:cNvPr>
          <p:cNvSpPr>
            <a:spLocks noGrp="1"/>
          </p:cNvSpPr>
          <p:nvPr>
            <p:ph type="body" sz="quarter" idx="14"/>
          </p:nvPr>
        </p:nvSpPr>
        <p:spPr>
          <a:xfrm>
            <a:off x="342901" y="1580081"/>
            <a:ext cx="4768116" cy="492443"/>
          </a:xfrm>
        </p:spPr>
        <p:txBody>
          <a:bodyPr vert="horz" wrap="square" lIns="0" tIns="0" rIns="0" bIns="0" rtlCol="0">
            <a:spAutoFit/>
          </a:bodyPr>
          <a:lstStyle>
            <a:lvl1pPr>
              <a:lnSpc>
                <a:spcPct val="100000"/>
              </a:lnSpc>
              <a:spcAft>
                <a:spcPts val="0"/>
              </a:spcAft>
              <a:defRPr lang="en-US" sz="1600" b="1" spc="-10" dirty="0" smtClean="0">
                <a:solidFill>
                  <a:srgbClr val="0052DB"/>
                </a:solidFill>
                <a:latin typeface="Fibra One UltraBold" pitchFamily="2" charset="77"/>
                <a:cs typeface="Tahoma"/>
              </a:defRPr>
            </a:lvl1pPr>
          </a:lstStyle>
          <a:p>
            <a:pPr lvl="0"/>
            <a:r>
              <a:rPr lang="en-US"/>
              <a:t>Click to edit Master text styles</a:t>
            </a:r>
          </a:p>
          <a:p>
            <a:pPr lvl="0"/>
            <a:r>
              <a:rPr lang="en-US"/>
              <a:t>Up to two lines</a:t>
            </a:r>
          </a:p>
        </p:txBody>
      </p:sp>
      <p:sp>
        <p:nvSpPr>
          <p:cNvPr id="27" name="Content Placeholder 2">
            <a:extLst>
              <a:ext uri="{FF2B5EF4-FFF2-40B4-BE49-F238E27FC236}">
                <a16:creationId xmlns:a16="http://schemas.microsoft.com/office/drawing/2014/main" id="{F5138778-5F56-491F-CAA5-E3F70BAC2845}"/>
              </a:ext>
            </a:extLst>
          </p:cNvPr>
          <p:cNvSpPr txBox="1">
            <a:spLocks/>
          </p:cNvSpPr>
          <p:nvPr userDrawn="1"/>
        </p:nvSpPr>
        <p:spPr>
          <a:xfrm>
            <a:off x="6127241" y="3358106"/>
            <a:ext cx="3156095" cy="296748"/>
          </a:xfrm>
          <a:prstGeom prst="rect">
            <a:avLst/>
          </a:prstGeom>
          <a:noFill/>
        </p:spPr>
        <p:txBody>
          <a:bodyPr vert="horz" wrap="square" lIns="0" tIns="0" rIns="0" bIns="0" rtlCol="0" anchor="t">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sz="1550" b="0" kern="1200">
                <a:solidFill>
                  <a:schemeClr val="tx1"/>
                </a:solidFill>
                <a:latin typeface="Fibra One UltraBold" panose="00000900000000000000" pitchFamily="50" charset="0"/>
                <a:ea typeface="+mn-ea"/>
                <a:cs typeface="+mn-cs"/>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sz="1400" b="1" kern="1200">
                <a:solidFill>
                  <a:schemeClr val="tx1"/>
                </a:solidFill>
                <a:latin typeface="+mn-lt"/>
                <a:ea typeface="+mn-ea"/>
                <a:cs typeface="+mn-cs"/>
              </a:defRPr>
            </a:lvl2pPr>
            <a:lvl3pPr marL="228600" indent="-228600" algn="l" defTabSz="914400" rtl="0" eaLnBrk="1" latinLnBrk="0" hangingPunct="1">
              <a:lnSpc>
                <a:spcPct val="110000"/>
              </a:lnSpc>
              <a:spcBef>
                <a:spcPts val="0"/>
              </a:spcBef>
              <a:spcAft>
                <a:spcPts val="600"/>
              </a:spcAft>
              <a:buClr>
                <a:schemeClr val="tx2"/>
              </a:buClr>
              <a:buFont typeface="Wingdings 2" panose="05020102010507070707" pitchFamily="18" charset="2"/>
              <a:buChar char=""/>
              <a:defRPr sz="1400" b="1"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600"/>
              </a:spcAft>
              <a:buFont typeface="Arial" panose="020B0604020202020204" pitchFamily="34" charset="0"/>
              <a:buNone/>
              <a:defRPr sz="155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3000"/>
              </a:lnSpc>
              <a:spcAft>
                <a:spcPts val="200"/>
              </a:spcAft>
            </a:pPr>
            <a:r>
              <a:rPr lang="en-US" sz="800">
                <a:latin typeface="Fibra One Heavy" panose="00000A00000000000000" pitchFamily="50" charset="0"/>
              </a:rPr>
              <a:t>Jim Andrew</a:t>
            </a:r>
          </a:p>
          <a:p>
            <a:pPr>
              <a:lnSpc>
                <a:spcPct val="113000"/>
              </a:lnSpc>
              <a:spcAft>
                <a:spcPts val="0"/>
              </a:spcAft>
            </a:pPr>
            <a:r>
              <a:rPr lang="en-US" sz="800">
                <a:latin typeface="+mn-lt"/>
              </a:rPr>
              <a:t>Executive Vice President and Chief Sustainability Officer</a:t>
            </a:r>
          </a:p>
        </p:txBody>
      </p:sp>
      <p:sp>
        <p:nvSpPr>
          <p:cNvPr id="28" name="Content Placeholder 2">
            <a:extLst>
              <a:ext uri="{FF2B5EF4-FFF2-40B4-BE49-F238E27FC236}">
                <a16:creationId xmlns:a16="http://schemas.microsoft.com/office/drawing/2014/main" id="{9B523405-987C-822D-17D7-C2DA752BCE2C}"/>
              </a:ext>
            </a:extLst>
          </p:cNvPr>
          <p:cNvSpPr txBox="1">
            <a:spLocks/>
          </p:cNvSpPr>
          <p:nvPr userDrawn="1"/>
        </p:nvSpPr>
        <p:spPr>
          <a:xfrm>
            <a:off x="6127242" y="5770513"/>
            <a:ext cx="2838958" cy="296748"/>
          </a:xfrm>
          <a:prstGeom prst="rect">
            <a:avLst/>
          </a:prstGeom>
          <a:noFill/>
        </p:spPr>
        <p:txBody>
          <a:bodyPr vert="horz" wrap="square" lIns="0" tIns="0" rIns="0" bIns="0" rtlCol="0" anchor="t">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sz="1550" b="0" kern="1200">
                <a:solidFill>
                  <a:schemeClr val="tx1"/>
                </a:solidFill>
                <a:latin typeface="Fibra One UltraBold" panose="00000900000000000000" pitchFamily="50" charset="0"/>
                <a:ea typeface="+mn-ea"/>
                <a:cs typeface="+mn-cs"/>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sz="1400" b="1" kern="1200">
                <a:solidFill>
                  <a:schemeClr val="tx1"/>
                </a:solidFill>
                <a:latin typeface="+mn-lt"/>
                <a:ea typeface="+mn-ea"/>
                <a:cs typeface="+mn-cs"/>
              </a:defRPr>
            </a:lvl2pPr>
            <a:lvl3pPr marL="228600" indent="-228600" algn="l" defTabSz="914400" rtl="0" eaLnBrk="1" latinLnBrk="0" hangingPunct="1">
              <a:lnSpc>
                <a:spcPct val="110000"/>
              </a:lnSpc>
              <a:spcBef>
                <a:spcPts val="0"/>
              </a:spcBef>
              <a:spcAft>
                <a:spcPts val="600"/>
              </a:spcAft>
              <a:buClr>
                <a:schemeClr val="tx2"/>
              </a:buClr>
              <a:buFont typeface="Wingdings 2" panose="05020102010507070707" pitchFamily="18" charset="2"/>
              <a:buChar char=""/>
              <a:defRPr sz="1400" b="1"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600"/>
              </a:spcAft>
              <a:buFont typeface="Arial" panose="020B0604020202020204" pitchFamily="34" charset="0"/>
              <a:buNone/>
              <a:defRPr sz="155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3000"/>
              </a:lnSpc>
              <a:spcAft>
                <a:spcPts val="200"/>
              </a:spcAft>
            </a:pPr>
            <a:r>
              <a:rPr lang="en-US" sz="800">
                <a:solidFill>
                  <a:schemeClr val="bg1"/>
                </a:solidFill>
                <a:latin typeface="Fibra One Heavy" panose="00000A00000000000000" pitchFamily="50" charset="0"/>
              </a:rPr>
              <a:t>Jamie Caulfield</a:t>
            </a:r>
          </a:p>
          <a:p>
            <a:pPr>
              <a:lnSpc>
                <a:spcPct val="113000"/>
              </a:lnSpc>
              <a:spcAft>
                <a:spcPts val="0"/>
              </a:spcAft>
            </a:pPr>
            <a:r>
              <a:rPr lang="en-US" sz="800">
                <a:solidFill>
                  <a:schemeClr val="bg1"/>
                </a:solidFill>
                <a:latin typeface="+mn-lt"/>
              </a:rPr>
              <a:t>Executive Vice President and Chief Financial Officer</a:t>
            </a:r>
          </a:p>
        </p:txBody>
      </p:sp>
      <p:sp>
        <p:nvSpPr>
          <p:cNvPr id="14" name="TextBox 13">
            <a:extLst>
              <a:ext uri="{FF2B5EF4-FFF2-40B4-BE49-F238E27FC236}">
                <a16:creationId xmlns:a16="http://schemas.microsoft.com/office/drawing/2014/main" id="{2F7F0ECD-E904-62EB-C097-3302E31C6D15}"/>
              </a:ext>
            </a:extLst>
          </p:cNvPr>
          <p:cNvSpPr txBox="1"/>
          <p:nvPr userDrawn="1"/>
        </p:nvSpPr>
        <p:spPr>
          <a:xfrm>
            <a:off x="-1" y="6676328"/>
            <a:ext cx="2227811" cy="200055"/>
          </a:xfrm>
          <a:prstGeom prst="rect">
            <a:avLst/>
          </a:prstGeom>
          <a:noFill/>
        </p:spPr>
        <p:txBody>
          <a:bodyPr wrap="square" rtlCol="0">
            <a:spAutoFit/>
          </a:bodyPr>
          <a:lstStyle/>
          <a:p>
            <a:r>
              <a:rPr lang="en-US" sz="700" b="0" i="0" u="none" strike="noStrike" err="1">
                <a:solidFill>
                  <a:srgbClr val="0065E5"/>
                </a:solidFill>
                <a:effectLst/>
                <a:latin typeface="Fibra One Light" panose="020B0604020202020204" charset="0"/>
              </a:rPr>
              <a:t>pepsico</a:t>
            </a:r>
            <a:r>
              <a:rPr lang="en-US" sz="700" b="0" i="0" u="none" strike="noStrike">
                <a:solidFill>
                  <a:srgbClr val="0065E5"/>
                </a:solidFill>
                <a:effectLst/>
                <a:latin typeface="Fibra One Light" panose="020B0604020202020204" charset="0"/>
              </a:rPr>
              <a:t> positive I </a:t>
            </a:r>
            <a:r>
              <a:rPr lang="en-US" sz="700" b="0" i="0" u="none" strike="noStrike">
                <a:solidFill>
                  <a:srgbClr val="8FDC42"/>
                </a:solidFill>
                <a:effectLst/>
                <a:latin typeface="Fibra One Light" panose="020B0604020202020204" charset="0"/>
              </a:rPr>
              <a:t>confidential &amp; proprietary</a:t>
            </a:r>
            <a:endParaRPr lang="en-US" sz="100">
              <a:solidFill>
                <a:srgbClr val="8FDC42"/>
              </a:solidFill>
              <a:latin typeface="Fibra One Light" panose="020B0604020202020204" charset="0"/>
            </a:endParaRPr>
          </a:p>
        </p:txBody>
      </p:sp>
    </p:spTree>
    <p:extLst>
      <p:ext uri="{BB962C8B-B14F-4D97-AF65-F5344CB8AC3E}">
        <p14:creationId xmlns:p14="http://schemas.microsoft.com/office/powerpoint/2010/main" val="651840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20">
          <p15:clr>
            <a:srgbClr val="FBAE40"/>
          </p15:clr>
        </p15:guide>
        <p15:guide id="2" pos="6312">
          <p15:clr>
            <a:srgbClr val="FBAE40"/>
          </p15:clr>
        </p15:guide>
        <p15:guide id="3" pos="5112">
          <p15:clr>
            <a:srgbClr val="FBAE40"/>
          </p15:clr>
        </p15:guide>
        <p15:guide id="4" pos="4920">
          <p15:clr>
            <a:srgbClr val="FBAE40"/>
          </p15:clr>
        </p15:guide>
        <p15:guide id="5" pos="3912">
          <p15:clr>
            <a:srgbClr val="FBAE40"/>
          </p15:clr>
        </p15:guide>
        <p15:guide id="6" pos="3720">
          <p15:clr>
            <a:srgbClr val="FBAE40"/>
          </p15:clr>
        </p15:guide>
        <p15:guide id="7" pos="2712">
          <p15:clr>
            <a:srgbClr val="FBAE40"/>
          </p15:clr>
        </p15:guide>
        <p15:guide id="8" pos="2520">
          <p15:clr>
            <a:srgbClr val="FBAE40"/>
          </p15:clr>
        </p15:guide>
        <p15:guide id="9" pos="1512">
          <p15:clr>
            <a:srgbClr val="FBAE40"/>
          </p15:clr>
        </p15:guide>
        <p15:guide id="10" pos="1320">
          <p15:clr>
            <a:srgbClr val="FBAE40"/>
          </p15:clr>
        </p15:guide>
        <p15:guide id="11" pos="312">
          <p15:clr>
            <a:srgbClr val="FBAE40"/>
          </p15:clr>
        </p15:guide>
        <p15:guide id="12" pos="732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Overview">
    <p:bg>
      <p:bgPr>
        <a:solidFill>
          <a:srgbClr val="E1F3FA"/>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E06AD8FF-C02A-ED02-A06A-4F9DCF48C3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V="1">
            <a:off x="7614100" y="0"/>
            <a:ext cx="4577900" cy="4577900"/>
          </a:xfrm>
          <a:prstGeom prst="rect">
            <a:avLst/>
          </a:prstGeom>
        </p:spPr>
      </p:pic>
      <p:pic>
        <p:nvPicPr>
          <p:cNvPr id="3" name="Graphic 2">
            <a:extLst>
              <a:ext uri="{FF2B5EF4-FFF2-40B4-BE49-F238E27FC236}">
                <a16:creationId xmlns:a16="http://schemas.microsoft.com/office/drawing/2014/main" id="{321031FC-A3EA-2F90-ED17-7BEFDE7E608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1" y="2315853"/>
            <a:ext cx="4542147" cy="4542147"/>
          </a:xfrm>
          <a:prstGeom prst="rect">
            <a:avLst/>
          </a:prstGeom>
        </p:spPr>
      </p:pic>
      <p:grpSp>
        <p:nvGrpSpPr>
          <p:cNvPr id="8" name="Group 7">
            <a:extLst>
              <a:ext uri="{FF2B5EF4-FFF2-40B4-BE49-F238E27FC236}">
                <a16:creationId xmlns:a16="http://schemas.microsoft.com/office/drawing/2014/main" id="{72FE1210-88C4-76AC-1AA4-3D1562F5F8FB}"/>
              </a:ext>
            </a:extLst>
          </p:cNvPr>
          <p:cNvGrpSpPr>
            <a:grpSpLocks noChangeAspect="1"/>
          </p:cNvGrpSpPr>
          <p:nvPr userDrawn="1"/>
        </p:nvGrpSpPr>
        <p:grpSpPr>
          <a:xfrm>
            <a:off x="7257994" y="537493"/>
            <a:ext cx="523031" cy="553457"/>
            <a:chOff x="7003429" y="4740892"/>
            <a:chExt cx="183319" cy="193984"/>
          </a:xfrm>
          <a:solidFill>
            <a:schemeClr val="bg1"/>
          </a:solidFill>
        </p:grpSpPr>
        <p:pic>
          <p:nvPicPr>
            <p:cNvPr id="9" name="Graphic 8">
              <a:extLst>
                <a:ext uri="{FF2B5EF4-FFF2-40B4-BE49-F238E27FC236}">
                  <a16:creationId xmlns:a16="http://schemas.microsoft.com/office/drawing/2014/main" id="{8C984334-EF1E-7827-F504-478C3C46BC2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03429" y="4800703"/>
              <a:ext cx="124813" cy="134173"/>
            </a:xfrm>
            <a:prstGeom prst="rect">
              <a:avLst/>
            </a:prstGeom>
          </p:spPr>
        </p:pic>
        <p:pic>
          <p:nvPicPr>
            <p:cNvPr id="10" name="Graphic 9">
              <a:extLst>
                <a:ext uri="{FF2B5EF4-FFF2-40B4-BE49-F238E27FC236}">
                  <a16:creationId xmlns:a16="http://schemas.microsoft.com/office/drawing/2014/main" id="{56A3FCB2-87CF-9124-7E56-9FABE4B3AD7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28522" y="4740892"/>
              <a:ext cx="58226" cy="62592"/>
            </a:xfrm>
            <a:prstGeom prst="rect">
              <a:avLst/>
            </a:prstGeom>
          </p:spPr>
        </p:pic>
      </p:grpSp>
      <p:sp>
        <p:nvSpPr>
          <p:cNvPr id="11" name="object 17">
            <a:extLst>
              <a:ext uri="{FF2B5EF4-FFF2-40B4-BE49-F238E27FC236}">
                <a16:creationId xmlns:a16="http://schemas.microsoft.com/office/drawing/2014/main" id="{DB373330-40BA-35E2-65EF-BA68D0D54D9B}"/>
              </a:ext>
            </a:extLst>
          </p:cNvPr>
          <p:cNvSpPr txBox="1">
            <a:spLocks/>
          </p:cNvSpPr>
          <p:nvPr userDrawn="1"/>
        </p:nvSpPr>
        <p:spPr>
          <a:xfrm>
            <a:off x="11649283" y="210332"/>
            <a:ext cx="425305" cy="129074"/>
          </a:xfrm>
          <a:prstGeom prst="rect">
            <a:avLst/>
          </a:prstGeom>
        </p:spPr>
        <p:txBody>
          <a:bodyPr vert="horz" wrap="square" lIns="0" tIns="12700" rIns="0" bIns="0" rtlCol="0" anchor="t" anchorCtr="0">
            <a:spAutoFit/>
          </a:bodyPr>
          <a:lstStyle>
            <a:lvl1pPr algn="l" defTabSz="914400" rtl="0" eaLnBrk="1" latinLnBrk="0" hangingPunct="1">
              <a:lnSpc>
                <a:spcPct val="90000"/>
              </a:lnSpc>
              <a:spcBef>
                <a:spcPct val="0"/>
              </a:spcBef>
              <a:buNone/>
              <a:defRPr sz="3000" b="0" kern="1200" spc="0" baseline="0">
                <a:solidFill>
                  <a:schemeClr val="bg1"/>
                </a:solidFill>
                <a:latin typeface="Fibra One UltraBold" panose="00000900000000000000" pitchFamily="50" charset="0"/>
                <a:ea typeface="+mj-ea"/>
                <a:cs typeface="+mj-cs"/>
              </a:defRPr>
            </a:lvl1pPr>
          </a:lstStyle>
          <a:p>
            <a:pPr marL="12700" marR="0" lvl="0" indent="0" algn="ctr" defTabSz="914400" rtl="0" eaLnBrk="1" fontAlgn="auto" latinLnBrk="0" hangingPunct="1">
              <a:lnSpc>
                <a:spcPct val="114000"/>
              </a:lnSpc>
              <a:spcBef>
                <a:spcPts val="100"/>
              </a:spcBef>
              <a:spcAft>
                <a:spcPts val="0"/>
              </a:spcAft>
              <a:buClrTx/>
              <a:buSzTx/>
              <a:buFontTx/>
              <a:buNone/>
              <a:tabLst/>
              <a:defRPr/>
            </a:pPr>
            <a:fld id="{DC653A1D-CE81-1B46-9F19-36F2F8F55CD9}" type="slidenum">
              <a:rPr kumimoji="0" lang="en-IN" sz="700" b="1" i="0" u="none" strike="noStrike" kern="1200" cap="none" spc="0" normalizeH="0" baseline="0" noProof="0" smtClean="0">
                <a:ln>
                  <a:noFill/>
                </a:ln>
                <a:solidFill>
                  <a:srgbClr val="001D90"/>
                </a:solidFill>
                <a:effectLst/>
                <a:uLnTx/>
                <a:uFillTx/>
                <a:latin typeface="Fibra One Bold" pitchFamily="2" charset="77"/>
                <a:ea typeface="+mj-ea"/>
                <a:cs typeface="+mj-cs"/>
              </a:rPr>
              <a:pPr marL="12700" marR="0" lvl="0" indent="0" algn="ctr" defTabSz="914400" rtl="0" eaLnBrk="1" fontAlgn="auto" latinLnBrk="0" hangingPunct="1">
                <a:lnSpc>
                  <a:spcPct val="114000"/>
                </a:lnSpc>
                <a:spcBef>
                  <a:spcPts val="100"/>
                </a:spcBef>
                <a:spcAft>
                  <a:spcPts val="0"/>
                </a:spcAft>
                <a:buClrTx/>
                <a:buSzTx/>
                <a:buFontTx/>
                <a:buNone/>
                <a:tabLst/>
                <a:defRPr/>
              </a:pPr>
              <a:t>‹#›</a:t>
            </a:fld>
            <a:endParaRPr kumimoji="0" lang="en-IN" sz="600" b="0" i="0" u="none" strike="noStrike" kern="1200" cap="none" spc="0" normalizeH="0" baseline="0" noProof="0">
              <a:ln>
                <a:noFill/>
              </a:ln>
              <a:solidFill>
                <a:srgbClr val="001D90"/>
              </a:solidFill>
              <a:effectLst/>
              <a:uLnTx/>
              <a:uFillTx/>
              <a:latin typeface="Fibra One" pitchFamily="2" charset="77"/>
              <a:ea typeface="+mj-ea"/>
              <a:cs typeface="+mj-cs"/>
            </a:endParaRPr>
          </a:p>
        </p:txBody>
      </p:sp>
      <p:sp>
        <p:nvSpPr>
          <p:cNvPr id="12" name="Round Same Side Corner Rectangle 11">
            <a:extLst>
              <a:ext uri="{FF2B5EF4-FFF2-40B4-BE49-F238E27FC236}">
                <a16:creationId xmlns:a16="http://schemas.microsoft.com/office/drawing/2014/main" id="{3FF65D72-85C3-656F-F1D9-B0064D77C3BA}"/>
              </a:ext>
            </a:extLst>
          </p:cNvPr>
          <p:cNvSpPr/>
          <p:nvPr userDrawn="1"/>
        </p:nvSpPr>
        <p:spPr>
          <a:xfrm>
            <a:off x="4689451" y="4465321"/>
            <a:ext cx="2813099" cy="2392680"/>
          </a:xfrm>
          <a:prstGeom prst="round2SameRect">
            <a:avLst>
              <a:gd name="adj1" fmla="val 11029"/>
              <a:gd name="adj2" fmla="val 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 Same Side Corner Rectangle 12">
            <a:extLst>
              <a:ext uri="{FF2B5EF4-FFF2-40B4-BE49-F238E27FC236}">
                <a16:creationId xmlns:a16="http://schemas.microsoft.com/office/drawing/2014/main" id="{D20C1B47-D532-0228-0346-5F9F9CE06334}"/>
              </a:ext>
            </a:extLst>
          </p:cNvPr>
          <p:cNvSpPr/>
          <p:nvPr userDrawn="1"/>
        </p:nvSpPr>
        <p:spPr>
          <a:xfrm>
            <a:off x="7623475" y="4465321"/>
            <a:ext cx="2813099" cy="2392680"/>
          </a:xfrm>
          <a:prstGeom prst="round2SameRect">
            <a:avLst>
              <a:gd name="adj1" fmla="val 11029"/>
              <a:gd name="adj2" fmla="val 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F6363D6F-504E-90BF-BBE6-B0E05DB489AA}"/>
              </a:ext>
            </a:extLst>
          </p:cNvPr>
          <p:cNvSpPr txBox="1"/>
          <p:nvPr userDrawn="1"/>
        </p:nvSpPr>
        <p:spPr>
          <a:xfrm>
            <a:off x="2128380" y="1612107"/>
            <a:ext cx="7935240" cy="1384995"/>
          </a:xfrm>
          <a:prstGeom prst="rect">
            <a:avLst/>
          </a:prstGeom>
          <a:noFill/>
        </p:spPr>
        <p:txBody>
          <a:bodyPr wrap="square" lIns="0" tIns="0" rIns="0" bIns="0">
            <a:spAutoFit/>
          </a:bodyPr>
          <a:lstStyle/>
          <a:p>
            <a:r>
              <a:rPr kumimoji="0" lang="en-US" sz="1600" b="0" i="0" u="none" strike="noStrike" kern="1200" cap="none" spc="0" normalizeH="0" baseline="0" noProof="0">
                <a:ln>
                  <a:noFill/>
                </a:ln>
                <a:solidFill>
                  <a:srgbClr val="000000"/>
                </a:solidFill>
                <a:effectLst/>
                <a:uLnTx/>
                <a:uFillTx/>
                <a:latin typeface="Fibra One" pitchFamily="2" charset="77"/>
                <a:ea typeface="+mn-ea"/>
                <a:cs typeface="+mn-cs"/>
              </a:rPr>
              <a:t>Our vision is to </a:t>
            </a:r>
            <a:r>
              <a:rPr kumimoji="0" lang="en-US" sz="1600" b="1" u="none" strike="noStrike" kern="1200" cap="none" spc="0" normalizeH="0" baseline="0" noProof="0">
                <a:ln>
                  <a:noFill/>
                </a:ln>
                <a:solidFill>
                  <a:srgbClr val="000000"/>
                </a:solidFill>
                <a:effectLst/>
                <a:uLnTx/>
                <a:uFillTx/>
                <a:latin typeface="Fibra One Bold" pitchFamily="2" charset="77"/>
              </a:rPr>
              <a:t>Be the Global Leader in </a:t>
            </a:r>
            <a:r>
              <a:rPr kumimoji="0" lang="en-IN" sz="1600" b="1" u="none" strike="noStrike" kern="1200" cap="none" spc="0" normalizeH="0" baseline="0">
                <a:ln>
                  <a:noFill/>
                </a:ln>
                <a:solidFill>
                  <a:srgbClr val="000000"/>
                </a:solidFill>
                <a:effectLst/>
                <a:uLnTx/>
                <a:uFillTx/>
                <a:latin typeface="Fibra One Bold" pitchFamily="2" charset="77"/>
                <a:ea typeface="+mn-ea"/>
                <a:cs typeface="+mn-cs"/>
              </a:rPr>
              <a:t>Convenient Foods and Drinks</a:t>
            </a: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600" b="1" u="none" strike="noStrike" kern="1200" cap="none" spc="0" normalizeH="0" baseline="0" noProof="0">
                <a:ln>
                  <a:noFill/>
                </a:ln>
                <a:solidFill>
                  <a:srgbClr val="000000"/>
                </a:solidFill>
                <a:effectLst/>
                <a:uLnTx/>
                <a:uFillTx/>
                <a:latin typeface="Fibra One Bold" pitchFamily="2" charset="77"/>
              </a:rPr>
              <a:t>by Winning with PepsiCo Positive</a:t>
            </a:r>
            <a:r>
              <a:rPr kumimoji="0" lang="en-US" sz="1600" b="0" i="0" u="none" strike="noStrike" kern="1200" cap="none" spc="0" normalizeH="0" baseline="0" noProof="0">
                <a:ln>
                  <a:noFill/>
                </a:ln>
                <a:solidFill>
                  <a:srgbClr val="000000"/>
                </a:solidFill>
                <a:effectLst/>
                <a:uLnTx/>
                <a:uFillTx/>
                <a:latin typeface="Fibra One" pitchFamily="2" charset="77"/>
                <a:ea typeface="+mn-ea"/>
                <a:cs typeface="+mn-cs"/>
              </a:rPr>
              <a:t> (pep+). </a:t>
            </a: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Fibra One" pitchFamily="2" charset="77"/>
                <a:ea typeface="+mn-ea"/>
                <a:cs typeface="+mn-cs"/>
              </a:rPr>
              <a:t>pep+ is our strategic end-to-end transformation that places sustainability at the center of how we will create growth and value by operating within planetary boundaries and inspiring positive change for the </a:t>
            </a:r>
            <a:r>
              <a:rPr lang="en-US" sz="1600" b="1">
                <a:solidFill>
                  <a:srgbClr val="000000"/>
                </a:solidFill>
                <a:latin typeface="Fibra One Bold" pitchFamily="2" charset="77"/>
              </a:rPr>
              <a:t>planet and people</a:t>
            </a:r>
            <a:r>
              <a:rPr kumimoji="0" lang="en-US" sz="1600" b="0" i="0" u="none" strike="noStrike" kern="1200" cap="none" spc="0" normalizeH="0" baseline="0" noProof="0">
                <a:ln>
                  <a:noFill/>
                </a:ln>
                <a:solidFill>
                  <a:srgbClr val="000000"/>
                </a:solidFill>
                <a:effectLst/>
                <a:uLnTx/>
                <a:uFillTx/>
                <a:latin typeface="Fibra One" pitchFamily="2" charset="77"/>
                <a:ea typeface="+mn-ea"/>
                <a:cs typeface="+mn-cs"/>
              </a:rPr>
              <a:t>.</a:t>
            </a:r>
          </a:p>
        </p:txBody>
      </p:sp>
      <p:grpSp>
        <p:nvGrpSpPr>
          <p:cNvPr id="15" name="Group 14">
            <a:extLst>
              <a:ext uri="{FF2B5EF4-FFF2-40B4-BE49-F238E27FC236}">
                <a16:creationId xmlns:a16="http://schemas.microsoft.com/office/drawing/2014/main" id="{E17FD388-3538-AFC4-6E8E-25D244FE2C55}"/>
              </a:ext>
            </a:extLst>
          </p:cNvPr>
          <p:cNvGrpSpPr/>
          <p:nvPr userDrawn="1"/>
        </p:nvGrpSpPr>
        <p:grpSpPr>
          <a:xfrm>
            <a:off x="3890143" y="3240418"/>
            <a:ext cx="4411714" cy="776243"/>
            <a:chOff x="5148976" y="-719374"/>
            <a:chExt cx="4411714" cy="776243"/>
          </a:xfrm>
        </p:grpSpPr>
        <p:pic>
          <p:nvPicPr>
            <p:cNvPr id="16" name="Graphic 15">
              <a:extLst>
                <a:ext uri="{FF2B5EF4-FFF2-40B4-BE49-F238E27FC236}">
                  <a16:creationId xmlns:a16="http://schemas.microsoft.com/office/drawing/2014/main" id="{0A313D5B-A02A-C5F9-DE42-C1F5A9C4197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14590" y="-565431"/>
              <a:ext cx="546100" cy="622300"/>
            </a:xfrm>
            <a:prstGeom prst="rect">
              <a:avLst/>
            </a:prstGeom>
          </p:spPr>
        </p:pic>
        <p:sp>
          <p:nvSpPr>
            <p:cNvPr id="17" name="TextBox 16">
              <a:extLst>
                <a:ext uri="{FF2B5EF4-FFF2-40B4-BE49-F238E27FC236}">
                  <a16:creationId xmlns:a16="http://schemas.microsoft.com/office/drawing/2014/main" id="{277C262F-42D6-AF4C-FF26-E5D7C3AB63AB}"/>
                </a:ext>
              </a:extLst>
            </p:cNvPr>
            <p:cNvSpPr txBox="1"/>
            <p:nvPr/>
          </p:nvSpPr>
          <p:spPr>
            <a:xfrm>
              <a:off x="5148976" y="-719374"/>
              <a:ext cx="4411714" cy="539794"/>
            </a:xfrm>
            <a:prstGeom prst="roundRect">
              <a:avLst>
                <a:gd name="adj" fmla="val 22124"/>
              </a:avLst>
            </a:prstGeom>
            <a:solidFill>
              <a:schemeClr val="bg1"/>
            </a:solid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52DB"/>
                  </a:solidFill>
                  <a:effectLst/>
                  <a:uLnTx/>
                  <a:uFillTx/>
                  <a:latin typeface="Fibra One SemiBold" pitchFamily="2" charset="77"/>
                  <a:ea typeface="+mn-ea"/>
                  <a:cs typeface="+mn-cs"/>
                </a:rPr>
                <a:t>pep+ has three interconnected pillars:</a:t>
              </a:r>
            </a:p>
          </p:txBody>
        </p:sp>
      </p:grpSp>
      <p:sp>
        <p:nvSpPr>
          <p:cNvPr id="18" name="Round Same Side Corner Rectangle 17">
            <a:extLst>
              <a:ext uri="{FF2B5EF4-FFF2-40B4-BE49-F238E27FC236}">
                <a16:creationId xmlns:a16="http://schemas.microsoft.com/office/drawing/2014/main" id="{CEE03FD6-92B7-1922-13B5-A8EB40F0DE19}"/>
              </a:ext>
            </a:extLst>
          </p:cNvPr>
          <p:cNvSpPr/>
          <p:nvPr userDrawn="1"/>
        </p:nvSpPr>
        <p:spPr>
          <a:xfrm>
            <a:off x="1755426" y="4465321"/>
            <a:ext cx="2813099" cy="2392680"/>
          </a:xfrm>
          <a:prstGeom prst="round2SameRect">
            <a:avLst>
              <a:gd name="adj1" fmla="val 11029"/>
              <a:gd name="adj2" fmla="val 0"/>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bject 7">
            <a:extLst>
              <a:ext uri="{FF2B5EF4-FFF2-40B4-BE49-F238E27FC236}">
                <a16:creationId xmlns:a16="http://schemas.microsoft.com/office/drawing/2014/main" id="{8A950B9C-2D2A-15B5-DBE7-150F78CCA311}"/>
              </a:ext>
            </a:extLst>
          </p:cNvPr>
          <p:cNvSpPr txBox="1"/>
          <p:nvPr userDrawn="1"/>
        </p:nvSpPr>
        <p:spPr>
          <a:xfrm>
            <a:off x="7941937" y="5728361"/>
            <a:ext cx="2176174" cy="790473"/>
          </a:xfrm>
          <a:prstGeom prst="rect">
            <a:avLst/>
          </a:prstGeom>
        </p:spPr>
        <p:txBody>
          <a:bodyPr vert="horz" wrap="square" lIns="0" tIns="34925" rIns="0" bIns="0" rtlCol="0">
            <a:spAutoFit/>
          </a:bodyPr>
          <a:lstStyle/>
          <a:p>
            <a:pPr marL="0" marR="0" lvl="0" indent="0" algn="ctr" defTabSz="914400" rtl="0" eaLnBrk="1" fontAlgn="auto" latinLnBrk="0" hangingPunct="1">
              <a:lnSpc>
                <a:spcPct val="113000"/>
              </a:lnSpc>
              <a:spcBef>
                <a:spcPts val="300"/>
              </a:spcBef>
              <a:spcAft>
                <a:spcPts val="600"/>
              </a:spcAft>
              <a:buClrTx/>
              <a:buSzTx/>
              <a:buFontTx/>
              <a:buNone/>
              <a:tabLst/>
              <a:defRPr/>
            </a:pPr>
            <a:r>
              <a:rPr kumimoji="0" lang="en-US" sz="1100" u="none" strike="noStrike" kern="1200" cap="none" spc="-30" normalizeH="0" baseline="0" noProof="0">
                <a:ln>
                  <a:noFill/>
                </a:ln>
                <a:solidFill>
                  <a:srgbClr val="FFFFFF"/>
                </a:solidFill>
                <a:effectLst/>
                <a:uLnTx/>
                <a:uFillTx/>
                <a:latin typeface="Fibra One" pitchFamily="2" charset="77"/>
              </a:rPr>
              <a:t>We are inspiring people through our brands to make choices that create more smiles for them and the planet.</a:t>
            </a:r>
          </a:p>
        </p:txBody>
      </p:sp>
      <p:sp>
        <p:nvSpPr>
          <p:cNvPr id="20" name="object 7">
            <a:extLst>
              <a:ext uri="{FF2B5EF4-FFF2-40B4-BE49-F238E27FC236}">
                <a16:creationId xmlns:a16="http://schemas.microsoft.com/office/drawing/2014/main" id="{B990BD09-E2B7-C8F4-3EDE-F49038389C6F}"/>
              </a:ext>
            </a:extLst>
          </p:cNvPr>
          <p:cNvSpPr txBox="1"/>
          <p:nvPr userDrawn="1"/>
        </p:nvSpPr>
        <p:spPr>
          <a:xfrm>
            <a:off x="4938383" y="5728361"/>
            <a:ext cx="2315235" cy="407932"/>
          </a:xfrm>
          <a:prstGeom prst="rect">
            <a:avLst/>
          </a:prstGeom>
        </p:spPr>
        <p:txBody>
          <a:bodyPr vert="horz" wrap="square" lIns="0" tIns="34925" rIns="0" bIns="0" rtlCol="0">
            <a:spAutoFit/>
          </a:bodyPr>
          <a:lstStyle/>
          <a:p>
            <a:pPr marL="0" marR="0" lvl="0" indent="0" algn="ctr" defTabSz="914400" rtl="0" eaLnBrk="1" fontAlgn="auto" latinLnBrk="0" hangingPunct="1">
              <a:lnSpc>
                <a:spcPct val="113000"/>
              </a:lnSpc>
              <a:spcBef>
                <a:spcPts val="300"/>
              </a:spcBef>
              <a:spcAft>
                <a:spcPts val="600"/>
              </a:spcAft>
              <a:buClrTx/>
              <a:buSzTx/>
              <a:buFontTx/>
              <a:buNone/>
              <a:tabLst/>
              <a:defRPr/>
            </a:pPr>
            <a:r>
              <a:rPr kumimoji="0" lang="en-US" sz="1100" u="none" strike="noStrike" kern="1200" cap="none" spc="-30" normalizeH="0" baseline="0" noProof="0">
                <a:ln>
                  <a:noFill/>
                </a:ln>
                <a:solidFill>
                  <a:srgbClr val="FFFFFF"/>
                </a:solidFill>
                <a:effectLst/>
                <a:uLnTx/>
                <a:uFillTx/>
                <a:latin typeface="Fibra One" pitchFamily="2" charset="77"/>
              </a:rPr>
              <a:t>We are helping to build a circular and inclusive value chain.</a:t>
            </a:r>
          </a:p>
        </p:txBody>
      </p:sp>
      <p:sp>
        <p:nvSpPr>
          <p:cNvPr id="21" name="object 7">
            <a:extLst>
              <a:ext uri="{FF2B5EF4-FFF2-40B4-BE49-F238E27FC236}">
                <a16:creationId xmlns:a16="http://schemas.microsoft.com/office/drawing/2014/main" id="{D83791B2-B5B9-FB54-716C-37654345339D}"/>
              </a:ext>
            </a:extLst>
          </p:cNvPr>
          <p:cNvSpPr txBox="1"/>
          <p:nvPr userDrawn="1"/>
        </p:nvSpPr>
        <p:spPr>
          <a:xfrm>
            <a:off x="1991428" y="5728361"/>
            <a:ext cx="2341095" cy="790473"/>
          </a:xfrm>
          <a:prstGeom prst="rect">
            <a:avLst/>
          </a:prstGeom>
        </p:spPr>
        <p:txBody>
          <a:bodyPr vert="horz" wrap="square" lIns="0" tIns="34925" rIns="0" bIns="0" rtlCol="0">
            <a:spAutoFit/>
          </a:bodyPr>
          <a:lstStyle/>
          <a:p>
            <a:pPr marL="0" marR="0" lvl="0" indent="0" algn="ctr" defTabSz="914400" rtl="0" eaLnBrk="1" fontAlgn="auto" latinLnBrk="0" hangingPunct="1">
              <a:lnSpc>
                <a:spcPct val="113000"/>
              </a:lnSpc>
              <a:spcBef>
                <a:spcPts val="300"/>
              </a:spcBef>
              <a:spcAft>
                <a:spcPts val="0"/>
              </a:spcAft>
              <a:buClrTx/>
              <a:buSzTx/>
              <a:buFontTx/>
              <a:buNone/>
              <a:tabLst/>
              <a:defRPr/>
            </a:pPr>
            <a:r>
              <a:rPr kumimoji="0" lang="en-US" sz="1100" u="none" strike="noStrike" kern="1200" cap="none" spc="-30" normalizeH="0" baseline="0" noProof="0">
                <a:ln>
                  <a:noFill/>
                </a:ln>
                <a:effectLst/>
                <a:uLnTx/>
                <a:uFillTx/>
                <a:latin typeface="Fibra One" pitchFamily="2" charset="77"/>
              </a:rPr>
              <a:t>We are working to source our crops and ingredients in ways that restore the earth and strengthen farming communities.</a:t>
            </a:r>
          </a:p>
        </p:txBody>
      </p:sp>
      <p:sp>
        <p:nvSpPr>
          <p:cNvPr id="22" name="Content Placeholder 2">
            <a:extLst>
              <a:ext uri="{FF2B5EF4-FFF2-40B4-BE49-F238E27FC236}">
                <a16:creationId xmlns:a16="http://schemas.microsoft.com/office/drawing/2014/main" id="{F0E87EF3-C3F8-D647-6E8A-FB43A1B23478}"/>
              </a:ext>
            </a:extLst>
          </p:cNvPr>
          <p:cNvSpPr txBox="1">
            <a:spLocks/>
          </p:cNvSpPr>
          <p:nvPr userDrawn="1"/>
        </p:nvSpPr>
        <p:spPr>
          <a:xfrm>
            <a:off x="2259971" y="5221224"/>
            <a:ext cx="1804009" cy="443198"/>
          </a:xfrm>
          <a:prstGeom prst="rect">
            <a:avLst/>
          </a:prstGeom>
          <a:noFill/>
        </p:spPr>
        <p:txBody>
          <a:bodyPr vert="horz" lIns="0" tIns="0" rIns="0" bIns="0" rtlCol="0" anchor="ctr">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sz="1550" b="0" kern="1200">
                <a:solidFill>
                  <a:schemeClr val="tx1"/>
                </a:solidFill>
                <a:latin typeface="Fibra One UltraBold" panose="00000900000000000000" pitchFamily="50" charset="0"/>
                <a:ea typeface="+mn-ea"/>
                <a:cs typeface="+mn-cs"/>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sz="1400" b="1" kern="1200">
                <a:solidFill>
                  <a:schemeClr val="tx1"/>
                </a:solidFill>
                <a:latin typeface="+mn-lt"/>
                <a:ea typeface="+mn-ea"/>
                <a:cs typeface="+mn-cs"/>
              </a:defRPr>
            </a:lvl2pPr>
            <a:lvl3pPr marL="228600" indent="-228600" algn="l" defTabSz="914400" rtl="0" eaLnBrk="1" latinLnBrk="0" hangingPunct="1">
              <a:lnSpc>
                <a:spcPct val="110000"/>
              </a:lnSpc>
              <a:spcBef>
                <a:spcPts val="0"/>
              </a:spcBef>
              <a:spcAft>
                <a:spcPts val="600"/>
              </a:spcAft>
              <a:buClr>
                <a:schemeClr val="tx2"/>
              </a:buClr>
              <a:buFont typeface="Wingdings 2" panose="05020102010507070707" pitchFamily="18" charset="2"/>
              <a:buChar char=""/>
              <a:defRPr sz="1400" b="1"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600"/>
              </a:spcAft>
              <a:buFont typeface="Arial" panose="020B0604020202020204" pitchFamily="34" charset="0"/>
              <a:buNone/>
              <a:defRPr sz="155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5080" algn="ctr">
              <a:lnSpc>
                <a:spcPct val="90000"/>
              </a:lnSpc>
              <a:spcAft>
                <a:spcPts val="0"/>
              </a:spcAft>
            </a:pPr>
            <a:r>
              <a:rPr lang="en-IN" sz="1200" b="1">
                <a:latin typeface="Fibra One SemiBold" pitchFamily="2" charset="77"/>
              </a:rPr>
              <a:t>Positive </a:t>
            </a:r>
          </a:p>
          <a:p>
            <a:pPr marR="5080" algn="ctr">
              <a:lnSpc>
                <a:spcPct val="90000"/>
              </a:lnSpc>
              <a:spcAft>
                <a:spcPts val="0"/>
              </a:spcAft>
            </a:pPr>
            <a:r>
              <a:rPr lang="en-IN" sz="2000" b="1">
                <a:latin typeface="Fibra One SemiBold" pitchFamily="2" charset="77"/>
              </a:rPr>
              <a:t>Agriculture</a:t>
            </a:r>
          </a:p>
        </p:txBody>
      </p:sp>
      <p:sp>
        <p:nvSpPr>
          <p:cNvPr id="23" name="Content Placeholder 2">
            <a:extLst>
              <a:ext uri="{FF2B5EF4-FFF2-40B4-BE49-F238E27FC236}">
                <a16:creationId xmlns:a16="http://schemas.microsoft.com/office/drawing/2014/main" id="{1ED9174D-797F-BBD1-8EF2-0048CF1B3D4C}"/>
              </a:ext>
            </a:extLst>
          </p:cNvPr>
          <p:cNvSpPr txBox="1">
            <a:spLocks/>
          </p:cNvSpPr>
          <p:nvPr userDrawn="1"/>
        </p:nvSpPr>
        <p:spPr>
          <a:xfrm>
            <a:off x="5193996" y="5221224"/>
            <a:ext cx="1804009" cy="443198"/>
          </a:xfrm>
          <a:prstGeom prst="rect">
            <a:avLst/>
          </a:prstGeom>
          <a:noFill/>
        </p:spPr>
        <p:txBody>
          <a:bodyPr vert="horz" lIns="0" tIns="0" rIns="0" bIns="0" rtlCol="0" anchor="ctr">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sz="1550" b="0" kern="1200">
                <a:solidFill>
                  <a:schemeClr val="tx1"/>
                </a:solidFill>
                <a:latin typeface="Fibra One UltraBold" panose="00000900000000000000" pitchFamily="50" charset="0"/>
                <a:ea typeface="+mn-ea"/>
                <a:cs typeface="+mn-cs"/>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sz="1400" b="1" kern="1200">
                <a:solidFill>
                  <a:schemeClr val="tx1"/>
                </a:solidFill>
                <a:latin typeface="+mn-lt"/>
                <a:ea typeface="+mn-ea"/>
                <a:cs typeface="+mn-cs"/>
              </a:defRPr>
            </a:lvl2pPr>
            <a:lvl3pPr marL="228600" indent="-228600" algn="l" defTabSz="914400" rtl="0" eaLnBrk="1" latinLnBrk="0" hangingPunct="1">
              <a:lnSpc>
                <a:spcPct val="110000"/>
              </a:lnSpc>
              <a:spcBef>
                <a:spcPts val="0"/>
              </a:spcBef>
              <a:spcAft>
                <a:spcPts val="600"/>
              </a:spcAft>
              <a:buClr>
                <a:schemeClr val="tx2"/>
              </a:buClr>
              <a:buFont typeface="Wingdings 2" panose="05020102010507070707" pitchFamily="18" charset="2"/>
              <a:buChar char=""/>
              <a:defRPr sz="1400" b="1"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600"/>
              </a:spcAft>
              <a:buFont typeface="Arial" panose="020B0604020202020204" pitchFamily="34" charset="0"/>
              <a:buNone/>
              <a:defRPr sz="155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5080" algn="ctr">
              <a:lnSpc>
                <a:spcPct val="90000"/>
              </a:lnSpc>
              <a:spcAft>
                <a:spcPts val="0"/>
              </a:spcAft>
            </a:pPr>
            <a:r>
              <a:rPr lang="en-IN" sz="1200" b="1">
                <a:solidFill>
                  <a:schemeClr val="bg1"/>
                </a:solidFill>
                <a:latin typeface="Fibra One SemiBold" pitchFamily="2" charset="77"/>
              </a:rPr>
              <a:t>Positive </a:t>
            </a:r>
          </a:p>
          <a:p>
            <a:pPr marR="5080" algn="ctr">
              <a:lnSpc>
                <a:spcPct val="90000"/>
              </a:lnSpc>
              <a:spcAft>
                <a:spcPts val="0"/>
              </a:spcAft>
            </a:pPr>
            <a:r>
              <a:rPr lang="en-IN" sz="2000" b="1">
                <a:solidFill>
                  <a:schemeClr val="bg1"/>
                </a:solidFill>
                <a:latin typeface="Fibra One SemiBold" pitchFamily="2" charset="77"/>
              </a:rPr>
              <a:t>Value Chain</a:t>
            </a:r>
          </a:p>
        </p:txBody>
      </p:sp>
      <p:sp>
        <p:nvSpPr>
          <p:cNvPr id="24" name="Content Placeholder 2">
            <a:extLst>
              <a:ext uri="{FF2B5EF4-FFF2-40B4-BE49-F238E27FC236}">
                <a16:creationId xmlns:a16="http://schemas.microsoft.com/office/drawing/2014/main" id="{BACC5EFF-18FE-ED9C-7BC9-BFB423F2A6FE}"/>
              </a:ext>
            </a:extLst>
          </p:cNvPr>
          <p:cNvSpPr txBox="1">
            <a:spLocks/>
          </p:cNvSpPr>
          <p:nvPr userDrawn="1"/>
        </p:nvSpPr>
        <p:spPr>
          <a:xfrm>
            <a:off x="8128020" y="5221224"/>
            <a:ext cx="1804009" cy="443198"/>
          </a:xfrm>
          <a:prstGeom prst="rect">
            <a:avLst/>
          </a:prstGeom>
          <a:noFill/>
        </p:spPr>
        <p:txBody>
          <a:bodyPr vert="horz" lIns="0" tIns="0" rIns="0" bIns="0" rtlCol="0" anchor="ctr">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sz="1550" b="0" kern="1200">
                <a:solidFill>
                  <a:schemeClr val="tx1"/>
                </a:solidFill>
                <a:latin typeface="Fibra One UltraBold" panose="00000900000000000000" pitchFamily="50" charset="0"/>
                <a:ea typeface="+mn-ea"/>
                <a:cs typeface="+mn-cs"/>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sz="1400" b="1" kern="1200">
                <a:solidFill>
                  <a:schemeClr val="tx1"/>
                </a:solidFill>
                <a:latin typeface="+mn-lt"/>
                <a:ea typeface="+mn-ea"/>
                <a:cs typeface="+mn-cs"/>
              </a:defRPr>
            </a:lvl2pPr>
            <a:lvl3pPr marL="228600" indent="-228600" algn="l" defTabSz="914400" rtl="0" eaLnBrk="1" latinLnBrk="0" hangingPunct="1">
              <a:lnSpc>
                <a:spcPct val="110000"/>
              </a:lnSpc>
              <a:spcBef>
                <a:spcPts val="0"/>
              </a:spcBef>
              <a:spcAft>
                <a:spcPts val="600"/>
              </a:spcAft>
              <a:buClr>
                <a:schemeClr val="tx2"/>
              </a:buClr>
              <a:buFont typeface="Wingdings 2" panose="05020102010507070707" pitchFamily="18" charset="2"/>
              <a:buChar char=""/>
              <a:defRPr sz="1400" b="1"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600"/>
              </a:spcAft>
              <a:buFont typeface="Arial" panose="020B0604020202020204" pitchFamily="34" charset="0"/>
              <a:buNone/>
              <a:defRPr sz="155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5080" algn="ctr">
              <a:lnSpc>
                <a:spcPct val="90000"/>
              </a:lnSpc>
              <a:spcAft>
                <a:spcPts val="0"/>
              </a:spcAft>
            </a:pPr>
            <a:r>
              <a:rPr lang="en-IN" sz="1200" b="1">
                <a:solidFill>
                  <a:schemeClr val="bg1"/>
                </a:solidFill>
                <a:latin typeface="Fibra One SemiBold" pitchFamily="2" charset="77"/>
              </a:rPr>
              <a:t>Positive </a:t>
            </a:r>
          </a:p>
          <a:p>
            <a:pPr marR="5080" algn="ctr">
              <a:lnSpc>
                <a:spcPct val="90000"/>
              </a:lnSpc>
              <a:spcAft>
                <a:spcPts val="0"/>
              </a:spcAft>
            </a:pPr>
            <a:r>
              <a:rPr lang="en-IN" sz="2000" b="1">
                <a:solidFill>
                  <a:schemeClr val="bg1"/>
                </a:solidFill>
                <a:latin typeface="Fibra One SemiBold" pitchFamily="2" charset="77"/>
              </a:rPr>
              <a:t>Choices</a:t>
            </a:r>
          </a:p>
        </p:txBody>
      </p:sp>
      <p:sp>
        <p:nvSpPr>
          <p:cNvPr id="33" name="TextBox 32">
            <a:extLst>
              <a:ext uri="{FF2B5EF4-FFF2-40B4-BE49-F238E27FC236}">
                <a16:creationId xmlns:a16="http://schemas.microsoft.com/office/drawing/2014/main" id="{4DAF4305-E010-B57F-DC18-D281AB698F1E}"/>
              </a:ext>
            </a:extLst>
          </p:cNvPr>
          <p:cNvSpPr txBox="1"/>
          <p:nvPr userDrawn="1"/>
        </p:nvSpPr>
        <p:spPr>
          <a:xfrm>
            <a:off x="5091306" y="713874"/>
            <a:ext cx="2009388" cy="193899"/>
          </a:xfrm>
          <a:prstGeom prst="rect">
            <a:avLst/>
          </a:prstGeom>
        </p:spPr>
        <p:txBody>
          <a:bodyPr vert="horz" lIns="0" tIns="0" rIns="0" bIns="0" rtlCol="0">
            <a:spAutoFit/>
          </a:bodyPr>
          <a:lstStyle>
            <a:lvl1pPr lvl="0" indent="0">
              <a:lnSpc>
                <a:spcPct val="90000"/>
              </a:lnSpc>
              <a:spcBef>
                <a:spcPct val="0"/>
              </a:spcBef>
              <a:spcAft>
                <a:spcPts val="600"/>
              </a:spcAft>
              <a:buFont typeface="Arial" panose="020B0604020202020204" pitchFamily="34" charset="0"/>
              <a:buNone/>
              <a:defRPr sz="1400" b="0" spc="0" baseline="0">
                <a:solidFill>
                  <a:srgbClr val="0052DB"/>
                </a:solidFill>
                <a:ea typeface="+mj-ea"/>
                <a:cs typeface="+mj-cs"/>
              </a:defRPr>
            </a:lvl1pPr>
            <a:lvl2pPr marL="0" indent="0">
              <a:lnSpc>
                <a:spcPct val="110000"/>
              </a:lnSpc>
              <a:spcBef>
                <a:spcPts val="0"/>
              </a:spcBef>
              <a:spcAft>
                <a:spcPts val="600"/>
              </a:spcAft>
              <a:buFont typeface="Arial" panose="020B0604020202020204" pitchFamily="34" charset="0"/>
              <a:buNone/>
              <a:defRPr sz="1400" b="1"/>
            </a:lvl2pPr>
            <a:lvl3pPr marL="228600" indent="-228600">
              <a:lnSpc>
                <a:spcPct val="110000"/>
              </a:lnSpc>
              <a:spcBef>
                <a:spcPts val="0"/>
              </a:spcBef>
              <a:spcAft>
                <a:spcPts val="600"/>
              </a:spcAft>
              <a:buClr>
                <a:schemeClr val="tx2"/>
              </a:buClr>
              <a:buFont typeface="Wingdings 2" panose="05020102010507070707" pitchFamily="18" charset="2"/>
              <a:buChar char=""/>
              <a:defRPr sz="1400" b="1"/>
            </a:lvl3pPr>
            <a:lvl4pPr marL="0" indent="0">
              <a:lnSpc>
                <a:spcPct val="90000"/>
              </a:lnSpc>
              <a:spcBef>
                <a:spcPts val="0"/>
              </a:spcBef>
              <a:spcAft>
                <a:spcPts val="600"/>
              </a:spcAft>
              <a:buFont typeface="Arial" panose="020B0604020202020204" pitchFamily="34" charset="0"/>
              <a:buNone/>
              <a:defRPr sz="1550"/>
            </a:lvl4pPr>
            <a:lvl5pPr marL="0" indent="0">
              <a:lnSpc>
                <a:spcPct val="90000"/>
              </a:lnSpc>
              <a:spcBef>
                <a:spcPts val="0"/>
              </a:spcBef>
              <a:spcAft>
                <a:spcPts val="600"/>
              </a:spcAft>
              <a:buFont typeface="Arial" panose="020B0604020202020204" pitchFamily="34" charset="0"/>
              <a:buNone/>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ctr"/>
            <a:r>
              <a:rPr lang="en-US"/>
              <a:t>pep+</a:t>
            </a:r>
          </a:p>
        </p:txBody>
      </p:sp>
      <p:sp>
        <p:nvSpPr>
          <p:cNvPr id="34" name="TextBox 33">
            <a:extLst>
              <a:ext uri="{FF2B5EF4-FFF2-40B4-BE49-F238E27FC236}">
                <a16:creationId xmlns:a16="http://schemas.microsoft.com/office/drawing/2014/main" id="{251B489C-7B18-E6FF-1FB6-9A8769BF67D9}"/>
              </a:ext>
            </a:extLst>
          </p:cNvPr>
          <p:cNvSpPr txBox="1"/>
          <p:nvPr userDrawn="1"/>
        </p:nvSpPr>
        <p:spPr>
          <a:xfrm>
            <a:off x="3726984" y="994046"/>
            <a:ext cx="4738033" cy="332399"/>
          </a:xfrm>
          <a:prstGeom prst="rect">
            <a:avLst/>
          </a:prstGeom>
        </p:spPr>
        <p:txBody>
          <a:bodyPr vert="horz" wrap="square" lIns="0" tIns="0" rIns="0" bIns="0" rtlCol="0" anchor="t">
            <a:spAutoFit/>
          </a:bodyPr>
          <a:lstStyle>
            <a:lvl1pPr>
              <a:lnSpc>
                <a:spcPct val="90000"/>
              </a:lnSpc>
              <a:spcBef>
                <a:spcPct val="0"/>
              </a:spcBef>
              <a:buNone/>
              <a:defRPr sz="2400" b="0" spc="0" baseline="0">
                <a:latin typeface="Fibra One UltraBold" panose="00000900000000000000" pitchFamily="50" charset="0"/>
                <a:ea typeface="+mj-ea"/>
                <a:cs typeface="+mj-cs"/>
              </a:defRPr>
            </a:lvl1pPr>
            <a:lvl2pPr marL="0" indent="0">
              <a:lnSpc>
                <a:spcPct val="110000"/>
              </a:lnSpc>
              <a:spcBef>
                <a:spcPts val="0"/>
              </a:spcBef>
              <a:spcAft>
                <a:spcPts val="600"/>
              </a:spcAft>
              <a:buFont typeface="Arial" panose="020B0604020202020204" pitchFamily="34" charset="0"/>
              <a:buNone/>
              <a:defRPr sz="1400" b="1"/>
            </a:lvl2pPr>
            <a:lvl3pPr marL="228600" indent="-228600">
              <a:lnSpc>
                <a:spcPct val="110000"/>
              </a:lnSpc>
              <a:spcBef>
                <a:spcPts val="0"/>
              </a:spcBef>
              <a:spcAft>
                <a:spcPts val="600"/>
              </a:spcAft>
              <a:buClr>
                <a:schemeClr val="tx2"/>
              </a:buClr>
              <a:buFont typeface="Wingdings 2" panose="05020102010507070707" pitchFamily="18" charset="2"/>
              <a:buChar char=""/>
              <a:defRPr sz="1400" b="1"/>
            </a:lvl3pPr>
            <a:lvl4pPr marL="0" indent="0">
              <a:lnSpc>
                <a:spcPct val="90000"/>
              </a:lnSpc>
              <a:spcBef>
                <a:spcPts val="0"/>
              </a:spcBef>
              <a:spcAft>
                <a:spcPts val="600"/>
              </a:spcAft>
              <a:buFont typeface="Arial" panose="020B0604020202020204" pitchFamily="34" charset="0"/>
              <a:buNone/>
              <a:defRPr sz="1550"/>
            </a:lvl4pPr>
            <a:lvl5pPr marL="0" indent="0">
              <a:lnSpc>
                <a:spcPct val="90000"/>
              </a:lnSpc>
              <a:spcBef>
                <a:spcPts val="0"/>
              </a:spcBef>
              <a:spcAft>
                <a:spcPts val="600"/>
              </a:spcAft>
              <a:buFont typeface="Arial" panose="020B0604020202020204" pitchFamily="34" charset="0"/>
              <a:buNone/>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ctr"/>
            <a:r>
              <a:rPr lang="en-US"/>
              <a:t>Overview</a:t>
            </a:r>
          </a:p>
        </p:txBody>
      </p:sp>
      <p:sp>
        <p:nvSpPr>
          <p:cNvPr id="4" name="TextBox 3">
            <a:extLst>
              <a:ext uri="{FF2B5EF4-FFF2-40B4-BE49-F238E27FC236}">
                <a16:creationId xmlns:a16="http://schemas.microsoft.com/office/drawing/2014/main" id="{8EF81DFE-E627-482A-63CA-97B6E8CCB908}"/>
              </a:ext>
            </a:extLst>
          </p:cNvPr>
          <p:cNvSpPr txBox="1"/>
          <p:nvPr userDrawn="1"/>
        </p:nvSpPr>
        <p:spPr>
          <a:xfrm>
            <a:off x="-1" y="6676328"/>
            <a:ext cx="2227811" cy="200055"/>
          </a:xfrm>
          <a:prstGeom prst="rect">
            <a:avLst/>
          </a:prstGeom>
          <a:noFill/>
        </p:spPr>
        <p:txBody>
          <a:bodyPr wrap="square" rtlCol="0">
            <a:spAutoFit/>
          </a:bodyPr>
          <a:lstStyle/>
          <a:p>
            <a:r>
              <a:rPr lang="en-US" sz="700" b="0" i="0" u="none" strike="noStrike" err="1">
                <a:solidFill>
                  <a:srgbClr val="0065E5"/>
                </a:solidFill>
                <a:effectLst/>
                <a:latin typeface="Fibra One Light" panose="020B0604020202020204" charset="0"/>
              </a:rPr>
              <a:t>pepsico</a:t>
            </a:r>
            <a:r>
              <a:rPr lang="en-US" sz="700" b="0" i="0" u="none" strike="noStrike">
                <a:solidFill>
                  <a:srgbClr val="0065E5"/>
                </a:solidFill>
                <a:effectLst/>
                <a:latin typeface="Fibra One Light" panose="020B0604020202020204" charset="0"/>
              </a:rPr>
              <a:t> positive I </a:t>
            </a:r>
            <a:r>
              <a:rPr lang="en-US" sz="700" b="0" i="0" u="none" strike="noStrike">
                <a:solidFill>
                  <a:srgbClr val="8FDC42"/>
                </a:solidFill>
                <a:effectLst/>
                <a:latin typeface="Fibra One Light" panose="020B0604020202020204" charset="0"/>
              </a:rPr>
              <a:t>confidential &amp; proprietary</a:t>
            </a:r>
            <a:endParaRPr lang="en-US" sz="100">
              <a:solidFill>
                <a:srgbClr val="8FDC42"/>
              </a:solidFill>
              <a:latin typeface="Fibra One Light" panose="020B0604020202020204" charset="0"/>
            </a:endParaRPr>
          </a:p>
        </p:txBody>
      </p:sp>
      <p:pic>
        <p:nvPicPr>
          <p:cNvPr id="5" name="Picture 4">
            <a:extLst>
              <a:ext uri="{FF2B5EF4-FFF2-40B4-BE49-F238E27FC236}">
                <a16:creationId xmlns:a16="http://schemas.microsoft.com/office/drawing/2014/main" id="{3FFDCFFF-D303-19AE-1A1A-996191403E64}"/>
              </a:ext>
            </a:extLst>
          </p:cNvPr>
          <p:cNvPicPr>
            <a:picLocks noChangeAspect="1"/>
          </p:cNvPicPr>
          <p:nvPr userDrawn="1"/>
        </p:nvPicPr>
        <p:blipFill>
          <a:blip r:embed="rId8" cstate="screen">
            <a:extLst>
              <a:ext uri="{28A0092B-C50C-407E-A947-70E740481C1C}">
                <a14:useLocalDpi xmlns:a14="http://schemas.microsoft.com/office/drawing/2010/main"/>
              </a:ext>
            </a:extLst>
          </a:blip>
          <a:srcRect t="56" b="56"/>
          <a:stretch/>
        </p:blipFill>
        <p:spPr>
          <a:xfrm>
            <a:off x="8526540" y="3962400"/>
            <a:ext cx="1006968" cy="1005840"/>
          </a:xfrm>
          <a:prstGeom prst="ellipse">
            <a:avLst/>
          </a:prstGeom>
          <a:ln w="38100">
            <a:solidFill>
              <a:srgbClr val="E1F3FA"/>
            </a:solidFill>
          </a:ln>
        </p:spPr>
      </p:pic>
      <p:pic>
        <p:nvPicPr>
          <p:cNvPr id="6" name="Picture 5">
            <a:extLst>
              <a:ext uri="{FF2B5EF4-FFF2-40B4-BE49-F238E27FC236}">
                <a16:creationId xmlns:a16="http://schemas.microsoft.com/office/drawing/2014/main" id="{B73C8A24-83FB-64F5-6A91-F0D8F0B8178B}"/>
              </a:ext>
            </a:extLst>
          </p:cNvPr>
          <p:cNvPicPr>
            <a:picLocks noChangeAspect="1"/>
          </p:cNvPicPr>
          <p:nvPr userDrawn="1"/>
        </p:nvPicPr>
        <p:blipFill>
          <a:blip r:embed="rId9" cstate="screen">
            <a:extLst>
              <a:ext uri="{28A0092B-C50C-407E-A947-70E740481C1C}">
                <a14:useLocalDpi xmlns:a14="http://schemas.microsoft.com/office/drawing/2010/main"/>
              </a:ext>
            </a:extLst>
          </a:blip>
          <a:srcRect t="56" b="56"/>
          <a:stretch/>
        </p:blipFill>
        <p:spPr>
          <a:xfrm>
            <a:off x="5592516" y="3962400"/>
            <a:ext cx="1006968" cy="1005840"/>
          </a:xfrm>
          <a:prstGeom prst="ellipse">
            <a:avLst/>
          </a:prstGeom>
          <a:ln w="38100">
            <a:solidFill>
              <a:srgbClr val="E1F3FA"/>
            </a:solidFill>
          </a:ln>
        </p:spPr>
      </p:pic>
      <p:pic>
        <p:nvPicPr>
          <p:cNvPr id="7" name="Picture 6">
            <a:extLst>
              <a:ext uri="{FF2B5EF4-FFF2-40B4-BE49-F238E27FC236}">
                <a16:creationId xmlns:a16="http://schemas.microsoft.com/office/drawing/2014/main" id="{E9968C0B-C1E9-F4E8-E14E-6C708C83B1DD}"/>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2658491" y="3962400"/>
            <a:ext cx="1006968" cy="1005840"/>
          </a:xfrm>
          <a:prstGeom prst="ellipse">
            <a:avLst/>
          </a:prstGeom>
          <a:ln w="38100">
            <a:solidFill>
              <a:srgbClr val="E1F3FA"/>
            </a:solidFill>
          </a:ln>
        </p:spPr>
      </p:pic>
      <p:pic>
        <p:nvPicPr>
          <p:cNvPr id="31" name="Graphic 30">
            <a:extLst>
              <a:ext uri="{FF2B5EF4-FFF2-40B4-BE49-F238E27FC236}">
                <a16:creationId xmlns:a16="http://schemas.microsoft.com/office/drawing/2014/main" id="{67BBF2F9-C0FF-8985-5C1C-73DC339CAB77}"/>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10185357" y="4732140"/>
            <a:ext cx="565533" cy="662486"/>
          </a:xfrm>
          <a:prstGeom prst="rect">
            <a:avLst/>
          </a:prstGeom>
        </p:spPr>
      </p:pic>
      <p:pic>
        <p:nvPicPr>
          <p:cNvPr id="32" name="Graphic 31">
            <a:extLst>
              <a:ext uri="{FF2B5EF4-FFF2-40B4-BE49-F238E27FC236}">
                <a16:creationId xmlns:a16="http://schemas.microsoft.com/office/drawing/2014/main" id="{180DAA55-E803-09FC-FAA3-08CC753D80DE}"/>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366714" y="4097901"/>
            <a:ext cx="180660" cy="180660"/>
          </a:xfrm>
          <a:prstGeom prst="rect">
            <a:avLst/>
          </a:prstGeom>
        </p:spPr>
      </p:pic>
      <p:pic>
        <p:nvPicPr>
          <p:cNvPr id="35" name="Graphic 34">
            <a:extLst>
              <a:ext uri="{FF2B5EF4-FFF2-40B4-BE49-F238E27FC236}">
                <a16:creationId xmlns:a16="http://schemas.microsoft.com/office/drawing/2014/main" id="{B4687EB8-2F4D-6DF4-18F4-A6289E68DDE6}"/>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1585648" y="4317675"/>
            <a:ext cx="408802" cy="503602"/>
          </a:xfrm>
          <a:prstGeom prst="rect">
            <a:avLst/>
          </a:prstGeom>
        </p:spPr>
      </p:pic>
      <p:sp>
        <p:nvSpPr>
          <p:cNvPr id="36" name="Oval 35">
            <a:extLst>
              <a:ext uri="{FF2B5EF4-FFF2-40B4-BE49-F238E27FC236}">
                <a16:creationId xmlns:a16="http://schemas.microsoft.com/office/drawing/2014/main" id="{FE7F3179-F413-7583-04EE-3F613EBBF39C}"/>
              </a:ext>
            </a:extLst>
          </p:cNvPr>
          <p:cNvSpPr/>
          <p:nvPr userDrawn="1"/>
        </p:nvSpPr>
        <p:spPr>
          <a:xfrm>
            <a:off x="5594350" y="3962400"/>
            <a:ext cx="1003300" cy="1003300"/>
          </a:xfrm>
          <a:prstGeom prst="ellipse">
            <a:avLst/>
          </a:prstGeom>
          <a:noFill/>
          <a:ln>
            <a:solidFill>
              <a:srgbClr val="F6E9C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A9CFE5FA-F07E-EF07-9627-28B9EDF46901}"/>
              </a:ext>
            </a:extLst>
          </p:cNvPr>
          <p:cNvSpPr/>
          <p:nvPr userDrawn="1"/>
        </p:nvSpPr>
        <p:spPr>
          <a:xfrm>
            <a:off x="8528050" y="3962400"/>
            <a:ext cx="1003300" cy="1003300"/>
          </a:xfrm>
          <a:prstGeom prst="ellipse">
            <a:avLst/>
          </a:prstGeom>
          <a:noFill/>
          <a:ln>
            <a:solidFill>
              <a:srgbClr val="F6E9C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2FD9B1D4-EC42-7702-D086-F5726110873C}"/>
              </a:ext>
            </a:extLst>
          </p:cNvPr>
          <p:cNvSpPr/>
          <p:nvPr userDrawn="1"/>
        </p:nvSpPr>
        <p:spPr>
          <a:xfrm>
            <a:off x="2660650" y="3962400"/>
            <a:ext cx="1003300" cy="1003300"/>
          </a:xfrm>
          <a:prstGeom prst="ellipse">
            <a:avLst/>
          </a:prstGeom>
          <a:noFill/>
          <a:ln>
            <a:solidFill>
              <a:srgbClr val="F6E9C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38046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20">
          <p15:clr>
            <a:srgbClr val="FBAE40"/>
          </p15:clr>
        </p15:guide>
        <p15:guide id="2" pos="6312">
          <p15:clr>
            <a:srgbClr val="FBAE40"/>
          </p15:clr>
        </p15:guide>
        <p15:guide id="3" pos="5112">
          <p15:clr>
            <a:srgbClr val="FBAE40"/>
          </p15:clr>
        </p15:guide>
        <p15:guide id="4" pos="4920">
          <p15:clr>
            <a:srgbClr val="FBAE40"/>
          </p15:clr>
        </p15:guide>
        <p15:guide id="5" pos="3912">
          <p15:clr>
            <a:srgbClr val="FBAE40"/>
          </p15:clr>
        </p15:guide>
        <p15:guide id="6" pos="3720">
          <p15:clr>
            <a:srgbClr val="FBAE40"/>
          </p15:clr>
        </p15:guide>
        <p15:guide id="7" pos="2712">
          <p15:clr>
            <a:srgbClr val="FBAE40"/>
          </p15:clr>
        </p15:guide>
        <p15:guide id="8" pos="2520">
          <p15:clr>
            <a:srgbClr val="FBAE40"/>
          </p15:clr>
        </p15:guide>
        <p15:guide id="9" pos="1512">
          <p15:clr>
            <a:srgbClr val="FBAE40"/>
          </p15:clr>
        </p15:guide>
        <p15:guide id="10" pos="1320">
          <p15:clr>
            <a:srgbClr val="FBAE40"/>
          </p15:clr>
        </p15:guide>
        <p15:guide id="11" pos="312">
          <p15:clr>
            <a:srgbClr val="FBAE40"/>
          </p15:clr>
        </p15:guide>
        <p15:guide id="12" pos="732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Value Chain">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ED6EDD-1FE0-DA4E-BBAF-48D636384CE5}"/>
              </a:ext>
            </a:extLst>
          </p:cNvPr>
          <p:cNvSpPr>
            <a:spLocks noGrp="1"/>
          </p:cNvSpPr>
          <p:nvPr>
            <p:ph type="title"/>
          </p:nvPr>
        </p:nvSpPr>
        <p:spPr>
          <a:xfrm>
            <a:off x="342900" y="689347"/>
            <a:ext cx="3602736" cy="332399"/>
          </a:xfrm>
        </p:spPr>
        <p:txBody>
          <a:bodyPr/>
          <a:lstStyle/>
          <a:p>
            <a:r>
              <a:rPr lang="en-US"/>
              <a:t>Click to edit Master title style</a:t>
            </a:r>
          </a:p>
        </p:txBody>
      </p:sp>
      <p:sp>
        <p:nvSpPr>
          <p:cNvPr id="2" name="Round Same Side Corner Rectangle 1">
            <a:extLst>
              <a:ext uri="{FF2B5EF4-FFF2-40B4-BE49-F238E27FC236}">
                <a16:creationId xmlns:a16="http://schemas.microsoft.com/office/drawing/2014/main" id="{D3F05D43-8F1E-0FB9-4E9A-93BDAC42F03F}"/>
              </a:ext>
            </a:extLst>
          </p:cNvPr>
          <p:cNvSpPr/>
          <p:nvPr userDrawn="1"/>
        </p:nvSpPr>
        <p:spPr>
          <a:xfrm>
            <a:off x="5848730" y="534572"/>
            <a:ext cx="1626559" cy="1067290"/>
          </a:xfrm>
          <a:prstGeom prst="round2Same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2">
            <a:extLst>
              <a:ext uri="{FF2B5EF4-FFF2-40B4-BE49-F238E27FC236}">
                <a16:creationId xmlns:a16="http://schemas.microsoft.com/office/drawing/2014/main" id="{C00ADAFF-8EFF-C317-5A74-DDAAAF519A6C}"/>
              </a:ext>
            </a:extLst>
          </p:cNvPr>
          <p:cNvSpPr/>
          <p:nvPr userDrawn="1"/>
        </p:nvSpPr>
        <p:spPr>
          <a:xfrm>
            <a:off x="7530810" y="534572"/>
            <a:ext cx="1626559" cy="1067290"/>
          </a:xfrm>
          <a:prstGeom prst="round2Same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 Same Side Corner Rectangle 4">
            <a:extLst>
              <a:ext uri="{FF2B5EF4-FFF2-40B4-BE49-F238E27FC236}">
                <a16:creationId xmlns:a16="http://schemas.microsoft.com/office/drawing/2014/main" id="{18F4598B-E19F-E62F-31F2-7191785707BD}"/>
              </a:ext>
            </a:extLst>
          </p:cNvPr>
          <p:cNvSpPr/>
          <p:nvPr userDrawn="1"/>
        </p:nvSpPr>
        <p:spPr>
          <a:xfrm>
            <a:off x="9212891" y="534572"/>
            <a:ext cx="1626559" cy="1067290"/>
          </a:xfrm>
          <a:prstGeom prst="round2Same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5">
            <a:extLst>
              <a:ext uri="{FF2B5EF4-FFF2-40B4-BE49-F238E27FC236}">
                <a16:creationId xmlns:a16="http://schemas.microsoft.com/office/drawing/2014/main" id="{90ACC3B7-747B-ADB7-05A6-A1BB0F9F5C2A}"/>
              </a:ext>
            </a:extLst>
          </p:cNvPr>
          <p:cNvSpPr/>
          <p:nvPr userDrawn="1"/>
        </p:nvSpPr>
        <p:spPr>
          <a:xfrm>
            <a:off x="4166650" y="534572"/>
            <a:ext cx="1626559" cy="1067290"/>
          </a:xfrm>
          <a:prstGeom prst="round2Same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 Single Corner Rectangle 6">
            <a:extLst>
              <a:ext uri="{FF2B5EF4-FFF2-40B4-BE49-F238E27FC236}">
                <a16:creationId xmlns:a16="http://schemas.microsoft.com/office/drawing/2014/main" id="{B09F65D2-44B9-219E-5687-69F7FB7D5ED4}"/>
              </a:ext>
            </a:extLst>
          </p:cNvPr>
          <p:cNvSpPr/>
          <p:nvPr userDrawn="1"/>
        </p:nvSpPr>
        <p:spPr>
          <a:xfrm>
            <a:off x="0" y="1601862"/>
            <a:ext cx="11620500" cy="5256137"/>
          </a:xfrm>
          <a:prstGeom prst="round1Rect">
            <a:avLst>
              <a:gd name="adj" fmla="val 15839"/>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1A887D31-7834-6334-AA9C-BCB7C1ACB59B}"/>
              </a:ext>
            </a:extLst>
          </p:cNvPr>
          <p:cNvSpPr txBox="1"/>
          <p:nvPr userDrawn="1"/>
        </p:nvSpPr>
        <p:spPr>
          <a:xfrm>
            <a:off x="5957921" y="689347"/>
            <a:ext cx="1408176" cy="754053"/>
          </a:xfrm>
          <a:prstGeom prst="rect">
            <a:avLst/>
          </a:prstGeom>
          <a:noFill/>
        </p:spPr>
        <p:txBody>
          <a:bodyPr wrap="square" lIns="0" tIns="0" rIns="0" bIns="0" anchor="t">
            <a:spAutoFit/>
          </a:bodyPr>
          <a:lstStyle/>
          <a:p>
            <a:pPr marR="0" lvl="0" indent="0" algn="ctr" fontAlgn="auto">
              <a:spcBef>
                <a:spcPts val="0"/>
              </a:spcBef>
              <a:spcAft>
                <a:spcPts val="0"/>
              </a:spcAft>
              <a:buClrTx/>
              <a:buSzTx/>
              <a:buFontTx/>
              <a:buNone/>
              <a:tabLst/>
              <a:defRPr/>
            </a:pPr>
            <a:r>
              <a:rPr lang="en-US" sz="2200">
                <a:solidFill>
                  <a:schemeClr val="bg1"/>
                </a:solidFill>
                <a:latin typeface="Fibra One UltraBold" panose="00000900000000000000" pitchFamily="50" charset="0"/>
              </a:rPr>
              <a:t>1B+</a:t>
            </a:r>
          </a:p>
          <a:p>
            <a:pPr algn="ctr"/>
            <a:r>
              <a:rPr lang="en-US" sz="900">
                <a:solidFill>
                  <a:schemeClr val="bg1"/>
                </a:solidFill>
                <a:latin typeface="Fibra One SemiBold" panose="00000700000000000000" pitchFamily="50" charset="0"/>
              </a:rPr>
              <a:t>times each day PepsiCo products are enjoyed around the world</a:t>
            </a:r>
          </a:p>
        </p:txBody>
      </p:sp>
      <p:sp>
        <p:nvSpPr>
          <p:cNvPr id="20" name="TextBox 19">
            <a:extLst>
              <a:ext uri="{FF2B5EF4-FFF2-40B4-BE49-F238E27FC236}">
                <a16:creationId xmlns:a16="http://schemas.microsoft.com/office/drawing/2014/main" id="{CFD290FC-F15F-40B1-9FC7-8F41007999D0}"/>
              </a:ext>
            </a:extLst>
          </p:cNvPr>
          <p:cNvSpPr txBox="1"/>
          <p:nvPr userDrawn="1"/>
        </p:nvSpPr>
        <p:spPr>
          <a:xfrm>
            <a:off x="7640001" y="689347"/>
            <a:ext cx="1408176" cy="477054"/>
          </a:xfrm>
          <a:prstGeom prst="rect">
            <a:avLst/>
          </a:prstGeom>
          <a:noFill/>
        </p:spPr>
        <p:txBody>
          <a:bodyPr wrap="square" lIns="0" tIns="0" rIns="0" bIns="0" anchor="t">
            <a:spAutoFit/>
          </a:bodyPr>
          <a:lstStyle/>
          <a:p>
            <a:pPr marR="0" lvl="0" indent="0" algn="ctr" fontAlgn="auto">
              <a:spcBef>
                <a:spcPts val="0"/>
              </a:spcBef>
              <a:spcAft>
                <a:spcPts val="0"/>
              </a:spcAft>
              <a:buClrTx/>
              <a:buSzTx/>
              <a:buFontTx/>
              <a:buNone/>
              <a:tabLst/>
              <a:defRPr/>
            </a:pPr>
            <a:r>
              <a:rPr lang="en-US" sz="2200">
                <a:solidFill>
                  <a:schemeClr val="bg1"/>
                </a:solidFill>
                <a:latin typeface="Fibra One UltraBold" panose="00000900000000000000" pitchFamily="50" charset="0"/>
              </a:rPr>
              <a:t>$91B+</a:t>
            </a:r>
          </a:p>
          <a:p>
            <a:pPr algn="ctr"/>
            <a:r>
              <a:rPr lang="en-US" sz="900">
                <a:solidFill>
                  <a:schemeClr val="bg1"/>
                </a:solidFill>
                <a:latin typeface="Fibra One SemiBold" panose="00000700000000000000" pitchFamily="50" charset="0"/>
              </a:rPr>
              <a:t>net revenue in 2023</a:t>
            </a:r>
          </a:p>
        </p:txBody>
      </p:sp>
      <p:sp>
        <p:nvSpPr>
          <p:cNvPr id="21" name="TextBox 20">
            <a:extLst>
              <a:ext uri="{FF2B5EF4-FFF2-40B4-BE49-F238E27FC236}">
                <a16:creationId xmlns:a16="http://schemas.microsoft.com/office/drawing/2014/main" id="{F83CFD03-10C1-A9BB-95FD-416F2FFA3D1B}"/>
              </a:ext>
            </a:extLst>
          </p:cNvPr>
          <p:cNvSpPr txBox="1"/>
          <p:nvPr userDrawn="1"/>
        </p:nvSpPr>
        <p:spPr>
          <a:xfrm>
            <a:off x="9322082" y="689347"/>
            <a:ext cx="1408176" cy="754053"/>
          </a:xfrm>
          <a:prstGeom prst="rect">
            <a:avLst/>
          </a:prstGeom>
          <a:noFill/>
        </p:spPr>
        <p:txBody>
          <a:bodyPr wrap="square" lIns="0" tIns="0" rIns="0" bIns="0" anchor="t">
            <a:spAutoFit/>
          </a:bodyPr>
          <a:lstStyle/>
          <a:p>
            <a:pPr marR="0" lvl="0" indent="0" algn="ctr" fontAlgn="auto">
              <a:spcBef>
                <a:spcPts val="0"/>
              </a:spcBef>
              <a:spcAft>
                <a:spcPts val="0"/>
              </a:spcAft>
              <a:buClrTx/>
              <a:buSzTx/>
              <a:buFontTx/>
              <a:buNone/>
              <a:tabLst/>
              <a:defRPr/>
            </a:pPr>
            <a:r>
              <a:rPr lang="en-US" sz="2200">
                <a:solidFill>
                  <a:schemeClr val="bg1"/>
                </a:solidFill>
                <a:latin typeface="Fibra One UltraBold" panose="00000900000000000000" pitchFamily="50" charset="0"/>
              </a:rPr>
              <a:t>200+</a:t>
            </a:r>
          </a:p>
          <a:p>
            <a:pPr algn="ctr"/>
            <a:r>
              <a:rPr lang="en-US" sz="900">
                <a:solidFill>
                  <a:schemeClr val="bg1"/>
                </a:solidFill>
                <a:latin typeface="Fibra One SemiBold" panose="00000700000000000000" pitchFamily="50" charset="0"/>
              </a:rPr>
              <a:t>countries and territories where our products are sold</a:t>
            </a:r>
          </a:p>
        </p:txBody>
      </p:sp>
      <p:pic>
        <p:nvPicPr>
          <p:cNvPr id="22" name="Picture 21" descr="A picture containing animated cartoon, clipart, cartoon&#10;&#10;Description automatically generated">
            <a:extLst>
              <a:ext uri="{FF2B5EF4-FFF2-40B4-BE49-F238E27FC236}">
                <a16:creationId xmlns:a16="http://schemas.microsoft.com/office/drawing/2014/main" id="{4E3262C6-1C55-8A46-15CB-4AB1AA5B431A}"/>
              </a:ext>
            </a:extLst>
          </p:cNvPr>
          <p:cNvPicPr>
            <a:picLocks noChangeAspect="1"/>
          </p:cNvPicPr>
          <p:nvPr userDrawn="1"/>
        </p:nvPicPr>
        <p:blipFill rotWithShape="1">
          <a:blip r:embed="rId2"/>
          <a:srcRect l="3407" r="2007" b="4472"/>
          <a:stretch/>
        </p:blipFill>
        <p:spPr>
          <a:xfrm>
            <a:off x="4188069" y="1865623"/>
            <a:ext cx="7183315" cy="4885133"/>
          </a:xfrm>
          <a:prstGeom prst="rect">
            <a:avLst/>
          </a:prstGeom>
        </p:spPr>
      </p:pic>
      <p:sp>
        <p:nvSpPr>
          <p:cNvPr id="8" name="TextBox 7">
            <a:extLst>
              <a:ext uri="{FF2B5EF4-FFF2-40B4-BE49-F238E27FC236}">
                <a16:creationId xmlns:a16="http://schemas.microsoft.com/office/drawing/2014/main" id="{80290D08-5FE5-1811-84D9-124311F30370}"/>
              </a:ext>
            </a:extLst>
          </p:cNvPr>
          <p:cNvSpPr txBox="1"/>
          <p:nvPr userDrawn="1"/>
        </p:nvSpPr>
        <p:spPr>
          <a:xfrm>
            <a:off x="-1" y="6676328"/>
            <a:ext cx="2227811" cy="200055"/>
          </a:xfrm>
          <a:prstGeom prst="rect">
            <a:avLst/>
          </a:prstGeom>
          <a:noFill/>
        </p:spPr>
        <p:txBody>
          <a:bodyPr wrap="square" rtlCol="0">
            <a:spAutoFit/>
          </a:bodyPr>
          <a:lstStyle/>
          <a:p>
            <a:r>
              <a:rPr lang="en-US" sz="700" b="0" i="0" u="none" strike="noStrike" err="1">
                <a:solidFill>
                  <a:srgbClr val="0065E5"/>
                </a:solidFill>
                <a:effectLst/>
                <a:latin typeface="Fibra One Light" panose="020B0604020202020204" charset="0"/>
              </a:rPr>
              <a:t>pepsico</a:t>
            </a:r>
            <a:r>
              <a:rPr lang="en-US" sz="700" b="0" i="0" u="none" strike="noStrike">
                <a:solidFill>
                  <a:srgbClr val="0065E5"/>
                </a:solidFill>
                <a:effectLst/>
                <a:latin typeface="Fibra One Light" panose="020B0604020202020204" charset="0"/>
              </a:rPr>
              <a:t> positive I </a:t>
            </a:r>
            <a:r>
              <a:rPr lang="en-US" sz="700" b="0" i="0" u="none" strike="noStrike">
                <a:solidFill>
                  <a:srgbClr val="8FDC42"/>
                </a:solidFill>
                <a:effectLst/>
                <a:latin typeface="Fibra One Light" panose="020B0604020202020204" charset="0"/>
              </a:rPr>
              <a:t>confidential &amp; proprietary</a:t>
            </a:r>
            <a:endParaRPr lang="en-US" sz="100">
              <a:solidFill>
                <a:srgbClr val="8FDC42"/>
              </a:solidFill>
              <a:latin typeface="Fibra One Light" panose="020B0604020202020204" charset="0"/>
            </a:endParaRPr>
          </a:p>
        </p:txBody>
      </p:sp>
      <p:sp>
        <p:nvSpPr>
          <p:cNvPr id="9" name="TextBox 8">
            <a:extLst>
              <a:ext uri="{FF2B5EF4-FFF2-40B4-BE49-F238E27FC236}">
                <a16:creationId xmlns:a16="http://schemas.microsoft.com/office/drawing/2014/main" id="{AD05B1E9-7B84-7A6D-6D60-52384FD0FB6D}"/>
              </a:ext>
            </a:extLst>
          </p:cNvPr>
          <p:cNvSpPr txBox="1"/>
          <p:nvPr userDrawn="1"/>
        </p:nvSpPr>
        <p:spPr>
          <a:xfrm>
            <a:off x="4275841" y="689347"/>
            <a:ext cx="1408176" cy="846386"/>
          </a:xfrm>
          <a:prstGeom prst="rect">
            <a:avLst/>
          </a:prstGeom>
          <a:noFill/>
        </p:spPr>
        <p:txBody>
          <a:bodyPr wrap="square" lIns="0" tIns="0" rIns="0" bIns="0" anchor="t">
            <a:spAutoFit/>
          </a:bodyPr>
          <a:lstStyle/>
          <a:p>
            <a:pPr algn="ctr"/>
            <a:r>
              <a:rPr lang="en-IN" sz="2200">
                <a:solidFill>
                  <a:schemeClr val="bg1"/>
                </a:solidFill>
                <a:latin typeface="Fibra One UltraBold" panose="00000900000000000000" pitchFamily="50" charset="0"/>
              </a:rPr>
              <a:t>~318K</a:t>
            </a:r>
          </a:p>
          <a:p>
            <a:pPr algn="ctr"/>
            <a:r>
              <a:rPr lang="en-US" sz="900">
                <a:solidFill>
                  <a:schemeClr val="bg1"/>
                </a:solidFill>
                <a:latin typeface="Fibra One SemiBold" panose="00000700000000000000" pitchFamily="50" charset="0"/>
              </a:rPr>
              <a:t>employees globally</a:t>
            </a:r>
          </a:p>
          <a:p>
            <a:pPr algn="ctr"/>
            <a:endParaRPr lang="en-US" sz="600">
              <a:solidFill>
                <a:schemeClr val="bg1"/>
              </a:solidFill>
              <a:latin typeface="Fibra One SemiBold" panose="00000700000000000000" pitchFamily="50" charset="0"/>
            </a:endParaRPr>
          </a:p>
          <a:p>
            <a:pPr algn="ctr"/>
            <a:endParaRPr lang="en-US" sz="600">
              <a:solidFill>
                <a:schemeClr val="bg1"/>
              </a:solidFill>
              <a:latin typeface="Fibra One SemiBold" panose="00000700000000000000" pitchFamily="50" charset="0"/>
            </a:endParaRPr>
          </a:p>
          <a:p>
            <a:pPr algn="ctr"/>
            <a:endParaRPr lang="en-US" sz="600">
              <a:solidFill>
                <a:schemeClr val="bg1"/>
              </a:solidFill>
              <a:latin typeface="Fibra One SemiBold" panose="00000700000000000000" pitchFamily="50" charset="0"/>
            </a:endParaRPr>
          </a:p>
          <a:p>
            <a:pPr algn="r"/>
            <a:r>
              <a:rPr lang="en-US" sz="600">
                <a:solidFill>
                  <a:schemeClr val="bg1"/>
                </a:solidFill>
                <a:latin typeface="Fibra One SemiBold" panose="00000700000000000000" pitchFamily="50" charset="0"/>
              </a:rPr>
              <a:t>as of December 30, 2023</a:t>
            </a:r>
          </a:p>
        </p:txBody>
      </p:sp>
    </p:spTree>
    <p:extLst>
      <p:ext uri="{BB962C8B-B14F-4D97-AF65-F5344CB8AC3E}">
        <p14:creationId xmlns:p14="http://schemas.microsoft.com/office/powerpoint/2010/main" val="389669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20">
          <p15:clr>
            <a:srgbClr val="FBAE40"/>
          </p15:clr>
        </p15:guide>
        <p15:guide id="2" pos="6312">
          <p15:clr>
            <a:srgbClr val="FBAE40"/>
          </p15:clr>
        </p15:guide>
        <p15:guide id="3" pos="5112">
          <p15:clr>
            <a:srgbClr val="FBAE40"/>
          </p15:clr>
        </p15:guide>
        <p15:guide id="4" pos="4920">
          <p15:clr>
            <a:srgbClr val="FBAE40"/>
          </p15:clr>
        </p15:guide>
        <p15:guide id="5" pos="3912">
          <p15:clr>
            <a:srgbClr val="FBAE40"/>
          </p15:clr>
        </p15:guide>
        <p15:guide id="6" pos="3720">
          <p15:clr>
            <a:srgbClr val="FBAE40"/>
          </p15:clr>
        </p15:guide>
        <p15:guide id="7" pos="2712">
          <p15:clr>
            <a:srgbClr val="FBAE40"/>
          </p15:clr>
        </p15:guide>
        <p15:guide id="8" pos="2520">
          <p15:clr>
            <a:srgbClr val="FBAE40"/>
          </p15:clr>
        </p15:guide>
        <p15:guide id="9" pos="1512">
          <p15:clr>
            <a:srgbClr val="FBAE40"/>
          </p15:clr>
        </p15:guide>
        <p15:guide id="10" pos="1320">
          <p15:clr>
            <a:srgbClr val="FBAE40"/>
          </p15:clr>
        </p15:guide>
        <p15:guide id="11" pos="312">
          <p15:clr>
            <a:srgbClr val="FBAE40"/>
          </p15:clr>
        </p15:guide>
        <p15:guide id="12" pos="732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meline">
    <p:bg>
      <p:bgPr>
        <a:solidFill>
          <a:srgbClr val="0052DB"/>
        </a:solidFill>
        <a:effectLst/>
      </p:bgPr>
    </p:bg>
    <p:spTree>
      <p:nvGrpSpPr>
        <p:cNvPr id="1" name=""/>
        <p:cNvGrpSpPr/>
        <p:nvPr/>
      </p:nvGrpSpPr>
      <p:grpSpPr>
        <a:xfrm>
          <a:off x="0" y="0"/>
          <a:ext cx="0" cy="0"/>
          <a:chOff x="0" y="0"/>
          <a:chExt cx="0" cy="0"/>
        </a:xfrm>
      </p:grpSpPr>
      <p:sp>
        <p:nvSpPr>
          <p:cNvPr id="94" name="Picture Placeholder 93">
            <a:extLst>
              <a:ext uri="{FF2B5EF4-FFF2-40B4-BE49-F238E27FC236}">
                <a16:creationId xmlns:a16="http://schemas.microsoft.com/office/drawing/2014/main" id="{D2CFE779-4B19-ABA9-F599-71F885ECB41E}"/>
              </a:ext>
            </a:extLst>
          </p:cNvPr>
          <p:cNvSpPr>
            <a:spLocks noGrp="1"/>
          </p:cNvSpPr>
          <p:nvPr>
            <p:ph type="pic" sz="quarter" idx="34"/>
          </p:nvPr>
        </p:nvSpPr>
        <p:spPr>
          <a:xfrm>
            <a:off x="5338124" y="3458428"/>
            <a:ext cx="3264664" cy="783018"/>
          </a:xfrm>
          <a:custGeom>
            <a:avLst/>
            <a:gdLst>
              <a:gd name="connsiteX0" fmla="*/ 74449 w 3264664"/>
              <a:gd name="connsiteY0" fmla="*/ 0 h 783018"/>
              <a:gd name="connsiteX1" fmla="*/ 3190215 w 3264664"/>
              <a:gd name="connsiteY1" fmla="*/ 0 h 783018"/>
              <a:gd name="connsiteX2" fmla="*/ 3264664 w 3264664"/>
              <a:gd name="connsiteY2" fmla="*/ 74449 h 783018"/>
              <a:gd name="connsiteX3" fmla="*/ 3264664 w 3264664"/>
              <a:gd name="connsiteY3" fmla="*/ 783018 h 783018"/>
              <a:gd name="connsiteX4" fmla="*/ 467659 w 3264664"/>
              <a:gd name="connsiteY4" fmla="*/ 783018 h 783018"/>
              <a:gd name="connsiteX5" fmla="*/ 467659 w 3264664"/>
              <a:gd name="connsiteY5" fmla="*/ 626004 h 783018"/>
              <a:gd name="connsiteX6" fmla="*/ 433383 w 3264664"/>
              <a:gd name="connsiteY6" fmla="*/ 591728 h 783018"/>
              <a:gd name="connsiteX7" fmla="*/ 0 w 3264664"/>
              <a:gd name="connsiteY7" fmla="*/ 591728 h 783018"/>
              <a:gd name="connsiteX8" fmla="*/ 0 w 3264664"/>
              <a:gd name="connsiteY8" fmla="*/ 74449 h 783018"/>
              <a:gd name="connsiteX9" fmla="*/ 74449 w 3264664"/>
              <a:gd name="connsiteY9" fmla="*/ 0 h 78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64664" h="783018">
                <a:moveTo>
                  <a:pt x="74449" y="0"/>
                </a:moveTo>
                <a:lnTo>
                  <a:pt x="3190215" y="0"/>
                </a:lnTo>
                <a:cubicBezTo>
                  <a:pt x="3231332" y="0"/>
                  <a:pt x="3264664" y="33332"/>
                  <a:pt x="3264664" y="74449"/>
                </a:cubicBezTo>
                <a:lnTo>
                  <a:pt x="3264664" y="783018"/>
                </a:lnTo>
                <a:lnTo>
                  <a:pt x="467659" y="783018"/>
                </a:lnTo>
                <a:lnTo>
                  <a:pt x="467659" y="626004"/>
                </a:lnTo>
                <a:cubicBezTo>
                  <a:pt x="467659" y="607074"/>
                  <a:pt x="452313" y="591728"/>
                  <a:pt x="433383" y="591728"/>
                </a:cubicBezTo>
                <a:lnTo>
                  <a:pt x="0" y="591728"/>
                </a:lnTo>
                <a:lnTo>
                  <a:pt x="0" y="74449"/>
                </a:lnTo>
                <a:cubicBezTo>
                  <a:pt x="0" y="33332"/>
                  <a:pt x="33332" y="0"/>
                  <a:pt x="74449" y="0"/>
                </a:cubicBezTo>
                <a:close/>
              </a:path>
            </a:pathLst>
          </a:custGeom>
          <a:solidFill>
            <a:schemeClr val="bg2"/>
          </a:solidFill>
        </p:spPr>
        <p:txBody>
          <a:bodyPr wrap="square">
            <a:noAutofit/>
          </a:bodyPr>
          <a:lstStyle>
            <a:lvl1pPr algn="ctr">
              <a:defRPr sz="1000"/>
            </a:lvl1pPr>
          </a:lstStyle>
          <a:p>
            <a:endParaRPr lang="en-US"/>
          </a:p>
        </p:txBody>
      </p:sp>
      <p:sp>
        <p:nvSpPr>
          <p:cNvPr id="95" name="Picture Placeholder 94">
            <a:extLst>
              <a:ext uri="{FF2B5EF4-FFF2-40B4-BE49-F238E27FC236}">
                <a16:creationId xmlns:a16="http://schemas.microsoft.com/office/drawing/2014/main" id="{2DC2E1C7-06D8-490F-BD7C-EE46B6E6F968}"/>
              </a:ext>
            </a:extLst>
          </p:cNvPr>
          <p:cNvSpPr>
            <a:spLocks noGrp="1"/>
          </p:cNvSpPr>
          <p:nvPr>
            <p:ph type="pic" sz="quarter" idx="35"/>
          </p:nvPr>
        </p:nvSpPr>
        <p:spPr>
          <a:xfrm>
            <a:off x="8668273" y="3458428"/>
            <a:ext cx="3264664" cy="783018"/>
          </a:xfrm>
          <a:custGeom>
            <a:avLst/>
            <a:gdLst>
              <a:gd name="connsiteX0" fmla="*/ 74449 w 3264664"/>
              <a:gd name="connsiteY0" fmla="*/ 0 h 783018"/>
              <a:gd name="connsiteX1" fmla="*/ 3190215 w 3264664"/>
              <a:gd name="connsiteY1" fmla="*/ 0 h 783018"/>
              <a:gd name="connsiteX2" fmla="*/ 3264664 w 3264664"/>
              <a:gd name="connsiteY2" fmla="*/ 74449 h 783018"/>
              <a:gd name="connsiteX3" fmla="*/ 3264664 w 3264664"/>
              <a:gd name="connsiteY3" fmla="*/ 783018 h 783018"/>
              <a:gd name="connsiteX4" fmla="*/ 467659 w 3264664"/>
              <a:gd name="connsiteY4" fmla="*/ 783018 h 783018"/>
              <a:gd name="connsiteX5" fmla="*/ 467659 w 3264664"/>
              <a:gd name="connsiteY5" fmla="*/ 626004 h 783018"/>
              <a:gd name="connsiteX6" fmla="*/ 433383 w 3264664"/>
              <a:gd name="connsiteY6" fmla="*/ 591728 h 783018"/>
              <a:gd name="connsiteX7" fmla="*/ 0 w 3264664"/>
              <a:gd name="connsiteY7" fmla="*/ 591728 h 783018"/>
              <a:gd name="connsiteX8" fmla="*/ 0 w 3264664"/>
              <a:gd name="connsiteY8" fmla="*/ 74449 h 783018"/>
              <a:gd name="connsiteX9" fmla="*/ 74449 w 3264664"/>
              <a:gd name="connsiteY9" fmla="*/ 0 h 78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64664" h="783018">
                <a:moveTo>
                  <a:pt x="74449" y="0"/>
                </a:moveTo>
                <a:lnTo>
                  <a:pt x="3190215" y="0"/>
                </a:lnTo>
                <a:cubicBezTo>
                  <a:pt x="3231332" y="0"/>
                  <a:pt x="3264664" y="33332"/>
                  <a:pt x="3264664" y="74449"/>
                </a:cubicBezTo>
                <a:lnTo>
                  <a:pt x="3264664" y="783018"/>
                </a:lnTo>
                <a:lnTo>
                  <a:pt x="467659" y="783018"/>
                </a:lnTo>
                <a:lnTo>
                  <a:pt x="467659" y="626004"/>
                </a:lnTo>
                <a:cubicBezTo>
                  <a:pt x="467659" y="607074"/>
                  <a:pt x="452313" y="591728"/>
                  <a:pt x="433383" y="591728"/>
                </a:cubicBezTo>
                <a:lnTo>
                  <a:pt x="0" y="591728"/>
                </a:lnTo>
                <a:lnTo>
                  <a:pt x="0" y="74449"/>
                </a:lnTo>
                <a:cubicBezTo>
                  <a:pt x="0" y="33332"/>
                  <a:pt x="33332" y="0"/>
                  <a:pt x="74449" y="0"/>
                </a:cubicBezTo>
                <a:close/>
              </a:path>
            </a:pathLst>
          </a:custGeom>
          <a:solidFill>
            <a:schemeClr val="bg2"/>
          </a:solidFill>
        </p:spPr>
        <p:txBody>
          <a:bodyPr wrap="square">
            <a:noAutofit/>
          </a:bodyPr>
          <a:lstStyle>
            <a:lvl1pPr algn="ctr">
              <a:defRPr sz="1000"/>
            </a:lvl1pPr>
          </a:lstStyle>
          <a:p>
            <a:endParaRPr lang="en-US"/>
          </a:p>
        </p:txBody>
      </p:sp>
      <p:sp>
        <p:nvSpPr>
          <p:cNvPr id="93" name="Picture Placeholder 92">
            <a:extLst>
              <a:ext uri="{FF2B5EF4-FFF2-40B4-BE49-F238E27FC236}">
                <a16:creationId xmlns:a16="http://schemas.microsoft.com/office/drawing/2014/main" id="{B1A44C03-B942-37F6-BA4F-11AAA6163B5D}"/>
              </a:ext>
            </a:extLst>
          </p:cNvPr>
          <p:cNvSpPr>
            <a:spLocks noGrp="1"/>
          </p:cNvSpPr>
          <p:nvPr>
            <p:ph type="pic" sz="quarter" idx="33"/>
          </p:nvPr>
        </p:nvSpPr>
        <p:spPr>
          <a:xfrm>
            <a:off x="2007974" y="3458428"/>
            <a:ext cx="3264664" cy="783018"/>
          </a:xfrm>
          <a:custGeom>
            <a:avLst/>
            <a:gdLst>
              <a:gd name="connsiteX0" fmla="*/ 74449 w 3264664"/>
              <a:gd name="connsiteY0" fmla="*/ 0 h 783018"/>
              <a:gd name="connsiteX1" fmla="*/ 3190215 w 3264664"/>
              <a:gd name="connsiteY1" fmla="*/ 0 h 783018"/>
              <a:gd name="connsiteX2" fmla="*/ 3264664 w 3264664"/>
              <a:gd name="connsiteY2" fmla="*/ 74449 h 783018"/>
              <a:gd name="connsiteX3" fmla="*/ 3264664 w 3264664"/>
              <a:gd name="connsiteY3" fmla="*/ 783018 h 783018"/>
              <a:gd name="connsiteX4" fmla="*/ 467658 w 3264664"/>
              <a:gd name="connsiteY4" fmla="*/ 783018 h 783018"/>
              <a:gd name="connsiteX5" fmla="*/ 467658 w 3264664"/>
              <a:gd name="connsiteY5" fmla="*/ 626004 h 783018"/>
              <a:gd name="connsiteX6" fmla="*/ 433382 w 3264664"/>
              <a:gd name="connsiteY6" fmla="*/ 591728 h 783018"/>
              <a:gd name="connsiteX7" fmla="*/ 0 w 3264664"/>
              <a:gd name="connsiteY7" fmla="*/ 591728 h 783018"/>
              <a:gd name="connsiteX8" fmla="*/ 0 w 3264664"/>
              <a:gd name="connsiteY8" fmla="*/ 74449 h 783018"/>
              <a:gd name="connsiteX9" fmla="*/ 74449 w 3264664"/>
              <a:gd name="connsiteY9" fmla="*/ 0 h 78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64664" h="783018">
                <a:moveTo>
                  <a:pt x="74449" y="0"/>
                </a:moveTo>
                <a:lnTo>
                  <a:pt x="3190215" y="0"/>
                </a:lnTo>
                <a:cubicBezTo>
                  <a:pt x="3231332" y="0"/>
                  <a:pt x="3264664" y="33332"/>
                  <a:pt x="3264664" y="74449"/>
                </a:cubicBezTo>
                <a:lnTo>
                  <a:pt x="3264664" y="783018"/>
                </a:lnTo>
                <a:lnTo>
                  <a:pt x="467658" y="783018"/>
                </a:lnTo>
                <a:lnTo>
                  <a:pt x="467658" y="626004"/>
                </a:lnTo>
                <a:cubicBezTo>
                  <a:pt x="467658" y="607074"/>
                  <a:pt x="452312" y="591728"/>
                  <a:pt x="433382" y="591728"/>
                </a:cubicBezTo>
                <a:lnTo>
                  <a:pt x="0" y="591728"/>
                </a:lnTo>
                <a:lnTo>
                  <a:pt x="0" y="74449"/>
                </a:lnTo>
                <a:cubicBezTo>
                  <a:pt x="0" y="33332"/>
                  <a:pt x="33332" y="0"/>
                  <a:pt x="74449" y="0"/>
                </a:cubicBezTo>
                <a:close/>
              </a:path>
            </a:pathLst>
          </a:custGeom>
          <a:solidFill>
            <a:schemeClr val="bg2"/>
          </a:solidFill>
        </p:spPr>
        <p:txBody>
          <a:bodyPr wrap="square">
            <a:noAutofit/>
          </a:bodyPr>
          <a:lstStyle>
            <a:lvl1pPr algn="ctr">
              <a:defRPr sz="1000"/>
            </a:lvl1pPr>
          </a:lstStyle>
          <a:p>
            <a:endParaRPr lang="en-US"/>
          </a:p>
        </p:txBody>
      </p:sp>
      <p:sp>
        <p:nvSpPr>
          <p:cNvPr id="92" name="Picture Placeholder 91">
            <a:extLst>
              <a:ext uri="{FF2B5EF4-FFF2-40B4-BE49-F238E27FC236}">
                <a16:creationId xmlns:a16="http://schemas.microsoft.com/office/drawing/2014/main" id="{F10F9E71-7DF9-FA32-99A0-64E8C672CC7C}"/>
              </a:ext>
            </a:extLst>
          </p:cNvPr>
          <p:cNvSpPr>
            <a:spLocks noGrp="1"/>
          </p:cNvSpPr>
          <p:nvPr>
            <p:ph type="pic" sz="quarter" idx="32"/>
          </p:nvPr>
        </p:nvSpPr>
        <p:spPr>
          <a:xfrm>
            <a:off x="342899" y="3455065"/>
            <a:ext cx="1600200" cy="783018"/>
          </a:xfrm>
          <a:custGeom>
            <a:avLst/>
            <a:gdLst>
              <a:gd name="connsiteX0" fmla="*/ 73604 w 1600200"/>
              <a:gd name="connsiteY0" fmla="*/ 0 h 783018"/>
              <a:gd name="connsiteX1" fmla="*/ 1526596 w 1600200"/>
              <a:gd name="connsiteY1" fmla="*/ 0 h 783018"/>
              <a:gd name="connsiteX2" fmla="*/ 1600200 w 1600200"/>
              <a:gd name="connsiteY2" fmla="*/ 73604 h 783018"/>
              <a:gd name="connsiteX3" fmla="*/ 1600200 w 1600200"/>
              <a:gd name="connsiteY3" fmla="*/ 783018 h 783018"/>
              <a:gd name="connsiteX4" fmla="*/ 467659 w 1600200"/>
              <a:gd name="connsiteY4" fmla="*/ 783018 h 783018"/>
              <a:gd name="connsiteX5" fmla="*/ 467659 w 1600200"/>
              <a:gd name="connsiteY5" fmla="*/ 629367 h 783018"/>
              <a:gd name="connsiteX6" fmla="*/ 433383 w 1600200"/>
              <a:gd name="connsiteY6" fmla="*/ 595091 h 783018"/>
              <a:gd name="connsiteX7" fmla="*/ 0 w 1600200"/>
              <a:gd name="connsiteY7" fmla="*/ 595091 h 783018"/>
              <a:gd name="connsiteX8" fmla="*/ 0 w 1600200"/>
              <a:gd name="connsiteY8" fmla="*/ 73604 h 783018"/>
              <a:gd name="connsiteX9" fmla="*/ 73604 w 1600200"/>
              <a:gd name="connsiteY9" fmla="*/ 0 h 78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0200" h="783018">
                <a:moveTo>
                  <a:pt x="73604" y="0"/>
                </a:moveTo>
                <a:lnTo>
                  <a:pt x="1526596" y="0"/>
                </a:lnTo>
                <a:cubicBezTo>
                  <a:pt x="1567246" y="0"/>
                  <a:pt x="1600200" y="32954"/>
                  <a:pt x="1600200" y="73604"/>
                </a:cubicBezTo>
                <a:lnTo>
                  <a:pt x="1600200" y="783018"/>
                </a:lnTo>
                <a:lnTo>
                  <a:pt x="467659" y="783018"/>
                </a:lnTo>
                <a:lnTo>
                  <a:pt x="467659" y="629367"/>
                </a:lnTo>
                <a:cubicBezTo>
                  <a:pt x="467659" y="610437"/>
                  <a:pt x="452313" y="595091"/>
                  <a:pt x="433383" y="595091"/>
                </a:cubicBezTo>
                <a:lnTo>
                  <a:pt x="0" y="595091"/>
                </a:lnTo>
                <a:lnTo>
                  <a:pt x="0" y="73604"/>
                </a:lnTo>
                <a:cubicBezTo>
                  <a:pt x="0" y="32954"/>
                  <a:pt x="32954" y="0"/>
                  <a:pt x="73604" y="0"/>
                </a:cubicBezTo>
                <a:close/>
              </a:path>
            </a:pathLst>
          </a:custGeom>
          <a:solidFill>
            <a:schemeClr val="bg2"/>
          </a:solidFill>
        </p:spPr>
        <p:txBody>
          <a:bodyPr wrap="square">
            <a:noAutofit/>
          </a:bodyPr>
          <a:lstStyle>
            <a:lvl1pPr algn="ctr">
              <a:defRPr sz="1000"/>
            </a:lvl1pPr>
          </a:lstStyle>
          <a:p>
            <a:endParaRPr lang="en-US"/>
          </a:p>
        </p:txBody>
      </p:sp>
      <p:sp>
        <p:nvSpPr>
          <p:cNvPr id="80" name="Picture Placeholder 79">
            <a:extLst>
              <a:ext uri="{FF2B5EF4-FFF2-40B4-BE49-F238E27FC236}">
                <a16:creationId xmlns:a16="http://schemas.microsoft.com/office/drawing/2014/main" id="{47F94CE4-6901-AC58-70F7-5E6F0E9352CF}"/>
              </a:ext>
            </a:extLst>
          </p:cNvPr>
          <p:cNvSpPr>
            <a:spLocks noGrp="1"/>
          </p:cNvSpPr>
          <p:nvPr>
            <p:ph type="pic" sz="quarter" idx="25"/>
          </p:nvPr>
        </p:nvSpPr>
        <p:spPr>
          <a:xfrm>
            <a:off x="342899" y="1722832"/>
            <a:ext cx="1600200" cy="783018"/>
          </a:xfrm>
          <a:custGeom>
            <a:avLst/>
            <a:gdLst>
              <a:gd name="connsiteX0" fmla="*/ 73604 w 1600200"/>
              <a:gd name="connsiteY0" fmla="*/ 0 h 783018"/>
              <a:gd name="connsiteX1" fmla="*/ 1526596 w 1600200"/>
              <a:gd name="connsiteY1" fmla="*/ 0 h 783018"/>
              <a:gd name="connsiteX2" fmla="*/ 1600200 w 1600200"/>
              <a:gd name="connsiteY2" fmla="*/ 73604 h 783018"/>
              <a:gd name="connsiteX3" fmla="*/ 1600200 w 1600200"/>
              <a:gd name="connsiteY3" fmla="*/ 783018 h 783018"/>
              <a:gd name="connsiteX4" fmla="*/ 467659 w 1600200"/>
              <a:gd name="connsiteY4" fmla="*/ 783018 h 783018"/>
              <a:gd name="connsiteX5" fmla="*/ 467659 w 1600200"/>
              <a:gd name="connsiteY5" fmla="*/ 622830 h 783018"/>
              <a:gd name="connsiteX6" fmla="*/ 433383 w 1600200"/>
              <a:gd name="connsiteY6" fmla="*/ 588554 h 783018"/>
              <a:gd name="connsiteX7" fmla="*/ 0 w 1600200"/>
              <a:gd name="connsiteY7" fmla="*/ 588554 h 783018"/>
              <a:gd name="connsiteX8" fmla="*/ 0 w 1600200"/>
              <a:gd name="connsiteY8" fmla="*/ 73604 h 783018"/>
              <a:gd name="connsiteX9" fmla="*/ 73604 w 1600200"/>
              <a:gd name="connsiteY9" fmla="*/ 0 h 78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0200" h="783018">
                <a:moveTo>
                  <a:pt x="73604" y="0"/>
                </a:moveTo>
                <a:lnTo>
                  <a:pt x="1526596" y="0"/>
                </a:lnTo>
                <a:cubicBezTo>
                  <a:pt x="1567246" y="0"/>
                  <a:pt x="1600200" y="32954"/>
                  <a:pt x="1600200" y="73604"/>
                </a:cubicBezTo>
                <a:lnTo>
                  <a:pt x="1600200" y="783018"/>
                </a:lnTo>
                <a:lnTo>
                  <a:pt x="467659" y="783018"/>
                </a:lnTo>
                <a:lnTo>
                  <a:pt x="467659" y="622830"/>
                </a:lnTo>
                <a:cubicBezTo>
                  <a:pt x="467659" y="603900"/>
                  <a:pt x="452313" y="588554"/>
                  <a:pt x="433383" y="588554"/>
                </a:cubicBezTo>
                <a:lnTo>
                  <a:pt x="0" y="588554"/>
                </a:lnTo>
                <a:lnTo>
                  <a:pt x="0" y="73604"/>
                </a:lnTo>
                <a:cubicBezTo>
                  <a:pt x="0" y="32954"/>
                  <a:pt x="32954" y="0"/>
                  <a:pt x="73604" y="0"/>
                </a:cubicBezTo>
                <a:close/>
              </a:path>
            </a:pathLst>
          </a:custGeom>
          <a:solidFill>
            <a:schemeClr val="bg2"/>
          </a:solidFill>
        </p:spPr>
        <p:txBody>
          <a:bodyPr wrap="square">
            <a:noAutofit/>
          </a:bodyPr>
          <a:lstStyle>
            <a:lvl1pPr algn="ctr">
              <a:defRPr sz="1000"/>
            </a:lvl1pPr>
          </a:lstStyle>
          <a:p>
            <a:endParaRPr lang="en-US"/>
          </a:p>
        </p:txBody>
      </p:sp>
      <p:sp>
        <p:nvSpPr>
          <p:cNvPr id="81" name="Picture Placeholder 80">
            <a:extLst>
              <a:ext uri="{FF2B5EF4-FFF2-40B4-BE49-F238E27FC236}">
                <a16:creationId xmlns:a16="http://schemas.microsoft.com/office/drawing/2014/main" id="{D919CAE2-E7D8-9865-F3C2-60F50708B430}"/>
              </a:ext>
            </a:extLst>
          </p:cNvPr>
          <p:cNvSpPr>
            <a:spLocks noGrp="1"/>
          </p:cNvSpPr>
          <p:nvPr>
            <p:ph type="pic" sz="quarter" idx="26"/>
          </p:nvPr>
        </p:nvSpPr>
        <p:spPr>
          <a:xfrm>
            <a:off x="2007974" y="1722832"/>
            <a:ext cx="1600200" cy="783018"/>
          </a:xfrm>
          <a:custGeom>
            <a:avLst/>
            <a:gdLst>
              <a:gd name="connsiteX0" fmla="*/ 73604 w 1600200"/>
              <a:gd name="connsiteY0" fmla="*/ 0 h 783018"/>
              <a:gd name="connsiteX1" fmla="*/ 1526596 w 1600200"/>
              <a:gd name="connsiteY1" fmla="*/ 0 h 783018"/>
              <a:gd name="connsiteX2" fmla="*/ 1600200 w 1600200"/>
              <a:gd name="connsiteY2" fmla="*/ 73604 h 783018"/>
              <a:gd name="connsiteX3" fmla="*/ 1600200 w 1600200"/>
              <a:gd name="connsiteY3" fmla="*/ 783018 h 783018"/>
              <a:gd name="connsiteX4" fmla="*/ 467659 w 1600200"/>
              <a:gd name="connsiteY4" fmla="*/ 783018 h 783018"/>
              <a:gd name="connsiteX5" fmla="*/ 467659 w 1600200"/>
              <a:gd name="connsiteY5" fmla="*/ 622830 h 783018"/>
              <a:gd name="connsiteX6" fmla="*/ 433383 w 1600200"/>
              <a:gd name="connsiteY6" fmla="*/ 588554 h 783018"/>
              <a:gd name="connsiteX7" fmla="*/ 0 w 1600200"/>
              <a:gd name="connsiteY7" fmla="*/ 588554 h 783018"/>
              <a:gd name="connsiteX8" fmla="*/ 0 w 1600200"/>
              <a:gd name="connsiteY8" fmla="*/ 73604 h 783018"/>
              <a:gd name="connsiteX9" fmla="*/ 73604 w 1600200"/>
              <a:gd name="connsiteY9" fmla="*/ 0 h 78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0200" h="783018">
                <a:moveTo>
                  <a:pt x="73604" y="0"/>
                </a:moveTo>
                <a:lnTo>
                  <a:pt x="1526596" y="0"/>
                </a:lnTo>
                <a:cubicBezTo>
                  <a:pt x="1567246" y="0"/>
                  <a:pt x="1600200" y="32954"/>
                  <a:pt x="1600200" y="73604"/>
                </a:cubicBezTo>
                <a:lnTo>
                  <a:pt x="1600200" y="783018"/>
                </a:lnTo>
                <a:lnTo>
                  <a:pt x="467659" y="783018"/>
                </a:lnTo>
                <a:lnTo>
                  <a:pt x="467659" y="622830"/>
                </a:lnTo>
                <a:cubicBezTo>
                  <a:pt x="467659" y="603900"/>
                  <a:pt x="452313" y="588554"/>
                  <a:pt x="433383" y="588554"/>
                </a:cubicBezTo>
                <a:lnTo>
                  <a:pt x="0" y="588554"/>
                </a:lnTo>
                <a:lnTo>
                  <a:pt x="0" y="73604"/>
                </a:lnTo>
                <a:cubicBezTo>
                  <a:pt x="0" y="32954"/>
                  <a:pt x="32954" y="0"/>
                  <a:pt x="73604" y="0"/>
                </a:cubicBezTo>
                <a:close/>
              </a:path>
            </a:pathLst>
          </a:custGeom>
          <a:solidFill>
            <a:schemeClr val="bg2"/>
          </a:solidFill>
        </p:spPr>
        <p:txBody>
          <a:bodyPr wrap="square">
            <a:noAutofit/>
          </a:bodyPr>
          <a:lstStyle>
            <a:lvl1pPr algn="ctr">
              <a:defRPr sz="1000"/>
            </a:lvl1pPr>
          </a:lstStyle>
          <a:p>
            <a:endParaRPr lang="en-US"/>
          </a:p>
        </p:txBody>
      </p:sp>
      <p:sp>
        <p:nvSpPr>
          <p:cNvPr id="82" name="Picture Placeholder 81">
            <a:extLst>
              <a:ext uri="{FF2B5EF4-FFF2-40B4-BE49-F238E27FC236}">
                <a16:creationId xmlns:a16="http://schemas.microsoft.com/office/drawing/2014/main" id="{2297B5FA-6131-BB5E-E12D-B2B2F0B3CE30}"/>
              </a:ext>
            </a:extLst>
          </p:cNvPr>
          <p:cNvSpPr>
            <a:spLocks noGrp="1"/>
          </p:cNvSpPr>
          <p:nvPr>
            <p:ph type="pic" sz="quarter" idx="27"/>
          </p:nvPr>
        </p:nvSpPr>
        <p:spPr>
          <a:xfrm>
            <a:off x="3673048" y="1722832"/>
            <a:ext cx="1600200" cy="783018"/>
          </a:xfrm>
          <a:custGeom>
            <a:avLst/>
            <a:gdLst>
              <a:gd name="connsiteX0" fmla="*/ 73604 w 1600200"/>
              <a:gd name="connsiteY0" fmla="*/ 0 h 783018"/>
              <a:gd name="connsiteX1" fmla="*/ 1526596 w 1600200"/>
              <a:gd name="connsiteY1" fmla="*/ 0 h 783018"/>
              <a:gd name="connsiteX2" fmla="*/ 1600200 w 1600200"/>
              <a:gd name="connsiteY2" fmla="*/ 73604 h 783018"/>
              <a:gd name="connsiteX3" fmla="*/ 1600200 w 1600200"/>
              <a:gd name="connsiteY3" fmla="*/ 783018 h 783018"/>
              <a:gd name="connsiteX4" fmla="*/ 467659 w 1600200"/>
              <a:gd name="connsiteY4" fmla="*/ 783018 h 783018"/>
              <a:gd name="connsiteX5" fmla="*/ 467659 w 1600200"/>
              <a:gd name="connsiteY5" fmla="*/ 622830 h 783018"/>
              <a:gd name="connsiteX6" fmla="*/ 433383 w 1600200"/>
              <a:gd name="connsiteY6" fmla="*/ 588554 h 783018"/>
              <a:gd name="connsiteX7" fmla="*/ 0 w 1600200"/>
              <a:gd name="connsiteY7" fmla="*/ 588554 h 783018"/>
              <a:gd name="connsiteX8" fmla="*/ 0 w 1600200"/>
              <a:gd name="connsiteY8" fmla="*/ 73604 h 783018"/>
              <a:gd name="connsiteX9" fmla="*/ 73604 w 1600200"/>
              <a:gd name="connsiteY9" fmla="*/ 0 h 78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0200" h="783018">
                <a:moveTo>
                  <a:pt x="73604" y="0"/>
                </a:moveTo>
                <a:lnTo>
                  <a:pt x="1526596" y="0"/>
                </a:lnTo>
                <a:cubicBezTo>
                  <a:pt x="1567246" y="0"/>
                  <a:pt x="1600200" y="32954"/>
                  <a:pt x="1600200" y="73604"/>
                </a:cubicBezTo>
                <a:lnTo>
                  <a:pt x="1600200" y="783018"/>
                </a:lnTo>
                <a:lnTo>
                  <a:pt x="467659" y="783018"/>
                </a:lnTo>
                <a:lnTo>
                  <a:pt x="467659" y="622830"/>
                </a:lnTo>
                <a:cubicBezTo>
                  <a:pt x="467659" y="603900"/>
                  <a:pt x="452313" y="588554"/>
                  <a:pt x="433383" y="588554"/>
                </a:cubicBezTo>
                <a:lnTo>
                  <a:pt x="0" y="588554"/>
                </a:lnTo>
                <a:lnTo>
                  <a:pt x="0" y="73604"/>
                </a:lnTo>
                <a:cubicBezTo>
                  <a:pt x="0" y="32954"/>
                  <a:pt x="32954" y="0"/>
                  <a:pt x="73604" y="0"/>
                </a:cubicBezTo>
                <a:close/>
              </a:path>
            </a:pathLst>
          </a:custGeom>
          <a:solidFill>
            <a:schemeClr val="bg2"/>
          </a:solidFill>
        </p:spPr>
        <p:txBody>
          <a:bodyPr wrap="square">
            <a:noAutofit/>
          </a:bodyPr>
          <a:lstStyle>
            <a:lvl1pPr algn="ctr">
              <a:defRPr sz="1000"/>
            </a:lvl1pPr>
          </a:lstStyle>
          <a:p>
            <a:endParaRPr lang="en-US"/>
          </a:p>
        </p:txBody>
      </p:sp>
      <p:sp>
        <p:nvSpPr>
          <p:cNvPr id="83" name="Picture Placeholder 82">
            <a:extLst>
              <a:ext uri="{FF2B5EF4-FFF2-40B4-BE49-F238E27FC236}">
                <a16:creationId xmlns:a16="http://schemas.microsoft.com/office/drawing/2014/main" id="{A8D14D86-EF48-7329-B004-BAA076D26AEC}"/>
              </a:ext>
            </a:extLst>
          </p:cNvPr>
          <p:cNvSpPr>
            <a:spLocks noGrp="1"/>
          </p:cNvSpPr>
          <p:nvPr>
            <p:ph type="pic" sz="quarter" idx="28"/>
          </p:nvPr>
        </p:nvSpPr>
        <p:spPr>
          <a:xfrm>
            <a:off x="5338124" y="1722832"/>
            <a:ext cx="1600200" cy="783018"/>
          </a:xfrm>
          <a:custGeom>
            <a:avLst/>
            <a:gdLst>
              <a:gd name="connsiteX0" fmla="*/ 73604 w 1600200"/>
              <a:gd name="connsiteY0" fmla="*/ 0 h 783018"/>
              <a:gd name="connsiteX1" fmla="*/ 1526596 w 1600200"/>
              <a:gd name="connsiteY1" fmla="*/ 0 h 783018"/>
              <a:gd name="connsiteX2" fmla="*/ 1600200 w 1600200"/>
              <a:gd name="connsiteY2" fmla="*/ 73604 h 783018"/>
              <a:gd name="connsiteX3" fmla="*/ 1600200 w 1600200"/>
              <a:gd name="connsiteY3" fmla="*/ 783018 h 783018"/>
              <a:gd name="connsiteX4" fmla="*/ 467659 w 1600200"/>
              <a:gd name="connsiteY4" fmla="*/ 783018 h 783018"/>
              <a:gd name="connsiteX5" fmla="*/ 467659 w 1600200"/>
              <a:gd name="connsiteY5" fmla="*/ 622830 h 783018"/>
              <a:gd name="connsiteX6" fmla="*/ 433383 w 1600200"/>
              <a:gd name="connsiteY6" fmla="*/ 588554 h 783018"/>
              <a:gd name="connsiteX7" fmla="*/ 0 w 1600200"/>
              <a:gd name="connsiteY7" fmla="*/ 588554 h 783018"/>
              <a:gd name="connsiteX8" fmla="*/ 0 w 1600200"/>
              <a:gd name="connsiteY8" fmla="*/ 73604 h 783018"/>
              <a:gd name="connsiteX9" fmla="*/ 73604 w 1600200"/>
              <a:gd name="connsiteY9" fmla="*/ 0 h 78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0200" h="783018">
                <a:moveTo>
                  <a:pt x="73604" y="0"/>
                </a:moveTo>
                <a:lnTo>
                  <a:pt x="1526596" y="0"/>
                </a:lnTo>
                <a:cubicBezTo>
                  <a:pt x="1567246" y="0"/>
                  <a:pt x="1600200" y="32954"/>
                  <a:pt x="1600200" y="73604"/>
                </a:cubicBezTo>
                <a:lnTo>
                  <a:pt x="1600200" y="783018"/>
                </a:lnTo>
                <a:lnTo>
                  <a:pt x="467659" y="783018"/>
                </a:lnTo>
                <a:lnTo>
                  <a:pt x="467659" y="622830"/>
                </a:lnTo>
                <a:cubicBezTo>
                  <a:pt x="467659" y="603900"/>
                  <a:pt x="452313" y="588554"/>
                  <a:pt x="433383" y="588554"/>
                </a:cubicBezTo>
                <a:lnTo>
                  <a:pt x="0" y="588554"/>
                </a:lnTo>
                <a:lnTo>
                  <a:pt x="0" y="73604"/>
                </a:lnTo>
                <a:cubicBezTo>
                  <a:pt x="0" y="32954"/>
                  <a:pt x="32954" y="0"/>
                  <a:pt x="73604" y="0"/>
                </a:cubicBezTo>
                <a:close/>
              </a:path>
            </a:pathLst>
          </a:custGeom>
          <a:solidFill>
            <a:schemeClr val="bg2"/>
          </a:solidFill>
        </p:spPr>
        <p:txBody>
          <a:bodyPr wrap="square">
            <a:noAutofit/>
          </a:bodyPr>
          <a:lstStyle>
            <a:lvl1pPr algn="ctr">
              <a:defRPr sz="1000"/>
            </a:lvl1pPr>
          </a:lstStyle>
          <a:p>
            <a:endParaRPr lang="en-US"/>
          </a:p>
        </p:txBody>
      </p:sp>
      <p:sp>
        <p:nvSpPr>
          <p:cNvPr id="84" name="Picture Placeholder 83">
            <a:extLst>
              <a:ext uri="{FF2B5EF4-FFF2-40B4-BE49-F238E27FC236}">
                <a16:creationId xmlns:a16="http://schemas.microsoft.com/office/drawing/2014/main" id="{52122341-25AE-DAA3-A6D1-439DC79B82EF}"/>
              </a:ext>
            </a:extLst>
          </p:cNvPr>
          <p:cNvSpPr>
            <a:spLocks noGrp="1"/>
          </p:cNvSpPr>
          <p:nvPr>
            <p:ph type="pic" sz="quarter" idx="29"/>
          </p:nvPr>
        </p:nvSpPr>
        <p:spPr>
          <a:xfrm>
            <a:off x="7003199" y="1722832"/>
            <a:ext cx="1600200" cy="783018"/>
          </a:xfrm>
          <a:custGeom>
            <a:avLst/>
            <a:gdLst>
              <a:gd name="connsiteX0" fmla="*/ 73604 w 1600200"/>
              <a:gd name="connsiteY0" fmla="*/ 0 h 783018"/>
              <a:gd name="connsiteX1" fmla="*/ 1526596 w 1600200"/>
              <a:gd name="connsiteY1" fmla="*/ 0 h 783018"/>
              <a:gd name="connsiteX2" fmla="*/ 1600200 w 1600200"/>
              <a:gd name="connsiteY2" fmla="*/ 73604 h 783018"/>
              <a:gd name="connsiteX3" fmla="*/ 1600200 w 1600200"/>
              <a:gd name="connsiteY3" fmla="*/ 783018 h 783018"/>
              <a:gd name="connsiteX4" fmla="*/ 467659 w 1600200"/>
              <a:gd name="connsiteY4" fmla="*/ 783018 h 783018"/>
              <a:gd name="connsiteX5" fmla="*/ 467659 w 1600200"/>
              <a:gd name="connsiteY5" fmla="*/ 622830 h 783018"/>
              <a:gd name="connsiteX6" fmla="*/ 433383 w 1600200"/>
              <a:gd name="connsiteY6" fmla="*/ 588554 h 783018"/>
              <a:gd name="connsiteX7" fmla="*/ 0 w 1600200"/>
              <a:gd name="connsiteY7" fmla="*/ 588554 h 783018"/>
              <a:gd name="connsiteX8" fmla="*/ 0 w 1600200"/>
              <a:gd name="connsiteY8" fmla="*/ 73604 h 783018"/>
              <a:gd name="connsiteX9" fmla="*/ 73604 w 1600200"/>
              <a:gd name="connsiteY9" fmla="*/ 0 h 78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0200" h="783018">
                <a:moveTo>
                  <a:pt x="73604" y="0"/>
                </a:moveTo>
                <a:lnTo>
                  <a:pt x="1526596" y="0"/>
                </a:lnTo>
                <a:cubicBezTo>
                  <a:pt x="1567246" y="0"/>
                  <a:pt x="1600200" y="32954"/>
                  <a:pt x="1600200" y="73604"/>
                </a:cubicBezTo>
                <a:lnTo>
                  <a:pt x="1600200" y="783018"/>
                </a:lnTo>
                <a:lnTo>
                  <a:pt x="467659" y="783018"/>
                </a:lnTo>
                <a:lnTo>
                  <a:pt x="467659" y="622830"/>
                </a:lnTo>
                <a:cubicBezTo>
                  <a:pt x="467659" y="603900"/>
                  <a:pt x="452313" y="588554"/>
                  <a:pt x="433383" y="588554"/>
                </a:cubicBezTo>
                <a:lnTo>
                  <a:pt x="0" y="588554"/>
                </a:lnTo>
                <a:lnTo>
                  <a:pt x="0" y="73604"/>
                </a:lnTo>
                <a:cubicBezTo>
                  <a:pt x="0" y="32954"/>
                  <a:pt x="32954" y="0"/>
                  <a:pt x="73604" y="0"/>
                </a:cubicBezTo>
                <a:close/>
              </a:path>
            </a:pathLst>
          </a:custGeom>
          <a:solidFill>
            <a:schemeClr val="bg2"/>
          </a:solidFill>
        </p:spPr>
        <p:txBody>
          <a:bodyPr wrap="square">
            <a:noAutofit/>
          </a:bodyPr>
          <a:lstStyle>
            <a:lvl1pPr algn="ctr">
              <a:defRPr sz="1000"/>
            </a:lvl1pPr>
          </a:lstStyle>
          <a:p>
            <a:endParaRPr lang="en-US"/>
          </a:p>
        </p:txBody>
      </p:sp>
      <p:sp>
        <p:nvSpPr>
          <p:cNvPr id="85" name="Picture Placeholder 84">
            <a:extLst>
              <a:ext uri="{FF2B5EF4-FFF2-40B4-BE49-F238E27FC236}">
                <a16:creationId xmlns:a16="http://schemas.microsoft.com/office/drawing/2014/main" id="{2516F144-8A1A-2245-BAE7-7D7C72DEEB1C}"/>
              </a:ext>
            </a:extLst>
          </p:cNvPr>
          <p:cNvSpPr>
            <a:spLocks noGrp="1"/>
          </p:cNvSpPr>
          <p:nvPr>
            <p:ph type="pic" sz="quarter" idx="30"/>
          </p:nvPr>
        </p:nvSpPr>
        <p:spPr>
          <a:xfrm>
            <a:off x="8668274" y="1722832"/>
            <a:ext cx="1600200" cy="783018"/>
          </a:xfrm>
          <a:custGeom>
            <a:avLst/>
            <a:gdLst>
              <a:gd name="connsiteX0" fmla="*/ 73604 w 1600200"/>
              <a:gd name="connsiteY0" fmla="*/ 0 h 783018"/>
              <a:gd name="connsiteX1" fmla="*/ 1526596 w 1600200"/>
              <a:gd name="connsiteY1" fmla="*/ 0 h 783018"/>
              <a:gd name="connsiteX2" fmla="*/ 1600200 w 1600200"/>
              <a:gd name="connsiteY2" fmla="*/ 73604 h 783018"/>
              <a:gd name="connsiteX3" fmla="*/ 1600200 w 1600200"/>
              <a:gd name="connsiteY3" fmla="*/ 783018 h 783018"/>
              <a:gd name="connsiteX4" fmla="*/ 467659 w 1600200"/>
              <a:gd name="connsiteY4" fmla="*/ 783018 h 783018"/>
              <a:gd name="connsiteX5" fmla="*/ 467659 w 1600200"/>
              <a:gd name="connsiteY5" fmla="*/ 622830 h 783018"/>
              <a:gd name="connsiteX6" fmla="*/ 433383 w 1600200"/>
              <a:gd name="connsiteY6" fmla="*/ 588554 h 783018"/>
              <a:gd name="connsiteX7" fmla="*/ 0 w 1600200"/>
              <a:gd name="connsiteY7" fmla="*/ 588554 h 783018"/>
              <a:gd name="connsiteX8" fmla="*/ 0 w 1600200"/>
              <a:gd name="connsiteY8" fmla="*/ 73604 h 783018"/>
              <a:gd name="connsiteX9" fmla="*/ 73604 w 1600200"/>
              <a:gd name="connsiteY9" fmla="*/ 0 h 78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0200" h="783018">
                <a:moveTo>
                  <a:pt x="73604" y="0"/>
                </a:moveTo>
                <a:lnTo>
                  <a:pt x="1526596" y="0"/>
                </a:lnTo>
                <a:cubicBezTo>
                  <a:pt x="1567246" y="0"/>
                  <a:pt x="1600200" y="32954"/>
                  <a:pt x="1600200" y="73604"/>
                </a:cubicBezTo>
                <a:lnTo>
                  <a:pt x="1600200" y="783018"/>
                </a:lnTo>
                <a:lnTo>
                  <a:pt x="467659" y="783018"/>
                </a:lnTo>
                <a:lnTo>
                  <a:pt x="467659" y="622830"/>
                </a:lnTo>
                <a:cubicBezTo>
                  <a:pt x="467659" y="603900"/>
                  <a:pt x="452313" y="588554"/>
                  <a:pt x="433383" y="588554"/>
                </a:cubicBezTo>
                <a:lnTo>
                  <a:pt x="0" y="588554"/>
                </a:lnTo>
                <a:lnTo>
                  <a:pt x="0" y="73604"/>
                </a:lnTo>
                <a:cubicBezTo>
                  <a:pt x="0" y="32954"/>
                  <a:pt x="32954" y="0"/>
                  <a:pt x="73604" y="0"/>
                </a:cubicBezTo>
                <a:close/>
              </a:path>
            </a:pathLst>
          </a:custGeom>
          <a:solidFill>
            <a:schemeClr val="bg2"/>
          </a:solidFill>
        </p:spPr>
        <p:txBody>
          <a:bodyPr wrap="square">
            <a:noAutofit/>
          </a:bodyPr>
          <a:lstStyle>
            <a:lvl1pPr algn="ctr">
              <a:defRPr sz="1000"/>
            </a:lvl1pPr>
          </a:lstStyle>
          <a:p>
            <a:endParaRPr lang="en-US"/>
          </a:p>
        </p:txBody>
      </p:sp>
      <p:sp>
        <p:nvSpPr>
          <p:cNvPr id="88" name="Picture Placeholder 87">
            <a:extLst>
              <a:ext uri="{FF2B5EF4-FFF2-40B4-BE49-F238E27FC236}">
                <a16:creationId xmlns:a16="http://schemas.microsoft.com/office/drawing/2014/main" id="{8B5173AE-AE78-1486-FAB4-AE7533495CEF}"/>
              </a:ext>
            </a:extLst>
          </p:cNvPr>
          <p:cNvSpPr>
            <a:spLocks noGrp="1"/>
          </p:cNvSpPr>
          <p:nvPr>
            <p:ph type="pic" sz="quarter" idx="31"/>
          </p:nvPr>
        </p:nvSpPr>
        <p:spPr>
          <a:xfrm>
            <a:off x="10333347" y="1719657"/>
            <a:ext cx="1600200" cy="783018"/>
          </a:xfrm>
          <a:custGeom>
            <a:avLst/>
            <a:gdLst>
              <a:gd name="connsiteX0" fmla="*/ 73604 w 1600200"/>
              <a:gd name="connsiteY0" fmla="*/ 0 h 783018"/>
              <a:gd name="connsiteX1" fmla="*/ 1526596 w 1600200"/>
              <a:gd name="connsiteY1" fmla="*/ 0 h 783018"/>
              <a:gd name="connsiteX2" fmla="*/ 1600200 w 1600200"/>
              <a:gd name="connsiteY2" fmla="*/ 73604 h 783018"/>
              <a:gd name="connsiteX3" fmla="*/ 1600200 w 1600200"/>
              <a:gd name="connsiteY3" fmla="*/ 783018 h 783018"/>
              <a:gd name="connsiteX4" fmla="*/ 467659 w 1600200"/>
              <a:gd name="connsiteY4" fmla="*/ 783018 h 783018"/>
              <a:gd name="connsiteX5" fmla="*/ 467659 w 1600200"/>
              <a:gd name="connsiteY5" fmla="*/ 626005 h 783018"/>
              <a:gd name="connsiteX6" fmla="*/ 433383 w 1600200"/>
              <a:gd name="connsiteY6" fmla="*/ 591729 h 783018"/>
              <a:gd name="connsiteX7" fmla="*/ 0 w 1600200"/>
              <a:gd name="connsiteY7" fmla="*/ 591729 h 783018"/>
              <a:gd name="connsiteX8" fmla="*/ 0 w 1600200"/>
              <a:gd name="connsiteY8" fmla="*/ 73604 h 783018"/>
              <a:gd name="connsiteX9" fmla="*/ 73604 w 1600200"/>
              <a:gd name="connsiteY9" fmla="*/ 0 h 78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0200" h="783018">
                <a:moveTo>
                  <a:pt x="73604" y="0"/>
                </a:moveTo>
                <a:lnTo>
                  <a:pt x="1526596" y="0"/>
                </a:lnTo>
                <a:cubicBezTo>
                  <a:pt x="1567246" y="0"/>
                  <a:pt x="1600200" y="32954"/>
                  <a:pt x="1600200" y="73604"/>
                </a:cubicBezTo>
                <a:lnTo>
                  <a:pt x="1600200" y="783018"/>
                </a:lnTo>
                <a:lnTo>
                  <a:pt x="467659" y="783018"/>
                </a:lnTo>
                <a:lnTo>
                  <a:pt x="467659" y="626005"/>
                </a:lnTo>
                <a:cubicBezTo>
                  <a:pt x="467659" y="607075"/>
                  <a:pt x="452313" y="591729"/>
                  <a:pt x="433383" y="591729"/>
                </a:cubicBezTo>
                <a:lnTo>
                  <a:pt x="0" y="591729"/>
                </a:lnTo>
                <a:lnTo>
                  <a:pt x="0" y="73604"/>
                </a:lnTo>
                <a:cubicBezTo>
                  <a:pt x="0" y="32954"/>
                  <a:pt x="32954" y="0"/>
                  <a:pt x="73604" y="0"/>
                </a:cubicBezTo>
                <a:close/>
              </a:path>
            </a:pathLst>
          </a:custGeom>
          <a:solidFill>
            <a:schemeClr val="bg2"/>
          </a:solidFill>
        </p:spPr>
        <p:txBody>
          <a:bodyPr wrap="square">
            <a:noAutofit/>
          </a:bodyPr>
          <a:lstStyle>
            <a:lvl1pPr algn="ctr">
              <a:defRPr sz="1000"/>
            </a:lvl1pPr>
          </a:lstStyle>
          <a:p>
            <a:endParaRPr lang="en-US"/>
          </a:p>
        </p:txBody>
      </p:sp>
      <p:pic>
        <p:nvPicPr>
          <p:cNvPr id="2" name="Graphic 1">
            <a:extLst>
              <a:ext uri="{FF2B5EF4-FFF2-40B4-BE49-F238E27FC236}">
                <a16:creationId xmlns:a16="http://schemas.microsoft.com/office/drawing/2014/main" id="{2D0D2E25-1A53-33EF-FCB0-743FD6EE20C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02394" y="141214"/>
            <a:ext cx="780831" cy="187399"/>
          </a:xfrm>
          <a:prstGeom prst="rect">
            <a:avLst/>
          </a:prstGeom>
        </p:spPr>
      </p:pic>
      <p:sp>
        <p:nvSpPr>
          <p:cNvPr id="3" name="object 17">
            <a:extLst>
              <a:ext uri="{FF2B5EF4-FFF2-40B4-BE49-F238E27FC236}">
                <a16:creationId xmlns:a16="http://schemas.microsoft.com/office/drawing/2014/main" id="{77B9B0D0-474C-F0DE-4740-4A9296600D79}"/>
              </a:ext>
            </a:extLst>
          </p:cNvPr>
          <p:cNvSpPr txBox="1">
            <a:spLocks/>
          </p:cNvSpPr>
          <p:nvPr userDrawn="1"/>
        </p:nvSpPr>
        <p:spPr>
          <a:xfrm>
            <a:off x="11649283" y="210332"/>
            <a:ext cx="425305" cy="129074"/>
          </a:xfrm>
          <a:prstGeom prst="rect">
            <a:avLst/>
          </a:prstGeom>
        </p:spPr>
        <p:txBody>
          <a:bodyPr vert="horz" wrap="square" lIns="0" tIns="12700" rIns="0" bIns="0" rtlCol="0" anchor="t" anchorCtr="0">
            <a:spAutoFit/>
          </a:bodyPr>
          <a:lstStyle>
            <a:lvl1pPr algn="l" defTabSz="914400" rtl="0" eaLnBrk="1" latinLnBrk="0" hangingPunct="1">
              <a:lnSpc>
                <a:spcPct val="90000"/>
              </a:lnSpc>
              <a:spcBef>
                <a:spcPct val="0"/>
              </a:spcBef>
              <a:buNone/>
              <a:defRPr sz="3000" b="0" kern="1200" spc="0" baseline="0">
                <a:solidFill>
                  <a:schemeClr val="bg1"/>
                </a:solidFill>
                <a:latin typeface="Fibra One UltraBold" panose="00000900000000000000" pitchFamily="50" charset="0"/>
                <a:ea typeface="+mj-ea"/>
                <a:cs typeface="+mj-cs"/>
              </a:defRPr>
            </a:lvl1pPr>
          </a:lstStyle>
          <a:p>
            <a:pPr marL="12700" marR="0" lvl="0" indent="0" algn="ctr" defTabSz="914400" rtl="0" eaLnBrk="1" fontAlgn="auto" latinLnBrk="0" hangingPunct="1">
              <a:lnSpc>
                <a:spcPct val="114000"/>
              </a:lnSpc>
              <a:spcBef>
                <a:spcPts val="100"/>
              </a:spcBef>
              <a:spcAft>
                <a:spcPts val="0"/>
              </a:spcAft>
              <a:buClrTx/>
              <a:buSzTx/>
              <a:buFontTx/>
              <a:buNone/>
              <a:tabLst/>
              <a:defRPr/>
            </a:pPr>
            <a:fld id="{DC653A1D-CE81-1B46-9F19-36F2F8F55CD9}" type="slidenum">
              <a:rPr kumimoji="0" lang="en-IN" sz="700" b="1" i="0" u="none" strike="noStrike" kern="1200" cap="none" spc="0" normalizeH="0" baseline="0" noProof="0" smtClean="0">
                <a:ln>
                  <a:noFill/>
                </a:ln>
                <a:solidFill>
                  <a:schemeClr val="bg1"/>
                </a:solidFill>
                <a:effectLst/>
                <a:uLnTx/>
                <a:uFillTx/>
                <a:latin typeface="Fibra One Bold" pitchFamily="2" charset="77"/>
                <a:ea typeface="+mj-ea"/>
                <a:cs typeface="+mj-cs"/>
              </a:rPr>
              <a:pPr marL="12700" marR="0" lvl="0" indent="0" algn="ctr" defTabSz="914400" rtl="0" eaLnBrk="1" fontAlgn="auto" latinLnBrk="0" hangingPunct="1">
                <a:lnSpc>
                  <a:spcPct val="114000"/>
                </a:lnSpc>
                <a:spcBef>
                  <a:spcPts val="100"/>
                </a:spcBef>
                <a:spcAft>
                  <a:spcPts val="0"/>
                </a:spcAft>
                <a:buClrTx/>
                <a:buSzTx/>
                <a:buFontTx/>
                <a:buNone/>
                <a:tabLst/>
                <a:defRPr/>
              </a:pPr>
              <a:t>‹#›</a:t>
            </a:fld>
            <a:endParaRPr kumimoji="0" lang="en-IN" sz="600" b="0" i="0" u="none" strike="noStrike" kern="1200" cap="none" spc="0" normalizeH="0" baseline="0" noProof="0">
              <a:ln>
                <a:noFill/>
              </a:ln>
              <a:solidFill>
                <a:schemeClr val="bg1"/>
              </a:solidFill>
              <a:effectLst/>
              <a:uLnTx/>
              <a:uFillTx/>
              <a:latin typeface="Fibra One" pitchFamily="2" charset="77"/>
              <a:ea typeface="+mj-ea"/>
              <a:cs typeface="+mj-cs"/>
            </a:endParaRPr>
          </a:p>
        </p:txBody>
      </p:sp>
      <p:sp>
        <p:nvSpPr>
          <p:cNvPr id="5" name="object 17">
            <a:extLst>
              <a:ext uri="{FF2B5EF4-FFF2-40B4-BE49-F238E27FC236}">
                <a16:creationId xmlns:a16="http://schemas.microsoft.com/office/drawing/2014/main" id="{52E44225-A8BF-3248-13C7-92D805644958}"/>
              </a:ext>
            </a:extLst>
          </p:cNvPr>
          <p:cNvSpPr txBox="1">
            <a:spLocks/>
          </p:cNvSpPr>
          <p:nvPr userDrawn="1"/>
        </p:nvSpPr>
        <p:spPr>
          <a:xfrm rot="5400000">
            <a:off x="9824267" y="4472372"/>
            <a:ext cx="4116588" cy="129074"/>
          </a:xfrm>
          <a:prstGeom prst="rect">
            <a:avLst/>
          </a:prstGeom>
        </p:spPr>
        <p:txBody>
          <a:bodyPr vert="horz" wrap="square" lIns="0" tIns="12700" rIns="0" bIns="0" rtlCol="0" anchor="t" anchorCtr="0">
            <a:spAutoFit/>
          </a:bodyPr>
          <a:lstStyle>
            <a:lvl1pPr algn="l" defTabSz="914400" rtl="0" eaLnBrk="1" latinLnBrk="0" hangingPunct="1">
              <a:lnSpc>
                <a:spcPct val="90000"/>
              </a:lnSpc>
              <a:spcBef>
                <a:spcPct val="0"/>
              </a:spcBef>
              <a:buNone/>
              <a:defRPr sz="3000" b="0" kern="1200" spc="0" baseline="0">
                <a:solidFill>
                  <a:schemeClr val="bg1"/>
                </a:solidFill>
                <a:latin typeface="Fibra One UltraBold" panose="00000900000000000000" pitchFamily="50" charset="0"/>
                <a:ea typeface="+mj-ea"/>
                <a:cs typeface="+mj-cs"/>
              </a:defRPr>
            </a:lvl1pPr>
          </a:lstStyle>
          <a:p>
            <a:pPr marL="12700" marR="0" lvl="0" indent="0" algn="r" defTabSz="914400" rtl="0" eaLnBrk="1" fontAlgn="auto" latinLnBrk="0" hangingPunct="1">
              <a:lnSpc>
                <a:spcPct val="114000"/>
              </a:lnSpc>
              <a:spcBef>
                <a:spcPts val="100"/>
              </a:spcBef>
              <a:spcAft>
                <a:spcPts val="0"/>
              </a:spcAft>
              <a:buClrTx/>
              <a:buSzTx/>
              <a:buFontTx/>
              <a:buNone/>
              <a:tabLst/>
              <a:defRPr/>
            </a:pPr>
            <a:r>
              <a:rPr kumimoji="0" lang="en-IN" sz="700" b="1" i="0" u="none" strike="noStrike" kern="1200" cap="none" spc="0" normalizeH="0" baseline="0" noProof="0">
                <a:ln>
                  <a:noFill/>
                </a:ln>
                <a:solidFill>
                  <a:schemeClr val="bg1"/>
                </a:solidFill>
                <a:effectLst/>
                <a:uLnTx/>
                <a:uFillTx/>
                <a:latin typeface="Fibra One Bold" pitchFamily="2" charset="77"/>
                <a:ea typeface="+mj-ea"/>
                <a:cs typeface="+mj-cs"/>
              </a:rPr>
              <a:t>2023  PepsiCo ESG Summary Overview</a:t>
            </a:r>
          </a:p>
        </p:txBody>
      </p:sp>
      <p:sp>
        <p:nvSpPr>
          <p:cNvPr id="4" name="Title 3">
            <a:extLst>
              <a:ext uri="{FF2B5EF4-FFF2-40B4-BE49-F238E27FC236}">
                <a16:creationId xmlns:a16="http://schemas.microsoft.com/office/drawing/2014/main" id="{9EDC9058-100E-D0B5-56FF-17B8168C4118}"/>
              </a:ext>
            </a:extLst>
          </p:cNvPr>
          <p:cNvSpPr>
            <a:spLocks noGrp="1"/>
          </p:cNvSpPr>
          <p:nvPr>
            <p:ph type="title"/>
          </p:nvPr>
        </p:nvSpPr>
        <p:spPr>
          <a:xfrm>
            <a:off x="342900" y="689347"/>
            <a:ext cx="6592824" cy="332399"/>
          </a:xfrm>
        </p:spPr>
        <p:txBody>
          <a:bodyPr/>
          <a:lstStyle>
            <a:lvl1pPr>
              <a:defRPr>
                <a:solidFill>
                  <a:schemeClr val="bg1"/>
                </a:solidFill>
              </a:defRPr>
            </a:lvl1pPr>
          </a:lstStyle>
          <a:p>
            <a:r>
              <a:rPr lang="en-US"/>
              <a:t>Click to edit Master title style</a:t>
            </a:r>
          </a:p>
        </p:txBody>
      </p:sp>
      <p:sp>
        <p:nvSpPr>
          <p:cNvPr id="32" name="Rectangle 31">
            <a:extLst>
              <a:ext uri="{FF2B5EF4-FFF2-40B4-BE49-F238E27FC236}">
                <a16:creationId xmlns:a16="http://schemas.microsoft.com/office/drawing/2014/main" id="{CF5E058D-A480-A001-3EAB-C6ACD7C1DE08}"/>
              </a:ext>
            </a:extLst>
          </p:cNvPr>
          <p:cNvSpPr/>
          <p:nvPr userDrawn="1"/>
        </p:nvSpPr>
        <p:spPr>
          <a:xfrm>
            <a:off x="11787598" y="4637728"/>
            <a:ext cx="224986" cy="1984917"/>
          </a:xfrm>
          <a:prstGeom prst="rect">
            <a:avLst/>
          </a:prstGeom>
          <a:solidFill>
            <a:srgbClr val="0052D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Straight Connector 32">
            <a:extLst>
              <a:ext uri="{FF2B5EF4-FFF2-40B4-BE49-F238E27FC236}">
                <a16:creationId xmlns:a16="http://schemas.microsoft.com/office/drawing/2014/main" id="{3DDEB3C1-9A7D-D1C8-0141-68774150C68D}"/>
              </a:ext>
            </a:extLst>
          </p:cNvPr>
          <p:cNvCxnSpPr>
            <a:cxnSpLocks/>
          </p:cNvCxnSpPr>
          <p:nvPr userDrawn="1"/>
        </p:nvCxnSpPr>
        <p:spPr>
          <a:xfrm>
            <a:off x="342899" y="2517035"/>
            <a:ext cx="11756174" cy="0"/>
          </a:xfrm>
          <a:prstGeom prst="line">
            <a:avLst/>
          </a:prstGeom>
          <a:ln w="25400">
            <a:solidFill>
              <a:schemeClr val="accent4"/>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39AA07C-4E62-39D2-B3F4-131AC303CFBB}"/>
              </a:ext>
            </a:extLst>
          </p:cNvPr>
          <p:cNvCxnSpPr>
            <a:cxnSpLocks/>
          </p:cNvCxnSpPr>
          <p:nvPr userDrawn="1"/>
        </p:nvCxnSpPr>
        <p:spPr>
          <a:xfrm>
            <a:off x="342899" y="4255805"/>
            <a:ext cx="11756174" cy="0"/>
          </a:xfrm>
          <a:prstGeom prst="line">
            <a:avLst/>
          </a:prstGeom>
          <a:ln w="25400">
            <a:solidFill>
              <a:schemeClr val="accent4"/>
            </a:solidFill>
            <a:tailEnd type="arrow" w="med" len="sm"/>
          </a:ln>
        </p:spPr>
        <p:style>
          <a:lnRef idx="1">
            <a:schemeClr val="accent1"/>
          </a:lnRef>
          <a:fillRef idx="0">
            <a:schemeClr val="accent1"/>
          </a:fillRef>
          <a:effectRef idx="0">
            <a:schemeClr val="accent1"/>
          </a:effectRef>
          <a:fontRef idx="minor">
            <a:schemeClr val="tx1"/>
          </a:fontRef>
        </p:style>
      </p:cxnSp>
      <p:sp>
        <p:nvSpPr>
          <p:cNvPr id="35" name="Content Placeholder 2">
            <a:extLst>
              <a:ext uri="{FF2B5EF4-FFF2-40B4-BE49-F238E27FC236}">
                <a16:creationId xmlns:a16="http://schemas.microsoft.com/office/drawing/2014/main" id="{E0491554-E74E-64A6-5454-D25BE5E8C246}"/>
              </a:ext>
            </a:extLst>
          </p:cNvPr>
          <p:cNvSpPr txBox="1">
            <a:spLocks/>
          </p:cNvSpPr>
          <p:nvPr userDrawn="1"/>
        </p:nvSpPr>
        <p:spPr>
          <a:xfrm>
            <a:off x="342899" y="2311386"/>
            <a:ext cx="467659" cy="205649"/>
          </a:xfrm>
          <a:prstGeom prst="round1Rect">
            <a:avLst/>
          </a:prstGeom>
          <a:solidFill>
            <a:schemeClr val="accent4"/>
          </a:solidFill>
        </p:spPr>
        <p:txBody>
          <a:bodyPr vert="horz" lIns="0" tIns="0" rIns="0" bIns="0" rtlCol="0" anchor="ctr">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sz="1550" b="0" kern="1200">
                <a:solidFill>
                  <a:schemeClr val="tx1"/>
                </a:solidFill>
                <a:latin typeface="Fibra One UltraBold" panose="00000900000000000000" pitchFamily="50" charset="0"/>
                <a:ea typeface="+mn-ea"/>
                <a:cs typeface="+mn-cs"/>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sz="1400" b="1" kern="1200">
                <a:solidFill>
                  <a:schemeClr val="tx1"/>
                </a:solidFill>
                <a:latin typeface="+mn-lt"/>
                <a:ea typeface="+mn-ea"/>
                <a:cs typeface="+mn-cs"/>
              </a:defRPr>
            </a:lvl2pPr>
            <a:lvl3pPr marL="228600" indent="-228600" algn="l" defTabSz="914400" rtl="0" eaLnBrk="1" latinLnBrk="0" hangingPunct="1">
              <a:lnSpc>
                <a:spcPct val="110000"/>
              </a:lnSpc>
              <a:spcBef>
                <a:spcPts val="0"/>
              </a:spcBef>
              <a:spcAft>
                <a:spcPts val="600"/>
              </a:spcAft>
              <a:buClr>
                <a:schemeClr val="tx2"/>
              </a:buClr>
              <a:buFont typeface="Wingdings 2" panose="05020102010507070707" pitchFamily="18" charset="2"/>
              <a:buChar char=""/>
              <a:defRPr sz="1400" b="1"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600"/>
              </a:spcAft>
              <a:buFont typeface="Arial" panose="020B0604020202020204" pitchFamily="34" charset="0"/>
              <a:buNone/>
              <a:defRPr sz="155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5080" algn="ctr"/>
            <a:r>
              <a:rPr lang="en-IN" sz="900" b="1">
                <a:solidFill>
                  <a:schemeClr val="bg1"/>
                </a:solidFill>
                <a:latin typeface="Fibra One Heavy" pitchFamily="2" charset="77"/>
              </a:rPr>
              <a:t>2006</a:t>
            </a:r>
          </a:p>
        </p:txBody>
      </p:sp>
      <p:sp>
        <p:nvSpPr>
          <p:cNvPr id="36" name="Content Placeholder 2">
            <a:extLst>
              <a:ext uri="{FF2B5EF4-FFF2-40B4-BE49-F238E27FC236}">
                <a16:creationId xmlns:a16="http://schemas.microsoft.com/office/drawing/2014/main" id="{2D461E4C-6696-1825-B460-B913652452D6}"/>
              </a:ext>
            </a:extLst>
          </p:cNvPr>
          <p:cNvSpPr txBox="1">
            <a:spLocks/>
          </p:cNvSpPr>
          <p:nvPr userDrawn="1"/>
        </p:nvSpPr>
        <p:spPr>
          <a:xfrm>
            <a:off x="2007974" y="2311386"/>
            <a:ext cx="467659" cy="205649"/>
          </a:xfrm>
          <a:prstGeom prst="round1Rect">
            <a:avLst/>
          </a:prstGeom>
          <a:solidFill>
            <a:schemeClr val="accent4"/>
          </a:solidFill>
        </p:spPr>
        <p:txBody>
          <a:bodyPr vert="horz" lIns="0" tIns="0" rIns="0" bIns="0" rtlCol="0" anchor="ctr">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sz="1550" b="0" kern="1200">
                <a:solidFill>
                  <a:schemeClr val="tx1"/>
                </a:solidFill>
                <a:latin typeface="Fibra One UltraBold" panose="00000900000000000000" pitchFamily="50" charset="0"/>
                <a:ea typeface="+mn-ea"/>
                <a:cs typeface="+mn-cs"/>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sz="1400" b="1" kern="1200">
                <a:solidFill>
                  <a:schemeClr val="tx1"/>
                </a:solidFill>
                <a:latin typeface="+mn-lt"/>
                <a:ea typeface="+mn-ea"/>
                <a:cs typeface="+mn-cs"/>
              </a:defRPr>
            </a:lvl2pPr>
            <a:lvl3pPr marL="228600" indent="-228600" algn="l" defTabSz="914400" rtl="0" eaLnBrk="1" latinLnBrk="0" hangingPunct="1">
              <a:lnSpc>
                <a:spcPct val="110000"/>
              </a:lnSpc>
              <a:spcBef>
                <a:spcPts val="0"/>
              </a:spcBef>
              <a:spcAft>
                <a:spcPts val="600"/>
              </a:spcAft>
              <a:buClr>
                <a:schemeClr val="tx2"/>
              </a:buClr>
              <a:buFont typeface="Wingdings 2" panose="05020102010507070707" pitchFamily="18" charset="2"/>
              <a:buChar char=""/>
              <a:defRPr sz="1400" b="1"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600"/>
              </a:spcAft>
              <a:buFont typeface="Arial" panose="020B0604020202020204" pitchFamily="34" charset="0"/>
              <a:buNone/>
              <a:defRPr sz="155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5080" algn="ctr"/>
            <a:r>
              <a:rPr lang="en-IN" sz="900" b="1">
                <a:solidFill>
                  <a:schemeClr val="bg1"/>
                </a:solidFill>
                <a:latin typeface="Fibra One Heavy" pitchFamily="2" charset="77"/>
              </a:rPr>
              <a:t>2010</a:t>
            </a:r>
          </a:p>
        </p:txBody>
      </p:sp>
      <p:sp>
        <p:nvSpPr>
          <p:cNvPr id="37" name="Content Placeholder 2">
            <a:extLst>
              <a:ext uri="{FF2B5EF4-FFF2-40B4-BE49-F238E27FC236}">
                <a16:creationId xmlns:a16="http://schemas.microsoft.com/office/drawing/2014/main" id="{6874C618-5CC9-04C0-B5E2-C1682D9315CE}"/>
              </a:ext>
            </a:extLst>
          </p:cNvPr>
          <p:cNvSpPr txBox="1">
            <a:spLocks/>
          </p:cNvSpPr>
          <p:nvPr userDrawn="1"/>
        </p:nvSpPr>
        <p:spPr>
          <a:xfrm>
            <a:off x="3673048" y="2311386"/>
            <a:ext cx="467659" cy="205649"/>
          </a:xfrm>
          <a:prstGeom prst="round1Rect">
            <a:avLst/>
          </a:prstGeom>
          <a:solidFill>
            <a:schemeClr val="accent4"/>
          </a:solidFill>
        </p:spPr>
        <p:txBody>
          <a:bodyPr vert="horz" lIns="0" tIns="0" rIns="0" bIns="0" rtlCol="0" anchor="ctr">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sz="1550" b="0" kern="1200">
                <a:solidFill>
                  <a:schemeClr val="tx1"/>
                </a:solidFill>
                <a:latin typeface="Fibra One UltraBold" panose="00000900000000000000" pitchFamily="50" charset="0"/>
                <a:ea typeface="+mn-ea"/>
                <a:cs typeface="+mn-cs"/>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sz="1400" b="1" kern="1200">
                <a:solidFill>
                  <a:schemeClr val="tx1"/>
                </a:solidFill>
                <a:latin typeface="+mn-lt"/>
                <a:ea typeface="+mn-ea"/>
                <a:cs typeface="+mn-cs"/>
              </a:defRPr>
            </a:lvl2pPr>
            <a:lvl3pPr marL="228600" indent="-228600" algn="l" defTabSz="914400" rtl="0" eaLnBrk="1" latinLnBrk="0" hangingPunct="1">
              <a:lnSpc>
                <a:spcPct val="110000"/>
              </a:lnSpc>
              <a:spcBef>
                <a:spcPts val="0"/>
              </a:spcBef>
              <a:spcAft>
                <a:spcPts val="600"/>
              </a:spcAft>
              <a:buClr>
                <a:schemeClr val="tx2"/>
              </a:buClr>
              <a:buFont typeface="Wingdings 2" panose="05020102010507070707" pitchFamily="18" charset="2"/>
              <a:buChar char=""/>
              <a:defRPr sz="1400" b="1"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600"/>
              </a:spcAft>
              <a:buFont typeface="Arial" panose="020B0604020202020204" pitchFamily="34" charset="0"/>
              <a:buNone/>
              <a:defRPr sz="155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5080" algn="ctr"/>
            <a:r>
              <a:rPr lang="en-IN" sz="900" b="1">
                <a:solidFill>
                  <a:schemeClr val="bg1"/>
                </a:solidFill>
                <a:latin typeface="Fibra One Heavy" pitchFamily="2" charset="77"/>
              </a:rPr>
              <a:t>2012</a:t>
            </a:r>
          </a:p>
        </p:txBody>
      </p:sp>
      <p:sp>
        <p:nvSpPr>
          <p:cNvPr id="38" name="Content Placeholder 2">
            <a:extLst>
              <a:ext uri="{FF2B5EF4-FFF2-40B4-BE49-F238E27FC236}">
                <a16:creationId xmlns:a16="http://schemas.microsoft.com/office/drawing/2014/main" id="{BECC8A08-219D-12F5-3381-2EAA4579E162}"/>
              </a:ext>
            </a:extLst>
          </p:cNvPr>
          <p:cNvSpPr txBox="1">
            <a:spLocks/>
          </p:cNvSpPr>
          <p:nvPr userDrawn="1"/>
        </p:nvSpPr>
        <p:spPr>
          <a:xfrm>
            <a:off x="5338124" y="2311386"/>
            <a:ext cx="467659" cy="205649"/>
          </a:xfrm>
          <a:prstGeom prst="round1Rect">
            <a:avLst/>
          </a:prstGeom>
          <a:solidFill>
            <a:schemeClr val="accent4"/>
          </a:solidFill>
        </p:spPr>
        <p:txBody>
          <a:bodyPr vert="horz" lIns="0" tIns="0" rIns="0" bIns="0" rtlCol="0" anchor="ctr">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sz="1550" b="0" kern="1200">
                <a:solidFill>
                  <a:schemeClr val="tx1"/>
                </a:solidFill>
                <a:latin typeface="Fibra One UltraBold" panose="00000900000000000000" pitchFamily="50" charset="0"/>
                <a:ea typeface="+mn-ea"/>
                <a:cs typeface="+mn-cs"/>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sz="1400" b="1" kern="1200">
                <a:solidFill>
                  <a:schemeClr val="tx1"/>
                </a:solidFill>
                <a:latin typeface="+mn-lt"/>
                <a:ea typeface="+mn-ea"/>
                <a:cs typeface="+mn-cs"/>
              </a:defRPr>
            </a:lvl2pPr>
            <a:lvl3pPr marL="228600" indent="-228600" algn="l" defTabSz="914400" rtl="0" eaLnBrk="1" latinLnBrk="0" hangingPunct="1">
              <a:lnSpc>
                <a:spcPct val="110000"/>
              </a:lnSpc>
              <a:spcBef>
                <a:spcPts val="0"/>
              </a:spcBef>
              <a:spcAft>
                <a:spcPts val="600"/>
              </a:spcAft>
              <a:buClr>
                <a:schemeClr val="tx2"/>
              </a:buClr>
              <a:buFont typeface="Wingdings 2" panose="05020102010507070707" pitchFamily="18" charset="2"/>
              <a:buChar char=""/>
              <a:defRPr sz="1400" b="1"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600"/>
              </a:spcAft>
              <a:buFont typeface="Arial" panose="020B0604020202020204" pitchFamily="34" charset="0"/>
              <a:buNone/>
              <a:defRPr sz="155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5080" algn="ctr"/>
            <a:r>
              <a:rPr lang="en-IN" sz="900" b="1">
                <a:solidFill>
                  <a:schemeClr val="bg1"/>
                </a:solidFill>
                <a:latin typeface="Fibra One Heavy" pitchFamily="2" charset="77"/>
              </a:rPr>
              <a:t>2013</a:t>
            </a:r>
          </a:p>
        </p:txBody>
      </p:sp>
      <p:sp>
        <p:nvSpPr>
          <p:cNvPr id="39" name="Content Placeholder 2">
            <a:extLst>
              <a:ext uri="{FF2B5EF4-FFF2-40B4-BE49-F238E27FC236}">
                <a16:creationId xmlns:a16="http://schemas.microsoft.com/office/drawing/2014/main" id="{C4321018-6AA5-FB8E-3ED4-E41501E4E560}"/>
              </a:ext>
            </a:extLst>
          </p:cNvPr>
          <p:cNvSpPr txBox="1">
            <a:spLocks/>
          </p:cNvSpPr>
          <p:nvPr userDrawn="1"/>
        </p:nvSpPr>
        <p:spPr>
          <a:xfrm>
            <a:off x="7003199" y="2311386"/>
            <a:ext cx="467659" cy="205649"/>
          </a:xfrm>
          <a:prstGeom prst="round1Rect">
            <a:avLst/>
          </a:prstGeom>
          <a:solidFill>
            <a:schemeClr val="accent4"/>
          </a:solidFill>
        </p:spPr>
        <p:txBody>
          <a:bodyPr vert="horz" lIns="0" tIns="0" rIns="0" bIns="0" rtlCol="0" anchor="ctr">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sz="1550" b="0" kern="1200">
                <a:solidFill>
                  <a:schemeClr val="tx1"/>
                </a:solidFill>
                <a:latin typeface="Fibra One UltraBold" panose="00000900000000000000" pitchFamily="50" charset="0"/>
                <a:ea typeface="+mn-ea"/>
                <a:cs typeface="+mn-cs"/>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sz="1400" b="1" kern="1200">
                <a:solidFill>
                  <a:schemeClr val="tx1"/>
                </a:solidFill>
                <a:latin typeface="+mn-lt"/>
                <a:ea typeface="+mn-ea"/>
                <a:cs typeface="+mn-cs"/>
              </a:defRPr>
            </a:lvl2pPr>
            <a:lvl3pPr marL="228600" indent="-228600" algn="l" defTabSz="914400" rtl="0" eaLnBrk="1" latinLnBrk="0" hangingPunct="1">
              <a:lnSpc>
                <a:spcPct val="110000"/>
              </a:lnSpc>
              <a:spcBef>
                <a:spcPts val="0"/>
              </a:spcBef>
              <a:spcAft>
                <a:spcPts val="600"/>
              </a:spcAft>
              <a:buClr>
                <a:schemeClr val="tx2"/>
              </a:buClr>
              <a:buFont typeface="Wingdings 2" panose="05020102010507070707" pitchFamily="18" charset="2"/>
              <a:buChar char=""/>
              <a:defRPr sz="1400" b="1"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600"/>
              </a:spcAft>
              <a:buFont typeface="Arial" panose="020B0604020202020204" pitchFamily="34" charset="0"/>
              <a:buNone/>
              <a:defRPr sz="155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5080" algn="ctr"/>
            <a:r>
              <a:rPr lang="en-IN" sz="900" b="1">
                <a:solidFill>
                  <a:schemeClr val="bg1"/>
                </a:solidFill>
                <a:latin typeface="Fibra One Heavy" pitchFamily="2" charset="77"/>
              </a:rPr>
              <a:t>2017</a:t>
            </a:r>
          </a:p>
        </p:txBody>
      </p:sp>
      <p:sp>
        <p:nvSpPr>
          <p:cNvPr id="40" name="Content Placeholder 2">
            <a:extLst>
              <a:ext uri="{FF2B5EF4-FFF2-40B4-BE49-F238E27FC236}">
                <a16:creationId xmlns:a16="http://schemas.microsoft.com/office/drawing/2014/main" id="{9DC8A3A3-C23D-74EB-65B1-479A2F735FBA}"/>
              </a:ext>
            </a:extLst>
          </p:cNvPr>
          <p:cNvSpPr txBox="1">
            <a:spLocks/>
          </p:cNvSpPr>
          <p:nvPr userDrawn="1"/>
        </p:nvSpPr>
        <p:spPr>
          <a:xfrm>
            <a:off x="8668274" y="2311386"/>
            <a:ext cx="467659" cy="205649"/>
          </a:xfrm>
          <a:prstGeom prst="round1Rect">
            <a:avLst/>
          </a:prstGeom>
          <a:solidFill>
            <a:schemeClr val="accent4"/>
          </a:solidFill>
        </p:spPr>
        <p:txBody>
          <a:bodyPr vert="horz" lIns="0" tIns="0" rIns="0" bIns="0" rtlCol="0" anchor="ctr">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sz="1550" b="0" kern="1200">
                <a:solidFill>
                  <a:schemeClr val="tx1"/>
                </a:solidFill>
                <a:latin typeface="Fibra One UltraBold" panose="00000900000000000000" pitchFamily="50" charset="0"/>
                <a:ea typeface="+mn-ea"/>
                <a:cs typeface="+mn-cs"/>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sz="1400" b="1" kern="1200">
                <a:solidFill>
                  <a:schemeClr val="tx1"/>
                </a:solidFill>
                <a:latin typeface="+mn-lt"/>
                <a:ea typeface="+mn-ea"/>
                <a:cs typeface="+mn-cs"/>
              </a:defRPr>
            </a:lvl2pPr>
            <a:lvl3pPr marL="228600" indent="-228600" algn="l" defTabSz="914400" rtl="0" eaLnBrk="1" latinLnBrk="0" hangingPunct="1">
              <a:lnSpc>
                <a:spcPct val="110000"/>
              </a:lnSpc>
              <a:spcBef>
                <a:spcPts val="0"/>
              </a:spcBef>
              <a:spcAft>
                <a:spcPts val="600"/>
              </a:spcAft>
              <a:buClr>
                <a:schemeClr val="tx2"/>
              </a:buClr>
              <a:buFont typeface="Wingdings 2" panose="05020102010507070707" pitchFamily="18" charset="2"/>
              <a:buChar char=""/>
              <a:defRPr sz="1400" b="1"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600"/>
              </a:spcAft>
              <a:buFont typeface="Arial" panose="020B0604020202020204" pitchFamily="34" charset="0"/>
              <a:buNone/>
              <a:defRPr sz="155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5080" algn="ctr"/>
            <a:r>
              <a:rPr lang="en-IN" sz="900" b="1">
                <a:solidFill>
                  <a:schemeClr val="bg1"/>
                </a:solidFill>
                <a:latin typeface="Fibra One Heavy" pitchFamily="2" charset="77"/>
              </a:rPr>
              <a:t>2018</a:t>
            </a:r>
          </a:p>
        </p:txBody>
      </p:sp>
      <p:sp>
        <p:nvSpPr>
          <p:cNvPr id="41" name="Content Placeholder 2">
            <a:extLst>
              <a:ext uri="{FF2B5EF4-FFF2-40B4-BE49-F238E27FC236}">
                <a16:creationId xmlns:a16="http://schemas.microsoft.com/office/drawing/2014/main" id="{97EAA17B-4391-E87B-CDD1-57E0B7CF997E}"/>
              </a:ext>
            </a:extLst>
          </p:cNvPr>
          <p:cNvSpPr txBox="1">
            <a:spLocks/>
          </p:cNvSpPr>
          <p:nvPr userDrawn="1"/>
        </p:nvSpPr>
        <p:spPr>
          <a:xfrm>
            <a:off x="10333347" y="2311386"/>
            <a:ext cx="467659" cy="205649"/>
          </a:xfrm>
          <a:prstGeom prst="round1Rect">
            <a:avLst/>
          </a:prstGeom>
          <a:solidFill>
            <a:schemeClr val="accent4"/>
          </a:solidFill>
        </p:spPr>
        <p:txBody>
          <a:bodyPr vert="horz" lIns="0" tIns="0" rIns="0" bIns="0" rtlCol="0" anchor="ctr">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sz="1550" b="0" kern="1200">
                <a:solidFill>
                  <a:schemeClr val="tx1"/>
                </a:solidFill>
                <a:latin typeface="Fibra One UltraBold" panose="00000900000000000000" pitchFamily="50" charset="0"/>
                <a:ea typeface="+mn-ea"/>
                <a:cs typeface="+mn-cs"/>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sz="1400" b="1" kern="1200">
                <a:solidFill>
                  <a:schemeClr val="tx1"/>
                </a:solidFill>
                <a:latin typeface="+mn-lt"/>
                <a:ea typeface="+mn-ea"/>
                <a:cs typeface="+mn-cs"/>
              </a:defRPr>
            </a:lvl2pPr>
            <a:lvl3pPr marL="228600" indent="-228600" algn="l" defTabSz="914400" rtl="0" eaLnBrk="1" latinLnBrk="0" hangingPunct="1">
              <a:lnSpc>
                <a:spcPct val="110000"/>
              </a:lnSpc>
              <a:spcBef>
                <a:spcPts val="0"/>
              </a:spcBef>
              <a:spcAft>
                <a:spcPts val="600"/>
              </a:spcAft>
              <a:buClr>
                <a:schemeClr val="tx2"/>
              </a:buClr>
              <a:buFont typeface="Wingdings 2" panose="05020102010507070707" pitchFamily="18" charset="2"/>
              <a:buChar char=""/>
              <a:defRPr sz="1400" b="1"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600"/>
              </a:spcAft>
              <a:buFont typeface="Arial" panose="020B0604020202020204" pitchFamily="34" charset="0"/>
              <a:buNone/>
              <a:defRPr sz="155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5080" algn="ctr"/>
            <a:r>
              <a:rPr lang="en-IN" sz="900" b="1">
                <a:solidFill>
                  <a:schemeClr val="bg1"/>
                </a:solidFill>
                <a:latin typeface="Fibra One Heavy" pitchFamily="2" charset="77"/>
              </a:rPr>
              <a:t>2019</a:t>
            </a:r>
          </a:p>
        </p:txBody>
      </p:sp>
      <p:sp>
        <p:nvSpPr>
          <p:cNvPr id="42" name="Content Placeholder 2">
            <a:extLst>
              <a:ext uri="{FF2B5EF4-FFF2-40B4-BE49-F238E27FC236}">
                <a16:creationId xmlns:a16="http://schemas.microsoft.com/office/drawing/2014/main" id="{9EFD6BE4-DE66-A5D9-46CC-72F29CDE28DA}"/>
              </a:ext>
            </a:extLst>
          </p:cNvPr>
          <p:cNvSpPr txBox="1">
            <a:spLocks/>
          </p:cNvSpPr>
          <p:nvPr userDrawn="1"/>
        </p:nvSpPr>
        <p:spPr>
          <a:xfrm>
            <a:off x="2007973" y="4050156"/>
            <a:ext cx="467659" cy="205649"/>
          </a:xfrm>
          <a:prstGeom prst="round1Rect">
            <a:avLst/>
          </a:prstGeom>
          <a:solidFill>
            <a:schemeClr val="accent4"/>
          </a:solidFill>
        </p:spPr>
        <p:txBody>
          <a:bodyPr vert="horz" lIns="0" tIns="0" rIns="0" bIns="0" rtlCol="0" anchor="ctr">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sz="1550" b="0" kern="1200">
                <a:solidFill>
                  <a:schemeClr val="tx1"/>
                </a:solidFill>
                <a:latin typeface="Fibra One UltraBold" panose="00000900000000000000" pitchFamily="50" charset="0"/>
                <a:ea typeface="+mn-ea"/>
                <a:cs typeface="+mn-cs"/>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sz="1400" b="1" kern="1200">
                <a:solidFill>
                  <a:schemeClr val="tx1"/>
                </a:solidFill>
                <a:latin typeface="+mn-lt"/>
                <a:ea typeface="+mn-ea"/>
                <a:cs typeface="+mn-cs"/>
              </a:defRPr>
            </a:lvl2pPr>
            <a:lvl3pPr marL="228600" indent="-228600" algn="l" defTabSz="914400" rtl="0" eaLnBrk="1" latinLnBrk="0" hangingPunct="1">
              <a:lnSpc>
                <a:spcPct val="110000"/>
              </a:lnSpc>
              <a:spcBef>
                <a:spcPts val="0"/>
              </a:spcBef>
              <a:spcAft>
                <a:spcPts val="600"/>
              </a:spcAft>
              <a:buClr>
                <a:schemeClr val="tx2"/>
              </a:buClr>
              <a:buFont typeface="Wingdings 2" panose="05020102010507070707" pitchFamily="18" charset="2"/>
              <a:buChar char=""/>
              <a:defRPr sz="1400" b="1"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600"/>
              </a:spcAft>
              <a:buFont typeface="Arial" panose="020B0604020202020204" pitchFamily="34" charset="0"/>
              <a:buNone/>
              <a:defRPr sz="155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5080" algn="ctr"/>
            <a:r>
              <a:rPr lang="en-IN" sz="900" b="1">
                <a:solidFill>
                  <a:schemeClr val="bg1"/>
                </a:solidFill>
                <a:latin typeface="Fibra One Heavy" pitchFamily="2" charset="77"/>
              </a:rPr>
              <a:t>2021</a:t>
            </a:r>
          </a:p>
        </p:txBody>
      </p:sp>
      <p:sp>
        <p:nvSpPr>
          <p:cNvPr id="43" name="Content Placeholder 2">
            <a:extLst>
              <a:ext uri="{FF2B5EF4-FFF2-40B4-BE49-F238E27FC236}">
                <a16:creationId xmlns:a16="http://schemas.microsoft.com/office/drawing/2014/main" id="{F9FE8F33-E4E9-1441-F96A-68BCEBC4C65A}"/>
              </a:ext>
            </a:extLst>
          </p:cNvPr>
          <p:cNvSpPr txBox="1">
            <a:spLocks/>
          </p:cNvSpPr>
          <p:nvPr userDrawn="1"/>
        </p:nvSpPr>
        <p:spPr>
          <a:xfrm>
            <a:off x="5338124" y="4050156"/>
            <a:ext cx="467659" cy="205649"/>
          </a:xfrm>
          <a:prstGeom prst="round1Rect">
            <a:avLst/>
          </a:prstGeom>
          <a:solidFill>
            <a:schemeClr val="accent4"/>
          </a:solidFill>
        </p:spPr>
        <p:txBody>
          <a:bodyPr vert="horz" lIns="0" tIns="0" rIns="0" bIns="0" rtlCol="0" anchor="ctr">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sz="1550" b="0" kern="1200">
                <a:solidFill>
                  <a:schemeClr val="tx1"/>
                </a:solidFill>
                <a:latin typeface="Fibra One UltraBold" panose="00000900000000000000" pitchFamily="50" charset="0"/>
                <a:ea typeface="+mn-ea"/>
                <a:cs typeface="+mn-cs"/>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sz="1400" b="1" kern="1200">
                <a:solidFill>
                  <a:schemeClr val="tx1"/>
                </a:solidFill>
                <a:latin typeface="+mn-lt"/>
                <a:ea typeface="+mn-ea"/>
                <a:cs typeface="+mn-cs"/>
              </a:defRPr>
            </a:lvl2pPr>
            <a:lvl3pPr marL="228600" indent="-228600" algn="l" defTabSz="914400" rtl="0" eaLnBrk="1" latinLnBrk="0" hangingPunct="1">
              <a:lnSpc>
                <a:spcPct val="110000"/>
              </a:lnSpc>
              <a:spcBef>
                <a:spcPts val="0"/>
              </a:spcBef>
              <a:spcAft>
                <a:spcPts val="600"/>
              </a:spcAft>
              <a:buClr>
                <a:schemeClr val="tx2"/>
              </a:buClr>
              <a:buFont typeface="Wingdings 2" panose="05020102010507070707" pitchFamily="18" charset="2"/>
              <a:buChar char=""/>
              <a:defRPr sz="1400" b="1"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600"/>
              </a:spcAft>
              <a:buFont typeface="Arial" panose="020B0604020202020204" pitchFamily="34" charset="0"/>
              <a:buNone/>
              <a:defRPr sz="155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5080" algn="ctr"/>
            <a:r>
              <a:rPr lang="en-IN" sz="900" b="1">
                <a:solidFill>
                  <a:schemeClr val="bg1"/>
                </a:solidFill>
                <a:latin typeface="Fibra One Heavy" pitchFamily="2" charset="77"/>
              </a:rPr>
              <a:t>2022</a:t>
            </a:r>
          </a:p>
        </p:txBody>
      </p:sp>
      <p:sp>
        <p:nvSpPr>
          <p:cNvPr id="44" name="Content Placeholder 2">
            <a:extLst>
              <a:ext uri="{FF2B5EF4-FFF2-40B4-BE49-F238E27FC236}">
                <a16:creationId xmlns:a16="http://schemas.microsoft.com/office/drawing/2014/main" id="{66A06633-CB20-FC76-2FCD-F20CC5E7CB83}"/>
              </a:ext>
            </a:extLst>
          </p:cNvPr>
          <p:cNvSpPr txBox="1">
            <a:spLocks/>
          </p:cNvSpPr>
          <p:nvPr userDrawn="1"/>
        </p:nvSpPr>
        <p:spPr>
          <a:xfrm>
            <a:off x="8668273" y="4050156"/>
            <a:ext cx="467659" cy="205649"/>
          </a:xfrm>
          <a:prstGeom prst="round1Rect">
            <a:avLst/>
          </a:prstGeom>
          <a:solidFill>
            <a:schemeClr val="accent4"/>
          </a:solidFill>
        </p:spPr>
        <p:txBody>
          <a:bodyPr vert="horz" lIns="0" tIns="0" rIns="0" bIns="0" rtlCol="0" anchor="ctr">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sz="1550" b="0" kern="1200">
                <a:solidFill>
                  <a:schemeClr val="tx1"/>
                </a:solidFill>
                <a:latin typeface="Fibra One UltraBold" panose="00000900000000000000" pitchFamily="50" charset="0"/>
                <a:ea typeface="+mn-ea"/>
                <a:cs typeface="+mn-cs"/>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sz="1400" b="1" kern="1200">
                <a:solidFill>
                  <a:schemeClr val="tx1"/>
                </a:solidFill>
                <a:latin typeface="+mn-lt"/>
                <a:ea typeface="+mn-ea"/>
                <a:cs typeface="+mn-cs"/>
              </a:defRPr>
            </a:lvl2pPr>
            <a:lvl3pPr marL="228600" indent="-228600" algn="l" defTabSz="914400" rtl="0" eaLnBrk="1" latinLnBrk="0" hangingPunct="1">
              <a:lnSpc>
                <a:spcPct val="110000"/>
              </a:lnSpc>
              <a:spcBef>
                <a:spcPts val="0"/>
              </a:spcBef>
              <a:spcAft>
                <a:spcPts val="600"/>
              </a:spcAft>
              <a:buClr>
                <a:schemeClr val="tx2"/>
              </a:buClr>
              <a:buFont typeface="Wingdings 2" panose="05020102010507070707" pitchFamily="18" charset="2"/>
              <a:buChar char=""/>
              <a:defRPr sz="1400" b="1"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600"/>
              </a:spcAft>
              <a:buFont typeface="Arial" panose="020B0604020202020204" pitchFamily="34" charset="0"/>
              <a:buNone/>
              <a:defRPr sz="155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5080" algn="ctr"/>
            <a:r>
              <a:rPr lang="en-IN" sz="900" b="1">
                <a:solidFill>
                  <a:schemeClr val="bg1"/>
                </a:solidFill>
                <a:latin typeface="Fibra One Heavy" pitchFamily="2" charset="77"/>
              </a:rPr>
              <a:t>2023</a:t>
            </a:r>
          </a:p>
        </p:txBody>
      </p:sp>
      <p:sp>
        <p:nvSpPr>
          <p:cNvPr id="45" name="Content Placeholder 2">
            <a:extLst>
              <a:ext uri="{FF2B5EF4-FFF2-40B4-BE49-F238E27FC236}">
                <a16:creationId xmlns:a16="http://schemas.microsoft.com/office/drawing/2014/main" id="{F3FB4279-C47D-4EE8-044C-5E5650637AA7}"/>
              </a:ext>
            </a:extLst>
          </p:cNvPr>
          <p:cNvSpPr txBox="1">
            <a:spLocks/>
          </p:cNvSpPr>
          <p:nvPr userDrawn="1"/>
        </p:nvSpPr>
        <p:spPr>
          <a:xfrm>
            <a:off x="342899" y="4050156"/>
            <a:ext cx="467659" cy="205649"/>
          </a:xfrm>
          <a:prstGeom prst="round1Rect">
            <a:avLst/>
          </a:prstGeom>
          <a:solidFill>
            <a:schemeClr val="accent4"/>
          </a:solidFill>
        </p:spPr>
        <p:txBody>
          <a:bodyPr vert="horz" wrap="square" lIns="0" tIns="0" rIns="0" bIns="0" rtlCol="0" anchor="ctr">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sz="1550" b="0" kern="1200">
                <a:solidFill>
                  <a:schemeClr val="tx1"/>
                </a:solidFill>
                <a:latin typeface="Fibra One UltraBold" panose="00000900000000000000" pitchFamily="50" charset="0"/>
                <a:ea typeface="+mn-ea"/>
                <a:cs typeface="+mn-cs"/>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sz="1400" b="1" kern="1200">
                <a:solidFill>
                  <a:schemeClr val="tx1"/>
                </a:solidFill>
                <a:latin typeface="+mn-lt"/>
                <a:ea typeface="+mn-ea"/>
                <a:cs typeface="+mn-cs"/>
              </a:defRPr>
            </a:lvl2pPr>
            <a:lvl3pPr marL="228600" indent="-228600" algn="l" defTabSz="914400" rtl="0" eaLnBrk="1" latinLnBrk="0" hangingPunct="1">
              <a:lnSpc>
                <a:spcPct val="110000"/>
              </a:lnSpc>
              <a:spcBef>
                <a:spcPts val="0"/>
              </a:spcBef>
              <a:spcAft>
                <a:spcPts val="600"/>
              </a:spcAft>
              <a:buClr>
                <a:schemeClr val="tx2"/>
              </a:buClr>
              <a:buFont typeface="Wingdings 2" panose="05020102010507070707" pitchFamily="18" charset="2"/>
              <a:buChar char=""/>
              <a:defRPr sz="1400" b="1"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600"/>
              </a:spcAft>
              <a:buFont typeface="Arial" panose="020B0604020202020204" pitchFamily="34" charset="0"/>
              <a:buNone/>
              <a:defRPr sz="155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5080" algn="ctr"/>
            <a:r>
              <a:rPr lang="en-IN" sz="900" b="1">
                <a:solidFill>
                  <a:schemeClr val="bg1"/>
                </a:solidFill>
                <a:latin typeface="Fibra One Heavy" pitchFamily="2" charset="77"/>
              </a:rPr>
              <a:t>2020</a:t>
            </a:r>
          </a:p>
        </p:txBody>
      </p:sp>
      <p:sp>
        <p:nvSpPr>
          <p:cNvPr id="48" name="Text Placeholder 47">
            <a:extLst>
              <a:ext uri="{FF2B5EF4-FFF2-40B4-BE49-F238E27FC236}">
                <a16:creationId xmlns:a16="http://schemas.microsoft.com/office/drawing/2014/main" id="{7D347BBC-307D-4475-1C1C-EE983EB315A3}"/>
              </a:ext>
            </a:extLst>
          </p:cNvPr>
          <p:cNvSpPr>
            <a:spLocks noGrp="1"/>
          </p:cNvSpPr>
          <p:nvPr>
            <p:ph type="body" sz="quarter" idx="10"/>
          </p:nvPr>
        </p:nvSpPr>
        <p:spPr>
          <a:xfrm>
            <a:off x="342900" y="1075325"/>
            <a:ext cx="6592824" cy="181396"/>
          </a:xfrm>
        </p:spPr>
        <p:txBody>
          <a:bodyPr vert="horz" lIns="0" tIns="0" rIns="0" bIns="0" rtlCol="0" anchor="t">
            <a:spAutoFit/>
          </a:bodyPr>
          <a:lstStyle>
            <a:lvl1pPr marL="0" marR="5080" indent="0" algn="l" defTabSz="914400" rtl="0" eaLnBrk="1" latinLnBrk="0" hangingPunct="1">
              <a:lnSpc>
                <a:spcPct val="113000"/>
              </a:lnSpc>
              <a:spcBef>
                <a:spcPts val="300"/>
              </a:spcBef>
              <a:spcAft>
                <a:spcPts val="600"/>
              </a:spcAft>
              <a:buFont typeface="Arial" panose="020B0604020202020204" pitchFamily="34" charset="0"/>
              <a:buNone/>
              <a:defRPr lang="en-US" sz="1100" b="0" kern="1200" spc="-30" dirty="0">
                <a:solidFill>
                  <a:schemeClr val="bg1"/>
                </a:solidFill>
                <a:latin typeface="Fibra One" pitchFamily="2" charset="77"/>
                <a:ea typeface="+mn-ea"/>
                <a:cs typeface="+mn-cs"/>
              </a:defRPr>
            </a:lvl1pPr>
          </a:lstStyle>
          <a:p>
            <a:pPr marR="5080" lvl="0">
              <a:lnSpc>
                <a:spcPct val="113000"/>
              </a:lnSpc>
              <a:spcBef>
                <a:spcPts val="300"/>
              </a:spcBef>
            </a:pPr>
            <a:r>
              <a:rPr lang="en-US"/>
              <a:t>Click to edit Master text styles</a:t>
            </a:r>
          </a:p>
        </p:txBody>
      </p:sp>
      <p:sp>
        <p:nvSpPr>
          <p:cNvPr id="46" name="Text Placeholder 47">
            <a:extLst>
              <a:ext uri="{FF2B5EF4-FFF2-40B4-BE49-F238E27FC236}">
                <a16:creationId xmlns:a16="http://schemas.microsoft.com/office/drawing/2014/main" id="{1AE6B1F4-0664-C765-1501-CE8357D84A7A}"/>
              </a:ext>
            </a:extLst>
          </p:cNvPr>
          <p:cNvSpPr>
            <a:spLocks noGrp="1"/>
          </p:cNvSpPr>
          <p:nvPr>
            <p:ph type="body" sz="quarter" idx="11"/>
          </p:nvPr>
        </p:nvSpPr>
        <p:spPr>
          <a:xfrm>
            <a:off x="342899" y="2638224"/>
            <a:ext cx="1600200" cy="118494"/>
          </a:xfrm>
        </p:spPr>
        <p:txBody>
          <a:bodyPr vert="horz" wrap="square" lIns="0" tIns="0" rIns="45720" bIns="0" rtlCol="0" anchor="t">
            <a:spAutoFit/>
          </a:bodyPr>
          <a:lstStyle>
            <a:lvl1pPr>
              <a:defRPr lang="en-US" sz="700" dirty="0">
                <a:solidFill>
                  <a:schemeClr val="bg1"/>
                </a:solidFill>
                <a:latin typeface="Fibra One" pitchFamily="2" charset="77"/>
              </a:defRPr>
            </a:lvl1pPr>
          </a:lstStyle>
          <a:p>
            <a:pPr lvl="0" fontAlgn="t">
              <a:spcAft>
                <a:spcPts val="900"/>
              </a:spcAft>
            </a:pPr>
            <a:r>
              <a:rPr lang="en-US"/>
              <a:t>Click to edit Master text styles</a:t>
            </a:r>
          </a:p>
        </p:txBody>
      </p:sp>
      <p:sp>
        <p:nvSpPr>
          <p:cNvPr id="47" name="Text Placeholder 47">
            <a:extLst>
              <a:ext uri="{FF2B5EF4-FFF2-40B4-BE49-F238E27FC236}">
                <a16:creationId xmlns:a16="http://schemas.microsoft.com/office/drawing/2014/main" id="{4484F743-CD94-D3BB-E336-604F5528D8A1}"/>
              </a:ext>
            </a:extLst>
          </p:cNvPr>
          <p:cNvSpPr>
            <a:spLocks noGrp="1"/>
          </p:cNvSpPr>
          <p:nvPr>
            <p:ph type="body" sz="quarter" idx="12"/>
          </p:nvPr>
        </p:nvSpPr>
        <p:spPr>
          <a:xfrm>
            <a:off x="2007972" y="2638224"/>
            <a:ext cx="1600200" cy="118494"/>
          </a:xfrm>
        </p:spPr>
        <p:txBody>
          <a:bodyPr vert="horz" wrap="square" lIns="0" tIns="0" rIns="45720" bIns="0" rtlCol="0" anchor="t">
            <a:spAutoFit/>
          </a:bodyPr>
          <a:lstStyle>
            <a:lvl1pPr>
              <a:defRPr lang="en-US" sz="700" dirty="0">
                <a:solidFill>
                  <a:schemeClr val="bg1"/>
                </a:solidFill>
                <a:latin typeface="Fibra One" pitchFamily="2" charset="77"/>
              </a:defRPr>
            </a:lvl1pPr>
          </a:lstStyle>
          <a:p>
            <a:pPr lvl="0" fontAlgn="t">
              <a:spcAft>
                <a:spcPts val="900"/>
              </a:spcAft>
            </a:pPr>
            <a:r>
              <a:rPr lang="en-US"/>
              <a:t>Click to edit Master text styles</a:t>
            </a:r>
          </a:p>
        </p:txBody>
      </p:sp>
      <p:sp>
        <p:nvSpPr>
          <p:cNvPr id="49" name="Text Placeholder 47">
            <a:extLst>
              <a:ext uri="{FF2B5EF4-FFF2-40B4-BE49-F238E27FC236}">
                <a16:creationId xmlns:a16="http://schemas.microsoft.com/office/drawing/2014/main" id="{4005FE80-F5D0-BD85-2C26-03DD44D66FB7}"/>
              </a:ext>
            </a:extLst>
          </p:cNvPr>
          <p:cNvSpPr>
            <a:spLocks noGrp="1"/>
          </p:cNvSpPr>
          <p:nvPr>
            <p:ph type="body" sz="quarter" idx="13"/>
          </p:nvPr>
        </p:nvSpPr>
        <p:spPr>
          <a:xfrm>
            <a:off x="3673048" y="2638224"/>
            <a:ext cx="1600200" cy="118494"/>
          </a:xfrm>
        </p:spPr>
        <p:txBody>
          <a:bodyPr vert="horz" wrap="square" lIns="0" tIns="0" rIns="45720" bIns="0" rtlCol="0" anchor="t">
            <a:spAutoFit/>
          </a:bodyPr>
          <a:lstStyle>
            <a:lvl1pPr>
              <a:defRPr lang="en-US" sz="700" dirty="0">
                <a:solidFill>
                  <a:schemeClr val="bg1"/>
                </a:solidFill>
                <a:latin typeface="Fibra One" pitchFamily="2" charset="77"/>
              </a:defRPr>
            </a:lvl1pPr>
          </a:lstStyle>
          <a:p>
            <a:pPr lvl="0" fontAlgn="t">
              <a:spcAft>
                <a:spcPts val="900"/>
              </a:spcAft>
            </a:pPr>
            <a:r>
              <a:rPr lang="en-US"/>
              <a:t>Click to edit Master text styles</a:t>
            </a:r>
          </a:p>
        </p:txBody>
      </p:sp>
      <p:sp>
        <p:nvSpPr>
          <p:cNvPr id="50" name="Text Placeholder 47">
            <a:extLst>
              <a:ext uri="{FF2B5EF4-FFF2-40B4-BE49-F238E27FC236}">
                <a16:creationId xmlns:a16="http://schemas.microsoft.com/office/drawing/2014/main" id="{776776EB-90FB-2227-17AF-78A90C5A9ED1}"/>
              </a:ext>
            </a:extLst>
          </p:cNvPr>
          <p:cNvSpPr>
            <a:spLocks noGrp="1"/>
          </p:cNvSpPr>
          <p:nvPr>
            <p:ph type="body" sz="quarter" idx="14"/>
          </p:nvPr>
        </p:nvSpPr>
        <p:spPr>
          <a:xfrm>
            <a:off x="5338123" y="2638224"/>
            <a:ext cx="1600200" cy="118494"/>
          </a:xfrm>
        </p:spPr>
        <p:txBody>
          <a:bodyPr vert="horz" wrap="square" lIns="0" tIns="0" rIns="45720" bIns="0" rtlCol="0" anchor="t">
            <a:spAutoFit/>
          </a:bodyPr>
          <a:lstStyle>
            <a:lvl1pPr>
              <a:defRPr lang="en-US" sz="700" dirty="0">
                <a:solidFill>
                  <a:schemeClr val="bg1"/>
                </a:solidFill>
                <a:latin typeface="Fibra One" pitchFamily="2" charset="77"/>
              </a:defRPr>
            </a:lvl1pPr>
          </a:lstStyle>
          <a:p>
            <a:pPr lvl="0" fontAlgn="t">
              <a:spcAft>
                <a:spcPts val="900"/>
              </a:spcAft>
            </a:pPr>
            <a:r>
              <a:rPr lang="en-US"/>
              <a:t>Click to edit Master text styles</a:t>
            </a:r>
          </a:p>
        </p:txBody>
      </p:sp>
      <p:sp>
        <p:nvSpPr>
          <p:cNvPr id="51" name="Text Placeholder 47">
            <a:extLst>
              <a:ext uri="{FF2B5EF4-FFF2-40B4-BE49-F238E27FC236}">
                <a16:creationId xmlns:a16="http://schemas.microsoft.com/office/drawing/2014/main" id="{34B3A7BC-25FC-A849-F10F-8C52A78BBAC2}"/>
              </a:ext>
            </a:extLst>
          </p:cNvPr>
          <p:cNvSpPr>
            <a:spLocks noGrp="1"/>
          </p:cNvSpPr>
          <p:nvPr>
            <p:ph type="body" sz="quarter" idx="15"/>
          </p:nvPr>
        </p:nvSpPr>
        <p:spPr>
          <a:xfrm>
            <a:off x="7003198" y="2638224"/>
            <a:ext cx="1600200" cy="118494"/>
          </a:xfrm>
        </p:spPr>
        <p:txBody>
          <a:bodyPr vert="horz" wrap="square" lIns="0" tIns="0" rIns="45720" bIns="0" rtlCol="0" anchor="t">
            <a:spAutoFit/>
          </a:bodyPr>
          <a:lstStyle>
            <a:lvl1pPr>
              <a:defRPr lang="en-US" sz="700" dirty="0">
                <a:solidFill>
                  <a:schemeClr val="bg1"/>
                </a:solidFill>
                <a:latin typeface="Fibra One" pitchFamily="2" charset="77"/>
              </a:defRPr>
            </a:lvl1pPr>
          </a:lstStyle>
          <a:p>
            <a:pPr lvl="0" fontAlgn="t">
              <a:spcAft>
                <a:spcPts val="900"/>
              </a:spcAft>
            </a:pPr>
            <a:r>
              <a:rPr lang="en-US"/>
              <a:t>Click to edit Master text styles</a:t>
            </a:r>
          </a:p>
        </p:txBody>
      </p:sp>
      <p:sp>
        <p:nvSpPr>
          <p:cNvPr id="52" name="Text Placeholder 47">
            <a:extLst>
              <a:ext uri="{FF2B5EF4-FFF2-40B4-BE49-F238E27FC236}">
                <a16:creationId xmlns:a16="http://schemas.microsoft.com/office/drawing/2014/main" id="{358FB6A4-04CB-344C-1E71-A9B45EB1453F}"/>
              </a:ext>
            </a:extLst>
          </p:cNvPr>
          <p:cNvSpPr>
            <a:spLocks noGrp="1"/>
          </p:cNvSpPr>
          <p:nvPr>
            <p:ph type="body" sz="quarter" idx="16"/>
          </p:nvPr>
        </p:nvSpPr>
        <p:spPr>
          <a:xfrm>
            <a:off x="8668273" y="2638224"/>
            <a:ext cx="1600200" cy="118494"/>
          </a:xfrm>
        </p:spPr>
        <p:txBody>
          <a:bodyPr vert="horz" wrap="square" lIns="0" tIns="0" rIns="45720" bIns="0" rtlCol="0" anchor="t">
            <a:spAutoFit/>
          </a:bodyPr>
          <a:lstStyle>
            <a:lvl1pPr>
              <a:defRPr lang="en-US" sz="700" dirty="0">
                <a:solidFill>
                  <a:schemeClr val="bg1"/>
                </a:solidFill>
                <a:latin typeface="Fibra One" pitchFamily="2" charset="77"/>
              </a:defRPr>
            </a:lvl1pPr>
          </a:lstStyle>
          <a:p>
            <a:pPr lvl="0" fontAlgn="t">
              <a:spcAft>
                <a:spcPts val="900"/>
              </a:spcAft>
            </a:pPr>
            <a:r>
              <a:rPr lang="en-US"/>
              <a:t>Click to edit Master text styles</a:t>
            </a:r>
          </a:p>
        </p:txBody>
      </p:sp>
      <p:sp>
        <p:nvSpPr>
          <p:cNvPr id="53" name="Text Placeholder 47">
            <a:extLst>
              <a:ext uri="{FF2B5EF4-FFF2-40B4-BE49-F238E27FC236}">
                <a16:creationId xmlns:a16="http://schemas.microsoft.com/office/drawing/2014/main" id="{56E70E99-D60C-225E-27C9-4638A74D523E}"/>
              </a:ext>
            </a:extLst>
          </p:cNvPr>
          <p:cNvSpPr>
            <a:spLocks noGrp="1"/>
          </p:cNvSpPr>
          <p:nvPr>
            <p:ph type="body" sz="quarter" idx="17"/>
          </p:nvPr>
        </p:nvSpPr>
        <p:spPr>
          <a:xfrm>
            <a:off x="10333346" y="2638224"/>
            <a:ext cx="1600200" cy="118494"/>
          </a:xfrm>
        </p:spPr>
        <p:txBody>
          <a:bodyPr vert="horz" wrap="square" lIns="0" tIns="0" rIns="45720" bIns="0" rtlCol="0" anchor="t">
            <a:spAutoFit/>
          </a:bodyPr>
          <a:lstStyle>
            <a:lvl1pPr>
              <a:defRPr lang="en-US" sz="700" dirty="0">
                <a:solidFill>
                  <a:schemeClr val="bg1"/>
                </a:solidFill>
                <a:latin typeface="Fibra One" pitchFamily="2" charset="77"/>
              </a:defRPr>
            </a:lvl1pPr>
          </a:lstStyle>
          <a:p>
            <a:pPr lvl="0" fontAlgn="t">
              <a:spcAft>
                <a:spcPts val="900"/>
              </a:spcAft>
            </a:pPr>
            <a:r>
              <a:rPr lang="en-US"/>
              <a:t>Click to edit Master text styles</a:t>
            </a:r>
          </a:p>
        </p:txBody>
      </p:sp>
      <p:sp>
        <p:nvSpPr>
          <p:cNvPr id="54" name="Text Placeholder 47">
            <a:extLst>
              <a:ext uri="{FF2B5EF4-FFF2-40B4-BE49-F238E27FC236}">
                <a16:creationId xmlns:a16="http://schemas.microsoft.com/office/drawing/2014/main" id="{2AECB742-354F-7D4C-2ED1-AE43A4FF0B58}"/>
              </a:ext>
            </a:extLst>
          </p:cNvPr>
          <p:cNvSpPr>
            <a:spLocks noGrp="1"/>
          </p:cNvSpPr>
          <p:nvPr>
            <p:ph type="body" sz="quarter" idx="18"/>
          </p:nvPr>
        </p:nvSpPr>
        <p:spPr>
          <a:xfrm>
            <a:off x="342899" y="4376994"/>
            <a:ext cx="1600200" cy="118494"/>
          </a:xfrm>
        </p:spPr>
        <p:txBody>
          <a:bodyPr vert="horz" wrap="square" lIns="0" tIns="0" rIns="45720" bIns="0" rtlCol="0" anchor="t">
            <a:spAutoFit/>
          </a:bodyPr>
          <a:lstStyle>
            <a:lvl1pPr>
              <a:defRPr lang="en-US" sz="700" dirty="0">
                <a:solidFill>
                  <a:schemeClr val="bg1"/>
                </a:solidFill>
                <a:latin typeface="Fibra One" pitchFamily="2" charset="77"/>
              </a:defRPr>
            </a:lvl1pPr>
          </a:lstStyle>
          <a:p>
            <a:pPr lvl="0" fontAlgn="t">
              <a:spcAft>
                <a:spcPts val="900"/>
              </a:spcAft>
            </a:pPr>
            <a:r>
              <a:rPr lang="en-US"/>
              <a:t>Click to edit Master text styles</a:t>
            </a:r>
          </a:p>
        </p:txBody>
      </p:sp>
      <p:sp>
        <p:nvSpPr>
          <p:cNvPr id="55" name="Text Placeholder 47">
            <a:extLst>
              <a:ext uri="{FF2B5EF4-FFF2-40B4-BE49-F238E27FC236}">
                <a16:creationId xmlns:a16="http://schemas.microsoft.com/office/drawing/2014/main" id="{B0E4FDB2-F2D7-DF14-1D78-EEA1676ECB2D}"/>
              </a:ext>
            </a:extLst>
          </p:cNvPr>
          <p:cNvSpPr>
            <a:spLocks noGrp="1"/>
          </p:cNvSpPr>
          <p:nvPr>
            <p:ph type="body" sz="quarter" idx="19"/>
          </p:nvPr>
        </p:nvSpPr>
        <p:spPr>
          <a:xfrm>
            <a:off x="3673048" y="4376994"/>
            <a:ext cx="1600200" cy="118494"/>
          </a:xfrm>
        </p:spPr>
        <p:txBody>
          <a:bodyPr vert="horz" wrap="square" lIns="0" tIns="0" rIns="45720" bIns="0" rtlCol="0" anchor="t">
            <a:spAutoFit/>
          </a:bodyPr>
          <a:lstStyle>
            <a:lvl1pPr>
              <a:defRPr lang="en-US" sz="700" dirty="0">
                <a:solidFill>
                  <a:schemeClr val="bg1"/>
                </a:solidFill>
                <a:latin typeface="Fibra One" pitchFamily="2" charset="77"/>
              </a:defRPr>
            </a:lvl1pPr>
          </a:lstStyle>
          <a:p>
            <a:pPr lvl="0" fontAlgn="t">
              <a:spcAft>
                <a:spcPts val="900"/>
              </a:spcAft>
            </a:pPr>
            <a:r>
              <a:rPr lang="en-US"/>
              <a:t>Click to edit Master text styles</a:t>
            </a:r>
          </a:p>
        </p:txBody>
      </p:sp>
      <p:sp>
        <p:nvSpPr>
          <p:cNvPr id="56" name="Text Placeholder 47">
            <a:extLst>
              <a:ext uri="{FF2B5EF4-FFF2-40B4-BE49-F238E27FC236}">
                <a16:creationId xmlns:a16="http://schemas.microsoft.com/office/drawing/2014/main" id="{CC059AA4-6A78-7409-8D2C-837CFA5AD0AD}"/>
              </a:ext>
            </a:extLst>
          </p:cNvPr>
          <p:cNvSpPr>
            <a:spLocks noGrp="1"/>
          </p:cNvSpPr>
          <p:nvPr>
            <p:ph type="body" sz="quarter" idx="20"/>
          </p:nvPr>
        </p:nvSpPr>
        <p:spPr>
          <a:xfrm>
            <a:off x="2007972" y="4376994"/>
            <a:ext cx="1600200" cy="118494"/>
          </a:xfrm>
        </p:spPr>
        <p:txBody>
          <a:bodyPr vert="horz" wrap="square" lIns="0" tIns="0" rIns="45720" bIns="0" rtlCol="0" anchor="t">
            <a:spAutoFit/>
          </a:bodyPr>
          <a:lstStyle>
            <a:lvl1pPr>
              <a:defRPr lang="en-US" sz="700" dirty="0">
                <a:solidFill>
                  <a:schemeClr val="bg1"/>
                </a:solidFill>
                <a:latin typeface="Fibra One" pitchFamily="2" charset="77"/>
              </a:defRPr>
            </a:lvl1pPr>
          </a:lstStyle>
          <a:p>
            <a:pPr lvl="0" fontAlgn="t">
              <a:spcAft>
                <a:spcPts val="900"/>
              </a:spcAft>
            </a:pPr>
            <a:r>
              <a:rPr lang="en-US"/>
              <a:t>Click to edit Master text styles</a:t>
            </a:r>
          </a:p>
        </p:txBody>
      </p:sp>
      <p:sp>
        <p:nvSpPr>
          <p:cNvPr id="57" name="Text Placeholder 47">
            <a:extLst>
              <a:ext uri="{FF2B5EF4-FFF2-40B4-BE49-F238E27FC236}">
                <a16:creationId xmlns:a16="http://schemas.microsoft.com/office/drawing/2014/main" id="{D4284660-8704-EB87-2011-15A2542FB35E}"/>
              </a:ext>
            </a:extLst>
          </p:cNvPr>
          <p:cNvSpPr>
            <a:spLocks noGrp="1"/>
          </p:cNvSpPr>
          <p:nvPr>
            <p:ph type="body" sz="quarter" idx="21"/>
          </p:nvPr>
        </p:nvSpPr>
        <p:spPr>
          <a:xfrm>
            <a:off x="5338123" y="4376994"/>
            <a:ext cx="1600200" cy="118494"/>
          </a:xfrm>
        </p:spPr>
        <p:txBody>
          <a:bodyPr vert="horz" wrap="square" lIns="0" tIns="0" rIns="45720" bIns="0" rtlCol="0" anchor="t">
            <a:spAutoFit/>
          </a:bodyPr>
          <a:lstStyle>
            <a:lvl1pPr>
              <a:defRPr lang="en-US" sz="700" dirty="0">
                <a:solidFill>
                  <a:schemeClr val="bg1"/>
                </a:solidFill>
                <a:latin typeface="Fibra One" pitchFamily="2" charset="77"/>
              </a:defRPr>
            </a:lvl1pPr>
          </a:lstStyle>
          <a:p>
            <a:pPr lvl="0" fontAlgn="t">
              <a:spcAft>
                <a:spcPts val="900"/>
              </a:spcAft>
            </a:pPr>
            <a:r>
              <a:rPr lang="en-US"/>
              <a:t>Click to edit Master text styles</a:t>
            </a:r>
          </a:p>
        </p:txBody>
      </p:sp>
      <p:sp>
        <p:nvSpPr>
          <p:cNvPr id="58" name="Text Placeholder 47">
            <a:extLst>
              <a:ext uri="{FF2B5EF4-FFF2-40B4-BE49-F238E27FC236}">
                <a16:creationId xmlns:a16="http://schemas.microsoft.com/office/drawing/2014/main" id="{539BAD09-C214-ABF7-3C46-A82267CDDB6D}"/>
              </a:ext>
            </a:extLst>
          </p:cNvPr>
          <p:cNvSpPr>
            <a:spLocks noGrp="1"/>
          </p:cNvSpPr>
          <p:nvPr>
            <p:ph type="body" sz="quarter" idx="22"/>
          </p:nvPr>
        </p:nvSpPr>
        <p:spPr>
          <a:xfrm>
            <a:off x="7003198" y="4376994"/>
            <a:ext cx="1600200" cy="118494"/>
          </a:xfrm>
        </p:spPr>
        <p:txBody>
          <a:bodyPr vert="horz" wrap="square" lIns="0" tIns="0" rIns="45720" bIns="0" rtlCol="0" anchor="t">
            <a:spAutoFit/>
          </a:bodyPr>
          <a:lstStyle>
            <a:lvl1pPr>
              <a:defRPr lang="en-US" sz="700" dirty="0">
                <a:solidFill>
                  <a:schemeClr val="bg1"/>
                </a:solidFill>
                <a:latin typeface="Fibra One" pitchFamily="2" charset="77"/>
              </a:defRPr>
            </a:lvl1pPr>
          </a:lstStyle>
          <a:p>
            <a:pPr lvl="0" fontAlgn="t">
              <a:spcAft>
                <a:spcPts val="900"/>
              </a:spcAft>
            </a:pPr>
            <a:r>
              <a:rPr lang="en-US"/>
              <a:t>Click to edit Master text styles</a:t>
            </a:r>
          </a:p>
        </p:txBody>
      </p:sp>
      <p:sp>
        <p:nvSpPr>
          <p:cNvPr id="59" name="Text Placeholder 47">
            <a:extLst>
              <a:ext uri="{FF2B5EF4-FFF2-40B4-BE49-F238E27FC236}">
                <a16:creationId xmlns:a16="http://schemas.microsoft.com/office/drawing/2014/main" id="{C765BBC5-CF65-6DCE-F2AE-4A3755DE5A85}"/>
              </a:ext>
            </a:extLst>
          </p:cNvPr>
          <p:cNvSpPr>
            <a:spLocks noGrp="1"/>
          </p:cNvSpPr>
          <p:nvPr>
            <p:ph type="body" sz="quarter" idx="23"/>
          </p:nvPr>
        </p:nvSpPr>
        <p:spPr>
          <a:xfrm>
            <a:off x="8668273" y="4376994"/>
            <a:ext cx="1600200" cy="118494"/>
          </a:xfrm>
        </p:spPr>
        <p:txBody>
          <a:bodyPr vert="horz" wrap="square" lIns="0" tIns="0" rIns="45720" bIns="0" rtlCol="0" anchor="t">
            <a:spAutoFit/>
          </a:bodyPr>
          <a:lstStyle>
            <a:lvl1pPr>
              <a:defRPr lang="en-US" sz="700" dirty="0">
                <a:solidFill>
                  <a:schemeClr val="bg1"/>
                </a:solidFill>
                <a:latin typeface="Fibra One" pitchFamily="2" charset="77"/>
              </a:defRPr>
            </a:lvl1pPr>
          </a:lstStyle>
          <a:p>
            <a:pPr lvl="0" fontAlgn="t">
              <a:spcAft>
                <a:spcPts val="900"/>
              </a:spcAft>
            </a:pPr>
            <a:r>
              <a:rPr lang="en-US"/>
              <a:t>Click to edit Master text styles</a:t>
            </a:r>
          </a:p>
        </p:txBody>
      </p:sp>
      <p:sp>
        <p:nvSpPr>
          <p:cNvPr id="60" name="Text Placeholder 47">
            <a:extLst>
              <a:ext uri="{FF2B5EF4-FFF2-40B4-BE49-F238E27FC236}">
                <a16:creationId xmlns:a16="http://schemas.microsoft.com/office/drawing/2014/main" id="{718E898A-D6D1-3994-279B-C61C10B7044D}"/>
              </a:ext>
            </a:extLst>
          </p:cNvPr>
          <p:cNvSpPr>
            <a:spLocks noGrp="1"/>
          </p:cNvSpPr>
          <p:nvPr>
            <p:ph type="body" sz="quarter" idx="24"/>
          </p:nvPr>
        </p:nvSpPr>
        <p:spPr>
          <a:xfrm>
            <a:off x="10333346" y="4376994"/>
            <a:ext cx="1600200" cy="118494"/>
          </a:xfrm>
        </p:spPr>
        <p:txBody>
          <a:bodyPr vert="horz" wrap="square" lIns="0" tIns="0" rIns="45720" bIns="0" rtlCol="0" anchor="t">
            <a:spAutoFit/>
          </a:bodyPr>
          <a:lstStyle>
            <a:lvl1pPr>
              <a:defRPr lang="en-US" sz="700" dirty="0">
                <a:solidFill>
                  <a:schemeClr val="bg1"/>
                </a:solidFill>
                <a:latin typeface="Fibra One" pitchFamily="2" charset="77"/>
              </a:defRPr>
            </a:lvl1pPr>
          </a:lstStyle>
          <a:p>
            <a:pPr lvl="0" fontAlgn="t">
              <a:spcAft>
                <a:spcPts val="900"/>
              </a:spcAft>
            </a:pPr>
            <a:r>
              <a:rPr lang="en-US"/>
              <a:t>Click to edit Master text styles</a:t>
            </a:r>
          </a:p>
        </p:txBody>
      </p:sp>
    </p:spTree>
    <p:extLst>
      <p:ext uri="{BB962C8B-B14F-4D97-AF65-F5344CB8AC3E}">
        <p14:creationId xmlns:p14="http://schemas.microsoft.com/office/powerpoint/2010/main" val="2407903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20">
          <p15:clr>
            <a:srgbClr val="FBAE40"/>
          </p15:clr>
        </p15:guide>
        <p15:guide id="2" pos="6312">
          <p15:clr>
            <a:srgbClr val="FBAE40"/>
          </p15:clr>
        </p15:guide>
        <p15:guide id="3" pos="5112">
          <p15:clr>
            <a:srgbClr val="FBAE40"/>
          </p15:clr>
        </p15:guide>
        <p15:guide id="4" pos="4920">
          <p15:clr>
            <a:srgbClr val="FBAE40"/>
          </p15:clr>
        </p15:guide>
        <p15:guide id="5" pos="3912">
          <p15:clr>
            <a:srgbClr val="FBAE40"/>
          </p15:clr>
        </p15:guide>
        <p15:guide id="6" pos="3720">
          <p15:clr>
            <a:srgbClr val="FBAE40"/>
          </p15:clr>
        </p15:guide>
        <p15:guide id="7" pos="2712">
          <p15:clr>
            <a:srgbClr val="FBAE40"/>
          </p15:clr>
        </p15:guide>
        <p15:guide id="8" pos="2520">
          <p15:clr>
            <a:srgbClr val="FBAE40"/>
          </p15:clr>
        </p15:guide>
        <p15:guide id="9" pos="1512">
          <p15:clr>
            <a:srgbClr val="FBAE40"/>
          </p15:clr>
        </p15:guide>
        <p15:guide id="10" pos="1320">
          <p15:clr>
            <a:srgbClr val="FBAE40"/>
          </p15:clr>
        </p15:guide>
        <p15:guide id="11" pos="312">
          <p15:clr>
            <a:srgbClr val="FBAE40"/>
          </p15:clr>
        </p15:guide>
        <p15:guide id="12" pos="732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Results Highlights">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15F1FA1-A920-7513-E3EC-9B63B6A12C0E}"/>
              </a:ext>
            </a:extLst>
          </p:cNvPr>
          <p:cNvSpPr/>
          <p:nvPr userDrawn="1"/>
        </p:nvSpPr>
        <p:spPr>
          <a:xfrm>
            <a:off x="2549405" y="1186885"/>
            <a:ext cx="7104038" cy="850392"/>
          </a:xfrm>
          <a:prstGeom prst="rect">
            <a:avLst/>
          </a:prstGeom>
          <a:solidFill>
            <a:schemeClr val="accent1">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8750F4C0-44C2-E982-A49C-72871353F13F}"/>
              </a:ext>
            </a:extLst>
          </p:cNvPr>
          <p:cNvSpPr/>
          <p:nvPr userDrawn="1"/>
        </p:nvSpPr>
        <p:spPr>
          <a:xfrm>
            <a:off x="9707880" y="1186885"/>
            <a:ext cx="2331720" cy="850392"/>
          </a:xfrm>
          <a:prstGeom prst="rect">
            <a:avLst/>
          </a:prstGeom>
          <a:solidFill>
            <a:schemeClr val="tx2">
              <a:alpha val="1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173C76FA-0AA4-BBCE-73D6-D46E2280FC2A}"/>
              </a:ext>
            </a:extLst>
          </p:cNvPr>
          <p:cNvSpPr/>
          <p:nvPr userDrawn="1"/>
        </p:nvSpPr>
        <p:spPr>
          <a:xfrm>
            <a:off x="163246" y="1186885"/>
            <a:ext cx="2331720" cy="850392"/>
          </a:xfrm>
          <a:prstGeom prst="rect">
            <a:avLst/>
          </a:prstGeom>
          <a:solidFill>
            <a:schemeClr val="accent6">
              <a:alpha val="2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ntent Placeholder 2">
            <a:extLst>
              <a:ext uri="{FF2B5EF4-FFF2-40B4-BE49-F238E27FC236}">
                <a16:creationId xmlns:a16="http://schemas.microsoft.com/office/drawing/2014/main" id="{3BF4616D-5872-8F78-6512-EA3910A2F0C5}"/>
              </a:ext>
            </a:extLst>
          </p:cNvPr>
          <p:cNvSpPr txBox="1">
            <a:spLocks/>
          </p:cNvSpPr>
          <p:nvPr userDrawn="1"/>
        </p:nvSpPr>
        <p:spPr>
          <a:xfrm>
            <a:off x="427102" y="1432522"/>
            <a:ext cx="1804009" cy="443198"/>
          </a:xfrm>
          <a:prstGeom prst="rect">
            <a:avLst/>
          </a:prstGeom>
          <a:noFill/>
        </p:spPr>
        <p:txBody>
          <a:bodyPr vert="horz" lIns="0" tIns="0" rIns="0" bIns="0" rtlCol="0" anchor="ctr">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sz="1550" b="0" kern="1200">
                <a:solidFill>
                  <a:schemeClr val="tx1"/>
                </a:solidFill>
                <a:latin typeface="Fibra One UltraBold" panose="00000900000000000000" pitchFamily="50" charset="0"/>
                <a:ea typeface="+mn-ea"/>
                <a:cs typeface="+mn-cs"/>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sz="1400" b="1" kern="1200">
                <a:solidFill>
                  <a:schemeClr val="tx1"/>
                </a:solidFill>
                <a:latin typeface="+mn-lt"/>
                <a:ea typeface="+mn-ea"/>
                <a:cs typeface="+mn-cs"/>
              </a:defRPr>
            </a:lvl2pPr>
            <a:lvl3pPr marL="228600" indent="-228600" algn="l" defTabSz="914400" rtl="0" eaLnBrk="1" latinLnBrk="0" hangingPunct="1">
              <a:lnSpc>
                <a:spcPct val="110000"/>
              </a:lnSpc>
              <a:spcBef>
                <a:spcPts val="0"/>
              </a:spcBef>
              <a:spcAft>
                <a:spcPts val="600"/>
              </a:spcAft>
              <a:buClr>
                <a:schemeClr val="tx2"/>
              </a:buClr>
              <a:buFont typeface="Wingdings 2" panose="05020102010507070707" pitchFamily="18" charset="2"/>
              <a:buChar char=""/>
              <a:defRPr sz="1400" b="1"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600"/>
              </a:spcAft>
              <a:buFont typeface="Arial" panose="020B0604020202020204" pitchFamily="34" charset="0"/>
              <a:buNone/>
              <a:defRPr sz="155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5080" algn="ctr">
              <a:lnSpc>
                <a:spcPct val="90000"/>
              </a:lnSpc>
              <a:spcAft>
                <a:spcPts val="0"/>
              </a:spcAft>
            </a:pPr>
            <a:r>
              <a:rPr lang="en-IN" sz="1200" b="1">
                <a:latin typeface="Fibra One SemiBold" pitchFamily="2" charset="77"/>
              </a:rPr>
              <a:t>Positive </a:t>
            </a:r>
          </a:p>
          <a:p>
            <a:pPr marR="5080" algn="ctr">
              <a:lnSpc>
                <a:spcPct val="90000"/>
              </a:lnSpc>
              <a:spcAft>
                <a:spcPts val="0"/>
              </a:spcAft>
            </a:pPr>
            <a:r>
              <a:rPr lang="en-IN" sz="2000" b="1">
                <a:latin typeface="Fibra One SemiBold" pitchFamily="2" charset="77"/>
              </a:rPr>
              <a:t>Agriculture</a:t>
            </a:r>
          </a:p>
        </p:txBody>
      </p:sp>
      <p:sp>
        <p:nvSpPr>
          <p:cNvPr id="6" name="Content Placeholder 2">
            <a:extLst>
              <a:ext uri="{FF2B5EF4-FFF2-40B4-BE49-F238E27FC236}">
                <a16:creationId xmlns:a16="http://schemas.microsoft.com/office/drawing/2014/main" id="{774ADA92-96FB-857D-906A-D503DEBA5743}"/>
              </a:ext>
            </a:extLst>
          </p:cNvPr>
          <p:cNvSpPr txBox="1">
            <a:spLocks/>
          </p:cNvSpPr>
          <p:nvPr userDrawn="1"/>
        </p:nvSpPr>
        <p:spPr>
          <a:xfrm>
            <a:off x="5199420" y="1432522"/>
            <a:ext cx="1804009" cy="443198"/>
          </a:xfrm>
          <a:prstGeom prst="rect">
            <a:avLst/>
          </a:prstGeom>
          <a:noFill/>
        </p:spPr>
        <p:txBody>
          <a:bodyPr vert="horz" lIns="0" tIns="0" rIns="0" bIns="0" rtlCol="0" anchor="ctr">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sz="1550" b="0" kern="1200">
                <a:solidFill>
                  <a:schemeClr val="tx1"/>
                </a:solidFill>
                <a:latin typeface="Fibra One UltraBold" panose="00000900000000000000" pitchFamily="50" charset="0"/>
                <a:ea typeface="+mn-ea"/>
                <a:cs typeface="+mn-cs"/>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sz="1400" b="1" kern="1200">
                <a:solidFill>
                  <a:schemeClr val="tx1"/>
                </a:solidFill>
                <a:latin typeface="+mn-lt"/>
                <a:ea typeface="+mn-ea"/>
                <a:cs typeface="+mn-cs"/>
              </a:defRPr>
            </a:lvl2pPr>
            <a:lvl3pPr marL="228600" indent="-228600" algn="l" defTabSz="914400" rtl="0" eaLnBrk="1" latinLnBrk="0" hangingPunct="1">
              <a:lnSpc>
                <a:spcPct val="110000"/>
              </a:lnSpc>
              <a:spcBef>
                <a:spcPts val="0"/>
              </a:spcBef>
              <a:spcAft>
                <a:spcPts val="600"/>
              </a:spcAft>
              <a:buClr>
                <a:schemeClr val="tx2"/>
              </a:buClr>
              <a:buFont typeface="Wingdings 2" panose="05020102010507070707" pitchFamily="18" charset="2"/>
              <a:buChar char=""/>
              <a:defRPr sz="1400" b="1"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600"/>
              </a:spcAft>
              <a:buFont typeface="Arial" panose="020B0604020202020204" pitchFamily="34" charset="0"/>
              <a:buNone/>
              <a:defRPr sz="155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5080" algn="ctr">
              <a:lnSpc>
                <a:spcPct val="90000"/>
              </a:lnSpc>
              <a:spcAft>
                <a:spcPts val="0"/>
              </a:spcAft>
            </a:pPr>
            <a:r>
              <a:rPr lang="en-IN" sz="1200" b="1">
                <a:latin typeface="Fibra One SemiBold" pitchFamily="2" charset="77"/>
              </a:rPr>
              <a:t>Positive </a:t>
            </a:r>
          </a:p>
          <a:p>
            <a:pPr marR="5080" algn="ctr">
              <a:lnSpc>
                <a:spcPct val="90000"/>
              </a:lnSpc>
              <a:spcAft>
                <a:spcPts val="0"/>
              </a:spcAft>
            </a:pPr>
            <a:r>
              <a:rPr lang="en-IN" sz="2000" b="1">
                <a:latin typeface="Fibra One SemiBold" pitchFamily="2" charset="77"/>
              </a:rPr>
              <a:t>Value Chain</a:t>
            </a:r>
          </a:p>
        </p:txBody>
      </p:sp>
      <p:sp>
        <p:nvSpPr>
          <p:cNvPr id="7" name="Content Placeholder 2">
            <a:extLst>
              <a:ext uri="{FF2B5EF4-FFF2-40B4-BE49-F238E27FC236}">
                <a16:creationId xmlns:a16="http://schemas.microsoft.com/office/drawing/2014/main" id="{69532B06-8B1D-456E-74CA-C3DB0CADB092}"/>
              </a:ext>
            </a:extLst>
          </p:cNvPr>
          <p:cNvSpPr txBox="1">
            <a:spLocks/>
          </p:cNvSpPr>
          <p:nvPr userDrawn="1"/>
        </p:nvSpPr>
        <p:spPr>
          <a:xfrm>
            <a:off x="9971736" y="1432522"/>
            <a:ext cx="1804009" cy="443198"/>
          </a:xfrm>
          <a:prstGeom prst="rect">
            <a:avLst/>
          </a:prstGeom>
          <a:noFill/>
        </p:spPr>
        <p:txBody>
          <a:bodyPr vert="horz" lIns="0" tIns="0" rIns="0" bIns="0" rtlCol="0" anchor="ctr">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sz="1550" b="0" kern="1200">
                <a:solidFill>
                  <a:schemeClr val="tx1"/>
                </a:solidFill>
                <a:latin typeface="Fibra One UltraBold" panose="00000900000000000000" pitchFamily="50" charset="0"/>
                <a:ea typeface="+mn-ea"/>
                <a:cs typeface="+mn-cs"/>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sz="1400" b="1" kern="1200">
                <a:solidFill>
                  <a:schemeClr val="tx1"/>
                </a:solidFill>
                <a:latin typeface="+mn-lt"/>
                <a:ea typeface="+mn-ea"/>
                <a:cs typeface="+mn-cs"/>
              </a:defRPr>
            </a:lvl2pPr>
            <a:lvl3pPr marL="228600" indent="-228600" algn="l" defTabSz="914400" rtl="0" eaLnBrk="1" latinLnBrk="0" hangingPunct="1">
              <a:lnSpc>
                <a:spcPct val="110000"/>
              </a:lnSpc>
              <a:spcBef>
                <a:spcPts val="0"/>
              </a:spcBef>
              <a:spcAft>
                <a:spcPts val="600"/>
              </a:spcAft>
              <a:buClr>
                <a:schemeClr val="tx2"/>
              </a:buClr>
              <a:buFont typeface="Wingdings 2" panose="05020102010507070707" pitchFamily="18" charset="2"/>
              <a:buChar char=""/>
              <a:defRPr sz="1400" b="1"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600"/>
              </a:spcAft>
              <a:buFont typeface="Arial" panose="020B0604020202020204" pitchFamily="34" charset="0"/>
              <a:buNone/>
              <a:defRPr sz="155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5080" algn="ctr">
              <a:lnSpc>
                <a:spcPct val="90000"/>
              </a:lnSpc>
              <a:spcAft>
                <a:spcPts val="0"/>
              </a:spcAft>
            </a:pPr>
            <a:r>
              <a:rPr lang="en-IN" sz="1200" b="1">
                <a:latin typeface="Fibra One SemiBold" pitchFamily="2" charset="77"/>
              </a:rPr>
              <a:t>Positive </a:t>
            </a:r>
          </a:p>
          <a:p>
            <a:pPr marR="5080" algn="ctr">
              <a:lnSpc>
                <a:spcPct val="90000"/>
              </a:lnSpc>
              <a:spcAft>
                <a:spcPts val="0"/>
              </a:spcAft>
            </a:pPr>
            <a:r>
              <a:rPr lang="en-IN" sz="2000" b="1">
                <a:latin typeface="Fibra One SemiBold" pitchFamily="2" charset="77"/>
              </a:rPr>
              <a:t>Choices</a:t>
            </a:r>
          </a:p>
        </p:txBody>
      </p:sp>
      <p:sp>
        <p:nvSpPr>
          <p:cNvPr id="8" name="Title 3">
            <a:extLst>
              <a:ext uri="{FF2B5EF4-FFF2-40B4-BE49-F238E27FC236}">
                <a16:creationId xmlns:a16="http://schemas.microsoft.com/office/drawing/2014/main" id="{0FD2F776-90D4-4D29-2DE8-BC3A348C1937}"/>
              </a:ext>
            </a:extLst>
          </p:cNvPr>
          <p:cNvSpPr txBox="1">
            <a:spLocks/>
          </p:cNvSpPr>
          <p:nvPr userDrawn="1"/>
        </p:nvSpPr>
        <p:spPr>
          <a:xfrm>
            <a:off x="4429250" y="686625"/>
            <a:ext cx="3333501" cy="332399"/>
          </a:xfrm>
          <a:prstGeom prst="rect">
            <a:avLst/>
          </a:prstGeom>
        </p:spPr>
        <p:txBody>
          <a:bodyPr lIns="0" tIns="0" rIns="0" bIns="0">
            <a:spAutoFit/>
          </a:bodyPr>
          <a:lstStyle>
            <a:lvl1pPr algn="l" defTabSz="914400" rtl="0" eaLnBrk="1" latinLnBrk="0" hangingPunct="1">
              <a:lnSpc>
                <a:spcPct val="90000"/>
              </a:lnSpc>
              <a:spcBef>
                <a:spcPct val="0"/>
              </a:spcBef>
              <a:buNone/>
              <a:defRPr sz="2400" b="0" kern="1200" spc="0" baseline="0">
                <a:solidFill>
                  <a:schemeClr val="tx1"/>
                </a:solidFill>
                <a:latin typeface="Fibra One UltraBold" panose="00000900000000000000" pitchFamily="50" charset="0"/>
                <a:ea typeface="+mj-ea"/>
                <a:cs typeface="+mj-cs"/>
              </a:defRPr>
            </a:lvl1pPr>
          </a:lstStyle>
          <a:p>
            <a:pPr algn="ctr"/>
            <a:r>
              <a:rPr lang="en-US"/>
              <a:t>Results highlights</a:t>
            </a:r>
          </a:p>
        </p:txBody>
      </p:sp>
      <p:sp>
        <p:nvSpPr>
          <p:cNvPr id="9" name="Text Placeholder 4">
            <a:extLst>
              <a:ext uri="{FF2B5EF4-FFF2-40B4-BE49-F238E27FC236}">
                <a16:creationId xmlns:a16="http://schemas.microsoft.com/office/drawing/2014/main" id="{F1AA6006-A3CE-DC15-3205-EE449E5E8732}"/>
              </a:ext>
            </a:extLst>
          </p:cNvPr>
          <p:cNvSpPr txBox="1">
            <a:spLocks/>
          </p:cNvSpPr>
          <p:nvPr userDrawn="1"/>
        </p:nvSpPr>
        <p:spPr>
          <a:xfrm>
            <a:off x="5427139" y="382320"/>
            <a:ext cx="1337723" cy="225959"/>
          </a:xfrm>
          <a:prstGeom prst="rect">
            <a:avLst/>
          </a:prstGeom>
        </p:spPr>
        <p:txBody>
          <a:bodyPr lIns="0" tIns="0" rIns="0" bIns="0" anchor="ctr">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sz="1550" b="0" kern="1200">
                <a:solidFill>
                  <a:schemeClr val="tx1"/>
                </a:solidFill>
                <a:latin typeface="Fibra One UltraBold" panose="00000900000000000000" pitchFamily="50" charset="0"/>
                <a:ea typeface="+mn-ea"/>
                <a:cs typeface="+mn-cs"/>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sz="1400" b="1" kern="1200">
                <a:solidFill>
                  <a:schemeClr val="tx1"/>
                </a:solidFill>
                <a:latin typeface="+mn-lt"/>
                <a:ea typeface="+mn-ea"/>
                <a:cs typeface="+mn-cs"/>
              </a:defRPr>
            </a:lvl2pPr>
            <a:lvl3pPr marL="228600" indent="-228600" algn="l" defTabSz="914400" rtl="0" eaLnBrk="1" latinLnBrk="0" hangingPunct="1">
              <a:lnSpc>
                <a:spcPct val="110000"/>
              </a:lnSpc>
              <a:spcBef>
                <a:spcPts val="0"/>
              </a:spcBef>
              <a:spcAft>
                <a:spcPts val="600"/>
              </a:spcAft>
              <a:buClr>
                <a:schemeClr val="tx2"/>
              </a:buClr>
              <a:buFont typeface="Wingdings 2" panose="05020102010507070707" pitchFamily="18" charset="2"/>
              <a:buChar char=""/>
              <a:defRPr sz="1400" b="1"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600"/>
              </a:spcAft>
              <a:buFont typeface="Arial" panose="020B0604020202020204" pitchFamily="34" charset="0"/>
              <a:buNone/>
              <a:defRPr sz="155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400">
                <a:solidFill>
                  <a:srgbClr val="0052DB"/>
                </a:solidFill>
                <a:latin typeface="+mn-lt"/>
                <a:ea typeface="+mj-ea"/>
                <a:cs typeface="+mj-cs"/>
              </a:rPr>
              <a:t>2023</a:t>
            </a:r>
          </a:p>
        </p:txBody>
      </p:sp>
      <p:sp>
        <p:nvSpPr>
          <p:cNvPr id="10" name="Rectangle 9">
            <a:extLst>
              <a:ext uri="{FF2B5EF4-FFF2-40B4-BE49-F238E27FC236}">
                <a16:creationId xmlns:a16="http://schemas.microsoft.com/office/drawing/2014/main" id="{265CA96F-B49F-655F-F3E0-4F8BD0CEB47E}"/>
              </a:ext>
            </a:extLst>
          </p:cNvPr>
          <p:cNvSpPr/>
          <p:nvPr userDrawn="1"/>
        </p:nvSpPr>
        <p:spPr>
          <a:xfrm>
            <a:off x="4935564" y="3642285"/>
            <a:ext cx="2331720" cy="150666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7FB31A4-B6FC-6855-F4CD-79EF7F4723F6}"/>
              </a:ext>
            </a:extLst>
          </p:cNvPr>
          <p:cNvSpPr/>
          <p:nvPr userDrawn="1"/>
        </p:nvSpPr>
        <p:spPr>
          <a:xfrm>
            <a:off x="2549405" y="3642285"/>
            <a:ext cx="2331720" cy="150876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FB9C4AFB-A77D-2D2E-828D-71E0CD5AD29D}"/>
              </a:ext>
            </a:extLst>
          </p:cNvPr>
          <p:cNvSpPr/>
          <p:nvPr userDrawn="1"/>
        </p:nvSpPr>
        <p:spPr>
          <a:xfrm>
            <a:off x="163246" y="3642285"/>
            <a:ext cx="2331720" cy="150666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B44F184A-2CF6-7AED-87F9-6206BC507549}"/>
              </a:ext>
            </a:extLst>
          </p:cNvPr>
          <p:cNvSpPr/>
          <p:nvPr userDrawn="1"/>
        </p:nvSpPr>
        <p:spPr>
          <a:xfrm>
            <a:off x="7321723" y="3642285"/>
            <a:ext cx="2331720" cy="150666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5C769A88-4D95-824F-51BC-FF0EEAD1A3C2}"/>
              </a:ext>
            </a:extLst>
          </p:cNvPr>
          <p:cNvSpPr/>
          <p:nvPr userDrawn="1"/>
        </p:nvSpPr>
        <p:spPr>
          <a:xfrm>
            <a:off x="9707880" y="3642285"/>
            <a:ext cx="2331720" cy="150666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3F452597-3180-9C17-5B89-28C01F473A1A}"/>
              </a:ext>
            </a:extLst>
          </p:cNvPr>
          <p:cNvSpPr/>
          <p:nvPr userDrawn="1"/>
        </p:nvSpPr>
        <p:spPr>
          <a:xfrm>
            <a:off x="4935564" y="5198155"/>
            <a:ext cx="2331720" cy="150666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122299F0-53E2-19CA-16FC-94C17827C7E9}"/>
              </a:ext>
            </a:extLst>
          </p:cNvPr>
          <p:cNvSpPr/>
          <p:nvPr userDrawn="1"/>
        </p:nvSpPr>
        <p:spPr>
          <a:xfrm>
            <a:off x="2549405" y="5198155"/>
            <a:ext cx="2331720" cy="150666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0E3F445B-C585-5F8B-5131-383D17479981}"/>
              </a:ext>
            </a:extLst>
          </p:cNvPr>
          <p:cNvSpPr/>
          <p:nvPr userDrawn="1"/>
        </p:nvSpPr>
        <p:spPr>
          <a:xfrm>
            <a:off x="163246" y="5198155"/>
            <a:ext cx="2331720" cy="150666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3047B064-2421-3F91-11F5-ADCDE2E8A06A}"/>
              </a:ext>
            </a:extLst>
          </p:cNvPr>
          <p:cNvSpPr/>
          <p:nvPr userDrawn="1"/>
        </p:nvSpPr>
        <p:spPr>
          <a:xfrm>
            <a:off x="7321723" y="5198155"/>
            <a:ext cx="2331720" cy="150666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BC749D67-E865-0118-92F8-394BA516296E}"/>
              </a:ext>
            </a:extLst>
          </p:cNvPr>
          <p:cNvSpPr/>
          <p:nvPr userDrawn="1"/>
        </p:nvSpPr>
        <p:spPr>
          <a:xfrm>
            <a:off x="9707880" y="5198155"/>
            <a:ext cx="2331720" cy="150666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69A657A2-D1C5-5235-A5E3-FB3CA461ABCF}"/>
              </a:ext>
            </a:extLst>
          </p:cNvPr>
          <p:cNvSpPr/>
          <p:nvPr userDrawn="1"/>
        </p:nvSpPr>
        <p:spPr>
          <a:xfrm>
            <a:off x="4935564" y="2089572"/>
            <a:ext cx="2331720" cy="150666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1496981B-0110-DA46-EA72-F826292BFC88}"/>
              </a:ext>
            </a:extLst>
          </p:cNvPr>
          <p:cNvSpPr/>
          <p:nvPr userDrawn="1"/>
        </p:nvSpPr>
        <p:spPr>
          <a:xfrm>
            <a:off x="2549405" y="2086416"/>
            <a:ext cx="2331720" cy="150666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AFEC015D-30E2-21C1-B0FB-9346AF4C66B3}"/>
              </a:ext>
            </a:extLst>
          </p:cNvPr>
          <p:cNvSpPr/>
          <p:nvPr userDrawn="1"/>
        </p:nvSpPr>
        <p:spPr>
          <a:xfrm>
            <a:off x="163246" y="2086416"/>
            <a:ext cx="2331720" cy="150666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C61CB308-389C-12E2-8AF0-09BDAB8E7050}"/>
              </a:ext>
            </a:extLst>
          </p:cNvPr>
          <p:cNvSpPr/>
          <p:nvPr userDrawn="1"/>
        </p:nvSpPr>
        <p:spPr>
          <a:xfrm>
            <a:off x="7321723" y="2086416"/>
            <a:ext cx="2331720" cy="150666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1659D123-AF14-8C0D-7DDF-1E9D3AE198B4}"/>
              </a:ext>
            </a:extLst>
          </p:cNvPr>
          <p:cNvSpPr/>
          <p:nvPr userDrawn="1"/>
        </p:nvSpPr>
        <p:spPr>
          <a:xfrm>
            <a:off x="9707880" y="2086416"/>
            <a:ext cx="2331720" cy="150666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Graphic 89">
            <a:extLst>
              <a:ext uri="{FF2B5EF4-FFF2-40B4-BE49-F238E27FC236}">
                <a16:creationId xmlns:a16="http://schemas.microsoft.com/office/drawing/2014/main" id="{C94E2FE7-20BA-7B20-080B-50581735C208}"/>
              </a:ext>
            </a:extLst>
          </p:cNvPr>
          <p:cNvSpPr>
            <a:spLocks noChangeAspect="1"/>
          </p:cNvSpPr>
          <p:nvPr userDrawn="1"/>
        </p:nvSpPr>
        <p:spPr>
          <a:xfrm flipH="1">
            <a:off x="4935564" y="5196055"/>
            <a:ext cx="1432938" cy="1508760"/>
          </a:xfrm>
          <a:custGeom>
            <a:avLst/>
            <a:gdLst>
              <a:gd name="connsiteX0" fmla="*/ 0 w 1432938"/>
              <a:gd name="connsiteY0" fmla="*/ 0 h 1432938"/>
              <a:gd name="connsiteX1" fmla="*/ 1432939 w 1432938"/>
              <a:gd name="connsiteY1" fmla="*/ 1432939 h 1432938"/>
              <a:gd name="connsiteX2" fmla="*/ 1432939 w 1432938"/>
              <a:gd name="connsiteY2" fmla="*/ 1432939 h 1432938"/>
              <a:gd name="connsiteX3" fmla="*/ 0 w 1432938"/>
              <a:gd name="connsiteY3" fmla="*/ 0 h 1432938"/>
            </a:gdLst>
            <a:ahLst/>
            <a:cxnLst>
              <a:cxn ang="0">
                <a:pos x="connsiteX0" y="connsiteY0"/>
              </a:cxn>
              <a:cxn ang="0">
                <a:pos x="connsiteX1" y="connsiteY1"/>
              </a:cxn>
              <a:cxn ang="0">
                <a:pos x="connsiteX2" y="connsiteY2"/>
              </a:cxn>
              <a:cxn ang="0">
                <a:pos x="connsiteX3" y="connsiteY3"/>
              </a:cxn>
            </a:cxnLst>
            <a:rect l="l" t="t" r="r" b="b"/>
            <a:pathLst>
              <a:path w="1432938" h="1432938">
                <a:moveTo>
                  <a:pt x="0" y="0"/>
                </a:moveTo>
                <a:cubicBezTo>
                  <a:pt x="0" y="791400"/>
                  <a:pt x="641539" y="1432939"/>
                  <a:pt x="1432939" y="1432939"/>
                </a:cubicBezTo>
                <a:lnTo>
                  <a:pt x="1432939" y="1432939"/>
                </a:lnTo>
                <a:cubicBezTo>
                  <a:pt x="1432939" y="641539"/>
                  <a:pt x="791400" y="0"/>
                  <a:pt x="0" y="0"/>
                </a:cubicBezTo>
                <a:close/>
              </a:path>
            </a:pathLst>
          </a:custGeom>
          <a:solidFill>
            <a:schemeClr val="accent1">
              <a:lumMod val="75000"/>
              <a:alpha val="40000"/>
            </a:schemeClr>
          </a:solidFill>
          <a:ln w="0" cap="flat">
            <a:noFill/>
            <a:prstDash val="solid"/>
            <a:miter/>
          </a:ln>
        </p:spPr>
        <p:txBody>
          <a:bodyPr rtlCol="0" anchor="ctr"/>
          <a:lstStyle/>
          <a:p>
            <a:endParaRPr lang="en-US"/>
          </a:p>
        </p:txBody>
      </p:sp>
      <p:sp>
        <p:nvSpPr>
          <p:cNvPr id="27" name="Graphic 86">
            <a:extLst>
              <a:ext uri="{FF2B5EF4-FFF2-40B4-BE49-F238E27FC236}">
                <a16:creationId xmlns:a16="http://schemas.microsoft.com/office/drawing/2014/main" id="{FA030C6C-F4F8-B35B-0ED9-1F4BEDA6222A}"/>
              </a:ext>
            </a:extLst>
          </p:cNvPr>
          <p:cNvSpPr>
            <a:spLocks noChangeAspect="1"/>
          </p:cNvSpPr>
          <p:nvPr userDrawn="1"/>
        </p:nvSpPr>
        <p:spPr>
          <a:xfrm rot="10800000" flipH="1">
            <a:off x="8145728" y="2086416"/>
            <a:ext cx="1507715" cy="1507715"/>
          </a:xfrm>
          <a:custGeom>
            <a:avLst/>
            <a:gdLst>
              <a:gd name="connsiteX0" fmla="*/ 1507715 w 1507715"/>
              <a:gd name="connsiteY0" fmla="*/ 0 h 1507715"/>
              <a:gd name="connsiteX1" fmla="*/ 1507715 w 1507715"/>
              <a:gd name="connsiteY1" fmla="*/ 1507715 h 1507715"/>
              <a:gd name="connsiteX2" fmla="*/ 0 w 1507715"/>
              <a:gd name="connsiteY2" fmla="*/ 1507715 h 1507715"/>
              <a:gd name="connsiteX3" fmla="*/ 1507715 w 1507715"/>
              <a:gd name="connsiteY3" fmla="*/ 0 h 1507715"/>
            </a:gdLst>
            <a:ahLst/>
            <a:cxnLst>
              <a:cxn ang="0">
                <a:pos x="connsiteX0" y="connsiteY0"/>
              </a:cxn>
              <a:cxn ang="0">
                <a:pos x="connsiteX1" y="connsiteY1"/>
              </a:cxn>
              <a:cxn ang="0">
                <a:pos x="connsiteX2" y="connsiteY2"/>
              </a:cxn>
              <a:cxn ang="0">
                <a:pos x="connsiteX3" y="connsiteY3"/>
              </a:cxn>
            </a:cxnLst>
            <a:rect l="l" t="t" r="r" b="b"/>
            <a:pathLst>
              <a:path w="1507715" h="1507715">
                <a:moveTo>
                  <a:pt x="1507715" y="0"/>
                </a:moveTo>
                <a:lnTo>
                  <a:pt x="1507715" y="1507715"/>
                </a:lnTo>
                <a:lnTo>
                  <a:pt x="0" y="1507715"/>
                </a:lnTo>
                <a:cubicBezTo>
                  <a:pt x="832672" y="1507715"/>
                  <a:pt x="1507715" y="832715"/>
                  <a:pt x="1507715" y="0"/>
                </a:cubicBezTo>
                <a:close/>
              </a:path>
            </a:pathLst>
          </a:custGeom>
          <a:solidFill>
            <a:schemeClr val="accent1">
              <a:lumMod val="75000"/>
              <a:alpha val="40000"/>
            </a:schemeClr>
          </a:solidFill>
          <a:ln w="0"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C4516B6D-A9C9-6053-6233-25BCE96A7E92}"/>
              </a:ext>
            </a:extLst>
          </p:cNvPr>
          <p:cNvSpPr>
            <a:spLocks noChangeAspect="1"/>
          </p:cNvSpPr>
          <p:nvPr userDrawn="1"/>
        </p:nvSpPr>
        <p:spPr>
          <a:xfrm rot="5400000">
            <a:off x="2240746" y="2395076"/>
            <a:ext cx="1508760" cy="891441"/>
          </a:xfrm>
          <a:custGeom>
            <a:avLst/>
            <a:gdLst>
              <a:gd name="connsiteX0" fmla="*/ 0 w 1431896"/>
              <a:gd name="connsiteY0" fmla="*/ 0 h 846026"/>
              <a:gd name="connsiteX1" fmla="*/ 1431897 w 1431896"/>
              <a:gd name="connsiteY1" fmla="*/ 846027 h 846026"/>
              <a:gd name="connsiteX2" fmla="*/ 0 w 1431896"/>
              <a:gd name="connsiteY2" fmla="*/ 846027 h 846026"/>
              <a:gd name="connsiteX3" fmla="*/ 0 w 1431896"/>
              <a:gd name="connsiteY3" fmla="*/ 0 h 846026"/>
            </a:gdLst>
            <a:ahLst/>
            <a:cxnLst>
              <a:cxn ang="0">
                <a:pos x="connsiteX0" y="connsiteY0"/>
              </a:cxn>
              <a:cxn ang="0">
                <a:pos x="connsiteX1" y="connsiteY1"/>
              </a:cxn>
              <a:cxn ang="0">
                <a:pos x="connsiteX2" y="connsiteY2"/>
              </a:cxn>
              <a:cxn ang="0">
                <a:pos x="connsiteX3" y="connsiteY3"/>
              </a:cxn>
            </a:cxnLst>
            <a:rect l="l" t="t" r="r" b="b"/>
            <a:pathLst>
              <a:path w="1431896" h="846026">
                <a:moveTo>
                  <a:pt x="0" y="0"/>
                </a:moveTo>
                <a:lnTo>
                  <a:pt x="1431897" y="846027"/>
                </a:lnTo>
                <a:lnTo>
                  <a:pt x="0" y="846027"/>
                </a:lnTo>
                <a:lnTo>
                  <a:pt x="0" y="0"/>
                </a:lnTo>
                <a:close/>
              </a:path>
            </a:pathLst>
          </a:custGeom>
          <a:solidFill>
            <a:schemeClr val="accent1">
              <a:lumMod val="75000"/>
              <a:alpha val="40000"/>
            </a:schemeClr>
          </a:solidFill>
          <a:ln w="0" cap="flat">
            <a:noFill/>
            <a:prstDash val="solid"/>
            <a:miter/>
          </a:ln>
        </p:spPr>
        <p:txBody>
          <a:bodyPr rtlCol="0" anchor="ctr"/>
          <a:lstStyle/>
          <a:p>
            <a:endParaRPr lang="en-US"/>
          </a:p>
        </p:txBody>
      </p:sp>
      <p:pic>
        <p:nvPicPr>
          <p:cNvPr id="31" name="Picture 30">
            <a:extLst>
              <a:ext uri="{FF2B5EF4-FFF2-40B4-BE49-F238E27FC236}">
                <a16:creationId xmlns:a16="http://schemas.microsoft.com/office/drawing/2014/main" id="{78CA20B7-0BBB-CAC1-10F8-795B6A81854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6276" t="42746" r="1938" b="13215"/>
          <a:stretch/>
        </p:blipFill>
        <p:spPr>
          <a:xfrm>
            <a:off x="2549403" y="3639130"/>
            <a:ext cx="4717881" cy="1509816"/>
          </a:xfrm>
          <a:prstGeom prst="rect">
            <a:avLst/>
          </a:prstGeom>
        </p:spPr>
      </p:pic>
      <p:pic>
        <p:nvPicPr>
          <p:cNvPr id="32" name="Graphic 31">
            <a:extLst>
              <a:ext uri="{FF2B5EF4-FFF2-40B4-BE49-F238E27FC236}">
                <a16:creationId xmlns:a16="http://schemas.microsoft.com/office/drawing/2014/main" id="{0DCBCB15-8577-2CE5-8D8F-20ADC7E98D0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010072" y="4516547"/>
            <a:ext cx="180660" cy="180660"/>
          </a:xfrm>
          <a:prstGeom prst="rect">
            <a:avLst/>
          </a:prstGeom>
        </p:spPr>
      </p:pic>
      <p:pic>
        <p:nvPicPr>
          <p:cNvPr id="33" name="Graphic 32">
            <a:extLst>
              <a:ext uri="{FF2B5EF4-FFF2-40B4-BE49-F238E27FC236}">
                <a16:creationId xmlns:a16="http://schemas.microsoft.com/office/drawing/2014/main" id="{7F5F86C3-A6F7-B8A8-E4C3-485D5410082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04444" y="4332340"/>
            <a:ext cx="123393" cy="123393"/>
          </a:xfrm>
          <a:prstGeom prst="rect">
            <a:avLst/>
          </a:prstGeom>
        </p:spPr>
      </p:pic>
      <p:grpSp>
        <p:nvGrpSpPr>
          <p:cNvPr id="34" name="Group 33">
            <a:extLst>
              <a:ext uri="{FF2B5EF4-FFF2-40B4-BE49-F238E27FC236}">
                <a16:creationId xmlns:a16="http://schemas.microsoft.com/office/drawing/2014/main" id="{CAA21F83-EBBF-2B10-5277-FC6068ABBB09}"/>
              </a:ext>
            </a:extLst>
          </p:cNvPr>
          <p:cNvGrpSpPr>
            <a:grpSpLocks noChangeAspect="1"/>
          </p:cNvGrpSpPr>
          <p:nvPr userDrawn="1"/>
        </p:nvGrpSpPr>
        <p:grpSpPr>
          <a:xfrm flipH="1">
            <a:off x="4772418" y="4523567"/>
            <a:ext cx="228197" cy="242392"/>
            <a:chOff x="7003429" y="4752763"/>
            <a:chExt cx="171448" cy="182113"/>
          </a:xfrm>
        </p:grpSpPr>
        <p:pic>
          <p:nvPicPr>
            <p:cNvPr id="35" name="Graphic 34">
              <a:extLst>
                <a:ext uri="{FF2B5EF4-FFF2-40B4-BE49-F238E27FC236}">
                  <a16:creationId xmlns:a16="http://schemas.microsoft.com/office/drawing/2014/main" id="{2B5841A9-BA6D-FD14-12E3-14B99FC2208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03429" y="4800703"/>
              <a:ext cx="124813" cy="134173"/>
            </a:xfrm>
            <a:prstGeom prst="rect">
              <a:avLst/>
            </a:prstGeom>
          </p:spPr>
        </p:pic>
        <p:pic>
          <p:nvPicPr>
            <p:cNvPr id="36" name="Graphic 35">
              <a:extLst>
                <a:ext uri="{FF2B5EF4-FFF2-40B4-BE49-F238E27FC236}">
                  <a16:creationId xmlns:a16="http://schemas.microsoft.com/office/drawing/2014/main" id="{3E9121A4-B19F-18FD-DC06-28276F362F2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16651" y="4752763"/>
              <a:ext cx="58226" cy="62592"/>
            </a:xfrm>
            <a:prstGeom prst="rect">
              <a:avLst/>
            </a:prstGeom>
          </p:spPr>
        </p:pic>
      </p:grpSp>
      <p:pic>
        <p:nvPicPr>
          <p:cNvPr id="37" name="Picture 36">
            <a:extLst>
              <a:ext uri="{FF2B5EF4-FFF2-40B4-BE49-F238E27FC236}">
                <a16:creationId xmlns:a16="http://schemas.microsoft.com/office/drawing/2014/main" id="{CB2E0E24-3268-5E9A-23DD-B02FB30F67C8}"/>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 t="7403" r="19114" b="14089"/>
          <a:stretch/>
        </p:blipFill>
        <p:spPr>
          <a:xfrm>
            <a:off x="7321723" y="5196054"/>
            <a:ext cx="2331721" cy="1508761"/>
          </a:xfrm>
          <a:prstGeom prst="rect">
            <a:avLst/>
          </a:prstGeom>
        </p:spPr>
      </p:pic>
      <p:sp>
        <p:nvSpPr>
          <p:cNvPr id="38" name="Graphic 19">
            <a:extLst>
              <a:ext uri="{FF2B5EF4-FFF2-40B4-BE49-F238E27FC236}">
                <a16:creationId xmlns:a16="http://schemas.microsoft.com/office/drawing/2014/main" id="{87B053AB-DC14-3C7D-4C1B-308F275A43A7}"/>
              </a:ext>
            </a:extLst>
          </p:cNvPr>
          <p:cNvSpPr>
            <a:spLocks noChangeAspect="1"/>
          </p:cNvSpPr>
          <p:nvPr userDrawn="1"/>
        </p:nvSpPr>
        <p:spPr>
          <a:xfrm>
            <a:off x="3371309" y="5198155"/>
            <a:ext cx="1509816" cy="1509816"/>
          </a:xfrm>
          <a:custGeom>
            <a:avLst/>
            <a:gdLst>
              <a:gd name="connsiteX0" fmla="*/ 1509817 w 1509816"/>
              <a:gd name="connsiteY0" fmla="*/ 1509817 h 1509816"/>
              <a:gd name="connsiteX1" fmla="*/ 0 w 1509816"/>
              <a:gd name="connsiteY1" fmla="*/ 0 h 1509816"/>
              <a:gd name="connsiteX2" fmla="*/ 1509817 w 1509816"/>
              <a:gd name="connsiteY2" fmla="*/ 0 h 1509816"/>
              <a:gd name="connsiteX3" fmla="*/ 1509817 w 1509816"/>
              <a:gd name="connsiteY3" fmla="*/ 1509817 h 1509816"/>
            </a:gdLst>
            <a:ahLst/>
            <a:cxnLst>
              <a:cxn ang="0">
                <a:pos x="connsiteX0" y="connsiteY0"/>
              </a:cxn>
              <a:cxn ang="0">
                <a:pos x="connsiteX1" y="connsiteY1"/>
              </a:cxn>
              <a:cxn ang="0">
                <a:pos x="connsiteX2" y="connsiteY2"/>
              </a:cxn>
              <a:cxn ang="0">
                <a:pos x="connsiteX3" y="connsiteY3"/>
              </a:cxn>
            </a:cxnLst>
            <a:rect l="l" t="t" r="r" b="b"/>
            <a:pathLst>
              <a:path w="1509816" h="1509816">
                <a:moveTo>
                  <a:pt x="1509817" y="1509817"/>
                </a:moveTo>
                <a:cubicBezTo>
                  <a:pt x="675984" y="1509817"/>
                  <a:pt x="0" y="833833"/>
                  <a:pt x="0" y="0"/>
                </a:cubicBezTo>
                <a:lnTo>
                  <a:pt x="1509817" y="0"/>
                </a:lnTo>
                <a:lnTo>
                  <a:pt x="1509817" y="1509817"/>
                </a:lnTo>
                <a:close/>
              </a:path>
            </a:pathLst>
          </a:custGeom>
          <a:solidFill>
            <a:schemeClr val="accent1">
              <a:lumMod val="75000"/>
              <a:alpha val="40000"/>
            </a:schemeClr>
          </a:solidFill>
          <a:ln w="0" cap="flat">
            <a:noFill/>
            <a:prstDash val="solid"/>
            <a:miter/>
          </a:ln>
        </p:spPr>
        <p:txBody>
          <a:bodyPr rtlCol="0" anchor="ctr"/>
          <a:lstStyle/>
          <a:p>
            <a:endParaRPr lang="en-US"/>
          </a:p>
        </p:txBody>
      </p:sp>
      <p:sp>
        <p:nvSpPr>
          <p:cNvPr id="40" name="Graphic 19">
            <a:extLst>
              <a:ext uri="{FF2B5EF4-FFF2-40B4-BE49-F238E27FC236}">
                <a16:creationId xmlns:a16="http://schemas.microsoft.com/office/drawing/2014/main" id="{E47507C4-0B03-5875-0758-C7CB1B68D3B1}"/>
              </a:ext>
            </a:extLst>
          </p:cNvPr>
          <p:cNvSpPr>
            <a:spLocks noChangeAspect="1"/>
          </p:cNvSpPr>
          <p:nvPr userDrawn="1"/>
        </p:nvSpPr>
        <p:spPr>
          <a:xfrm rot="5400000">
            <a:off x="10529784" y="5194999"/>
            <a:ext cx="1509816" cy="1509816"/>
          </a:xfrm>
          <a:custGeom>
            <a:avLst/>
            <a:gdLst>
              <a:gd name="connsiteX0" fmla="*/ 1509817 w 1509816"/>
              <a:gd name="connsiteY0" fmla="*/ 1509817 h 1509816"/>
              <a:gd name="connsiteX1" fmla="*/ 0 w 1509816"/>
              <a:gd name="connsiteY1" fmla="*/ 0 h 1509816"/>
              <a:gd name="connsiteX2" fmla="*/ 1509817 w 1509816"/>
              <a:gd name="connsiteY2" fmla="*/ 0 h 1509816"/>
              <a:gd name="connsiteX3" fmla="*/ 1509817 w 1509816"/>
              <a:gd name="connsiteY3" fmla="*/ 1509817 h 1509816"/>
            </a:gdLst>
            <a:ahLst/>
            <a:cxnLst>
              <a:cxn ang="0">
                <a:pos x="connsiteX0" y="connsiteY0"/>
              </a:cxn>
              <a:cxn ang="0">
                <a:pos x="connsiteX1" y="connsiteY1"/>
              </a:cxn>
              <a:cxn ang="0">
                <a:pos x="connsiteX2" y="connsiteY2"/>
              </a:cxn>
              <a:cxn ang="0">
                <a:pos x="connsiteX3" y="connsiteY3"/>
              </a:cxn>
            </a:cxnLst>
            <a:rect l="l" t="t" r="r" b="b"/>
            <a:pathLst>
              <a:path w="1509816" h="1509816">
                <a:moveTo>
                  <a:pt x="1509817" y="1509817"/>
                </a:moveTo>
                <a:cubicBezTo>
                  <a:pt x="675984" y="1509817"/>
                  <a:pt x="0" y="833833"/>
                  <a:pt x="0" y="0"/>
                </a:cubicBezTo>
                <a:lnTo>
                  <a:pt x="1509817" y="0"/>
                </a:lnTo>
                <a:lnTo>
                  <a:pt x="1509817" y="1509817"/>
                </a:lnTo>
                <a:close/>
              </a:path>
            </a:pathLst>
          </a:custGeom>
          <a:solidFill>
            <a:schemeClr val="tx2">
              <a:lumMod val="75000"/>
              <a:alpha val="40000"/>
            </a:schemeClr>
          </a:solidFill>
          <a:ln w="0" cap="flat">
            <a:noFill/>
            <a:prstDash val="solid"/>
            <a:miter/>
          </a:ln>
        </p:spPr>
        <p:txBody>
          <a:bodyPr rtlCol="0" anchor="ctr"/>
          <a:lstStyle/>
          <a:p>
            <a:endParaRPr lang="en-US"/>
          </a:p>
        </p:txBody>
      </p:sp>
      <p:sp>
        <p:nvSpPr>
          <p:cNvPr id="41" name="Graphic 89">
            <a:extLst>
              <a:ext uri="{FF2B5EF4-FFF2-40B4-BE49-F238E27FC236}">
                <a16:creationId xmlns:a16="http://schemas.microsoft.com/office/drawing/2014/main" id="{689B6A08-FDFA-1FB6-A827-3A355A834D15}"/>
              </a:ext>
            </a:extLst>
          </p:cNvPr>
          <p:cNvSpPr>
            <a:spLocks noChangeAspect="1"/>
          </p:cNvSpPr>
          <p:nvPr userDrawn="1"/>
        </p:nvSpPr>
        <p:spPr>
          <a:xfrm>
            <a:off x="10606662" y="3640185"/>
            <a:ext cx="1432938" cy="1508760"/>
          </a:xfrm>
          <a:custGeom>
            <a:avLst/>
            <a:gdLst>
              <a:gd name="connsiteX0" fmla="*/ 0 w 1432938"/>
              <a:gd name="connsiteY0" fmla="*/ 0 h 1432938"/>
              <a:gd name="connsiteX1" fmla="*/ 1432939 w 1432938"/>
              <a:gd name="connsiteY1" fmla="*/ 1432939 h 1432938"/>
              <a:gd name="connsiteX2" fmla="*/ 1432939 w 1432938"/>
              <a:gd name="connsiteY2" fmla="*/ 1432939 h 1432938"/>
              <a:gd name="connsiteX3" fmla="*/ 0 w 1432938"/>
              <a:gd name="connsiteY3" fmla="*/ 0 h 1432938"/>
            </a:gdLst>
            <a:ahLst/>
            <a:cxnLst>
              <a:cxn ang="0">
                <a:pos x="connsiteX0" y="connsiteY0"/>
              </a:cxn>
              <a:cxn ang="0">
                <a:pos x="connsiteX1" y="connsiteY1"/>
              </a:cxn>
              <a:cxn ang="0">
                <a:pos x="connsiteX2" y="connsiteY2"/>
              </a:cxn>
              <a:cxn ang="0">
                <a:pos x="connsiteX3" y="connsiteY3"/>
              </a:cxn>
            </a:cxnLst>
            <a:rect l="l" t="t" r="r" b="b"/>
            <a:pathLst>
              <a:path w="1432938" h="1432938">
                <a:moveTo>
                  <a:pt x="0" y="0"/>
                </a:moveTo>
                <a:cubicBezTo>
                  <a:pt x="0" y="791400"/>
                  <a:pt x="641539" y="1432939"/>
                  <a:pt x="1432939" y="1432939"/>
                </a:cubicBezTo>
                <a:lnTo>
                  <a:pt x="1432939" y="1432939"/>
                </a:lnTo>
                <a:cubicBezTo>
                  <a:pt x="1432939" y="641539"/>
                  <a:pt x="791400" y="0"/>
                  <a:pt x="0" y="0"/>
                </a:cubicBezTo>
                <a:close/>
              </a:path>
            </a:pathLst>
          </a:custGeom>
          <a:solidFill>
            <a:schemeClr val="tx2">
              <a:lumMod val="75000"/>
              <a:alpha val="40000"/>
            </a:schemeClr>
          </a:solidFill>
          <a:ln w="0" cap="flat">
            <a:noFill/>
            <a:prstDash val="solid"/>
            <a:miter/>
          </a:ln>
        </p:spPr>
        <p:txBody>
          <a:bodyPr rtlCol="0" anchor="ctr"/>
          <a:lstStyle/>
          <a:p>
            <a:endParaRPr lang="en-US"/>
          </a:p>
        </p:txBody>
      </p:sp>
      <p:pic>
        <p:nvPicPr>
          <p:cNvPr id="42" name="Picture 41" descr="A group of people sitting on a couch eating snacks&#10;&#10;Description automatically generated">
            <a:extLst>
              <a:ext uri="{FF2B5EF4-FFF2-40B4-BE49-F238E27FC236}">
                <a16:creationId xmlns:a16="http://schemas.microsoft.com/office/drawing/2014/main" id="{E0A3622F-7EA4-8E7D-B3D0-C36EE4185911}"/>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l="26030" t="20084" r="9782" b="17576"/>
          <a:stretch/>
        </p:blipFill>
        <p:spPr>
          <a:xfrm>
            <a:off x="9707880" y="2083331"/>
            <a:ext cx="2331720" cy="1509745"/>
          </a:xfrm>
          <a:prstGeom prst="rect">
            <a:avLst/>
          </a:prstGeom>
        </p:spPr>
      </p:pic>
      <p:pic>
        <p:nvPicPr>
          <p:cNvPr id="45" name="Picture 44">
            <a:extLst>
              <a:ext uri="{FF2B5EF4-FFF2-40B4-BE49-F238E27FC236}">
                <a16:creationId xmlns:a16="http://schemas.microsoft.com/office/drawing/2014/main" id="{ECF28096-5315-5A8D-A6D0-E4D63ACD8DA7}"/>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t="1432" b="1432"/>
          <a:stretch/>
        </p:blipFill>
        <p:spPr>
          <a:xfrm>
            <a:off x="163246" y="5196055"/>
            <a:ext cx="2329621" cy="1508760"/>
          </a:xfrm>
          <a:prstGeom prst="rect">
            <a:avLst/>
          </a:prstGeom>
        </p:spPr>
      </p:pic>
      <p:pic>
        <p:nvPicPr>
          <p:cNvPr id="46" name="Graphic 45">
            <a:extLst>
              <a:ext uri="{FF2B5EF4-FFF2-40B4-BE49-F238E27FC236}">
                <a16:creationId xmlns:a16="http://schemas.microsoft.com/office/drawing/2014/main" id="{FE18ED26-5CB1-E06F-888C-12A76E251DE9}"/>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385946" y="5502166"/>
            <a:ext cx="217381" cy="250823"/>
          </a:xfrm>
          <a:prstGeom prst="rect">
            <a:avLst/>
          </a:prstGeom>
        </p:spPr>
      </p:pic>
      <p:pic>
        <p:nvPicPr>
          <p:cNvPr id="47" name="Graphic 46">
            <a:extLst>
              <a:ext uri="{FF2B5EF4-FFF2-40B4-BE49-F238E27FC236}">
                <a16:creationId xmlns:a16="http://schemas.microsoft.com/office/drawing/2014/main" id="{3A2ED3C3-224B-5B17-4CBD-CC02EC295EEF}"/>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9839677" y="2943255"/>
            <a:ext cx="107650" cy="132614"/>
          </a:xfrm>
          <a:prstGeom prst="rect">
            <a:avLst/>
          </a:prstGeom>
        </p:spPr>
      </p:pic>
      <p:pic>
        <p:nvPicPr>
          <p:cNvPr id="48" name="Graphic 47">
            <a:extLst>
              <a:ext uri="{FF2B5EF4-FFF2-40B4-BE49-F238E27FC236}">
                <a16:creationId xmlns:a16="http://schemas.microsoft.com/office/drawing/2014/main" id="{BB6E23F5-71F0-9FA5-17D6-AA0DA9692107}"/>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11370508" y="3191016"/>
            <a:ext cx="163814" cy="191897"/>
          </a:xfrm>
          <a:prstGeom prst="rect">
            <a:avLst/>
          </a:prstGeom>
        </p:spPr>
      </p:pic>
      <p:pic>
        <p:nvPicPr>
          <p:cNvPr id="49" name="Graphic 48">
            <a:extLst>
              <a:ext uri="{FF2B5EF4-FFF2-40B4-BE49-F238E27FC236}">
                <a16:creationId xmlns:a16="http://schemas.microsoft.com/office/drawing/2014/main" id="{15ECD918-63DF-EEC8-E3EE-CD69C5E971EF}"/>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802482" y="5494368"/>
            <a:ext cx="209779" cy="322269"/>
          </a:xfrm>
          <a:prstGeom prst="rect">
            <a:avLst/>
          </a:prstGeom>
        </p:spPr>
      </p:pic>
      <p:grpSp>
        <p:nvGrpSpPr>
          <p:cNvPr id="50" name="Group 49">
            <a:extLst>
              <a:ext uri="{FF2B5EF4-FFF2-40B4-BE49-F238E27FC236}">
                <a16:creationId xmlns:a16="http://schemas.microsoft.com/office/drawing/2014/main" id="{12006814-BC45-F518-91C8-212DA007203A}"/>
              </a:ext>
            </a:extLst>
          </p:cNvPr>
          <p:cNvGrpSpPr>
            <a:grpSpLocks noChangeAspect="1"/>
          </p:cNvGrpSpPr>
          <p:nvPr userDrawn="1"/>
        </p:nvGrpSpPr>
        <p:grpSpPr>
          <a:xfrm flipH="1">
            <a:off x="7647396" y="6239836"/>
            <a:ext cx="251017" cy="266631"/>
            <a:chOff x="7003429" y="4752763"/>
            <a:chExt cx="171448" cy="182113"/>
          </a:xfrm>
        </p:grpSpPr>
        <p:pic>
          <p:nvPicPr>
            <p:cNvPr id="51" name="Graphic 50">
              <a:extLst>
                <a:ext uri="{FF2B5EF4-FFF2-40B4-BE49-F238E27FC236}">
                  <a16:creationId xmlns:a16="http://schemas.microsoft.com/office/drawing/2014/main" id="{2F8F64C8-443F-CA06-FF57-A20371203BF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03429" y="4800703"/>
              <a:ext cx="124813" cy="134173"/>
            </a:xfrm>
            <a:prstGeom prst="rect">
              <a:avLst/>
            </a:prstGeom>
          </p:spPr>
        </p:pic>
        <p:pic>
          <p:nvPicPr>
            <p:cNvPr id="52" name="Graphic 51">
              <a:extLst>
                <a:ext uri="{FF2B5EF4-FFF2-40B4-BE49-F238E27FC236}">
                  <a16:creationId xmlns:a16="http://schemas.microsoft.com/office/drawing/2014/main" id="{DFB8F7C6-0EF9-938D-A9B8-C7AB7DD8A1F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16651" y="4752763"/>
              <a:ext cx="58226" cy="62592"/>
            </a:xfrm>
            <a:prstGeom prst="rect">
              <a:avLst/>
            </a:prstGeom>
          </p:spPr>
        </p:pic>
      </p:grpSp>
      <p:sp>
        <p:nvSpPr>
          <p:cNvPr id="53" name="Graphic 19">
            <a:extLst>
              <a:ext uri="{FF2B5EF4-FFF2-40B4-BE49-F238E27FC236}">
                <a16:creationId xmlns:a16="http://schemas.microsoft.com/office/drawing/2014/main" id="{40E85101-A793-D99D-69A0-0C6065EB3228}"/>
              </a:ext>
            </a:extLst>
          </p:cNvPr>
          <p:cNvSpPr>
            <a:spLocks noChangeAspect="1"/>
          </p:cNvSpPr>
          <p:nvPr userDrawn="1"/>
        </p:nvSpPr>
        <p:spPr>
          <a:xfrm flipH="1" flipV="1">
            <a:off x="163247" y="3639129"/>
            <a:ext cx="1509816" cy="1509816"/>
          </a:xfrm>
          <a:custGeom>
            <a:avLst/>
            <a:gdLst>
              <a:gd name="connsiteX0" fmla="*/ 1509817 w 1509816"/>
              <a:gd name="connsiteY0" fmla="*/ 1509817 h 1509816"/>
              <a:gd name="connsiteX1" fmla="*/ 0 w 1509816"/>
              <a:gd name="connsiteY1" fmla="*/ 0 h 1509816"/>
              <a:gd name="connsiteX2" fmla="*/ 1509817 w 1509816"/>
              <a:gd name="connsiteY2" fmla="*/ 0 h 1509816"/>
              <a:gd name="connsiteX3" fmla="*/ 1509817 w 1509816"/>
              <a:gd name="connsiteY3" fmla="*/ 1509817 h 1509816"/>
            </a:gdLst>
            <a:ahLst/>
            <a:cxnLst>
              <a:cxn ang="0">
                <a:pos x="connsiteX0" y="connsiteY0"/>
              </a:cxn>
              <a:cxn ang="0">
                <a:pos x="connsiteX1" y="connsiteY1"/>
              </a:cxn>
              <a:cxn ang="0">
                <a:pos x="connsiteX2" y="connsiteY2"/>
              </a:cxn>
              <a:cxn ang="0">
                <a:pos x="connsiteX3" y="connsiteY3"/>
              </a:cxn>
            </a:cxnLst>
            <a:rect l="l" t="t" r="r" b="b"/>
            <a:pathLst>
              <a:path w="1509816" h="1509816">
                <a:moveTo>
                  <a:pt x="1509817" y="1509817"/>
                </a:moveTo>
                <a:cubicBezTo>
                  <a:pt x="675984" y="1509817"/>
                  <a:pt x="0" y="833833"/>
                  <a:pt x="0" y="0"/>
                </a:cubicBezTo>
                <a:lnTo>
                  <a:pt x="1509817" y="0"/>
                </a:lnTo>
                <a:lnTo>
                  <a:pt x="1509817" y="1509817"/>
                </a:lnTo>
                <a:close/>
              </a:path>
            </a:pathLst>
          </a:custGeom>
          <a:solidFill>
            <a:schemeClr val="accent6">
              <a:lumMod val="75000"/>
              <a:alpha val="40000"/>
            </a:schemeClr>
          </a:solidFill>
          <a:ln w="0" cap="flat">
            <a:noFill/>
            <a:prstDash val="solid"/>
            <a:miter/>
          </a:ln>
        </p:spPr>
        <p:txBody>
          <a:bodyPr rtlCol="0" anchor="ctr"/>
          <a:lstStyle/>
          <a:p>
            <a:endParaRPr lang="en-US"/>
          </a:p>
        </p:txBody>
      </p:sp>
      <p:sp>
        <p:nvSpPr>
          <p:cNvPr id="54" name="Graphic 86">
            <a:extLst>
              <a:ext uri="{FF2B5EF4-FFF2-40B4-BE49-F238E27FC236}">
                <a16:creationId xmlns:a16="http://schemas.microsoft.com/office/drawing/2014/main" id="{EB44B7AE-CCEB-B266-754C-28976FD82CEF}"/>
              </a:ext>
            </a:extLst>
          </p:cNvPr>
          <p:cNvSpPr>
            <a:spLocks noChangeAspect="1"/>
          </p:cNvSpPr>
          <p:nvPr userDrawn="1"/>
        </p:nvSpPr>
        <p:spPr>
          <a:xfrm rot="16200000" flipH="1">
            <a:off x="987251" y="2086416"/>
            <a:ext cx="1507715" cy="1507715"/>
          </a:xfrm>
          <a:custGeom>
            <a:avLst/>
            <a:gdLst>
              <a:gd name="connsiteX0" fmla="*/ 1507715 w 1507715"/>
              <a:gd name="connsiteY0" fmla="*/ 0 h 1507715"/>
              <a:gd name="connsiteX1" fmla="*/ 1507715 w 1507715"/>
              <a:gd name="connsiteY1" fmla="*/ 1507715 h 1507715"/>
              <a:gd name="connsiteX2" fmla="*/ 0 w 1507715"/>
              <a:gd name="connsiteY2" fmla="*/ 1507715 h 1507715"/>
              <a:gd name="connsiteX3" fmla="*/ 1507715 w 1507715"/>
              <a:gd name="connsiteY3" fmla="*/ 0 h 1507715"/>
            </a:gdLst>
            <a:ahLst/>
            <a:cxnLst>
              <a:cxn ang="0">
                <a:pos x="connsiteX0" y="connsiteY0"/>
              </a:cxn>
              <a:cxn ang="0">
                <a:pos x="connsiteX1" y="connsiteY1"/>
              </a:cxn>
              <a:cxn ang="0">
                <a:pos x="connsiteX2" y="connsiteY2"/>
              </a:cxn>
              <a:cxn ang="0">
                <a:pos x="connsiteX3" y="connsiteY3"/>
              </a:cxn>
            </a:cxnLst>
            <a:rect l="l" t="t" r="r" b="b"/>
            <a:pathLst>
              <a:path w="1507715" h="1507715">
                <a:moveTo>
                  <a:pt x="1507715" y="0"/>
                </a:moveTo>
                <a:lnTo>
                  <a:pt x="1507715" y="1507715"/>
                </a:lnTo>
                <a:lnTo>
                  <a:pt x="0" y="1507715"/>
                </a:lnTo>
                <a:cubicBezTo>
                  <a:pt x="832672" y="1507715"/>
                  <a:pt x="1507715" y="832715"/>
                  <a:pt x="1507715" y="0"/>
                </a:cubicBezTo>
                <a:close/>
              </a:path>
            </a:pathLst>
          </a:custGeom>
          <a:solidFill>
            <a:schemeClr val="accent6">
              <a:lumMod val="75000"/>
              <a:alpha val="40000"/>
            </a:schemeClr>
          </a:solidFill>
          <a:ln w="0" cap="flat">
            <a:noFill/>
            <a:prstDash val="solid"/>
            <a:miter/>
          </a:ln>
        </p:spPr>
        <p:txBody>
          <a:bodyPr rtlCol="0" anchor="ctr"/>
          <a:lstStyle/>
          <a:p>
            <a:endParaRPr lang="en-US"/>
          </a:p>
        </p:txBody>
      </p:sp>
      <p:pic>
        <p:nvPicPr>
          <p:cNvPr id="57" name="Picture 56">
            <a:extLst>
              <a:ext uri="{FF2B5EF4-FFF2-40B4-BE49-F238E27FC236}">
                <a16:creationId xmlns:a16="http://schemas.microsoft.com/office/drawing/2014/main" id="{B743314B-153B-F6C2-F576-49995A6EC6FC}"/>
              </a:ext>
            </a:extLst>
          </p:cNvPr>
          <p:cNvPicPr>
            <a:picLocks noChangeAspect="1"/>
          </p:cNvPicPr>
          <p:nvPr userDrawn="1"/>
        </p:nvPicPr>
        <p:blipFill rotWithShape="1">
          <a:blip r:embed="rId18" cstate="screen">
            <a:extLst>
              <a:ext uri="{28A0092B-C50C-407E-A947-70E740481C1C}">
                <a14:useLocalDpi xmlns:a14="http://schemas.microsoft.com/office/drawing/2010/main"/>
              </a:ext>
            </a:extLst>
          </a:blip>
          <a:srcRect l="56" t="56" r="56" b="56"/>
          <a:stretch/>
        </p:blipFill>
        <p:spPr>
          <a:xfrm>
            <a:off x="9337160" y="4830150"/>
            <a:ext cx="687003" cy="687003"/>
          </a:xfrm>
          <a:prstGeom prst="ellipse">
            <a:avLst/>
          </a:prstGeom>
          <a:ln w="63500">
            <a:noFill/>
          </a:ln>
        </p:spPr>
      </p:pic>
      <p:pic>
        <p:nvPicPr>
          <p:cNvPr id="58" name="Picture 57">
            <a:extLst>
              <a:ext uri="{FF2B5EF4-FFF2-40B4-BE49-F238E27FC236}">
                <a16:creationId xmlns:a16="http://schemas.microsoft.com/office/drawing/2014/main" id="{7BB8CB2D-AA2F-5EA0-0EB3-727FFFEDABA4}"/>
              </a:ext>
            </a:extLst>
          </p:cNvPr>
          <p:cNvPicPr>
            <a:picLocks noChangeAspect="1"/>
          </p:cNvPicPr>
          <p:nvPr userDrawn="1"/>
        </p:nvPicPr>
        <p:blipFill rotWithShape="1">
          <a:blip r:embed="rId19" cstate="screen">
            <a:extLst>
              <a:ext uri="{28A0092B-C50C-407E-A947-70E740481C1C}">
                <a14:useLocalDpi xmlns:a14="http://schemas.microsoft.com/office/drawing/2010/main"/>
              </a:ext>
            </a:extLst>
          </a:blip>
          <a:srcRect/>
          <a:stretch/>
        </p:blipFill>
        <p:spPr>
          <a:xfrm>
            <a:off x="6951002" y="3274179"/>
            <a:ext cx="687003" cy="687003"/>
          </a:xfrm>
          <a:prstGeom prst="ellipse">
            <a:avLst/>
          </a:prstGeom>
          <a:ln w="63500">
            <a:noFill/>
          </a:ln>
        </p:spPr>
      </p:pic>
      <p:pic>
        <p:nvPicPr>
          <p:cNvPr id="59" name="Picture 58">
            <a:extLst>
              <a:ext uri="{FF2B5EF4-FFF2-40B4-BE49-F238E27FC236}">
                <a16:creationId xmlns:a16="http://schemas.microsoft.com/office/drawing/2014/main" id="{EE2275CB-A923-B742-8A4F-1B5767A6C3E8}"/>
              </a:ext>
            </a:extLst>
          </p:cNvPr>
          <p:cNvPicPr>
            <a:picLocks noChangeAspect="1"/>
          </p:cNvPicPr>
          <p:nvPr userDrawn="1"/>
        </p:nvPicPr>
        <p:blipFill rotWithShape="1">
          <a:blip r:embed="rId20" cstate="screen">
            <a:extLst>
              <a:ext uri="{28A0092B-C50C-407E-A947-70E740481C1C}">
                <a14:useLocalDpi xmlns:a14="http://schemas.microsoft.com/office/drawing/2010/main"/>
              </a:ext>
            </a:extLst>
          </a:blip>
          <a:srcRect t="112" b="112"/>
          <a:stretch/>
        </p:blipFill>
        <p:spPr>
          <a:xfrm>
            <a:off x="2178684" y="4830150"/>
            <a:ext cx="687003" cy="687003"/>
          </a:xfrm>
          <a:prstGeom prst="ellipse">
            <a:avLst/>
          </a:prstGeom>
          <a:ln w="63500">
            <a:noFill/>
          </a:ln>
        </p:spPr>
      </p:pic>
      <p:sp>
        <p:nvSpPr>
          <p:cNvPr id="60" name="Graphic 86">
            <a:extLst>
              <a:ext uri="{FF2B5EF4-FFF2-40B4-BE49-F238E27FC236}">
                <a16:creationId xmlns:a16="http://schemas.microsoft.com/office/drawing/2014/main" id="{0E9E40E4-E8D0-7C45-7797-2DA6A307AD19}"/>
              </a:ext>
            </a:extLst>
          </p:cNvPr>
          <p:cNvSpPr>
            <a:spLocks noChangeAspect="1"/>
          </p:cNvSpPr>
          <p:nvPr userDrawn="1"/>
        </p:nvSpPr>
        <p:spPr>
          <a:xfrm rot="10800000" flipV="1">
            <a:off x="7321723" y="3641230"/>
            <a:ext cx="1507715" cy="1507715"/>
          </a:xfrm>
          <a:custGeom>
            <a:avLst/>
            <a:gdLst>
              <a:gd name="connsiteX0" fmla="*/ 1507715 w 1507715"/>
              <a:gd name="connsiteY0" fmla="*/ 0 h 1507715"/>
              <a:gd name="connsiteX1" fmla="*/ 1507715 w 1507715"/>
              <a:gd name="connsiteY1" fmla="*/ 1507715 h 1507715"/>
              <a:gd name="connsiteX2" fmla="*/ 0 w 1507715"/>
              <a:gd name="connsiteY2" fmla="*/ 1507715 h 1507715"/>
              <a:gd name="connsiteX3" fmla="*/ 1507715 w 1507715"/>
              <a:gd name="connsiteY3" fmla="*/ 0 h 1507715"/>
            </a:gdLst>
            <a:ahLst/>
            <a:cxnLst>
              <a:cxn ang="0">
                <a:pos x="connsiteX0" y="connsiteY0"/>
              </a:cxn>
              <a:cxn ang="0">
                <a:pos x="connsiteX1" y="connsiteY1"/>
              </a:cxn>
              <a:cxn ang="0">
                <a:pos x="connsiteX2" y="connsiteY2"/>
              </a:cxn>
              <a:cxn ang="0">
                <a:pos x="connsiteX3" y="connsiteY3"/>
              </a:cxn>
            </a:cxnLst>
            <a:rect l="l" t="t" r="r" b="b"/>
            <a:pathLst>
              <a:path w="1507715" h="1507715">
                <a:moveTo>
                  <a:pt x="1507715" y="0"/>
                </a:moveTo>
                <a:lnTo>
                  <a:pt x="1507715" y="1507715"/>
                </a:lnTo>
                <a:lnTo>
                  <a:pt x="0" y="1507715"/>
                </a:lnTo>
                <a:cubicBezTo>
                  <a:pt x="832672" y="1507715"/>
                  <a:pt x="1507715" y="832715"/>
                  <a:pt x="1507715" y="0"/>
                </a:cubicBezTo>
                <a:close/>
              </a:path>
            </a:pathLst>
          </a:custGeom>
          <a:solidFill>
            <a:schemeClr val="accent1">
              <a:lumMod val="75000"/>
              <a:alpha val="40000"/>
            </a:schemeClr>
          </a:solidFill>
          <a:ln w="0" cap="flat">
            <a:noFill/>
            <a:prstDash val="solid"/>
            <a:miter/>
          </a:ln>
        </p:spPr>
        <p:txBody>
          <a:bodyPr rtlCol="0" anchor="ctr"/>
          <a:lstStyle/>
          <a:p>
            <a:endParaRPr lang="en-US"/>
          </a:p>
        </p:txBody>
      </p:sp>
      <p:sp>
        <p:nvSpPr>
          <p:cNvPr id="62" name="Graphic 19">
            <a:extLst>
              <a:ext uri="{FF2B5EF4-FFF2-40B4-BE49-F238E27FC236}">
                <a16:creationId xmlns:a16="http://schemas.microsoft.com/office/drawing/2014/main" id="{E71CA5C5-06C3-C986-D64E-E3E631F762A3}"/>
              </a:ext>
            </a:extLst>
          </p:cNvPr>
          <p:cNvSpPr>
            <a:spLocks noChangeAspect="1"/>
          </p:cNvSpPr>
          <p:nvPr userDrawn="1"/>
        </p:nvSpPr>
        <p:spPr>
          <a:xfrm rot="10800000">
            <a:off x="4935564" y="2086416"/>
            <a:ext cx="1509816" cy="1509816"/>
          </a:xfrm>
          <a:custGeom>
            <a:avLst/>
            <a:gdLst>
              <a:gd name="connsiteX0" fmla="*/ 1509817 w 1509816"/>
              <a:gd name="connsiteY0" fmla="*/ 1509817 h 1509816"/>
              <a:gd name="connsiteX1" fmla="*/ 0 w 1509816"/>
              <a:gd name="connsiteY1" fmla="*/ 0 h 1509816"/>
              <a:gd name="connsiteX2" fmla="*/ 1509817 w 1509816"/>
              <a:gd name="connsiteY2" fmla="*/ 0 h 1509816"/>
              <a:gd name="connsiteX3" fmla="*/ 1509817 w 1509816"/>
              <a:gd name="connsiteY3" fmla="*/ 1509817 h 1509816"/>
            </a:gdLst>
            <a:ahLst/>
            <a:cxnLst>
              <a:cxn ang="0">
                <a:pos x="connsiteX0" y="connsiteY0"/>
              </a:cxn>
              <a:cxn ang="0">
                <a:pos x="connsiteX1" y="connsiteY1"/>
              </a:cxn>
              <a:cxn ang="0">
                <a:pos x="connsiteX2" y="connsiteY2"/>
              </a:cxn>
              <a:cxn ang="0">
                <a:pos x="connsiteX3" y="connsiteY3"/>
              </a:cxn>
            </a:cxnLst>
            <a:rect l="l" t="t" r="r" b="b"/>
            <a:pathLst>
              <a:path w="1509816" h="1509816">
                <a:moveTo>
                  <a:pt x="1509817" y="1509817"/>
                </a:moveTo>
                <a:cubicBezTo>
                  <a:pt x="675984" y="1509817"/>
                  <a:pt x="0" y="833833"/>
                  <a:pt x="0" y="0"/>
                </a:cubicBezTo>
                <a:lnTo>
                  <a:pt x="1509817" y="0"/>
                </a:lnTo>
                <a:lnTo>
                  <a:pt x="1509817" y="1509817"/>
                </a:lnTo>
                <a:close/>
              </a:path>
            </a:pathLst>
          </a:custGeom>
          <a:solidFill>
            <a:schemeClr val="accent1">
              <a:lumMod val="75000"/>
              <a:alpha val="40000"/>
            </a:schemeClr>
          </a:soli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pic>
        <p:nvPicPr>
          <p:cNvPr id="64" name="Graphic 63">
            <a:extLst>
              <a:ext uri="{FF2B5EF4-FFF2-40B4-BE49-F238E27FC236}">
                <a16:creationId xmlns:a16="http://schemas.microsoft.com/office/drawing/2014/main" id="{7ADD4046-1258-EC52-C831-658477B359C4}"/>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rot="1311315">
            <a:off x="897153" y="6077821"/>
            <a:ext cx="180195" cy="211087"/>
          </a:xfrm>
          <a:prstGeom prst="rect">
            <a:avLst/>
          </a:prstGeom>
        </p:spPr>
      </p:pic>
      <p:pic>
        <p:nvPicPr>
          <p:cNvPr id="65" name="Graphic 64">
            <a:extLst>
              <a:ext uri="{FF2B5EF4-FFF2-40B4-BE49-F238E27FC236}">
                <a16:creationId xmlns:a16="http://schemas.microsoft.com/office/drawing/2014/main" id="{22BAFBEF-CB10-0DA9-3FE1-7DF38E11D76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flipH="1">
            <a:off x="1304573" y="5433688"/>
            <a:ext cx="85249" cy="91641"/>
          </a:xfrm>
          <a:prstGeom prst="rect">
            <a:avLst/>
          </a:prstGeom>
        </p:spPr>
      </p:pic>
      <p:pic>
        <p:nvPicPr>
          <p:cNvPr id="66" name="Graphic 65">
            <a:extLst>
              <a:ext uri="{FF2B5EF4-FFF2-40B4-BE49-F238E27FC236}">
                <a16:creationId xmlns:a16="http://schemas.microsoft.com/office/drawing/2014/main" id="{ABDF2F9F-203E-DD97-E511-1E9C88B72000}"/>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rot="169463">
            <a:off x="9092736" y="6029966"/>
            <a:ext cx="218037" cy="255416"/>
          </a:xfrm>
          <a:prstGeom prst="rect">
            <a:avLst/>
          </a:prstGeom>
        </p:spPr>
      </p:pic>
      <p:pic>
        <p:nvPicPr>
          <p:cNvPr id="67" name="Graphic 66">
            <a:extLst>
              <a:ext uri="{FF2B5EF4-FFF2-40B4-BE49-F238E27FC236}">
                <a16:creationId xmlns:a16="http://schemas.microsoft.com/office/drawing/2014/main" id="{2773D52D-6077-A56A-F731-77D17AE88D3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flipH="1">
            <a:off x="1822742" y="6198240"/>
            <a:ext cx="113466" cy="121975"/>
          </a:xfrm>
          <a:prstGeom prst="rect">
            <a:avLst/>
          </a:prstGeom>
        </p:spPr>
      </p:pic>
      <p:pic>
        <p:nvPicPr>
          <p:cNvPr id="68" name="Graphic 67">
            <a:extLst>
              <a:ext uri="{FF2B5EF4-FFF2-40B4-BE49-F238E27FC236}">
                <a16:creationId xmlns:a16="http://schemas.microsoft.com/office/drawing/2014/main" id="{B5BBA0CA-CBDD-FBA9-4444-B5B72DAAF3EC}"/>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6028804" y="3986569"/>
            <a:ext cx="173372" cy="213576"/>
          </a:xfrm>
          <a:prstGeom prst="rect">
            <a:avLst/>
          </a:prstGeom>
        </p:spPr>
      </p:pic>
      <p:grpSp>
        <p:nvGrpSpPr>
          <p:cNvPr id="69" name="Group 68">
            <a:extLst>
              <a:ext uri="{FF2B5EF4-FFF2-40B4-BE49-F238E27FC236}">
                <a16:creationId xmlns:a16="http://schemas.microsoft.com/office/drawing/2014/main" id="{EE0BC6C4-802F-E72F-7E2E-3C90909FF13F}"/>
              </a:ext>
            </a:extLst>
          </p:cNvPr>
          <p:cNvGrpSpPr>
            <a:grpSpLocks noChangeAspect="1"/>
          </p:cNvGrpSpPr>
          <p:nvPr userDrawn="1"/>
        </p:nvGrpSpPr>
        <p:grpSpPr>
          <a:xfrm>
            <a:off x="10682285" y="2818725"/>
            <a:ext cx="207452" cy="220356"/>
            <a:chOff x="7003429" y="4752763"/>
            <a:chExt cx="171448" cy="182113"/>
          </a:xfrm>
        </p:grpSpPr>
        <p:pic>
          <p:nvPicPr>
            <p:cNvPr id="70" name="Graphic 69">
              <a:extLst>
                <a:ext uri="{FF2B5EF4-FFF2-40B4-BE49-F238E27FC236}">
                  <a16:creationId xmlns:a16="http://schemas.microsoft.com/office/drawing/2014/main" id="{E51B922E-2BC0-E1F3-0C0D-79DA05D4B14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03429" y="4800703"/>
              <a:ext cx="124813" cy="134173"/>
            </a:xfrm>
            <a:prstGeom prst="rect">
              <a:avLst/>
            </a:prstGeom>
          </p:spPr>
        </p:pic>
        <p:pic>
          <p:nvPicPr>
            <p:cNvPr id="71" name="Graphic 70">
              <a:extLst>
                <a:ext uri="{FF2B5EF4-FFF2-40B4-BE49-F238E27FC236}">
                  <a16:creationId xmlns:a16="http://schemas.microsoft.com/office/drawing/2014/main" id="{8F9C6A2C-D980-3458-6A9E-1FCA7C1823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16651" y="4752763"/>
              <a:ext cx="58226" cy="62592"/>
            </a:xfrm>
            <a:prstGeom prst="rect">
              <a:avLst/>
            </a:prstGeom>
          </p:spPr>
        </p:pic>
      </p:grpSp>
      <p:pic>
        <p:nvPicPr>
          <p:cNvPr id="72" name="Graphic 71">
            <a:extLst>
              <a:ext uri="{FF2B5EF4-FFF2-40B4-BE49-F238E27FC236}">
                <a16:creationId xmlns:a16="http://schemas.microsoft.com/office/drawing/2014/main" id="{71C1E63E-8908-2723-F40E-F6E6318BD7D6}"/>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0214433" y="2273145"/>
            <a:ext cx="107650" cy="165375"/>
          </a:xfrm>
          <a:prstGeom prst="rect">
            <a:avLst/>
          </a:prstGeom>
        </p:spPr>
      </p:pic>
      <p:pic>
        <p:nvPicPr>
          <p:cNvPr id="73" name="Graphic 72">
            <a:extLst>
              <a:ext uri="{FF2B5EF4-FFF2-40B4-BE49-F238E27FC236}">
                <a16:creationId xmlns:a16="http://schemas.microsoft.com/office/drawing/2014/main" id="{023A26A2-9D1A-8F2B-3301-A4763D7619D1}"/>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1534322" y="2526389"/>
            <a:ext cx="148475" cy="171315"/>
          </a:xfrm>
          <a:prstGeom prst="rect">
            <a:avLst/>
          </a:prstGeom>
        </p:spPr>
      </p:pic>
      <p:sp>
        <p:nvSpPr>
          <p:cNvPr id="26" name="TextBox 25">
            <a:extLst>
              <a:ext uri="{FF2B5EF4-FFF2-40B4-BE49-F238E27FC236}">
                <a16:creationId xmlns:a16="http://schemas.microsoft.com/office/drawing/2014/main" id="{C1367295-654E-22C7-D3DE-575E6151ADF2}"/>
              </a:ext>
            </a:extLst>
          </p:cNvPr>
          <p:cNvSpPr txBox="1"/>
          <p:nvPr userDrawn="1"/>
        </p:nvSpPr>
        <p:spPr>
          <a:xfrm>
            <a:off x="-1" y="6676328"/>
            <a:ext cx="2227811" cy="200055"/>
          </a:xfrm>
          <a:prstGeom prst="rect">
            <a:avLst/>
          </a:prstGeom>
          <a:noFill/>
        </p:spPr>
        <p:txBody>
          <a:bodyPr wrap="square" rtlCol="0">
            <a:spAutoFit/>
          </a:bodyPr>
          <a:lstStyle/>
          <a:p>
            <a:r>
              <a:rPr lang="en-US" sz="700" b="0" i="0" u="none" strike="noStrike" err="1">
                <a:solidFill>
                  <a:srgbClr val="0065E5"/>
                </a:solidFill>
                <a:effectLst/>
                <a:latin typeface="Fibra One Light" panose="020B0604020202020204" charset="0"/>
              </a:rPr>
              <a:t>pepsico</a:t>
            </a:r>
            <a:r>
              <a:rPr lang="en-US" sz="700" b="0" i="0" u="none" strike="noStrike">
                <a:solidFill>
                  <a:srgbClr val="0065E5"/>
                </a:solidFill>
                <a:effectLst/>
                <a:latin typeface="Fibra One Light" panose="020B0604020202020204" charset="0"/>
              </a:rPr>
              <a:t> positive I </a:t>
            </a:r>
            <a:r>
              <a:rPr lang="en-US" sz="700" b="0" i="0" u="none" strike="noStrike">
                <a:solidFill>
                  <a:srgbClr val="8FDC42"/>
                </a:solidFill>
                <a:effectLst/>
                <a:latin typeface="Fibra One Light" panose="020B0604020202020204" charset="0"/>
              </a:rPr>
              <a:t>confidential &amp; proprietary</a:t>
            </a:r>
            <a:endParaRPr lang="en-US" sz="100">
              <a:solidFill>
                <a:srgbClr val="8FDC42"/>
              </a:solidFill>
              <a:latin typeface="Fibra One Light" panose="020B0604020202020204" charset="0"/>
            </a:endParaRPr>
          </a:p>
        </p:txBody>
      </p:sp>
      <p:sp>
        <p:nvSpPr>
          <p:cNvPr id="28" name="TextBox 27">
            <a:extLst>
              <a:ext uri="{FF2B5EF4-FFF2-40B4-BE49-F238E27FC236}">
                <a16:creationId xmlns:a16="http://schemas.microsoft.com/office/drawing/2014/main" id="{887E56B8-86FE-FCFF-93B7-648EC04C2078}"/>
              </a:ext>
            </a:extLst>
          </p:cNvPr>
          <p:cNvSpPr txBox="1"/>
          <p:nvPr userDrawn="1"/>
        </p:nvSpPr>
        <p:spPr>
          <a:xfrm>
            <a:off x="8381681" y="6684501"/>
            <a:ext cx="3786872" cy="192360"/>
          </a:xfrm>
          <a:prstGeom prst="rect">
            <a:avLst/>
          </a:prstGeom>
          <a:noFill/>
        </p:spPr>
        <p:txBody>
          <a:bodyPr wrap="square" lIns="91440" tIns="45720" rIns="91440" bIns="45720" anchor="t">
            <a:spAutoFit/>
          </a:bodyPr>
          <a:lstStyle/>
          <a:p>
            <a:pPr algn="ctr"/>
            <a:r>
              <a:rPr lang="en-IN" sz="650">
                <a:latin typeface="Fibra One SemiBold"/>
              </a:rPr>
              <a:t>See </a:t>
            </a:r>
            <a:r>
              <a:rPr lang="en-IN" sz="650">
                <a:solidFill>
                  <a:srgbClr val="0056C2"/>
                </a:solidFill>
                <a:latin typeface="Fibra One SemiBold"/>
                <a:hlinkClick r:id="rId21">
                  <a:extLst>
                    <a:ext uri="{A12FA001-AC4F-418D-AE19-62706E023703}">
                      <ahyp:hlinkClr xmlns:ahyp="http://schemas.microsoft.com/office/drawing/2018/hyperlinkcolor" val="tx"/>
                    </a:ext>
                  </a:extLst>
                </a:hlinkClick>
              </a:rPr>
              <a:t>Calculation methodology</a:t>
            </a:r>
            <a:r>
              <a:rPr lang="en-IN" sz="650">
                <a:solidFill>
                  <a:schemeClr val="accent1"/>
                </a:solidFill>
                <a:latin typeface="Fibra One SemiBold"/>
              </a:rPr>
              <a:t> </a:t>
            </a:r>
            <a:r>
              <a:rPr lang="en-IN" sz="650">
                <a:latin typeface="Fibra One SemiBold"/>
              </a:rPr>
              <a:t>on ESG Topics A-Z for additional details and footnotes</a:t>
            </a:r>
          </a:p>
        </p:txBody>
      </p:sp>
    </p:spTree>
    <p:extLst>
      <p:ext uri="{BB962C8B-B14F-4D97-AF65-F5344CB8AC3E}">
        <p14:creationId xmlns:p14="http://schemas.microsoft.com/office/powerpoint/2010/main" val="349725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20">
          <p15:clr>
            <a:srgbClr val="FBAE40"/>
          </p15:clr>
        </p15:guide>
        <p15:guide id="2" pos="6312">
          <p15:clr>
            <a:srgbClr val="FBAE40"/>
          </p15:clr>
        </p15:guide>
        <p15:guide id="3" pos="5112">
          <p15:clr>
            <a:srgbClr val="FBAE40"/>
          </p15:clr>
        </p15:guide>
        <p15:guide id="4" pos="4920">
          <p15:clr>
            <a:srgbClr val="FBAE40"/>
          </p15:clr>
        </p15:guide>
        <p15:guide id="5" pos="3912">
          <p15:clr>
            <a:srgbClr val="FBAE40"/>
          </p15:clr>
        </p15:guide>
        <p15:guide id="6" pos="3720">
          <p15:clr>
            <a:srgbClr val="FBAE40"/>
          </p15:clr>
        </p15:guide>
        <p15:guide id="7" pos="2712">
          <p15:clr>
            <a:srgbClr val="FBAE40"/>
          </p15:clr>
        </p15:guide>
        <p15:guide id="8" pos="2520">
          <p15:clr>
            <a:srgbClr val="FBAE40"/>
          </p15:clr>
        </p15:guide>
        <p15:guide id="9" pos="1512">
          <p15:clr>
            <a:srgbClr val="FBAE40"/>
          </p15:clr>
        </p15:guide>
        <p15:guide id="10" pos="1320">
          <p15:clr>
            <a:srgbClr val="FBAE40"/>
          </p15:clr>
        </p15:guide>
        <p15:guide id="11" pos="312">
          <p15:clr>
            <a:srgbClr val="FBAE40"/>
          </p15:clr>
        </p15:guide>
        <p15:guide id="12" pos="732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ED6EDD-1FE0-DA4E-BBAF-48D636384CE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2566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20">
          <p15:clr>
            <a:srgbClr val="FBAE40"/>
          </p15:clr>
        </p15:guide>
        <p15:guide id="2" pos="6312">
          <p15:clr>
            <a:srgbClr val="FBAE40"/>
          </p15:clr>
        </p15:guide>
        <p15:guide id="3" pos="5112">
          <p15:clr>
            <a:srgbClr val="FBAE40"/>
          </p15:clr>
        </p15:guide>
        <p15:guide id="4" pos="4920">
          <p15:clr>
            <a:srgbClr val="FBAE40"/>
          </p15:clr>
        </p15:guide>
        <p15:guide id="5" pos="3912">
          <p15:clr>
            <a:srgbClr val="FBAE40"/>
          </p15:clr>
        </p15:guide>
        <p15:guide id="6" pos="3720">
          <p15:clr>
            <a:srgbClr val="FBAE40"/>
          </p15:clr>
        </p15:guide>
        <p15:guide id="7" pos="2712">
          <p15:clr>
            <a:srgbClr val="FBAE40"/>
          </p15:clr>
        </p15:guide>
        <p15:guide id="8" pos="2520">
          <p15:clr>
            <a:srgbClr val="FBAE40"/>
          </p15:clr>
        </p15:guide>
        <p15:guide id="9" pos="1512">
          <p15:clr>
            <a:srgbClr val="FBAE40"/>
          </p15:clr>
        </p15:guide>
        <p15:guide id="10" pos="1320">
          <p15:clr>
            <a:srgbClr val="FBAE40"/>
          </p15:clr>
        </p15:guide>
        <p15:guide id="11" pos="312">
          <p15:clr>
            <a:srgbClr val="FBAE40"/>
          </p15:clr>
        </p15:guide>
        <p15:guide id="12" pos="732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Subtitle (ligh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ED6EDD-1FE0-DA4E-BBAF-48D636384CE5}"/>
              </a:ext>
            </a:extLst>
          </p:cNvPr>
          <p:cNvSpPr>
            <a:spLocks noGrp="1"/>
          </p:cNvSpPr>
          <p:nvPr>
            <p:ph type="title"/>
          </p:nvPr>
        </p:nvSpPr>
        <p:spPr/>
        <p:txBody>
          <a:bodyPr/>
          <a:lstStyle/>
          <a:p>
            <a:r>
              <a:rPr lang="en-US"/>
              <a:t>Click to edit Master title style</a:t>
            </a:r>
          </a:p>
        </p:txBody>
      </p:sp>
      <p:sp>
        <p:nvSpPr>
          <p:cNvPr id="2" name="Text Placeholder 47">
            <a:extLst>
              <a:ext uri="{FF2B5EF4-FFF2-40B4-BE49-F238E27FC236}">
                <a16:creationId xmlns:a16="http://schemas.microsoft.com/office/drawing/2014/main" id="{9A07EEF4-CC9B-1ACB-AF25-E6CA86D33471}"/>
              </a:ext>
            </a:extLst>
          </p:cNvPr>
          <p:cNvSpPr>
            <a:spLocks noGrp="1"/>
          </p:cNvSpPr>
          <p:nvPr>
            <p:ph type="body" sz="quarter" idx="10"/>
          </p:nvPr>
        </p:nvSpPr>
        <p:spPr>
          <a:xfrm>
            <a:off x="342900" y="1075325"/>
            <a:ext cx="6592824" cy="181396"/>
          </a:xfrm>
        </p:spPr>
        <p:txBody>
          <a:bodyPr vert="horz" lIns="0" tIns="0" rIns="0" bIns="0" rtlCol="0" anchor="t">
            <a:spAutoFit/>
          </a:bodyPr>
          <a:lstStyle>
            <a:lvl1pPr>
              <a:spcBef>
                <a:spcPts val="0"/>
              </a:spcBef>
              <a:spcAft>
                <a:spcPts val="0"/>
              </a:spcAft>
              <a:defRPr lang="en-US" sz="1100" spc="-30" dirty="0" smtClean="0">
                <a:solidFill>
                  <a:schemeClr val="tx1"/>
                </a:solidFill>
                <a:latin typeface="Fibra One" pitchFamily="2" charset="77"/>
              </a:defRPr>
            </a:lvl1pPr>
          </a:lstStyle>
          <a:p>
            <a:pPr marR="5080" lvl="0">
              <a:lnSpc>
                <a:spcPct val="113000"/>
              </a:lnSpc>
              <a:spcBef>
                <a:spcPts val="300"/>
              </a:spcBef>
            </a:pPr>
            <a:r>
              <a:rPr lang="en-US"/>
              <a:t>Click to edit Master text styles</a:t>
            </a:r>
          </a:p>
        </p:txBody>
      </p:sp>
    </p:spTree>
    <p:extLst>
      <p:ext uri="{BB962C8B-B14F-4D97-AF65-F5344CB8AC3E}">
        <p14:creationId xmlns:p14="http://schemas.microsoft.com/office/powerpoint/2010/main" val="2136871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20">
          <p15:clr>
            <a:srgbClr val="FBAE40"/>
          </p15:clr>
        </p15:guide>
        <p15:guide id="2" pos="6312">
          <p15:clr>
            <a:srgbClr val="FBAE40"/>
          </p15:clr>
        </p15:guide>
        <p15:guide id="3" pos="5112">
          <p15:clr>
            <a:srgbClr val="FBAE40"/>
          </p15:clr>
        </p15:guide>
        <p15:guide id="4" pos="4920">
          <p15:clr>
            <a:srgbClr val="FBAE40"/>
          </p15:clr>
        </p15:guide>
        <p15:guide id="5" pos="3912">
          <p15:clr>
            <a:srgbClr val="FBAE40"/>
          </p15:clr>
        </p15:guide>
        <p15:guide id="6" pos="3720">
          <p15:clr>
            <a:srgbClr val="FBAE40"/>
          </p15:clr>
        </p15:guide>
        <p15:guide id="7" pos="2712">
          <p15:clr>
            <a:srgbClr val="FBAE40"/>
          </p15:clr>
        </p15:guide>
        <p15:guide id="8" pos="2520">
          <p15:clr>
            <a:srgbClr val="FBAE40"/>
          </p15:clr>
        </p15:guide>
        <p15:guide id="9" pos="1512">
          <p15:clr>
            <a:srgbClr val="FBAE40"/>
          </p15:clr>
        </p15:guide>
        <p15:guide id="10" pos="1320">
          <p15:clr>
            <a:srgbClr val="FBAE40"/>
          </p15:clr>
        </p15:guide>
        <p15:guide id="11" pos="312">
          <p15:clr>
            <a:srgbClr val="FBAE40"/>
          </p15:clr>
        </p15:guide>
        <p15:guide id="12" pos="732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with Identifier (ligh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ED6EDD-1FE0-DA4E-BBAF-48D636384CE5}"/>
              </a:ext>
            </a:extLst>
          </p:cNvPr>
          <p:cNvSpPr>
            <a:spLocks noGrp="1"/>
          </p:cNvSpPr>
          <p:nvPr>
            <p:ph type="title"/>
          </p:nvPr>
        </p:nvSpPr>
        <p:spPr>
          <a:xfrm>
            <a:off x="342900" y="994046"/>
            <a:ext cx="5905500" cy="304699"/>
          </a:xfrm>
        </p:spPr>
        <p:txBody>
          <a:bodyPr/>
          <a:lstStyle/>
          <a:p>
            <a:r>
              <a:rPr lang="en-US"/>
              <a:t>Click to edit Master title style</a:t>
            </a:r>
          </a:p>
        </p:txBody>
      </p:sp>
      <p:sp>
        <p:nvSpPr>
          <p:cNvPr id="6" name="Text Placeholder 5">
            <a:extLst>
              <a:ext uri="{FF2B5EF4-FFF2-40B4-BE49-F238E27FC236}">
                <a16:creationId xmlns:a16="http://schemas.microsoft.com/office/drawing/2014/main" id="{08B59AB5-BB65-61A4-73D4-C63857EC3AA5}"/>
              </a:ext>
            </a:extLst>
          </p:cNvPr>
          <p:cNvSpPr>
            <a:spLocks noGrp="1"/>
          </p:cNvSpPr>
          <p:nvPr>
            <p:ph type="body" sz="quarter" idx="10" hasCustomPrompt="1"/>
          </p:nvPr>
        </p:nvSpPr>
        <p:spPr>
          <a:xfrm>
            <a:off x="342900" y="713874"/>
            <a:ext cx="5588000" cy="193899"/>
          </a:xfrm>
        </p:spPr>
        <p:txBody>
          <a:bodyPr>
            <a:spAutoFit/>
          </a:bodyPr>
          <a:lstStyle>
            <a:lvl1pPr marL="0" algn="l" defTabSz="914400" rtl="0" eaLnBrk="1" latinLnBrk="0" hangingPunct="1">
              <a:lnSpc>
                <a:spcPct val="90000"/>
              </a:lnSpc>
              <a:spcBef>
                <a:spcPct val="0"/>
              </a:spcBef>
              <a:buNone/>
              <a:defRPr lang="en-US" sz="1400" b="0" kern="1200" spc="0" baseline="0" dirty="0">
                <a:solidFill>
                  <a:srgbClr val="0052DB"/>
                </a:solidFill>
                <a:latin typeface="+mn-lt"/>
                <a:ea typeface="+mj-ea"/>
                <a:cs typeface="+mj-cs"/>
              </a:defRPr>
            </a:lvl1pPr>
          </a:lstStyle>
          <a:p>
            <a:pPr lvl="0"/>
            <a:r>
              <a:rPr lang="en-US"/>
              <a:t>identifier</a:t>
            </a:r>
          </a:p>
        </p:txBody>
      </p:sp>
    </p:spTree>
    <p:extLst>
      <p:ext uri="{BB962C8B-B14F-4D97-AF65-F5344CB8AC3E}">
        <p14:creationId xmlns:p14="http://schemas.microsoft.com/office/powerpoint/2010/main" val="403947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20">
          <p15:clr>
            <a:srgbClr val="FBAE40"/>
          </p15:clr>
        </p15:guide>
        <p15:guide id="2" pos="6312">
          <p15:clr>
            <a:srgbClr val="FBAE40"/>
          </p15:clr>
        </p15:guide>
        <p15:guide id="3" pos="5112">
          <p15:clr>
            <a:srgbClr val="FBAE40"/>
          </p15:clr>
        </p15:guide>
        <p15:guide id="4" pos="4920">
          <p15:clr>
            <a:srgbClr val="FBAE40"/>
          </p15:clr>
        </p15:guide>
        <p15:guide id="5" pos="3912">
          <p15:clr>
            <a:srgbClr val="FBAE40"/>
          </p15:clr>
        </p15:guide>
        <p15:guide id="6" pos="3720">
          <p15:clr>
            <a:srgbClr val="FBAE40"/>
          </p15:clr>
        </p15:guide>
        <p15:guide id="7" pos="2712">
          <p15:clr>
            <a:srgbClr val="FBAE40"/>
          </p15:clr>
        </p15:guide>
        <p15:guide id="8" pos="2520">
          <p15:clr>
            <a:srgbClr val="FBAE40"/>
          </p15:clr>
        </p15:guide>
        <p15:guide id="9" pos="1512">
          <p15:clr>
            <a:srgbClr val="FBAE40"/>
          </p15:clr>
        </p15:guide>
        <p15:guide id="10" pos="1320">
          <p15:clr>
            <a:srgbClr val="FBAE40"/>
          </p15:clr>
        </p15:guide>
        <p15:guide id="11" pos="312">
          <p15:clr>
            <a:srgbClr val="FBAE40"/>
          </p15:clr>
        </p15:guide>
        <p15:guide id="12" pos="73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over_1">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A09563F-A17E-86B9-B6DE-B63FC0470BBE}"/>
              </a:ext>
            </a:extLst>
          </p:cNvPr>
          <p:cNvGraphicFramePr>
            <a:graphicFrameLocks noChangeAspect="1"/>
          </p:cNvGraphicFramePr>
          <p:nvPr userDrawn="1">
            <p:custDataLst>
              <p:tags r:id="rId1"/>
            </p:custDataLst>
            <p:extLst>
              <p:ext uri="{D42A27DB-BD31-4B8C-83A1-F6EECF244321}">
                <p14:modId xmlns:p14="http://schemas.microsoft.com/office/powerpoint/2010/main" val="919674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think-cell data - do not delete" hidden="1">
                        <a:extLst>
                          <a:ext uri="{FF2B5EF4-FFF2-40B4-BE49-F238E27FC236}">
                            <a16:creationId xmlns:a16="http://schemas.microsoft.com/office/drawing/2014/main" id="{8A09563F-A17E-86B9-B6DE-B63FC0470B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3F9111E3-B6B3-F20D-E234-232A58D77455}"/>
              </a:ext>
            </a:extLst>
          </p:cNvPr>
          <p:cNvPicPr>
            <a:picLocks noChangeAspect="1"/>
          </p:cNvPicPr>
          <p:nvPr userDrawn="1"/>
        </p:nvPicPr>
        <p:blipFill>
          <a:blip r:embed="rId5"/>
          <a:stretch>
            <a:fillRect/>
          </a:stretch>
        </p:blipFill>
        <p:spPr>
          <a:xfrm>
            <a:off x="19504" y="2780"/>
            <a:ext cx="12192000" cy="6855220"/>
          </a:xfrm>
          <a:prstGeom prst="rect">
            <a:avLst/>
          </a:prstGeom>
        </p:spPr>
      </p:pic>
      <p:pic>
        <p:nvPicPr>
          <p:cNvPr id="11" name="Picture 10" descr="A person standing next to a refrigerator&#10;&#10;Description automatically generated with medium confidence">
            <a:extLst>
              <a:ext uri="{FF2B5EF4-FFF2-40B4-BE49-F238E27FC236}">
                <a16:creationId xmlns:a16="http://schemas.microsoft.com/office/drawing/2014/main" id="{646B3363-2589-6D20-01EA-720CE2264BBE}"/>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t="-214"/>
          <a:stretch/>
        </p:blipFill>
        <p:spPr>
          <a:xfrm>
            <a:off x="0" y="-3225"/>
            <a:ext cx="6464459" cy="6855220"/>
          </a:xfrm>
          <a:prstGeom prst="rect">
            <a:avLst/>
          </a:prstGeom>
        </p:spPr>
      </p:pic>
      <p:pic>
        <p:nvPicPr>
          <p:cNvPr id="8" name="Picture 7">
            <a:extLst>
              <a:ext uri="{FF2B5EF4-FFF2-40B4-BE49-F238E27FC236}">
                <a16:creationId xmlns:a16="http://schemas.microsoft.com/office/drawing/2014/main" id="{22402783-288C-2D52-A4BA-8F45BACAE0B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0"/>
            <a:ext cx="5214876" cy="4513432"/>
          </a:xfrm>
          <a:prstGeom prst="rect">
            <a:avLst/>
          </a:prstGeom>
        </p:spPr>
      </p:pic>
      <p:sp>
        <p:nvSpPr>
          <p:cNvPr id="4" name="TextBox 3">
            <a:extLst>
              <a:ext uri="{FF2B5EF4-FFF2-40B4-BE49-F238E27FC236}">
                <a16:creationId xmlns:a16="http://schemas.microsoft.com/office/drawing/2014/main" id="{39C32344-3F64-881D-8597-493E4E19655C}"/>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mn-lt"/>
                <a:ea typeface="+mn-ea"/>
                <a:cs typeface="+mn-cs"/>
              </a:rPr>
              <a:pPr algn="r"/>
              <a:t>‹#›</a:t>
            </a:fld>
            <a:endParaRPr lang="en-US" sz="700" spc="300">
              <a:solidFill>
                <a:schemeClr val="bg1"/>
              </a:solidFill>
              <a:latin typeface="+mn-lt"/>
              <a:ea typeface="+mn-ea"/>
              <a:cs typeface="+mn-cs"/>
            </a:endParaRPr>
          </a:p>
        </p:txBody>
      </p:sp>
      <p:sp>
        <p:nvSpPr>
          <p:cNvPr id="3" name="Rectangle 2">
            <a:extLst>
              <a:ext uri="{FF2B5EF4-FFF2-40B4-BE49-F238E27FC236}">
                <a16:creationId xmlns:a16="http://schemas.microsoft.com/office/drawing/2014/main" id="{A98DFE46-B5E2-F718-94E7-DEF297DF395B}"/>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8E00E491-5360-4420-3643-DDA785916048}"/>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52670FD2-6DEE-3AD9-85AC-45AAB1C3274F}"/>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1ED70F8B-B5D8-3BA6-1B64-F30D81678066}"/>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00714F0B-729E-CAB1-D0E3-5633DF445DB1}"/>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1C1B6030-5708-896E-87F9-D9EB5A92297E}"/>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D2DD69C2-D4FE-4E6E-F4EA-F29654973D31}"/>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BC48FFBE-14CD-15D0-B311-6B84759D8C47}"/>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2A0CD2D3-A28D-3316-27BD-4D7CA492E49B}"/>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8" name="Rectangle 17">
            <a:extLst>
              <a:ext uri="{FF2B5EF4-FFF2-40B4-BE49-F238E27FC236}">
                <a16:creationId xmlns:a16="http://schemas.microsoft.com/office/drawing/2014/main" id="{2798D593-3A07-FA79-0F2D-3BA8F7D72047}"/>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9" name="Text Placeholder 6">
            <a:extLst>
              <a:ext uri="{FF2B5EF4-FFF2-40B4-BE49-F238E27FC236}">
                <a16:creationId xmlns:a16="http://schemas.microsoft.com/office/drawing/2014/main" id="{CCEE4AD4-5673-DC5D-0072-55F8141A6EE8}"/>
              </a:ext>
            </a:extLst>
          </p:cNvPr>
          <p:cNvSpPr>
            <a:spLocks noGrp="1"/>
          </p:cNvSpPr>
          <p:nvPr>
            <p:ph type="body" sz="quarter" idx="15" hasCustomPrompt="1"/>
          </p:nvPr>
        </p:nvSpPr>
        <p:spPr>
          <a:xfrm>
            <a:off x="6916416" y="1907198"/>
            <a:ext cx="4882138" cy="608864"/>
          </a:xfrm>
        </p:spPr>
        <p:txBody>
          <a:bodyPr>
            <a:noAutofit/>
          </a:bodyPr>
          <a:lstStyle>
            <a:lvl1pPr marL="0" indent="0">
              <a:buNone/>
              <a:defRPr sz="3600" b="1" i="0">
                <a:solidFill>
                  <a:schemeClr val="bg1"/>
                </a:solidFill>
                <a:latin typeface="+mn-lt"/>
                <a:ea typeface="+mn-ea"/>
                <a:cs typeface="+mn-cs"/>
              </a:defRPr>
            </a:lvl1pPr>
          </a:lstStyle>
          <a:p>
            <a:pPr lvl="0"/>
            <a:r>
              <a:rPr lang="en-US"/>
              <a:t>Title text</a:t>
            </a:r>
          </a:p>
        </p:txBody>
      </p:sp>
      <p:sp>
        <p:nvSpPr>
          <p:cNvPr id="20" name="Text Placeholder 6">
            <a:extLst>
              <a:ext uri="{FF2B5EF4-FFF2-40B4-BE49-F238E27FC236}">
                <a16:creationId xmlns:a16="http://schemas.microsoft.com/office/drawing/2014/main" id="{D7AEF975-7E8E-3FB4-D358-82BE2CB20294}"/>
              </a:ext>
            </a:extLst>
          </p:cNvPr>
          <p:cNvSpPr>
            <a:spLocks noGrp="1"/>
          </p:cNvSpPr>
          <p:nvPr>
            <p:ph type="body" sz="quarter" idx="16" hasCustomPrompt="1"/>
          </p:nvPr>
        </p:nvSpPr>
        <p:spPr>
          <a:xfrm>
            <a:off x="6916416" y="2736147"/>
            <a:ext cx="4882138" cy="608864"/>
          </a:xfrm>
          <a:noFill/>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b="0" i="0">
                <a:solidFill>
                  <a:schemeClr val="bg1"/>
                </a:solidFill>
                <a:latin typeface="+mn-lt"/>
                <a:ea typeface="+mn-ea"/>
                <a:cs typeface="+mn-cs"/>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Subtitle</a:t>
            </a:r>
          </a:p>
          <a:p>
            <a:pPr lvl="0"/>
            <a:endParaRPr lang="en-US"/>
          </a:p>
        </p:txBody>
      </p:sp>
      <p:sp>
        <p:nvSpPr>
          <p:cNvPr id="21" name="Text Placeholder 6">
            <a:extLst>
              <a:ext uri="{FF2B5EF4-FFF2-40B4-BE49-F238E27FC236}">
                <a16:creationId xmlns:a16="http://schemas.microsoft.com/office/drawing/2014/main" id="{CDD05584-C1AB-97CD-2E18-F6E51E3A46FE}"/>
              </a:ext>
            </a:extLst>
          </p:cNvPr>
          <p:cNvSpPr>
            <a:spLocks noGrp="1"/>
          </p:cNvSpPr>
          <p:nvPr>
            <p:ph type="body" sz="quarter" idx="18" hasCustomPrompt="1"/>
          </p:nvPr>
        </p:nvSpPr>
        <p:spPr>
          <a:xfrm>
            <a:off x="6942174" y="3959640"/>
            <a:ext cx="4882138" cy="384460"/>
          </a:xfrm>
          <a:noFill/>
        </p:spPr>
        <p:txBody>
          <a:bodyPr>
            <a:noAutofit/>
          </a:bodyPr>
          <a:lstStyle>
            <a:lvl1pPr marL="0" indent="0">
              <a:buNone/>
              <a:defRPr sz="2000" b="0" i="0">
                <a:solidFill>
                  <a:schemeClr val="bg1"/>
                </a:solidFill>
                <a:latin typeface="+mn-lt"/>
                <a:ea typeface="+mn-ea"/>
                <a:cs typeface="+mn-cs"/>
              </a:defRPr>
            </a:lvl1pPr>
          </a:lstStyle>
          <a:p>
            <a:pPr lvl="0"/>
            <a:r>
              <a:rPr lang="en-US"/>
              <a:t>Date </a:t>
            </a:r>
          </a:p>
        </p:txBody>
      </p:sp>
      <p:pic>
        <p:nvPicPr>
          <p:cNvPr id="5" name="Picture 4" descr="Logo&#10;&#10;Description automatically generated">
            <a:extLst>
              <a:ext uri="{FF2B5EF4-FFF2-40B4-BE49-F238E27FC236}">
                <a16:creationId xmlns:a16="http://schemas.microsoft.com/office/drawing/2014/main" id="{D41257D2-16E8-0A4B-5A97-A365EBC5CB45}"/>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615031" y="5220255"/>
            <a:ext cx="3180246" cy="1304619"/>
          </a:xfrm>
          <a:prstGeom prst="rect">
            <a:avLst/>
          </a:prstGeom>
        </p:spPr>
      </p:pic>
    </p:spTree>
    <p:extLst>
      <p:ext uri="{BB962C8B-B14F-4D97-AF65-F5344CB8AC3E}">
        <p14:creationId xmlns:p14="http://schemas.microsoft.com/office/powerpoint/2010/main" val="405720508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6598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20">
          <p15:clr>
            <a:srgbClr val="FBAE40"/>
          </p15:clr>
        </p15:guide>
        <p15:guide id="2" pos="6312">
          <p15:clr>
            <a:srgbClr val="FBAE40"/>
          </p15:clr>
        </p15:guide>
        <p15:guide id="3" pos="5112">
          <p15:clr>
            <a:srgbClr val="FBAE40"/>
          </p15:clr>
        </p15:guide>
        <p15:guide id="4" pos="4920">
          <p15:clr>
            <a:srgbClr val="FBAE40"/>
          </p15:clr>
        </p15:guide>
        <p15:guide id="5" pos="3912">
          <p15:clr>
            <a:srgbClr val="FBAE40"/>
          </p15:clr>
        </p15:guide>
        <p15:guide id="6" pos="3720">
          <p15:clr>
            <a:srgbClr val="FBAE40"/>
          </p15:clr>
        </p15:guide>
        <p15:guide id="7" pos="2712">
          <p15:clr>
            <a:srgbClr val="FBAE40"/>
          </p15:clr>
        </p15:guide>
        <p15:guide id="8" pos="2520">
          <p15:clr>
            <a:srgbClr val="FBAE40"/>
          </p15:clr>
        </p15:guide>
        <p15:guide id="9" pos="1512">
          <p15:clr>
            <a:srgbClr val="FBAE40"/>
          </p15:clr>
        </p15:guide>
        <p15:guide id="10" pos="1320">
          <p15:clr>
            <a:srgbClr val="FBAE40"/>
          </p15:clr>
        </p15:guide>
        <p15:guide id="11" pos="312">
          <p15:clr>
            <a:srgbClr val="FBAE40"/>
          </p15:clr>
        </p15:guide>
        <p15:guide id="12" pos="732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 Only (dark)">
    <p:bg>
      <p:bgPr>
        <a:solidFill>
          <a:srgbClr val="0052DB"/>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2D0D2E25-1A53-33EF-FCB0-743FD6EE20C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02394" y="141214"/>
            <a:ext cx="780831" cy="187399"/>
          </a:xfrm>
          <a:prstGeom prst="rect">
            <a:avLst/>
          </a:prstGeom>
        </p:spPr>
      </p:pic>
      <p:sp>
        <p:nvSpPr>
          <p:cNvPr id="3" name="object 17">
            <a:extLst>
              <a:ext uri="{FF2B5EF4-FFF2-40B4-BE49-F238E27FC236}">
                <a16:creationId xmlns:a16="http://schemas.microsoft.com/office/drawing/2014/main" id="{77B9B0D0-474C-F0DE-4740-4A9296600D79}"/>
              </a:ext>
            </a:extLst>
          </p:cNvPr>
          <p:cNvSpPr txBox="1">
            <a:spLocks/>
          </p:cNvSpPr>
          <p:nvPr userDrawn="1"/>
        </p:nvSpPr>
        <p:spPr>
          <a:xfrm>
            <a:off x="11649283" y="210332"/>
            <a:ext cx="425305" cy="129074"/>
          </a:xfrm>
          <a:prstGeom prst="rect">
            <a:avLst/>
          </a:prstGeom>
        </p:spPr>
        <p:txBody>
          <a:bodyPr vert="horz" wrap="square" lIns="0" tIns="12700" rIns="0" bIns="0" rtlCol="0" anchor="t" anchorCtr="0">
            <a:spAutoFit/>
          </a:bodyPr>
          <a:lstStyle>
            <a:lvl1pPr algn="l" defTabSz="914400" rtl="0" eaLnBrk="1" latinLnBrk="0" hangingPunct="1">
              <a:lnSpc>
                <a:spcPct val="90000"/>
              </a:lnSpc>
              <a:spcBef>
                <a:spcPct val="0"/>
              </a:spcBef>
              <a:buNone/>
              <a:defRPr sz="3000" b="0" kern="1200" spc="0" baseline="0">
                <a:solidFill>
                  <a:schemeClr val="bg1"/>
                </a:solidFill>
                <a:latin typeface="Fibra One UltraBold" panose="00000900000000000000" pitchFamily="50" charset="0"/>
                <a:ea typeface="+mj-ea"/>
                <a:cs typeface="+mj-cs"/>
              </a:defRPr>
            </a:lvl1pPr>
          </a:lstStyle>
          <a:p>
            <a:pPr marL="12700" marR="0" lvl="0" indent="0" algn="ctr" defTabSz="914400" rtl="0" eaLnBrk="1" fontAlgn="auto" latinLnBrk="0" hangingPunct="1">
              <a:lnSpc>
                <a:spcPct val="114000"/>
              </a:lnSpc>
              <a:spcBef>
                <a:spcPts val="100"/>
              </a:spcBef>
              <a:spcAft>
                <a:spcPts val="0"/>
              </a:spcAft>
              <a:buClrTx/>
              <a:buSzTx/>
              <a:buFontTx/>
              <a:buNone/>
              <a:tabLst/>
              <a:defRPr/>
            </a:pPr>
            <a:fld id="{DC653A1D-CE81-1B46-9F19-36F2F8F55CD9}" type="slidenum">
              <a:rPr kumimoji="0" lang="en-IN" sz="700" b="1" i="0" u="none" strike="noStrike" kern="1200" cap="none" spc="0" normalizeH="0" baseline="0" noProof="0" smtClean="0">
                <a:ln>
                  <a:noFill/>
                </a:ln>
                <a:solidFill>
                  <a:schemeClr val="bg1"/>
                </a:solidFill>
                <a:effectLst/>
                <a:uLnTx/>
                <a:uFillTx/>
                <a:latin typeface="Fibra One Bold" pitchFamily="2" charset="77"/>
                <a:ea typeface="+mj-ea"/>
                <a:cs typeface="+mj-cs"/>
              </a:rPr>
              <a:pPr marL="12700" marR="0" lvl="0" indent="0" algn="ctr" defTabSz="914400" rtl="0" eaLnBrk="1" fontAlgn="auto" latinLnBrk="0" hangingPunct="1">
                <a:lnSpc>
                  <a:spcPct val="114000"/>
                </a:lnSpc>
                <a:spcBef>
                  <a:spcPts val="100"/>
                </a:spcBef>
                <a:spcAft>
                  <a:spcPts val="0"/>
                </a:spcAft>
                <a:buClrTx/>
                <a:buSzTx/>
                <a:buFontTx/>
                <a:buNone/>
                <a:tabLst/>
                <a:defRPr/>
              </a:pPr>
              <a:t>‹#›</a:t>
            </a:fld>
            <a:endParaRPr kumimoji="0" lang="en-IN" sz="600" b="0" i="0" u="none" strike="noStrike" kern="1200" cap="none" spc="0" normalizeH="0" baseline="0" noProof="0">
              <a:ln>
                <a:noFill/>
              </a:ln>
              <a:solidFill>
                <a:schemeClr val="bg1"/>
              </a:solidFill>
              <a:effectLst/>
              <a:uLnTx/>
              <a:uFillTx/>
              <a:latin typeface="Fibra One" pitchFamily="2" charset="77"/>
              <a:ea typeface="+mj-ea"/>
              <a:cs typeface="+mj-cs"/>
            </a:endParaRPr>
          </a:p>
        </p:txBody>
      </p:sp>
      <p:sp>
        <p:nvSpPr>
          <p:cNvPr id="5" name="object 17">
            <a:extLst>
              <a:ext uri="{FF2B5EF4-FFF2-40B4-BE49-F238E27FC236}">
                <a16:creationId xmlns:a16="http://schemas.microsoft.com/office/drawing/2014/main" id="{52E44225-A8BF-3248-13C7-92D805644958}"/>
              </a:ext>
            </a:extLst>
          </p:cNvPr>
          <p:cNvSpPr txBox="1">
            <a:spLocks/>
          </p:cNvSpPr>
          <p:nvPr userDrawn="1"/>
        </p:nvSpPr>
        <p:spPr>
          <a:xfrm rot="5400000">
            <a:off x="9824267" y="4472372"/>
            <a:ext cx="4116588" cy="129074"/>
          </a:xfrm>
          <a:prstGeom prst="rect">
            <a:avLst/>
          </a:prstGeom>
        </p:spPr>
        <p:txBody>
          <a:bodyPr vert="horz" wrap="square" lIns="0" tIns="12700" rIns="0" bIns="0" rtlCol="0" anchor="t" anchorCtr="0">
            <a:spAutoFit/>
          </a:bodyPr>
          <a:lstStyle>
            <a:lvl1pPr algn="l" defTabSz="914400" rtl="0" eaLnBrk="1" latinLnBrk="0" hangingPunct="1">
              <a:lnSpc>
                <a:spcPct val="90000"/>
              </a:lnSpc>
              <a:spcBef>
                <a:spcPct val="0"/>
              </a:spcBef>
              <a:buNone/>
              <a:defRPr sz="3000" b="0" kern="1200" spc="0" baseline="0">
                <a:solidFill>
                  <a:schemeClr val="bg1"/>
                </a:solidFill>
                <a:latin typeface="Fibra One UltraBold" panose="00000900000000000000" pitchFamily="50" charset="0"/>
                <a:ea typeface="+mj-ea"/>
                <a:cs typeface="+mj-cs"/>
              </a:defRPr>
            </a:lvl1pPr>
          </a:lstStyle>
          <a:p>
            <a:pPr marL="12700" marR="0" lvl="0" indent="0" algn="r" defTabSz="914400" rtl="0" eaLnBrk="1" fontAlgn="auto" latinLnBrk="0" hangingPunct="1">
              <a:lnSpc>
                <a:spcPct val="114000"/>
              </a:lnSpc>
              <a:spcBef>
                <a:spcPts val="100"/>
              </a:spcBef>
              <a:spcAft>
                <a:spcPts val="0"/>
              </a:spcAft>
              <a:buClrTx/>
              <a:buSzTx/>
              <a:buFontTx/>
              <a:buNone/>
              <a:tabLst/>
              <a:defRPr/>
            </a:pPr>
            <a:r>
              <a:rPr kumimoji="0" lang="en-IN" sz="700" b="1" i="0" u="none" strike="noStrike" kern="1200" cap="none" spc="0" normalizeH="0" baseline="0" noProof="0">
                <a:ln>
                  <a:noFill/>
                </a:ln>
                <a:solidFill>
                  <a:schemeClr val="bg1"/>
                </a:solidFill>
                <a:effectLst/>
                <a:uLnTx/>
                <a:uFillTx/>
                <a:latin typeface="Fibra One Bold" pitchFamily="2" charset="77"/>
                <a:ea typeface="+mj-ea"/>
                <a:cs typeface="+mj-cs"/>
              </a:rPr>
              <a:t>2023  PepsiCo ESG Summary Overview</a:t>
            </a:r>
          </a:p>
        </p:txBody>
      </p:sp>
      <p:sp>
        <p:nvSpPr>
          <p:cNvPr id="4" name="Title 3">
            <a:extLst>
              <a:ext uri="{FF2B5EF4-FFF2-40B4-BE49-F238E27FC236}">
                <a16:creationId xmlns:a16="http://schemas.microsoft.com/office/drawing/2014/main" id="{CD3971FC-313D-4CF3-273F-8DA92A140911}"/>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Box 5">
            <a:extLst>
              <a:ext uri="{FF2B5EF4-FFF2-40B4-BE49-F238E27FC236}">
                <a16:creationId xmlns:a16="http://schemas.microsoft.com/office/drawing/2014/main" id="{18F4397A-8710-2F7E-2152-79CE88954BC2}"/>
              </a:ext>
            </a:extLst>
          </p:cNvPr>
          <p:cNvSpPr txBox="1"/>
          <p:nvPr userDrawn="1"/>
        </p:nvSpPr>
        <p:spPr>
          <a:xfrm>
            <a:off x="9724401" y="6601220"/>
            <a:ext cx="2513779" cy="215444"/>
          </a:xfrm>
          <a:prstGeom prst="rect">
            <a:avLst/>
          </a:prstGeom>
          <a:noFill/>
        </p:spPr>
        <p:txBody>
          <a:bodyPr wrap="square">
            <a:spAutoFit/>
          </a:bodyPr>
          <a:lstStyle/>
          <a:p>
            <a:r>
              <a:rPr lang="en-US" sz="800" b="0" i="0" u="none" strike="noStrike" err="1">
                <a:solidFill>
                  <a:schemeClr val="bg1"/>
                </a:solidFill>
                <a:effectLst/>
                <a:latin typeface="Fibra One" panose="00000500000000000000" pitchFamily="50" charset="0"/>
              </a:rPr>
              <a:t>pepsico</a:t>
            </a:r>
            <a:r>
              <a:rPr lang="en-US" sz="800" b="0" i="0" u="none" strike="noStrike">
                <a:solidFill>
                  <a:schemeClr val="bg1"/>
                </a:solidFill>
                <a:effectLst/>
                <a:latin typeface="Fibra One" panose="00000500000000000000" pitchFamily="50" charset="0"/>
              </a:rPr>
              <a:t> positive I confidential &amp; proprietary</a:t>
            </a:r>
            <a:endParaRPr lang="en-US" sz="800">
              <a:solidFill>
                <a:schemeClr val="bg1"/>
              </a:solidFill>
            </a:endParaRPr>
          </a:p>
        </p:txBody>
      </p:sp>
    </p:spTree>
    <p:extLst>
      <p:ext uri="{BB962C8B-B14F-4D97-AF65-F5344CB8AC3E}">
        <p14:creationId xmlns:p14="http://schemas.microsoft.com/office/powerpoint/2010/main" val="1188397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20">
          <p15:clr>
            <a:srgbClr val="FBAE40"/>
          </p15:clr>
        </p15:guide>
        <p15:guide id="2" pos="6312">
          <p15:clr>
            <a:srgbClr val="FBAE40"/>
          </p15:clr>
        </p15:guide>
        <p15:guide id="3" pos="5112">
          <p15:clr>
            <a:srgbClr val="FBAE40"/>
          </p15:clr>
        </p15:guide>
        <p15:guide id="4" pos="4920">
          <p15:clr>
            <a:srgbClr val="FBAE40"/>
          </p15:clr>
        </p15:guide>
        <p15:guide id="5" pos="3912">
          <p15:clr>
            <a:srgbClr val="FBAE40"/>
          </p15:clr>
        </p15:guide>
        <p15:guide id="6" pos="3720">
          <p15:clr>
            <a:srgbClr val="FBAE40"/>
          </p15:clr>
        </p15:guide>
        <p15:guide id="7" pos="2712">
          <p15:clr>
            <a:srgbClr val="FBAE40"/>
          </p15:clr>
        </p15:guide>
        <p15:guide id="8" pos="2520">
          <p15:clr>
            <a:srgbClr val="FBAE40"/>
          </p15:clr>
        </p15:guide>
        <p15:guide id="9" pos="1512">
          <p15:clr>
            <a:srgbClr val="FBAE40"/>
          </p15:clr>
        </p15:guide>
        <p15:guide id="10" pos="1320">
          <p15:clr>
            <a:srgbClr val="FBAE40"/>
          </p15:clr>
        </p15:guide>
        <p15:guide id="11" pos="312">
          <p15:clr>
            <a:srgbClr val="FBAE40"/>
          </p15:clr>
        </p15:guide>
        <p15:guide id="12" pos="732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le and Subtitle (dark)">
    <p:bg>
      <p:bgPr>
        <a:solidFill>
          <a:srgbClr val="0052DB"/>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2D0D2E25-1A53-33EF-FCB0-743FD6EE20C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02394" y="141214"/>
            <a:ext cx="780831" cy="187399"/>
          </a:xfrm>
          <a:prstGeom prst="rect">
            <a:avLst/>
          </a:prstGeom>
        </p:spPr>
      </p:pic>
      <p:sp>
        <p:nvSpPr>
          <p:cNvPr id="3" name="object 17">
            <a:extLst>
              <a:ext uri="{FF2B5EF4-FFF2-40B4-BE49-F238E27FC236}">
                <a16:creationId xmlns:a16="http://schemas.microsoft.com/office/drawing/2014/main" id="{77B9B0D0-474C-F0DE-4740-4A9296600D79}"/>
              </a:ext>
            </a:extLst>
          </p:cNvPr>
          <p:cNvSpPr txBox="1">
            <a:spLocks/>
          </p:cNvSpPr>
          <p:nvPr userDrawn="1"/>
        </p:nvSpPr>
        <p:spPr>
          <a:xfrm>
            <a:off x="11649283" y="210332"/>
            <a:ext cx="425305" cy="129074"/>
          </a:xfrm>
          <a:prstGeom prst="rect">
            <a:avLst/>
          </a:prstGeom>
        </p:spPr>
        <p:txBody>
          <a:bodyPr vert="horz" wrap="square" lIns="0" tIns="12700" rIns="0" bIns="0" rtlCol="0" anchor="t" anchorCtr="0">
            <a:spAutoFit/>
          </a:bodyPr>
          <a:lstStyle>
            <a:lvl1pPr algn="l" defTabSz="914400" rtl="0" eaLnBrk="1" latinLnBrk="0" hangingPunct="1">
              <a:lnSpc>
                <a:spcPct val="90000"/>
              </a:lnSpc>
              <a:spcBef>
                <a:spcPct val="0"/>
              </a:spcBef>
              <a:buNone/>
              <a:defRPr sz="3000" b="0" kern="1200" spc="0" baseline="0">
                <a:solidFill>
                  <a:schemeClr val="bg1"/>
                </a:solidFill>
                <a:latin typeface="Fibra One UltraBold" panose="00000900000000000000" pitchFamily="50" charset="0"/>
                <a:ea typeface="+mj-ea"/>
                <a:cs typeface="+mj-cs"/>
              </a:defRPr>
            </a:lvl1pPr>
          </a:lstStyle>
          <a:p>
            <a:pPr marL="12700" marR="0" lvl="0" indent="0" algn="ctr" defTabSz="914400" rtl="0" eaLnBrk="1" fontAlgn="auto" latinLnBrk="0" hangingPunct="1">
              <a:lnSpc>
                <a:spcPct val="114000"/>
              </a:lnSpc>
              <a:spcBef>
                <a:spcPts val="100"/>
              </a:spcBef>
              <a:spcAft>
                <a:spcPts val="0"/>
              </a:spcAft>
              <a:buClrTx/>
              <a:buSzTx/>
              <a:buFontTx/>
              <a:buNone/>
              <a:tabLst/>
              <a:defRPr/>
            </a:pPr>
            <a:fld id="{DC653A1D-CE81-1B46-9F19-36F2F8F55CD9}" type="slidenum">
              <a:rPr kumimoji="0" lang="en-IN" sz="700" b="1" i="0" u="none" strike="noStrike" kern="1200" cap="none" spc="0" normalizeH="0" baseline="0" noProof="0" smtClean="0">
                <a:ln>
                  <a:noFill/>
                </a:ln>
                <a:solidFill>
                  <a:schemeClr val="bg1"/>
                </a:solidFill>
                <a:effectLst/>
                <a:uLnTx/>
                <a:uFillTx/>
                <a:latin typeface="Fibra One Bold" pitchFamily="2" charset="77"/>
                <a:ea typeface="+mj-ea"/>
                <a:cs typeface="+mj-cs"/>
              </a:rPr>
              <a:pPr marL="12700" marR="0" lvl="0" indent="0" algn="ctr" defTabSz="914400" rtl="0" eaLnBrk="1" fontAlgn="auto" latinLnBrk="0" hangingPunct="1">
                <a:lnSpc>
                  <a:spcPct val="114000"/>
                </a:lnSpc>
                <a:spcBef>
                  <a:spcPts val="100"/>
                </a:spcBef>
                <a:spcAft>
                  <a:spcPts val="0"/>
                </a:spcAft>
                <a:buClrTx/>
                <a:buSzTx/>
                <a:buFontTx/>
                <a:buNone/>
                <a:tabLst/>
                <a:defRPr/>
              </a:pPr>
              <a:t>‹#›</a:t>
            </a:fld>
            <a:endParaRPr kumimoji="0" lang="en-IN" sz="600" b="0" i="0" u="none" strike="noStrike" kern="1200" cap="none" spc="0" normalizeH="0" baseline="0" noProof="0">
              <a:ln>
                <a:noFill/>
              </a:ln>
              <a:solidFill>
                <a:schemeClr val="bg1"/>
              </a:solidFill>
              <a:effectLst/>
              <a:uLnTx/>
              <a:uFillTx/>
              <a:latin typeface="Fibra One" pitchFamily="2" charset="77"/>
              <a:ea typeface="+mj-ea"/>
              <a:cs typeface="+mj-cs"/>
            </a:endParaRPr>
          </a:p>
        </p:txBody>
      </p:sp>
      <p:sp>
        <p:nvSpPr>
          <p:cNvPr id="4" name="Title 3">
            <a:extLst>
              <a:ext uri="{FF2B5EF4-FFF2-40B4-BE49-F238E27FC236}">
                <a16:creationId xmlns:a16="http://schemas.microsoft.com/office/drawing/2014/main" id="{9EDC9058-100E-D0B5-56FF-17B8168C4118}"/>
              </a:ext>
            </a:extLst>
          </p:cNvPr>
          <p:cNvSpPr>
            <a:spLocks noGrp="1"/>
          </p:cNvSpPr>
          <p:nvPr>
            <p:ph type="title"/>
          </p:nvPr>
        </p:nvSpPr>
        <p:spPr>
          <a:xfrm>
            <a:off x="342900" y="689347"/>
            <a:ext cx="6592824" cy="332399"/>
          </a:xfrm>
        </p:spPr>
        <p:txBody>
          <a:bodyPr/>
          <a:lstStyle>
            <a:lvl1pPr>
              <a:defRPr>
                <a:solidFill>
                  <a:schemeClr val="bg1"/>
                </a:solidFill>
              </a:defRPr>
            </a:lvl1pPr>
          </a:lstStyle>
          <a:p>
            <a:r>
              <a:rPr lang="en-US"/>
              <a:t>Click to edit Master title style</a:t>
            </a:r>
          </a:p>
        </p:txBody>
      </p:sp>
      <p:sp>
        <p:nvSpPr>
          <p:cNvPr id="48" name="Text Placeholder 47">
            <a:extLst>
              <a:ext uri="{FF2B5EF4-FFF2-40B4-BE49-F238E27FC236}">
                <a16:creationId xmlns:a16="http://schemas.microsoft.com/office/drawing/2014/main" id="{7D347BBC-307D-4475-1C1C-EE983EB315A3}"/>
              </a:ext>
            </a:extLst>
          </p:cNvPr>
          <p:cNvSpPr>
            <a:spLocks noGrp="1"/>
          </p:cNvSpPr>
          <p:nvPr>
            <p:ph type="body" sz="quarter" idx="10"/>
          </p:nvPr>
        </p:nvSpPr>
        <p:spPr>
          <a:xfrm>
            <a:off x="342900" y="1075325"/>
            <a:ext cx="6592824" cy="181396"/>
          </a:xfrm>
        </p:spPr>
        <p:txBody>
          <a:bodyPr vert="horz" lIns="0" tIns="0" rIns="0" bIns="0" rtlCol="0" anchor="t">
            <a:spAutoFit/>
          </a:bodyPr>
          <a:lstStyle>
            <a:lvl1pPr>
              <a:spcBef>
                <a:spcPts val="0"/>
              </a:spcBef>
              <a:spcAft>
                <a:spcPts val="0"/>
              </a:spcAft>
              <a:defRPr lang="en-US" sz="1100" spc="-30" dirty="0" smtClean="0">
                <a:solidFill>
                  <a:schemeClr val="bg1"/>
                </a:solidFill>
                <a:latin typeface="Fibra One" pitchFamily="2" charset="77"/>
              </a:defRPr>
            </a:lvl1pPr>
          </a:lstStyle>
          <a:p>
            <a:pPr marR="5080" lvl="0">
              <a:lnSpc>
                <a:spcPct val="113000"/>
              </a:lnSpc>
              <a:spcBef>
                <a:spcPts val="300"/>
              </a:spcBef>
            </a:pPr>
            <a:r>
              <a:rPr lang="en-US"/>
              <a:t>Click to edit Master text styles</a:t>
            </a:r>
          </a:p>
        </p:txBody>
      </p:sp>
      <p:sp>
        <p:nvSpPr>
          <p:cNvPr id="49" name="object 17">
            <a:extLst>
              <a:ext uri="{FF2B5EF4-FFF2-40B4-BE49-F238E27FC236}">
                <a16:creationId xmlns:a16="http://schemas.microsoft.com/office/drawing/2014/main" id="{98B7A3BF-D2AE-CFBD-5C24-E9078C7A5F01}"/>
              </a:ext>
            </a:extLst>
          </p:cNvPr>
          <p:cNvSpPr txBox="1">
            <a:spLocks/>
          </p:cNvSpPr>
          <p:nvPr userDrawn="1"/>
        </p:nvSpPr>
        <p:spPr>
          <a:xfrm rot="5400000">
            <a:off x="9824267" y="4472372"/>
            <a:ext cx="4116588" cy="129074"/>
          </a:xfrm>
          <a:prstGeom prst="rect">
            <a:avLst/>
          </a:prstGeom>
        </p:spPr>
        <p:txBody>
          <a:bodyPr vert="horz" wrap="square" lIns="0" tIns="12700" rIns="0" bIns="0" rtlCol="0" anchor="t" anchorCtr="0">
            <a:spAutoFit/>
          </a:bodyPr>
          <a:lstStyle>
            <a:lvl1pPr algn="l" defTabSz="914400" rtl="0" eaLnBrk="1" latinLnBrk="0" hangingPunct="1">
              <a:lnSpc>
                <a:spcPct val="90000"/>
              </a:lnSpc>
              <a:spcBef>
                <a:spcPct val="0"/>
              </a:spcBef>
              <a:buNone/>
              <a:defRPr sz="3000" b="0" kern="1200" spc="0" baseline="0">
                <a:solidFill>
                  <a:schemeClr val="bg1"/>
                </a:solidFill>
                <a:latin typeface="Fibra One UltraBold" panose="00000900000000000000" pitchFamily="50" charset="0"/>
                <a:ea typeface="+mj-ea"/>
                <a:cs typeface="+mj-cs"/>
              </a:defRPr>
            </a:lvl1pPr>
          </a:lstStyle>
          <a:p>
            <a:pPr marL="12700" marR="0" lvl="0" indent="0" algn="r" defTabSz="914400" rtl="0" eaLnBrk="1" fontAlgn="auto" latinLnBrk="0" hangingPunct="1">
              <a:lnSpc>
                <a:spcPct val="114000"/>
              </a:lnSpc>
              <a:spcBef>
                <a:spcPts val="100"/>
              </a:spcBef>
              <a:spcAft>
                <a:spcPts val="0"/>
              </a:spcAft>
              <a:buClrTx/>
              <a:buSzTx/>
              <a:buFontTx/>
              <a:buNone/>
              <a:tabLst/>
              <a:defRPr/>
            </a:pPr>
            <a:r>
              <a:rPr kumimoji="0" lang="en-IN" sz="700" b="1" i="0" u="none" strike="noStrike" kern="1200" cap="none" spc="0" normalizeH="0" baseline="0" noProof="0">
                <a:ln>
                  <a:noFill/>
                </a:ln>
                <a:solidFill>
                  <a:schemeClr val="bg1"/>
                </a:solidFill>
                <a:effectLst/>
                <a:uLnTx/>
                <a:uFillTx/>
                <a:latin typeface="Fibra One Bold" pitchFamily="2" charset="77"/>
                <a:ea typeface="+mj-ea"/>
                <a:cs typeface="+mj-cs"/>
              </a:rPr>
              <a:t>2023  PepsiCo ESG Summary Overview</a:t>
            </a:r>
          </a:p>
        </p:txBody>
      </p:sp>
      <p:sp>
        <p:nvSpPr>
          <p:cNvPr id="5" name="TextBox 4">
            <a:extLst>
              <a:ext uri="{FF2B5EF4-FFF2-40B4-BE49-F238E27FC236}">
                <a16:creationId xmlns:a16="http://schemas.microsoft.com/office/drawing/2014/main" id="{2492E5EB-BA1B-A5E9-130E-87797C4C6CD3}"/>
              </a:ext>
            </a:extLst>
          </p:cNvPr>
          <p:cNvSpPr txBox="1"/>
          <p:nvPr userDrawn="1"/>
        </p:nvSpPr>
        <p:spPr>
          <a:xfrm>
            <a:off x="9724401" y="6601220"/>
            <a:ext cx="2513779" cy="215444"/>
          </a:xfrm>
          <a:prstGeom prst="rect">
            <a:avLst/>
          </a:prstGeom>
          <a:noFill/>
        </p:spPr>
        <p:txBody>
          <a:bodyPr wrap="square">
            <a:spAutoFit/>
          </a:bodyPr>
          <a:lstStyle/>
          <a:p>
            <a:r>
              <a:rPr lang="en-US" sz="800" b="0" i="0" u="none" strike="noStrike" err="1">
                <a:solidFill>
                  <a:schemeClr val="bg1"/>
                </a:solidFill>
                <a:effectLst/>
                <a:latin typeface="Fibra One" panose="00000500000000000000" pitchFamily="50" charset="0"/>
              </a:rPr>
              <a:t>pepsico</a:t>
            </a:r>
            <a:r>
              <a:rPr lang="en-US" sz="800" b="0" i="0" u="none" strike="noStrike">
                <a:solidFill>
                  <a:schemeClr val="bg1"/>
                </a:solidFill>
                <a:effectLst/>
                <a:latin typeface="Fibra One" panose="00000500000000000000" pitchFamily="50" charset="0"/>
              </a:rPr>
              <a:t> positive I confidential &amp; proprietary</a:t>
            </a:r>
            <a:endParaRPr lang="en-US" sz="800">
              <a:solidFill>
                <a:schemeClr val="bg1"/>
              </a:solidFill>
            </a:endParaRPr>
          </a:p>
        </p:txBody>
      </p:sp>
    </p:spTree>
    <p:extLst>
      <p:ext uri="{BB962C8B-B14F-4D97-AF65-F5344CB8AC3E}">
        <p14:creationId xmlns:p14="http://schemas.microsoft.com/office/powerpoint/2010/main" val="106827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20">
          <p15:clr>
            <a:srgbClr val="FBAE40"/>
          </p15:clr>
        </p15:guide>
        <p15:guide id="2" pos="6312">
          <p15:clr>
            <a:srgbClr val="FBAE40"/>
          </p15:clr>
        </p15:guide>
        <p15:guide id="3" pos="5112">
          <p15:clr>
            <a:srgbClr val="FBAE40"/>
          </p15:clr>
        </p15:guide>
        <p15:guide id="4" pos="4920">
          <p15:clr>
            <a:srgbClr val="FBAE40"/>
          </p15:clr>
        </p15:guide>
        <p15:guide id="5" pos="3912">
          <p15:clr>
            <a:srgbClr val="FBAE40"/>
          </p15:clr>
        </p15:guide>
        <p15:guide id="6" pos="3720">
          <p15:clr>
            <a:srgbClr val="FBAE40"/>
          </p15:clr>
        </p15:guide>
        <p15:guide id="7" pos="2712">
          <p15:clr>
            <a:srgbClr val="FBAE40"/>
          </p15:clr>
        </p15:guide>
        <p15:guide id="8" pos="2520">
          <p15:clr>
            <a:srgbClr val="FBAE40"/>
          </p15:clr>
        </p15:guide>
        <p15:guide id="9" pos="1512">
          <p15:clr>
            <a:srgbClr val="FBAE40"/>
          </p15:clr>
        </p15:guide>
        <p15:guide id="10" pos="1320">
          <p15:clr>
            <a:srgbClr val="FBAE40"/>
          </p15:clr>
        </p15:guide>
        <p15:guide id="11" pos="312">
          <p15:clr>
            <a:srgbClr val="FBAE40"/>
          </p15:clr>
        </p15:guide>
        <p15:guide id="12" pos="732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itle with Identifier (dark)">
    <p:bg>
      <p:bgPr>
        <a:solidFill>
          <a:srgbClr val="0052DB"/>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2D0D2E25-1A53-33EF-FCB0-743FD6EE20C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02394" y="141214"/>
            <a:ext cx="780831" cy="187399"/>
          </a:xfrm>
          <a:prstGeom prst="rect">
            <a:avLst/>
          </a:prstGeom>
        </p:spPr>
      </p:pic>
      <p:sp>
        <p:nvSpPr>
          <p:cNvPr id="3" name="object 17">
            <a:extLst>
              <a:ext uri="{FF2B5EF4-FFF2-40B4-BE49-F238E27FC236}">
                <a16:creationId xmlns:a16="http://schemas.microsoft.com/office/drawing/2014/main" id="{77B9B0D0-474C-F0DE-4740-4A9296600D79}"/>
              </a:ext>
            </a:extLst>
          </p:cNvPr>
          <p:cNvSpPr txBox="1">
            <a:spLocks/>
          </p:cNvSpPr>
          <p:nvPr userDrawn="1"/>
        </p:nvSpPr>
        <p:spPr>
          <a:xfrm>
            <a:off x="11649283" y="210332"/>
            <a:ext cx="425305" cy="129074"/>
          </a:xfrm>
          <a:prstGeom prst="rect">
            <a:avLst/>
          </a:prstGeom>
        </p:spPr>
        <p:txBody>
          <a:bodyPr vert="horz" wrap="square" lIns="0" tIns="12700" rIns="0" bIns="0" rtlCol="0" anchor="t" anchorCtr="0">
            <a:spAutoFit/>
          </a:bodyPr>
          <a:lstStyle>
            <a:lvl1pPr algn="l" defTabSz="914400" rtl="0" eaLnBrk="1" latinLnBrk="0" hangingPunct="1">
              <a:lnSpc>
                <a:spcPct val="90000"/>
              </a:lnSpc>
              <a:spcBef>
                <a:spcPct val="0"/>
              </a:spcBef>
              <a:buNone/>
              <a:defRPr sz="3000" b="0" kern="1200" spc="0" baseline="0">
                <a:solidFill>
                  <a:schemeClr val="bg1"/>
                </a:solidFill>
                <a:latin typeface="Fibra One UltraBold" panose="00000900000000000000" pitchFamily="50" charset="0"/>
                <a:ea typeface="+mj-ea"/>
                <a:cs typeface="+mj-cs"/>
              </a:defRPr>
            </a:lvl1pPr>
          </a:lstStyle>
          <a:p>
            <a:pPr marL="12700" marR="0" lvl="0" indent="0" algn="ctr" defTabSz="914400" rtl="0" eaLnBrk="1" fontAlgn="auto" latinLnBrk="0" hangingPunct="1">
              <a:lnSpc>
                <a:spcPct val="114000"/>
              </a:lnSpc>
              <a:spcBef>
                <a:spcPts val="100"/>
              </a:spcBef>
              <a:spcAft>
                <a:spcPts val="0"/>
              </a:spcAft>
              <a:buClrTx/>
              <a:buSzTx/>
              <a:buFontTx/>
              <a:buNone/>
              <a:tabLst/>
              <a:defRPr/>
            </a:pPr>
            <a:fld id="{DC653A1D-CE81-1B46-9F19-36F2F8F55CD9}" type="slidenum">
              <a:rPr kumimoji="0" lang="en-IN" sz="700" b="1" i="0" u="none" strike="noStrike" kern="1200" cap="none" spc="0" normalizeH="0" baseline="0" noProof="0" smtClean="0">
                <a:ln>
                  <a:noFill/>
                </a:ln>
                <a:solidFill>
                  <a:schemeClr val="bg1"/>
                </a:solidFill>
                <a:effectLst/>
                <a:uLnTx/>
                <a:uFillTx/>
                <a:latin typeface="Fibra One Bold" pitchFamily="2" charset="77"/>
                <a:ea typeface="+mj-ea"/>
                <a:cs typeface="+mj-cs"/>
              </a:rPr>
              <a:pPr marL="12700" marR="0" lvl="0" indent="0" algn="ctr" defTabSz="914400" rtl="0" eaLnBrk="1" fontAlgn="auto" latinLnBrk="0" hangingPunct="1">
                <a:lnSpc>
                  <a:spcPct val="114000"/>
                </a:lnSpc>
                <a:spcBef>
                  <a:spcPts val="100"/>
                </a:spcBef>
                <a:spcAft>
                  <a:spcPts val="0"/>
                </a:spcAft>
                <a:buClrTx/>
                <a:buSzTx/>
                <a:buFontTx/>
                <a:buNone/>
                <a:tabLst/>
                <a:defRPr/>
              </a:pPr>
              <a:t>‹#›</a:t>
            </a:fld>
            <a:endParaRPr kumimoji="0" lang="en-IN" sz="600" b="0" i="0" u="none" strike="noStrike" kern="1200" cap="none" spc="0" normalizeH="0" baseline="0" noProof="0">
              <a:ln>
                <a:noFill/>
              </a:ln>
              <a:solidFill>
                <a:schemeClr val="bg1"/>
              </a:solidFill>
              <a:effectLst/>
              <a:uLnTx/>
              <a:uFillTx/>
              <a:latin typeface="Fibra One" pitchFamily="2" charset="77"/>
              <a:ea typeface="+mj-ea"/>
              <a:cs typeface="+mj-cs"/>
            </a:endParaRPr>
          </a:p>
        </p:txBody>
      </p:sp>
      <p:sp>
        <p:nvSpPr>
          <p:cNvPr id="6" name="Title 3">
            <a:extLst>
              <a:ext uri="{FF2B5EF4-FFF2-40B4-BE49-F238E27FC236}">
                <a16:creationId xmlns:a16="http://schemas.microsoft.com/office/drawing/2014/main" id="{A80D6156-9F36-B44E-70EE-2AD30070F63D}"/>
              </a:ext>
            </a:extLst>
          </p:cNvPr>
          <p:cNvSpPr>
            <a:spLocks noGrp="1"/>
          </p:cNvSpPr>
          <p:nvPr>
            <p:ph type="title"/>
          </p:nvPr>
        </p:nvSpPr>
        <p:spPr>
          <a:xfrm>
            <a:off x="342900" y="994046"/>
            <a:ext cx="5905500" cy="304699"/>
          </a:xfrm>
        </p:spPr>
        <p:txBody>
          <a:bodyPr/>
          <a:lstStyle>
            <a:lvl1pPr>
              <a:defRPr>
                <a:solidFill>
                  <a:schemeClr val="bg1"/>
                </a:solidFill>
              </a:defRPr>
            </a:lvl1pPr>
          </a:lstStyle>
          <a:p>
            <a:r>
              <a:rPr lang="en-US"/>
              <a:t>Click to edit Master title style</a:t>
            </a:r>
          </a:p>
        </p:txBody>
      </p:sp>
      <p:sp>
        <p:nvSpPr>
          <p:cNvPr id="7" name="Text Placeholder 5">
            <a:extLst>
              <a:ext uri="{FF2B5EF4-FFF2-40B4-BE49-F238E27FC236}">
                <a16:creationId xmlns:a16="http://schemas.microsoft.com/office/drawing/2014/main" id="{DF954B44-B6E1-D42B-7941-361A13582F13}"/>
              </a:ext>
            </a:extLst>
          </p:cNvPr>
          <p:cNvSpPr>
            <a:spLocks noGrp="1"/>
          </p:cNvSpPr>
          <p:nvPr>
            <p:ph type="body" sz="quarter" idx="10" hasCustomPrompt="1"/>
          </p:nvPr>
        </p:nvSpPr>
        <p:spPr>
          <a:xfrm>
            <a:off x="342900" y="713874"/>
            <a:ext cx="5588000" cy="193899"/>
          </a:xfrm>
        </p:spPr>
        <p:txBody>
          <a:bodyPr>
            <a:spAutoFit/>
          </a:bodyPr>
          <a:lstStyle>
            <a:lvl1pPr marL="0" algn="l" defTabSz="914400" rtl="0" eaLnBrk="1" latinLnBrk="0" hangingPunct="1">
              <a:lnSpc>
                <a:spcPct val="90000"/>
              </a:lnSpc>
              <a:spcBef>
                <a:spcPct val="0"/>
              </a:spcBef>
              <a:buNone/>
              <a:defRPr lang="en-US" sz="1400" b="0" kern="1200" spc="0" baseline="0" dirty="0">
                <a:solidFill>
                  <a:schemeClr val="bg1"/>
                </a:solidFill>
                <a:latin typeface="+mn-lt"/>
                <a:ea typeface="+mj-ea"/>
                <a:cs typeface="+mj-cs"/>
              </a:defRPr>
            </a:lvl1pPr>
          </a:lstStyle>
          <a:p>
            <a:pPr lvl="0"/>
            <a:r>
              <a:rPr lang="en-US"/>
              <a:t>identifier</a:t>
            </a:r>
          </a:p>
        </p:txBody>
      </p:sp>
      <p:sp>
        <p:nvSpPr>
          <p:cNvPr id="5" name="object 17">
            <a:extLst>
              <a:ext uri="{FF2B5EF4-FFF2-40B4-BE49-F238E27FC236}">
                <a16:creationId xmlns:a16="http://schemas.microsoft.com/office/drawing/2014/main" id="{B6A72899-5654-7BA5-B334-01C74DC66225}"/>
              </a:ext>
            </a:extLst>
          </p:cNvPr>
          <p:cNvSpPr txBox="1">
            <a:spLocks/>
          </p:cNvSpPr>
          <p:nvPr userDrawn="1"/>
        </p:nvSpPr>
        <p:spPr>
          <a:xfrm rot="5400000">
            <a:off x="9824267" y="4472372"/>
            <a:ext cx="4116588" cy="129074"/>
          </a:xfrm>
          <a:prstGeom prst="rect">
            <a:avLst/>
          </a:prstGeom>
        </p:spPr>
        <p:txBody>
          <a:bodyPr vert="horz" wrap="square" lIns="0" tIns="12700" rIns="0" bIns="0" rtlCol="0" anchor="t" anchorCtr="0">
            <a:spAutoFit/>
          </a:bodyPr>
          <a:lstStyle>
            <a:lvl1pPr algn="l" defTabSz="914400" rtl="0" eaLnBrk="1" latinLnBrk="0" hangingPunct="1">
              <a:lnSpc>
                <a:spcPct val="90000"/>
              </a:lnSpc>
              <a:spcBef>
                <a:spcPct val="0"/>
              </a:spcBef>
              <a:buNone/>
              <a:defRPr sz="3000" b="0" kern="1200" spc="0" baseline="0">
                <a:solidFill>
                  <a:schemeClr val="bg1"/>
                </a:solidFill>
                <a:latin typeface="Fibra One UltraBold" panose="00000900000000000000" pitchFamily="50" charset="0"/>
                <a:ea typeface="+mj-ea"/>
                <a:cs typeface="+mj-cs"/>
              </a:defRPr>
            </a:lvl1pPr>
          </a:lstStyle>
          <a:p>
            <a:pPr marL="12700" marR="0" lvl="0" indent="0" algn="r" defTabSz="914400" rtl="0" eaLnBrk="1" fontAlgn="auto" latinLnBrk="0" hangingPunct="1">
              <a:lnSpc>
                <a:spcPct val="114000"/>
              </a:lnSpc>
              <a:spcBef>
                <a:spcPts val="100"/>
              </a:spcBef>
              <a:spcAft>
                <a:spcPts val="0"/>
              </a:spcAft>
              <a:buClrTx/>
              <a:buSzTx/>
              <a:buFontTx/>
              <a:buNone/>
              <a:tabLst/>
              <a:defRPr/>
            </a:pPr>
            <a:r>
              <a:rPr kumimoji="0" lang="en-IN" sz="700" b="1" i="0" u="none" strike="noStrike" kern="1200" cap="none" spc="0" normalizeH="0" baseline="0" noProof="0">
                <a:ln>
                  <a:noFill/>
                </a:ln>
                <a:solidFill>
                  <a:schemeClr val="bg1"/>
                </a:solidFill>
                <a:effectLst/>
                <a:uLnTx/>
                <a:uFillTx/>
                <a:latin typeface="Fibra One Bold" pitchFamily="2" charset="77"/>
                <a:ea typeface="+mj-ea"/>
                <a:cs typeface="+mj-cs"/>
              </a:rPr>
              <a:t>2023  PepsiCo ESG Summary Overview</a:t>
            </a:r>
          </a:p>
        </p:txBody>
      </p:sp>
      <p:sp>
        <p:nvSpPr>
          <p:cNvPr id="4" name="TextBox 3">
            <a:extLst>
              <a:ext uri="{FF2B5EF4-FFF2-40B4-BE49-F238E27FC236}">
                <a16:creationId xmlns:a16="http://schemas.microsoft.com/office/drawing/2014/main" id="{CE2410A2-895F-CB75-A7FB-04AE66497903}"/>
              </a:ext>
            </a:extLst>
          </p:cNvPr>
          <p:cNvSpPr txBox="1"/>
          <p:nvPr userDrawn="1"/>
        </p:nvSpPr>
        <p:spPr>
          <a:xfrm>
            <a:off x="9724401" y="6601220"/>
            <a:ext cx="2513779" cy="215444"/>
          </a:xfrm>
          <a:prstGeom prst="rect">
            <a:avLst/>
          </a:prstGeom>
          <a:noFill/>
        </p:spPr>
        <p:txBody>
          <a:bodyPr wrap="square">
            <a:spAutoFit/>
          </a:bodyPr>
          <a:lstStyle/>
          <a:p>
            <a:r>
              <a:rPr lang="en-US" sz="800" b="0" i="0" u="none" strike="noStrike" err="1">
                <a:solidFill>
                  <a:schemeClr val="bg1"/>
                </a:solidFill>
                <a:effectLst/>
                <a:latin typeface="Fibra One" panose="00000500000000000000" pitchFamily="50" charset="0"/>
              </a:rPr>
              <a:t>pepsico</a:t>
            </a:r>
            <a:r>
              <a:rPr lang="en-US" sz="800" b="0" i="0" u="none" strike="noStrike">
                <a:solidFill>
                  <a:schemeClr val="bg1"/>
                </a:solidFill>
                <a:effectLst/>
                <a:latin typeface="Fibra One" panose="00000500000000000000" pitchFamily="50" charset="0"/>
              </a:rPr>
              <a:t> positive I confidential &amp; proprietary</a:t>
            </a:r>
            <a:endParaRPr lang="en-US" sz="800">
              <a:solidFill>
                <a:schemeClr val="bg1"/>
              </a:solidFill>
            </a:endParaRPr>
          </a:p>
        </p:txBody>
      </p:sp>
    </p:spTree>
    <p:extLst>
      <p:ext uri="{BB962C8B-B14F-4D97-AF65-F5344CB8AC3E}">
        <p14:creationId xmlns:p14="http://schemas.microsoft.com/office/powerpoint/2010/main" val="2260142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20">
          <p15:clr>
            <a:srgbClr val="FBAE40"/>
          </p15:clr>
        </p15:guide>
        <p15:guide id="2" pos="6312">
          <p15:clr>
            <a:srgbClr val="FBAE40"/>
          </p15:clr>
        </p15:guide>
        <p15:guide id="3" pos="5112">
          <p15:clr>
            <a:srgbClr val="FBAE40"/>
          </p15:clr>
        </p15:guide>
        <p15:guide id="4" pos="4920">
          <p15:clr>
            <a:srgbClr val="FBAE40"/>
          </p15:clr>
        </p15:guide>
        <p15:guide id="5" pos="3912">
          <p15:clr>
            <a:srgbClr val="FBAE40"/>
          </p15:clr>
        </p15:guide>
        <p15:guide id="6" pos="3720">
          <p15:clr>
            <a:srgbClr val="FBAE40"/>
          </p15:clr>
        </p15:guide>
        <p15:guide id="7" pos="2712">
          <p15:clr>
            <a:srgbClr val="FBAE40"/>
          </p15:clr>
        </p15:guide>
        <p15:guide id="8" pos="2520">
          <p15:clr>
            <a:srgbClr val="FBAE40"/>
          </p15:clr>
        </p15:guide>
        <p15:guide id="9" pos="1512">
          <p15:clr>
            <a:srgbClr val="FBAE40"/>
          </p15:clr>
        </p15:guide>
        <p15:guide id="10" pos="1320">
          <p15:clr>
            <a:srgbClr val="FBAE40"/>
          </p15:clr>
        </p15:guide>
        <p15:guide id="11" pos="312">
          <p15:clr>
            <a:srgbClr val="FBAE40"/>
          </p15:clr>
        </p15:guide>
        <p15:guide id="12" pos="732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Blank (dark)">
    <p:bg>
      <p:bgPr>
        <a:solidFill>
          <a:srgbClr val="0052DB"/>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2D0D2E25-1A53-33EF-FCB0-743FD6EE20C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02394" y="141214"/>
            <a:ext cx="780831" cy="187399"/>
          </a:xfrm>
          <a:prstGeom prst="rect">
            <a:avLst/>
          </a:prstGeom>
        </p:spPr>
      </p:pic>
      <p:sp>
        <p:nvSpPr>
          <p:cNvPr id="3" name="object 17">
            <a:extLst>
              <a:ext uri="{FF2B5EF4-FFF2-40B4-BE49-F238E27FC236}">
                <a16:creationId xmlns:a16="http://schemas.microsoft.com/office/drawing/2014/main" id="{77B9B0D0-474C-F0DE-4740-4A9296600D79}"/>
              </a:ext>
            </a:extLst>
          </p:cNvPr>
          <p:cNvSpPr txBox="1">
            <a:spLocks/>
          </p:cNvSpPr>
          <p:nvPr userDrawn="1"/>
        </p:nvSpPr>
        <p:spPr>
          <a:xfrm>
            <a:off x="11649283" y="210332"/>
            <a:ext cx="425305" cy="129074"/>
          </a:xfrm>
          <a:prstGeom prst="rect">
            <a:avLst/>
          </a:prstGeom>
        </p:spPr>
        <p:txBody>
          <a:bodyPr vert="horz" wrap="square" lIns="0" tIns="12700" rIns="0" bIns="0" rtlCol="0" anchor="t" anchorCtr="0">
            <a:spAutoFit/>
          </a:bodyPr>
          <a:lstStyle>
            <a:lvl1pPr algn="l" defTabSz="914400" rtl="0" eaLnBrk="1" latinLnBrk="0" hangingPunct="1">
              <a:lnSpc>
                <a:spcPct val="90000"/>
              </a:lnSpc>
              <a:spcBef>
                <a:spcPct val="0"/>
              </a:spcBef>
              <a:buNone/>
              <a:defRPr sz="3000" b="0" kern="1200" spc="0" baseline="0">
                <a:solidFill>
                  <a:schemeClr val="bg1"/>
                </a:solidFill>
                <a:latin typeface="Fibra One UltraBold" panose="00000900000000000000" pitchFamily="50" charset="0"/>
                <a:ea typeface="+mj-ea"/>
                <a:cs typeface="+mj-cs"/>
              </a:defRPr>
            </a:lvl1pPr>
          </a:lstStyle>
          <a:p>
            <a:pPr marL="12700" marR="0" lvl="0" indent="0" algn="ctr" defTabSz="914400" rtl="0" eaLnBrk="1" fontAlgn="auto" latinLnBrk="0" hangingPunct="1">
              <a:lnSpc>
                <a:spcPct val="114000"/>
              </a:lnSpc>
              <a:spcBef>
                <a:spcPts val="100"/>
              </a:spcBef>
              <a:spcAft>
                <a:spcPts val="0"/>
              </a:spcAft>
              <a:buClrTx/>
              <a:buSzTx/>
              <a:buFontTx/>
              <a:buNone/>
              <a:tabLst/>
              <a:defRPr/>
            </a:pPr>
            <a:fld id="{DC653A1D-CE81-1B46-9F19-36F2F8F55CD9}" type="slidenum">
              <a:rPr kumimoji="0" lang="en-IN" sz="700" b="1" i="0" u="none" strike="noStrike" kern="1200" cap="none" spc="0" normalizeH="0" baseline="0" noProof="0" smtClean="0">
                <a:ln>
                  <a:noFill/>
                </a:ln>
                <a:solidFill>
                  <a:schemeClr val="bg1"/>
                </a:solidFill>
                <a:effectLst/>
                <a:uLnTx/>
                <a:uFillTx/>
                <a:latin typeface="Fibra One Bold" pitchFamily="2" charset="77"/>
                <a:ea typeface="+mj-ea"/>
                <a:cs typeface="+mj-cs"/>
              </a:rPr>
              <a:pPr marL="12700" marR="0" lvl="0" indent="0" algn="ctr" defTabSz="914400" rtl="0" eaLnBrk="1" fontAlgn="auto" latinLnBrk="0" hangingPunct="1">
                <a:lnSpc>
                  <a:spcPct val="114000"/>
                </a:lnSpc>
                <a:spcBef>
                  <a:spcPts val="100"/>
                </a:spcBef>
                <a:spcAft>
                  <a:spcPts val="0"/>
                </a:spcAft>
                <a:buClrTx/>
                <a:buSzTx/>
                <a:buFontTx/>
                <a:buNone/>
                <a:tabLst/>
                <a:defRPr/>
              </a:pPr>
              <a:t>‹#›</a:t>
            </a:fld>
            <a:endParaRPr kumimoji="0" lang="en-IN" sz="600" b="0" i="0" u="none" strike="noStrike" kern="1200" cap="none" spc="0" normalizeH="0" baseline="0" noProof="0">
              <a:ln>
                <a:noFill/>
              </a:ln>
              <a:solidFill>
                <a:schemeClr val="bg1"/>
              </a:solidFill>
              <a:effectLst/>
              <a:uLnTx/>
              <a:uFillTx/>
              <a:latin typeface="Fibra One" pitchFamily="2" charset="77"/>
              <a:ea typeface="+mj-ea"/>
              <a:cs typeface="+mj-cs"/>
            </a:endParaRPr>
          </a:p>
        </p:txBody>
      </p:sp>
      <p:sp>
        <p:nvSpPr>
          <p:cNvPr id="5" name="object 17">
            <a:extLst>
              <a:ext uri="{FF2B5EF4-FFF2-40B4-BE49-F238E27FC236}">
                <a16:creationId xmlns:a16="http://schemas.microsoft.com/office/drawing/2014/main" id="{52E44225-A8BF-3248-13C7-92D805644958}"/>
              </a:ext>
            </a:extLst>
          </p:cNvPr>
          <p:cNvSpPr txBox="1">
            <a:spLocks/>
          </p:cNvSpPr>
          <p:nvPr userDrawn="1"/>
        </p:nvSpPr>
        <p:spPr>
          <a:xfrm rot="5400000">
            <a:off x="9824267" y="4472372"/>
            <a:ext cx="4116588" cy="129074"/>
          </a:xfrm>
          <a:prstGeom prst="rect">
            <a:avLst/>
          </a:prstGeom>
        </p:spPr>
        <p:txBody>
          <a:bodyPr vert="horz" wrap="square" lIns="0" tIns="12700" rIns="0" bIns="0" rtlCol="0" anchor="t" anchorCtr="0">
            <a:spAutoFit/>
          </a:bodyPr>
          <a:lstStyle>
            <a:lvl1pPr algn="l" defTabSz="914400" rtl="0" eaLnBrk="1" latinLnBrk="0" hangingPunct="1">
              <a:lnSpc>
                <a:spcPct val="90000"/>
              </a:lnSpc>
              <a:spcBef>
                <a:spcPct val="0"/>
              </a:spcBef>
              <a:buNone/>
              <a:defRPr sz="3000" b="0" kern="1200" spc="0" baseline="0">
                <a:solidFill>
                  <a:schemeClr val="bg1"/>
                </a:solidFill>
                <a:latin typeface="Fibra One UltraBold" panose="00000900000000000000" pitchFamily="50" charset="0"/>
                <a:ea typeface="+mj-ea"/>
                <a:cs typeface="+mj-cs"/>
              </a:defRPr>
            </a:lvl1pPr>
          </a:lstStyle>
          <a:p>
            <a:pPr marL="12700" marR="0" lvl="0" indent="0" algn="r" defTabSz="914400" rtl="0" eaLnBrk="1" fontAlgn="auto" latinLnBrk="0" hangingPunct="1">
              <a:lnSpc>
                <a:spcPct val="114000"/>
              </a:lnSpc>
              <a:spcBef>
                <a:spcPts val="100"/>
              </a:spcBef>
              <a:spcAft>
                <a:spcPts val="0"/>
              </a:spcAft>
              <a:buClrTx/>
              <a:buSzTx/>
              <a:buFontTx/>
              <a:buNone/>
              <a:tabLst/>
              <a:defRPr/>
            </a:pPr>
            <a:r>
              <a:rPr kumimoji="0" lang="en-IN" sz="700" b="1" i="0" u="none" strike="noStrike" kern="1200" cap="none" spc="0" normalizeH="0" baseline="0" noProof="0">
                <a:ln>
                  <a:noFill/>
                </a:ln>
                <a:solidFill>
                  <a:schemeClr val="bg1"/>
                </a:solidFill>
                <a:effectLst/>
                <a:uLnTx/>
                <a:uFillTx/>
                <a:latin typeface="Fibra One Bold" pitchFamily="2" charset="77"/>
                <a:ea typeface="+mj-ea"/>
                <a:cs typeface="+mj-cs"/>
              </a:rPr>
              <a:t>2023  PepsiCo ESG Summary Overview</a:t>
            </a:r>
          </a:p>
        </p:txBody>
      </p:sp>
      <p:sp>
        <p:nvSpPr>
          <p:cNvPr id="4" name="TextBox 3">
            <a:extLst>
              <a:ext uri="{FF2B5EF4-FFF2-40B4-BE49-F238E27FC236}">
                <a16:creationId xmlns:a16="http://schemas.microsoft.com/office/drawing/2014/main" id="{8C096598-C955-469E-08CD-4A4FAEE43877}"/>
              </a:ext>
            </a:extLst>
          </p:cNvPr>
          <p:cNvSpPr txBox="1"/>
          <p:nvPr userDrawn="1"/>
        </p:nvSpPr>
        <p:spPr>
          <a:xfrm>
            <a:off x="9724401" y="6601220"/>
            <a:ext cx="2513779" cy="215444"/>
          </a:xfrm>
          <a:prstGeom prst="rect">
            <a:avLst/>
          </a:prstGeom>
          <a:noFill/>
        </p:spPr>
        <p:txBody>
          <a:bodyPr wrap="square">
            <a:spAutoFit/>
          </a:bodyPr>
          <a:lstStyle/>
          <a:p>
            <a:r>
              <a:rPr lang="en-US" sz="800" b="0" i="0" u="none" strike="noStrike" err="1">
                <a:solidFill>
                  <a:schemeClr val="bg1"/>
                </a:solidFill>
                <a:effectLst/>
                <a:latin typeface="Fibra One" panose="00000500000000000000" pitchFamily="50" charset="0"/>
              </a:rPr>
              <a:t>pepsico</a:t>
            </a:r>
            <a:r>
              <a:rPr lang="en-US" sz="800" b="0" i="0" u="none" strike="noStrike">
                <a:solidFill>
                  <a:schemeClr val="bg1"/>
                </a:solidFill>
                <a:effectLst/>
                <a:latin typeface="Fibra One" panose="00000500000000000000" pitchFamily="50" charset="0"/>
              </a:rPr>
              <a:t> positive I confidential &amp; proprietary</a:t>
            </a:r>
            <a:endParaRPr lang="en-US" sz="800">
              <a:solidFill>
                <a:schemeClr val="bg1"/>
              </a:solidFill>
            </a:endParaRPr>
          </a:p>
        </p:txBody>
      </p:sp>
    </p:spTree>
    <p:extLst>
      <p:ext uri="{BB962C8B-B14F-4D97-AF65-F5344CB8AC3E}">
        <p14:creationId xmlns:p14="http://schemas.microsoft.com/office/powerpoint/2010/main" val="99662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20">
          <p15:clr>
            <a:srgbClr val="FBAE40"/>
          </p15:clr>
        </p15:guide>
        <p15:guide id="2" pos="6312">
          <p15:clr>
            <a:srgbClr val="FBAE40"/>
          </p15:clr>
        </p15:guide>
        <p15:guide id="3" pos="5112">
          <p15:clr>
            <a:srgbClr val="FBAE40"/>
          </p15:clr>
        </p15:guide>
        <p15:guide id="4" pos="4920">
          <p15:clr>
            <a:srgbClr val="FBAE40"/>
          </p15:clr>
        </p15:guide>
        <p15:guide id="5" pos="3912">
          <p15:clr>
            <a:srgbClr val="FBAE40"/>
          </p15:clr>
        </p15:guide>
        <p15:guide id="6" pos="3720">
          <p15:clr>
            <a:srgbClr val="FBAE40"/>
          </p15:clr>
        </p15:guide>
        <p15:guide id="7" pos="2712">
          <p15:clr>
            <a:srgbClr val="FBAE40"/>
          </p15:clr>
        </p15:guide>
        <p15:guide id="8" pos="2520">
          <p15:clr>
            <a:srgbClr val="FBAE40"/>
          </p15:clr>
        </p15:guide>
        <p15:guide id="9" pos="1512">
          <p15:clr>
            <a:srgbClr val="FBAE40"/>
          </p15:clr>
        </p15:guide>
        <p15:guide id="10" pos="1320">
          <p15:clr>
            <a:srgbClr val="FBAE40"/>
          </p15:clr>
        </p15:guide>
        <p15:guide id="11" pos="312">
          <p15:clr>
            <a:srgbClr val="FBAE40"/>
          </p15:clr>
        </p15:guide>
        <p15:guide id="12" pos="732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Back Cover">
    <p:bg>
      <p:bgPr>
        <a:solidFill>
          <a:srgbClr val="0064E5"/>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CB604509-7D21-F474-ABC5-826743040A6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474477" y="4971854"/>
            <a:ext cx="417504" cy="475757"/>
          </a:xfrm>
          <a:prstGeom prst="rect">
            <a:avLst/>
          </a:prstGeom>
        </p:spPr>
      </p:pic>
      <p:sp>
        <p:nvSpPr>
          <p:cNvPr id="7" name="Rounded Rectangle 6">
            <a:extLst>
              <a:ext uri="{FF2B5EF4-FFF2-40B4-BE49-F238E27FC236}">
                <a16:creationId xmlns:a16="http://schemas.microsoft.com/office/drawing/2014/main" id="{22D39971-7971-EB54-2094-4A04D91F0F68}"/>
              </a:ext>
            </a:extLst>
          </p:cNvPr>
          <p:cNvSpPr/>
          <p:nvPr/>
        </p:nvSpPr>
        <p:spPr>
          <a:xfrm>
            <a:off x="6077712" y="2282825"/>
            <a:ext cx="4814284" cy="2984515"/>
          </a:xfrm>
          <a:prstGeom prst="roundRect">
            <a:avLst>
              <a:gd name="adj" fmla="val 6306"/>
            </a:avLst>
          </a:prstGeom>
          <a:solidFill>
            <a:srgbClr val="0056C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ibra One"/>
              <a:ea typeface="+mn-ea"/>
              <a:cs typeface="+mn-cs"/>
            </a:endParaRPr>
          </a:p>
        </p:txBody>
      </p:sp>
      <p:pic>
        <p:nvPicPr>
          <p:cNvPr id="9" name="Graphic 8">
            <a:extLst>
              <a:ext uri="{FF2B5EF4-FFF2-40B4-BE49-F238E27FC236}">
                <a16:creationId xmlns:a16="http://schemas.microsoft.com/office/drawing/2014/main" id="{2AA53D5B-E441-FAB7-9C45-481EFA90535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97981" y="372021"/>
            <a:ext cx="1106669" cy="265600"/>
          </a:xfrm>
          <a:prstGeom prst="rect">
            <a:avLst/>
          </a:prstGeom>
        </p:spPr>
      </p:pic>
      <p:pic>
        <p:nvPicPr>
          <p:cNvPr id="10" name="Picture 9" descr="A colorful geometric shapes on a black background&#10;&#10;Description automatically generated">
            <a:extLst>
              <a:ext uri="{FF2B5EF4-FFF2-40B4-BE49-F238E27FC236}">
                <a16:creationId xmlns:a16="http://schemas.microsoft.com/office/drawing/2014/main" id="{3458D4EA-2C83-6523-C7DA-0B2D4C0F1EC9}"/>
              </a:ext>
            </a:extLst>
          </p:cNvPr>
          <p:cNvPicPr>
            <a:picLocks noChangeAspect="1"/>
          </p:cNvPicPr>
          <p:nvPr userDrawn="1"/>
        </p:nvPicPr>
        <p:blipFill>
          <a:blip r:embed="rId6"/>
          <a:stretch>
            <a:fillRect/>
          </a:stretch>
        </p:blipFill>
        <p:spPr>
          <a:xfrm flipH="1" flipV="1">
            <a:off x="0" y="0"/>
            <a:ext cx="6868328" cy="6858000"/>
          </a:xfrm>
          <a:prstGeom prst="rect">
            <a:avLst/>
          </a:prstGeom>
        </p:spPr>
      </p:pic>
      <p:pic>
        <p:nvPicPr>
          <p:cNvPr id="11" name="Graphic 10">
            <a:extLst>
              <a:ext uri="{FF2B5EF4-FFF2-40B4-BE49-F238E27FC236}">
                <a16:creationId xmlns:a16="http://schemas.microsoft.com/office/drawing/2014/main" id="{17830847-1787-F054-DD15-9633233632E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9893301" y="4559301"/>
            <a:ext cx="2298699" cy="2298699"/>
          </a:xfrm>
          <a:prstGeom prst="rect">
            <a:avLst/>
          </a:prstGeom>
        </p:spPr>
      </p:pic>
      <p:pic>
        <p:nvPicPr>
          <p:cNvPr id="12" name="Graphic 11">
            <a:extLst>
              <a:ext uri="{FF2B5EF4-FFF2-40B4-BE49-F238E27FC236}">
                <a16:creationId xmlns:a16="http://schemas.microsoft.com/office/drawing/2014/main" id="{778B07D6-F839-1EE7-96D4-F578A67E43C2}"/>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918194" y="1905494"/>
            <a:ext cx="754662" cy="754662"/>
          </a:xfrm>
          <a:prstGeom prst="rect">
            <a:avLst/>
          </a:prstGeom>
        </p:spPr>
      </p:pic>
      <p:pic>
        <p:nvPicPr>
          <p:cNvPr id="13" name="Graphic 12">
            <a:extLst>
              <a:ext uri="{FF2B5EF4-FFF2-40B4-BE49-F238E27FC236}">
                <a16:creationId xmlns:a16="http://schemas.microsoft.com/office/drawing/2014/main" id="{64C4D89D-F35B-4954-52FD-5BA5634560CC}"/>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10712657" y="2106798"/>
            <a:ext cx="352055" cy="352055"/>
          </a:xfrm>
          <a:prstGeom prst="rect">
            <a:avLst/>
          </a:prstGeom>
        </p:spPr>
      </p:pic>
      <p:pic>
        <p:nvPicPr>
          <p:cNvPr id="14" name="Graphic 13">
            <a:extLst>
              <a:ext uri="{FF2B5EF4-FFF2-40B4-BE49-F238E27FC236}">
                <a16:creationId xmlns:a16="http://schemas.microsoft.com/office/drawing/2014/main" id="{59AD065D-7114-A33B-CD02-771DB2C4342C}"/>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4468266" y="5704713"/>
            <a:ext cx="240459" cy="240459"/>
          </a:xfrm>
          <a:prstGeom prst="rect">
            <a:avLst/>
          </a:prstGeom>
        </p:spPr>
      </p:pic>
      <p:sp>
        <p:nvSpPr>
          <p:cNvPr id="2" name="TextBox 1">
            <a:extLst>
              <a:ext uri="{FF2B5EF4-FFF2-40B4-BE49-F238E27FC236}">
                <a16:creationId xmlns:a16="http://schemas.microsoft.com/office/drawing/2014/main" id="{AA32A8CB-F782-7F89-4D13-AEEB137740D2}"/>
              </a:ext>
            </a:extLst>
          </p:cNvPr>
          <p:cNvSpPr txBox="1"/>
          <p:nvPr userDrawn="1"/>
        </p:nvSpPr>
        <p:spPr>
          <a:xfrm>
            <a:off x="9724401" y="6601220"/>
            <a:ext cx="2513779" cy="215444"/>
          </a:xfrm>
          <a:prstGeom prst="rect">
            <a:avLst/>
          </a:prstGeom>
          <a:noFill/>
        </p:spPr>
        <p:txBody>
          <a:bodyPr wrap="square">
            <a:spAutoFit/>
          </a:bodyPr>
          <a:lstStyle/>
          <a:p>
            <a:r>
              <a:rPr lang="en-US" sz="800" b="0" i="0" u="none" strike="noStrike" err="1">
                <a:solidFill>
                  <a:schemeClr val="bg1"/>
                </a:solidFill>
                <a:effectLst/>
                <a:latin typeface="Fibra One" panose="00000500000000000000" pitchFamily="50" charset="0"/>
              </a:rPr>
              <a:t>pepsico</a:t>
            </a:r>
            <a:r>
              <a:rPr lang="en-US" sz="800" b="0" i="0" u="none" strike="noStrike">
                <a:solidFill>
                  <a:schemeClr val="bg1"/>
                </a:solidFill>
                <a:effectLst/>
                <a:latin typeface="Fibra One" panose="00000500000000000000" pitchFamily="50" charset="0"/>
              </a:rPr>
              <a:t> positive I confidential &amp; proprietary</a:t>
            </a:r>
            <a:endParaRPr lang="en-US" sz="800">
              <a:solidFill>
                <a:schemeClr val="bg1"/>
              </a:solidFill>
            </a:endParaRPr>
          </a:p>
        </p:txBody>
      </p:sp>
    </p:spTree>
    <p:extLst>
      <p:ext uri="{BB962C8B-B14F-4D97-AF65-F5344CB8AC3E}">
        <p14:creationId xmlns:p14="http://schemas.microsoft.com/office/powerpoint/2010/main" val="1174382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20">
          <p15:clr>
            <a:srgbClr val="FBAE40"/>
          </p15:clr>
        </p15:guide>
        <p15:guide id="2" pos="6312">
          <p15:clr>
            <a:srgbClr val="FBAE40"/>
          </p15:clr>
        </p15:guide>
        <p15:guide id="3" pos="5112">
          <p15:clr>
            <a:srgbClr val="FBAE40"/>
          </p15:clr>
        </p15:guide>
        <p15:guide id="4" pos="4920">
          <p15:clr>
            <a:srgbClr val="FBAE40"/>
          </p15:clr>
        </p15:guide>
        <p15:guide id="5" pos="3912">
          <p15:clr>
            <a:srgbClr val="FBAE40"/>
          </p15:clr>
        </p15:guide>
        <p15:guide id="6" pos="3720">
          <p15:clr>
            <a:srgbClr val="FBAE40"/>
          </p15:clr>
        </p15:guide>
        <p15:guide id="7" pos="2712">
          <p15:clr>
            <a:srgbClr val="FBAE40"/>
          </p15:clr>
        </p15:guide>
        <p15:guide id="8" pos="2520">
          <p15:clr>
            <a:srgbClr val="FBAE40"/>
          </p15:clr>
        </p15:guide>
        <p15:guide id="9" pos="1512">
          <p15:clr>
            <a:srgbClr val="FBAE40"/>
          </p15:clr>
        </p15:guide>
        <p15:guide id="10" pos="1320">
          <p15:clr>
            <a:srgbClr val="FBAE40"/>
          </p15:clr>
        </p15:guide>
        <p15:guide id="11" pos="312">
          <p15:clr>
            <a:srgbClr val="FBAE40"/>
          </p15:clr>
        </p15:guide>
        <p15:guide id="12" pos="732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7541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20">
          <p15:clr>
            <a:srgbClr val="FBAE40"/>
          </p15:clr>
        </p15:guide>
        <p15:guide id="2" pos="6312">
          <p15:clr>
            <a:srgbClr val="FBAE40"/>
          </p15:clr>
        </p15:guide>
        <p15:guide id="3" pos="5112">
          <p15:clr>
            <a:srgbClr val="FBAE40"/>
          </p15:clr>
        </p15:guide>
        <p15:guide id="4" pos="4920">
          <p15:clr>
            <a:srgbClr val="FBAE40"/>
          </p15:clr>
        </p15:guide>
        <p15:guide id="5" pos="3912">
          <p15:clr>
            <a:srgbClr val="FBAE40"/>
          </p15:clr>
        </p15:guide>
        <p15:guide id="6" pos="3720">
          <p15:clr>
            <a:srgbClr val="FBAE40"/>
          </p15:clr>
        </p15:guide>
        <p15:guide id="7" pos="2712">
          <p15:clr>
            <a:srgbClr val="FBAE40"/>
          </p15:clr>
        </p15:guide>
        <p15:guide id="8" pos="2520">
          <p15:clr>
            <a:srgbClr val="FBAE40"/>
          </p15:clr>
        </p15:guide>
        <p15:guide id="9" pos="1512">
          <p15:clr>
            <a:srgbClr val="FBAE40"/>
          </p15:clr>
        </p15:guide>
        <p15:guide id="10" pos="1320">
          <p15:clr>
            <a:srgbClr val="FBAE40"/>
          </p15:clr>
        </p15:guide>
        <p15:guide id="11" pos="312">
          <p15:clr>
            <a:srgbClr val="FBAE40"/>
          </p15:clr>
        </p15:guide>
        <p15:guide id="12" pos="732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5E75D665-624C-3BFB-47F4-984EBDE502E7}"/>
              </a:ext>
            </a:extLst>
          </p:cNvPr>
          <p:cNvGraphicFramePr>
            <a:graphicFrameLocks noChangeAspect="1"/>
          </p:cNvGraphicFramePr>
          <p:nvPr userDrawn="1">
            <p:custDataLst>
              <p:tags r:id="rId1"/>
            </p:custDataLst>
            <p:extLst>
              <p:ext uri="{D42A27DB-BD31-4B8C-83A1-F6EECF244321}">
                <p14:modId xmlns:p14="http://schemas.microsoft.com/office/powerpoint/2010/main" val="392031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4" name="think-cell data - do not delete" hidden="1">
                        <a:extLst>
                          <a:ext uri="{FF2B5EF4-FFF2-40B4-BE49-F238E27FC236}">
                            <a16:creationId xmlns:a16="http://schemas.microsoft.com/office/drawing/2014/main" id="{5E75D665-624C-3BFB-47F4-984EBDE502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a:extLst>
              <a:ext uri="{FF2B5EF4-FFF2-40B4-BE49-F238E27FC236}">
                <a16:creationId xmlns:a16="http://schemas.microsoft.com/office/drawing/2014/main" id="{2872C2F7-2E0B-2568-710B-F422833C6604}"/>
              </a:ext>
            </a:extLst>
          </p:cNvPr>
          <p:cNvPicPr>
            <a:picLocks noChangeAspect="1"/>
          </p:cNvPicPr>
          <p:nvPr userDrawn="1"/>
        </p:nvPicPr>
        <p:blipFill>
          <a:blip r:embed="rId5"/>
          <a:stretch>
            <a:fillRect/>
          </a:stretch>
        </p:blipFill>
        <p:spPr>
          <a:xfrm>
            <a:off x="680225" y="1837765"/>
            <a:ext cx="8263054" cy="4124201"/>
          </a:xfrm>
          <a:prstGeom prst="rect">
            <a:avLst/>
          </a:prstGeom>
        </p:spPr>
      </p:pic>
      <p:sp>
        <p:nvSpPr>
          <p:cNvPr id="17" name="Title 1">
            <a:extLst>
              <a:ext uri="{FF2B5EF4-FFF2-40B4-BE49-F238E27FC236}">
                <a16:creationId xmlns:a16="http://schemas.microsoft.com/office/drawing/2014/main" id="{CCE26F7D-1A6B-8BA8-4B38-56072BE1C85E}"/>
              </a:ext>
            </a:extLst>
          </p:cNvPr>
          <p:cNvSpPr>
            <a:spLocks noGrp="1"/>
          </p:cNvSpPr>
          <p:nvPr>
            <p:ph type="title" hasCustomPrompt="1"/>
          </p:nvPr>
        </p:nvSpPr>
        <p:spPr>
          <a:xfrm>
            <a:off x="295737" y="368183"/>
            <a:ext cx="11509544" cy="909493"/>
          </a:xfrm>
        </p:spPr>
        <p:txBody>
          <a:bodyPr vert="horz">
            <a:normAutofit/>
          </a:bodyPr>
          <a:lstStyle>
            <a:lvl1pPr>
              <a:defRPr sz="3200">
                <a:solidFill>
                  <a:srgbClr val="143DCF"/>
                </a:solidFill>
                <a:latin typeface="+mj-lt"/>
                <a:ea typeface="+mj-ea"/>
                <a:cs typeface="+mj-cs"/>
              </a:defRPr>
            </a:lvl1pPr>
          </a:lstStyle>
          <a:p>
            <a:r>
              <a:rPr lang="en-US"/>
              <a:t>Title Text</a:t>
            </a:r>
          </a:p>
        </p:txBody>
      </p:sp>
      <p:sp>
        <p:nvSpPr>
          <p:cNvPr id="18" name="Text Placeholder 14">
            <a:extLst>
              <a:ext uri="{FF2B5EF4-FFF2-40B4-BE49-F238E27FC236}">
                <a16:creationId xmlns:a16="http://schemas.microsoft.com/office/drawing/2014/main" id="{323D97AA-F8B3-3937-7D9B-5F13FDFCDDB7}"/>
              </a:ext>
            </a:extLst>
          </p:cNvPr>
          <p:cNvSpPr>
            <a:spLocks noGrp="1"/>
          </p:cNvSpPr>
          <p:nvPr>
            <p:ph type="body" sz="quarter" idx="10" hasCustomPrompt="1"/>
          </p:nvPr>
        </p:nvSpPr>
        <p:spPr>
          <a:xfrm>
            <a:off x="1514982" y="1930344"/>
            <a:ext cx="2535871" cy="400941"/>
          </a:xfrm>
        </p:spPr>
        <p:txBody>
          <a:bodyPr>
            <a:noAutofit/>
          </a:bodyPr>
          <a:lstStyle>
            <a:lvl1pPr marL="0" indent="0">
              <a:buNone/>
              <a:defRPr sz="1800" b="0" i="0">
                <a:solidFill>
                  <a:srgbClr val="143DCF"/>
                </a:solidFill>
                <a:latin typeface="+mn-lt"/>
                <a:ea typeface="+mn-ea"/>
                <a:cs typeface="+mn-cs"/>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a:t>Title text</a:t>
            </a:r>
          </a:p>
        </p:txBody>
      </p:sp>
      <p:sp>
        <p:nvSpPr>
          <p:cNvPr id="19" name="Text Placeholder 14">
            <a:extLst>
              <a:ext uri="{FF2B5EF4-FFF2-40B4-BE49-F238E27FC236}">
                <a16:creationId xmlns:a16="http://schemas.microsoft.com/office/drawing/2014/main" id="{6DAD6DBC-BFE0-BCC8-DFC4-8C5D8B328010}"/>
              </a:ext>
            </a:extLst>
          </p:cNvPr>
          <p:cNvSpPr>
            <a:spLocks noGrp="1"/>
          </p:cNvSpPr>
          <p:nvPr>
            <p:ph type="body" sz="quarter" idx="12" hasCustomPrompt="1"/>
          </p:nvPr>
        </p:nvSpPr>
        <p:spPr>
          <a:xfrm>
            <a:off x="5392540" y="1930344"/>
            <a:ext cx="2535871" cy="400941"/>
          </a:xfrm>
        </p:spPr>
        <p:txBody>
          <a:bodyPr>
            <a:noAutofit/>
          </a:bodyPr>
          <a:lstStyle>
            <a:lvl1pPr marL="0" indent="0">
              <a:buNone/>
              <a:defRPr sz="1800" b="0" i="0">
                <a:solidFill>
                  <a:srgbClr val="143DCF"/>
                </a:solidFill>
                <a:latin typeface="+mn-lt"/>
                <a:ea typeface="+mn-ea"/>
                <a:cs typeface="+mn-cs"/>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a:t>Title text</a:t>
            </a:r>
          </a:p>
        </p:txBody>
      </p:sp>
      <p:pic>
        <p:nvPicPr>
          <p:cNvPr id="20" name="Picture 19">
            <a:extLst>
              <a:ext uri="{FF2B5EF4-FFF2-40B4-BE49-F238E27FC236}">
                <a16:creationId xmlns:a16="http://schemas.microsoft.com/office/drawing/2014/main" id="{22DE728C-96E2-A7A1-8BC6-3F69AFE14E80}"/>
              </a:ext>
            </a:extLst>
          </p:cNvPr>
          <p:cNvPicPr>
            <a:picLocks noChangeAspect="1"/>
          </p:cNvPicPr>
          <p:nvPr userDrawn="1"/>
        </p:nvPicPr>
        <p:blipFill>
          <a:blip r:embed="rId6"/>
          <a:stretch>
            <a:fillRect/>
          </a:stretch>
        </p:blipFill>
        <p:spPr>
          <a:xfrm>
            <a:off x="295737" y="6584987"/>
            <a:ext cx="2324100" cy="107950"/>
          </a:xfrm>
          <a:prstGeom prst="rect">
            <a:avLst/>
          </a:prstGeom>
        </p:spPr>
      </p:pic>
      <p:sp>
        <p:nvSpPr>
          <p:cNvPr id="21" name="Text Placeholder 14">
            <a:extLst>
              <a:ext uri="{FF2B5EF4-FFF2-40B4-BE49-F238E27FC236}">
                <a16:creationId xmlns:a16="http://schemas.microsoft.com/office/drawing/2014/main" id="{1267A27C-146F-8C91-CD73-B69A467DB064}"/>
              </a:ext>
            </a:extLst>
          </p:cNvPr>
          <p:cNvSpPr>
            <a:spLocks noGrp="1"/>
          </p:cNvSpPr>
          <p:nvPr>
            <p:ph type="body" sz="quarter" idx="14" hasCustomPrompt="1"/>
          </p:nvPr>
        </p:nvSpPr>
        <p:spPr>
          <a:xfrm>
            <a:off x="1514981" y="5634129"/>
            <a:ext cx="2535871" cy="400941"/>
          </a:xfrm>
        </p:spPr>
        <p:txBody>
          <a:bodyPr>
            <a:noAutofit/>
          </a:bodyPr>
          <a:lstStyle>
            <a:lvl1pPr marL="0" indent="0">
              <a:buNone/>
              <a:defRPr sz="1800" b="0" i="0">
                <a:solidFill>
                  <a:srgbClr val="143DCF"/>
                </a:solidFill>
                <a:latin typeface="+mn-lt"/>
                <a:ea typeface="+mn-ea"/>
                <a:cs typeface="+mn-cs"/>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a:t>Title text</a:t>
            </a:r>
          </a:p>
        </p:txBody>
      </p:sp>
      <p:sp>
        <p:nvSpPr>
          <p:cNvPr id="22" name="Text Placeholder 14">
            <a:extLst>
              <a:ext uri="{FF2B5EF4-FFF2-40B4-BE49-F238E27FC236}">
                <a16:creationId xmlns:a16="http://schemas.microsoft.com/office/drawing/2014/main" id="{35AF00B9-FFA4-D85B-3971-CCAAA9D21754}"/>
              </a:ext>
            </a:extLst>
          </p:cNvPr>
          <p:cNvSpPr>
            <a:spLocks noGrp="1"/>
          </p:cNvSpPr>
          <p:nvPr>
            <p:ph type="body" sz="quarter" idx="15" hasCustomPrompt="1"/>
          </p:nvPr>
        </p:nvSpPr>
        <p:spPr>
          <a:xfrm>
            <a:off x="5381389" y="5589588"/>
            <a:ext cx="2535871" cy="400941"/>
          </a:xfrm>
        </p:spPr>
        <p:txBody>
          <a:bodyPr>
            <a:noAutofit/>
          </a:bodyPr>
          <a:lstStyle>
            <a:lvl1pPr marL="0" indent="0">
              <a:buNone/>
              <a:defRPr sz="1800" b="0" i="0">
                <a:solidFill>
                  <a:srgbClr val="143DCF"/>
                </a:solidFill>
                <a:latin typeface="+mn-lt"/>
                <a:ea typeface="+mn-ea"/>
                <a:cs typeface="+mn-cs"/>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a:t>Title text</a:t>
            </a:r>
          </a:p>
        </p:txBody>
      </p:sp>
      <p:sp>
        <p:nvSpPr>
          <p:cNvPr id="23" name="Text Placeholder 14">
            <a:extLst>
              <a:ext uri="{FF2B5EF4-FFF2-40B4-BE49-F238E27FC236}">
                <a16:creationId xmlns:a16="http://schemas.microsoft.com/office/drawing/2014/main" id="{B8A2F664-F7E5-5547-D5AC-4DC1D5585F85}"/>
              </a:ext>
            </a:extLst>
          </p:cNvPr>
          <p:cNvSpPr>
            <a:spLocks noGrp="1"/>
          </p:cNvSpPr>
          <p:nvPr>
            <p:ph type="body" sz="quarter" idx="17" hasCustomPrompt="1"/>
          </p:nvPr>
        </p:nvSpPr>
        <p:spPr>
          <a:xfrm>
            <a:off x="1514980" y="3775909"/>
            <a:ext cx="2535871" cy="400941"/>
          </a:xfrm>
        </p:spPr>
        <p:txBody>
          <a:bodyPr>
            <a:noAutofit/>
          </a:bodyPr>
          <a:lstStyle>
            <a:lvl1pPr marL="0" indent="0">
              <a:buNone/>
              <a:defRPr sz="1800" b="0" i="0">
                <a:solidFill>
                  <a:srgbClr val="143DCF"/>
                </a:solidFill>
                <a:latin typeface="+mn-lt"/>
                <a:ea typeface="+mn-ea"/>
                <a:cs typeface="+mn-cs"/>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a:t>Title text</a:t>
            </a:r>
          </a:p>
        </p:txBody>
      </p:sp>
      <p:sp>
        <p:nvSpPr>
          <p:cNvPr id="25" name="Text Placeholder 14">
            <a:extLst>
              <a:ext uri="{FF2B5EF4-FFF2-40B4-BE49-F238E27FC236}">
                <a16:creationId xmlns:a16="http://schemas.microsoft.com/office/drawing/2014/main" id="{3B6E29FB-4FED-B157-EAC6-A97DEB9C52DD}"/>
              </a:ext>
            </a:extLst>
          </p:cNvPr>
          <p:cNvSpPr>
            <a:spLocks noGrp="1"/>
          </p:cNvSpPr>
          <p:nvPr>
            <p:ph type="body" sz="quarter" idx="18" hasCustomPrompt="1"/>
          </p:nvPr>
        </p:nvSpPr>
        <p:spPr>
          <a:xfrm>
            <a:off x="5392540" y="3745684"/>
            <a:ext cx="2535871" cy="400941"/>
          </a:xfrm>
        </p:spPr>
        <p:txBody>
          <a:bodyPr>
            <a:noAutofit/>
          </a:bodyPr>
          <a:lstStyle>
            <a:lvl1pPr marL="0" indent="0">
              <a:buNone/>
              <a:defRPr sz="1800" b="0" i="0">
                <a:solidFill>
                  <a:srgbClr val="143DCF"/>
                </a:solidFill>
                <a:latin typeface="+mn-lt"/>
                <a:ea typeface="+mn-ea"/>
                <a:cs typeface="+mn-cs"/>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a:t>Title text</a:t>
            </a:r>
          </a:p>
        </p:txBody>
      </p:sp>
      <p:sp>
        <p:nvSpPr>
          <p:cNvPr id="26" name="Text Placeholder 14">
            <a:extLst>
              <a:ext uri="{FF2B5EF4-FFF2-40B4-BE49-F238E27FC236}">
                <a16:creationId xmlns:a16="http://schemas.microsoft.com/office/drawing/2014/main" id="{0A88DE55-A757-6B98-FCAA-D8BB3FABCDF0}"/>
              </a:ext>
            </a:extLst>
          </p:cNvPr>
          <p:cNvSpPr>
            <a:spLocks noGrp="1"/>
          </p:cNvSpPr>
          <p:nvPr>
            <p:ph type="body" sz="quarter" idx="13" hasCustomPrompt="1"/>
          </p:nvPr>
        </p:nvSpPr>
        <p:spPr>
          <a:xfrm>
            <a:off x="9269410" y="1942678"/>
            <a:ext cx="2535871" cy="399758"/>
          </a:xfrm>
        </p:spPr>
        <p:txBody>
          <a:bodyPr>
            <a:noAutofit/>
          </a:bodyPr>
          <a:lstStyle>
            <a:lvl1pPr marL="0" indent="0">
              <a:buNone/>
              <a:defRPr sz="1800" b="0" i="0">
                <a:solidFill>
                  <a:srgbClr val="143DCF"/>
                </a:solidFill>
                <a:latin typeface="+mn-lt"/>
                <a:ea typeface="+mn-ea"/>
                <a:cs typeface="+mn-cs"/>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a:t>Title text</a:t>
            </a:r>
          </a:p>
        </p:txBody>
      </p:sp>
      <p:sp>
        <p:nvSpPr>
          <p:cNvPr id="27" name="Text Placeholder 14">
            <a:extLst>
              <a:ext uri="{FF2B5EF4-FFF2-40B4-BE49-F238E27FC236}">
                <a16:creationId xmlns:a16="http://schemas.microsoft.com/office/drawing/2014/main" id="{9359A4D9-BBE3-D14D-C22E-AC7C12D32BFE}"/>
              </a:ext>
            </a:extLst>
          </p:cNvPr>
          <p:cNvSpPr>
            <a:spLocks noGrp="1"/>
          </p:cNvSpPr>
          <p:nvPr>
            <p:ph type="body" sz="quarter" idx="16" hasCustomPrompt="1"/>
          </p:nvPr>
        </p:nvSpPr>
        <p:spPr>
          <a:xfrm>
            <a:off x="9269410" y="5604685"/>
            <a:ext cx="2535871" cy="399758"/>
          </a:xfrm>
        </p:spPr>
        <p:txBody>
          <a:bodyPr>
            <a:noAutofit/>
          </a:bodyPr>
          <a:lstStyle>
            <a:lvl1pPr marL="0" indent="0">
              <a:buNone/>
              <a:defRPr sz="1800" b="0" i="0">
                <a:solidFill>
                  <a:srgbClr val="143DCF"/>
                </a:solidFill>
                <a:latin typeface="+mn-lt"/>
                <a:ea typeface="+mn-ea"/>
                <a:cs typeface="+mn-cs"/>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a:t>Title text</a:t>
            </a:r>
          </a:p>
        </p:txBody>
      </p:sp>
      <p:sp>
        <p:nvSpPr>
          <p:cNvPr id="28" name="Text Placeholder 14">
            <a:extLst>
              <a:ext uri="{FF2B5EF4-FFF2-40B4-BE49-F238E27FC236}">
                <a16:creationId xmlns:a16="http://schemas.microsoft.com/office/drawing/2014/main" id="{F3C9E2FC-70D2-AF32-7539-F58AAED25F3F}"/>
              </a:ext>
            </a:extLst>
          </p:cNvPr>
          <p:cNvSpPr>
            <a:spLocks noGrp="1"/>
          </p:cNvSpPr>
          <p:nvPr>
            <p:ph type="body" sz="quarter" idx="19" hasCustomPrompt="1"/>
          </p:nvPr>
        </p:nvSpPr>
        <p:spPr>
          <a:xfrm>
            <a:off x="9269410" y="3723785"/>
            <a:ext cx="2535871" cy="399758"/>
          </a:xfrm>
        </p:spPr>
        <p:txBody>
          <a:bodyPr>
            <a:noAutofit/>
          </a:bodyPr>
          <a:lstStyle>
            <a:lvl1pPr marL="0" indent="0">
              <a:buNone/>
              <a:defRPr sz="1800" b="0" i="0">
                <a:solidFill>
                  <a:srgbClr val="143DCF"/>
                </a:solidFill>
                <a:latin typeface="+mn-lt"/>
                <a:ea typeface="+mn-ea"/>
                <a:cs typeface="+mn-cs"/>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a:t>Title text</a:t>
            </a:r>
          </a:p>
        </p:txBody>
      </p:sp>
      <p:sp>
        <p:nvSpPr>
          <p:cNvPr id="3" name="TextBox 2">
            <a:extLst>
              <a:ext uri="{FF2B5EF4-FFF2-40B4-BE49-F238E27FC236}">
                <a16:creationId xmlns:a16="http://schemas.microsoft.com/office/drawing/2014/main" id="{39E824B7-BEEE-FE04-834B-33AA9F71795A}"/>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mn-lt"/>
                <a:ea typeface="+mn-ea"/>
                <a:cs typeface="+mn-cs"/>
              </a:rPr>
              <a:pPr algn="r"/>
              <a:t>‹#›</a:t>
            </a:fld>
            <a:endParaRPr lang="en-US" sz="700" spc="300">
              <a:solidFill>
                <a:schemeClr val="accent5"/>
              </a:solidFill>
              <a:latin typeface="+mn-lt"/>
              <a:ea typeface="+mn-ea"/>
              <a:cs typeface="+mn-cs"/>
            </a:endParaRPr>
          </a:p>
        </p:txBody>
      </p:sp>
      <p:sp>
        <p:nvSpPr>
          <p:cNvPr id="2" name="Rectangle 1">
            <a:extLst>
              <a:ext uri="{FF2B5EF4-FFF2-40B4-BE49-F238E27FC236}">
                <a16:creationId xmlns:a16="http://schemas.microsoft.com/office/drawing/2014/main" id="{F9D09BF4-B2B9-6F2F-6A78-7AEC1F0C158C}"/>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4" name="Rectangle 3">
            <a:extLst>
              <a:ext uri="{FF2B5EF4-FFF2-40B4-BE49-F238E27FC236}">
                <a16:creationId xmlns:a16="http://schemas.microsoft.com/office/drawing/2014/main" id="{6F2A299B-3BF3-954E-BFB7-7B69EA08E666}"/>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5" name="Rectangle 4">
            <a:extLst>
              <a:ext uri="{FF2B5EF4-FFF2-40B4-BE49-F238E27FC236}">
                <a16:creationId xmlns:a16="http://schemas.microsoft.com/office/drawing/2014/main" id="{BB005F8A-52E4-5AE8-E4A6-6AD3B753F07C}"/>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6" name="Rectangle 5">
            <a:extLst>
              <a:ext uri="{FF2B5EF4-FFF2-40B4-BE49-F238E27FC236}">
                <a16:creationId xmlns:a16="http://schemas.microsoft.com/office/drawing/2014/main" id="{3BE0BD81-258B-1996-071D-FBBF4D8E0A19}"/>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47ABDC88-A902-7D10-BD42-9D03C33D85C8}"/>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8" name="Rectangle 7">
            <a:extLst>
              <a:ext uri="{FF2B5EF4-FFF2-40B4-BE49-F238E27FC236}">
                <a16:creationId xmlns:a16="http://schemas.microsoft.com/office/drawing/2014/main" id="{1EB8E48C-57AE-2409-F79C-25C7620E31C4}"/>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C2D238C2-452F-A06A-978C-07533FF1BA2D}"/>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F07E4091-52E8-38F1-B527-C59A5BBFA912}"/>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42711AE0-B710-CF1B-7741-D27528E3E00B}"/>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D0A293C3-1580-7F3F-38F6-18ACD35B2ED6}"/>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Tree>
    <p:extLst>
      <p:ext uri="{BB962C8B-B14F-4D97-AF65-F5344CB8AC3E}">
        <p14:creationId xmlns:p14="http://schemas.microsoft.com/office/powerpoint/2010/main" val="39312936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258AD371-8B7C-D63D-D4F0-D6036911F149}"/>
              </a:ext>
            </a:extLst>
          </p:cNvPr>
          <p:cNvGraphicFramePr>
            <a:graphicFrameLocks noChangeAspect="1"/>
          </p:cNvGraphicFramePr>
          <p:nvPr userDrawn="1">
            <p:custDataLst>
              <p:tags r:id="rId1"/>
            </p:custDataLst>
            <p:extLst>
              <p:ext uri="{D42A27DB-BD31-4B8C-83A1-F6EECF244321}">
                <p14:modId xmlns:p14="http://schemas.microsoft.com/office/powerpoint/2010/main" val="147556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8" name="think-cell data - do not delete" hidden="1">
                        <a:extLst>
                          <a:ext uri="{FF2B5EF4-FFF2-40B4-BE49-F238E27FC236}">
                            <a16:creationId xmlns:a16="http://schemas.microsoft.com/office/drawing/2014/main" id="{258AD371-8B7C-D63D-D4F0-D6036911F1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Box 10">
            <a:extLst>
              <a:ext uri="{FF2B5EF4-FFF2-40B4-BE49-F238E27FC236}">
                <a16:creationId xmlns:a16="http://schemas.microsoft.com/office/drawing/2014/main" id="{90EE36E9-394F-0C41-BF42-F3DE19BE0FC0}"/>
              </a:ext>
            </a:extLst>
          </p:cNvPr>
          <p:cNvSpPr txBox="1"/>
          <p:nvPr userDrawn="1"/>
        </p:nvSpPr>
        <p:spPr>
          <a:xfrm>
            <a:off x="11064240" y="6639040"/>
            <a:ext cx="993807" cy="200055"/>
          </a:xfrm>
          <a:prstGeom prst="rect">
            <a:avLst/>
          </a:prstGeom>
          <a:noFill/>
        </p:spPr>
        <p:txBody>
          <a:bodyPr wrap="square" rtlCol="0">
            <a:spAutoFit/>
          </a:bodyPr>
          <a:lstStyle/>
          <a:p>
            <a:pPr algn="r"/>
            <a:r>
              <a:rPr lang="en-US" sz="700" spc="300">
                <a:solidFill>
                  <a:schemeClr val="bg1"/>
                </a:solidFill>
                <a:latin typeface="+mn-lt"/>
                <a:ea typeface="+mn-ea"/>
                <a:cs typeface="+mn-cs"/>
              </a:rPr>
              <a:t>PAGE </a:t>
            </a:r>
            <a:fld id="{D6EE3F35-5EAA-0344-B6FC-083E415BACD9}" type="slidenum">
              <a:rPr lang="en-US" sz="700" spc="300" smtClean="0">
                <a:solidFill>
                  <a:schemeClr val="bg1"/>
                </a:solidFill>
                <a:latin typeface="+mn-lt"/>
                <a:ea typeface="+mn-ea"/>
                <a:cs typeface="+mn-cs"/>
              </a:rPr>
              <a:pPr algn="r"/>
              <a:t>‹#›</a:t>
            </a:fld>
            <a:endParaRPr lang="en-US" sz="700" spc="300">
              <a:solidFill>
                <a:schemeClr val="bg1"/>
              </a:solidFill>
              <a:latin typeface="+mn-lt"/>
              <a:ea typeface="+mn-ea"/>
              <a:cs typeface="+mn-cs"/>
            </a:endParaRPr>
          </a:p>
        </p:txBody>
      </p:sp>
      <p:pic>
        <p:nvPicPr>
          <p:cNvPr id="2" name="Picture 1">
            <a:extLst>
              <a:ext uri="{FF2B5EF4-FFF2-40B4-BE49-F238E27FC236}">
                <a16:creationId xmlns:a16="http://schemas.microsoft.com/office/drawing/2014/main" id="{4696A943-621C-B904-5750-CFE5CD8927F6}"/>
              </a:ext>
            </a:extLst>
          </p:cNvPr>
          <p:cNvPicPr>
            <a:picLocks noChangeAspect="1"/>
          </p:cNvPicPr>
          <p:nvPr userDrawn="1"/>
        </p:nvPicPr>
        <p:blipFill>
          <a:blip r:embed="rId5"/>
          <a:stretch>
            <a:fillRect/>
          </a:stretch>
        </p:blipFill>
        <p:spPr>
          <a:xfrm>
            <a:off x="0" y="1390"/>
            <a:ext cx="12192000" cy="6855220"/>
          </a:xfrm>
          <a:prstGeom prst="rect">
            <a:avLst/>
          </a:prstGeom>
        </p:spPr>
      </p:pic>
      <p:pic>
        <p:nvPicPr>
          <p:cNvPr id="3" name="Picture 2">
            <a:extLst>
              <a:ext uri="{FF2B5EF4-FFF2-40B4-BE49-F238E27FC236}">
                <a16:creationId xmlns:a16="http://schemas.microsoft.com/office/drawing/2014/main" id="{22AB6AE7-43CD-C976-2A32-5EBD06ABFC36}"/>
              </a:ext>
            </a:extLst>
          </p:cNvPr>
          <p:cNvPicPr>
            <a:picLocks noChangeAspect="1"/>
          </p:cNvPicPr>
          <p:nvPr userDrawn="1"/>
        </p:nvPicPr>
        <p:blipFill>
          <a:blip r:embed="rId6"/>
          <a:stretch>
            <a:fillRect/>
          </a:stretch>
        </p:blipFill>
        <p:spPr>
          <a:xfrm>
            <a:off x="5334000" y="-1390"/>
            <a:ext cx="6858000" cy="6858000"/>
          </a:xfrm>
          <a:prstGeom prst="rect">
            <a:avLst/>
          </a:prstGeom>
        </p:spPr>
      </p:pic>
      <p:sp>
        <p:nvSpPr>
          <p:cNvPr id="4" name="Text Placeholder 6">
            <a:extLst>
              <a:ext uri="{FF2B5EF4-FFF2-40B4-BE49-F238E27FC236}">
                <a16:creationId xmlns:a16="http://schemas.microsoft.com/office/drawing/2014/main" id="{725C3909-A05B-B085-F033-8F70235FA410}"/>
              </a:ext>
            </a:extLst>
          </p:cNvPr>
          <p:cNvSpPr>
            <a:spLocks noGrp="1"/>
          </p:cNvSpPr>
          <p:nvPr>
            <p:ph type="body" sz="quarter" idx="15" hasCustomPrompt="1"/>
          </p:nvPr>
        </p:nvSpPr>
        <p:spPr>
          <a:xfrm>
            <a:off x="292823" y="3618647"/>
            <a:ext cx="7053145" cy="601167"/>
          </a:xfrm>
        </p:spPr>
        <p:txBody>
          <a:bodyPr>
            <a:noAutofit/>
          </a:bodyPr>
          <a:lstStyle>
            <a:lvl1pPr marL="0" indent="0">
              <a:buNone/>
              <a:defRPr sz="4400" b="1" i="0">
                <a:solidFill>
                  <a:schemeClr val="bg1"/>
                </a:solidFill>
                <a:latin typeface="+mn-lt"/>
                <a:ea typeface="+mn-ea"/>
                <a:cs typeface="+mn-cs"/>
              </a:defRPr>
            </a:lvl1pPr>
          </a:lstStyle>
          <a:p>
            <a:pPr lvl="0"/>
            <a:r>
              <a:rPr lang="en-US"/>
              <a:t>Title text</a:t>
            </a:r>
          </a:p>
        </p:txBody>
      </p:sp>
      <p:sp>
        <p:nvSpPr>
          <p:cNvPr id="5" name="Text Placeholder 6">
            <a:extLst>
              <a:ext uri="{FF2B5EF4-FFF2-40B4-BE49-F238E27FC236}">
                <a16:creationId xmlns:a16="http://schemas.microsoft.com/office/drawing/2014/main" id="{D38101CF-C93F-9F7C-4A02-9C6998B0BBA5}"/>
              </a:ext>
            </a:extLst>
          </p:cNvPr>
          <p:cNvSpPr>
            <a:spLocks noGrp="1"/>
          </p:cNvSpPr>
          <p:nvPr>
            <p:ph type="body" sz="quarter" idx="16" hasCustomPrompt="1"/>
          </p:nvPr>
        </p:nvSpPr>
        <p:spPr>
          <a:xfrm>
            <a:off x="292823" y="4419697"/>
            <a:ext cx="7053145" cy="601167"/>
          </a:xfrm>
          <a:noFill/>
        </p:spPr>
        <p:txBody>
          <a:bodyPr>
            <a:noAutofit/>
          </a:bodyPr>
          <a:lstStyle>
            <a:lvl1pPr marL="0" indent="0">
              <a:buNone/>
              <a:defRPr sz="2800" b="0" i="0">
                <a:solidFill>
                  <a:schemeClr val="bg1"/>
                </a:solidFill>
                <a:latin typeface="+mn-lt"/>
                <a:ea typeface="+mn-ea"/>
                <a:cs typeface="+mn-cs"/>
              </a:defRPr>
            </a:lvl1pPr>
          </a:lstStyle>
          <a:p>
            <a:pPr lvl="0"/>
            <a:r>
              <a:rPr lang="en-US"/>
              <a:t>Subtitle</a:t>
            </a:r>
          </a:p>
        </p:txBody>
      </p:sp>
      <p:pic>
        <p:nvPicPr>
          <p:cNvPr id="6" name="Picture 5">
            <a:extLst>
              <a:ext uri="{FF2B5EF4-FFF2-40B4-BE49-F238E27FC236}">
                <a16:creationId xmlns:a16="http://schemas.microsoft.com/office/drawing/2014/main" id="{99CB29D8-F6AD-7D16-6970-7D44A9A69793}"/>
              </a:ext>
            </a:extLst>
          </p:cNvPr>
          <p:cNvPicPr>
            <a:picLocks noChangeAspect="1"/>
          </p:cNvPicPr>
          <p:nvPr userDrawn="1"/>
        </p:nvPicPr>
        <p:blipFill>
          <a:blip r:embed="rId7"/>
          <a:stretch>
            <a:fillRect/>
          </a:stretch>
        </p:blipFill>
        <p:spPr>
          <a:xfrm>
            <a:off x="292823" y="6592472"/>
            <a:ext cx="2324100" cy="107950"/>
          </a:xfrm>
          <a:prstGeom prst="rect">
            <a:avLst/>
          </a:prstGeom>
        </p:spPr>
      </p:pic>
      <p:sp>
        <p:nvSpPr>
          <p:cNvPr id="7" name="Rectangle 6">
            <a:extLst>
              <a:ext uri="{FF2B5EF4-FFF2-40B4-BE49-F238E27FC236}">
                <a16:creationId xmlns:a16="http://schemas.microsoft.com/office/drawing/2014/main" id="{FDD8CFA6-11AF-0EFC-E415-CD113C67AEF9}"/>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8" name="Rectangle 7">
            <a:extLst>
              <a:ext uri="{FF2B5EF4-FFF2-40B4-BE49-F238E27FC236}">
                <a16:creationId xmlns:a16="http://schemas.microsoft.com/office/drawing/2014/main" id="{1871F8AA-8973-FDD0-996F-069FD13C8C04}"/>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1BBF69C7-D84E-1D5C-83A8-F74AE527434F}"/>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070813E5-CD1C-B3B9-8565-81CB96C05B36}"/>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7B54A627-7181-1702-65CC-0462E76EE022}"/>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C388916F-6EC4-2AF8-F037-8B78BC69072D}"/>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5B75DF80-2AF1-060E-3052-ED53271484E6}"/>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046E393C-E4D0-3508-4396-238F3C851C9F}"/>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C1C6FB3A-778E-D5EE-C5F8-23CA38DB0C22}"/>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95603148-A734-B419-9867-364A302C2533}"/>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pic>
        <p:nvPicPr>
          <p:cNvPr id="20" name="Picture 19" descr="Logo&#10;&#10;Description automatically generated">
            <a:extLst>
              <a:ext uri="{FF2B5EF4-FFF2-40B4-BE49-F238E27FC236}">
                <a16:creationId xmlns:a16="http://schemas.microsoft.com/office/drawing/2014/main" id="{6DD3A1EA-4EF1-8B38-6EB6-CA2F41A071F8}"/>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0" y="157578"/>
            <a:ext cx="3353777" cy="1375806"/>
          </a:xfrm>
          <a:prstGeom prst="rect">
            <a:avLst/>
          </a:prstGeom>
        </p:spPr>
      </p:pic>
    </p:spTree>
    <p:extLst>
      <p:ext uri="{BB962C8B-B14F-4D97-AF65-F5344CB8AC3E}">
        <p14:creationId xmlns:p14="http://schemas.microsoft.com/office/powerpoint/2010/main" val="34646912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ingle_Cover">
    <p:bg>
      <p:bgPr>
        <a:solidFill>
          <a:schemeClr val="bg1"/>
        </a:solidFill>
        <a:effectLst/>
      </p:bgPr>
    </p:bg>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1A89992A-4A24-42BE-436D-09273CE61B6A}"/>
              </a:ext>
            </a:extLst>
          </p:cNvPr>
          <p:cNvGraphicFramePr>
            <a:graphicFrameLocks noChangeAspect="1"/>
          </p:cNvGraphicFramePr>
          <p:nvPr userDrawn="1">
            <p:custDataLst>
              <p:tags r:id="rId1"/>
            </p:custDataLst>
            <p:extLst>
              <p:ext uri="{D42A27DB-BD31-4B8C-83A1-F6EECF244321}">
                <p14:modId xmlns:p14="http://schemas.microsoft.com/office/powerpoint/2010/main" val="3312050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9" name="think-cell data - do not delete" hidden="1">
                        <a:extLst>
                          <a:ext uri="{FF2B5EF4-FFF2-40B4-BE49-F238E27FC236}">
                            <a16:creationId xmlns:a16="http://schemas.microsoft.com/office/drawing/2014/main" id="{1A89992A-4A24-42BE-436D-09273CE61B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0BC28396-9FBD-0DEE-F8F8-FFE0B2718C18}"/>
              </a:ext>
            </a:extLst>
          </p:cNvPr>
          <p:cNvPicPr>
            <a:picLocks noChangeAspect="1"/>
          </p:cNvPicPr>
          <p:nvPr userDrawn="1"/>
        </p:nvPicPr>
        <p:blipFill>
          <a:blip r:embed="rId5"/>
          <a:stretch>
            <a:fillRect/>
          </a:stretch>
        </p:blipFill>
        <p:spPr>
          <a:xfrm>
            <a:off x="0" y="1390"/>
            <a:ext cx="12192000" cy="6855220"/>
          </a:xfrm>
          <a:prstGeom prst="rect">
            <a:avLst/>
          </a:prstGeom>
        </p:spPr>
      </p:pic>
      <p:sp>
        <p:nvSpPr>
          <p:cNvPr id="5" name="Text Placeholder 6">
            <a:extLst>
              <a:ext uri="{FF2B5EF4-FFF2-40B4-BE49-F238E27FC236}">
                <a16:creationId xmlns:a16="http://schemas.microsoft.com/office/drawing/2014/main" id="{1E120AF7-7A13-B64B-A6A7-D59437507BFC}"/>
              </a:ext>
            </a:extLst>
          </p:cNvPr>
          <p:cNvSpPr>
            <a:spLocks noGrp="1"/>
          </p:cNvSpPr>
          <p:nvPr>
            <p:ph type="body" sz="quarter" idx="13" hasCustomPrompt="1"/>
          </p:nvPr>
        </p:nvSpPr>
        <p:spPr>
          <a:xfrm>
            <a:off x="6407151" y="3277752"/>
            <a:ext cx="5011699" cy="734982"/>
          </a:xfrm>
        </p:spPr>
        <p:txBody>
          <a:bodyPr>
            <a:noAutofit/>
          </a:bodyPr>
          <a:lstStyle>
            <a:lvl1pPr marL="0" indent="0">
              <a:buNone/>
              <a:defRPr sz="3600" b="1" i="0">
                <a:solidFill>
                  <a:schemeClr val="bg1"/>
                </a:solidFill>
                <a:latin typeface="+mn-lt"/>
                <a:ea typeface="+mn-ea"/>
                <a:cs typeface="+mn-cs"/>
              </a:defRPr>
            </a:lvl1pPr>
          </a:lstStyle>
          <a:p>
            <a:pPr lvl="0"/>
            <a:r>
              <a:rPr lang="en-US"/>
              <a:t>Project name</a:t>
            </a:r>
          </a:p>
        </p:txBody>
      </p:sp>
      <p:sp>
        <p:nvSpPr>
          <p:cNvPr id="7" name="Text Placeholder 6">
            <a:extLst>
              <a:ext uri="{FF2B5EF4-FFF2-40B4-BE49-F238E27FC236}">
                <a16:creationId xmlns:a16="http://schemas.microsoft.com/office/drawing/2014/main" id="{F0C49832-EB6B-4540-BD2F-BE66885F755A}"/>
              </a:ext>
            </a:extLst>
          </p:cNvPr>
          <p:cNvSpPr>
            <a:spLocks noGrp="1"/>
          </p:cNvSpPr>
          <p:nvPr>
            <p:ph type="body" sz="quarter" idx="14" hasCustomPrompt="1"/>
          </p:nvPr>
        </p:nvSpPr>
        <p:spPr>
          <a:xfrm>
            <a:off x="6407151" y="5284915"/>
            <a:ext cx="5011699" cy="734982"/>
          </a:xfrm>
          <a:noFill/>
        </p:spPr>
        <p:txBody>
          <a:bodyPr>
            <a:noAutofit/>
          </a:bodyPr>
          <a:lstStyle>
            <a:lvl1pPr marL="0" indent="0">
              <a:buNone/>
              <a:defRPr sz="2400" b="0" i="0">
                <a:solidFill>
                  <a:schemeClr val="bg1"/>
                </a:solidFill>
                <a:latin typeface="+mn-lt"/>
                <a:ea typeface="+mn-ea"/>
                <a:cs typeface="+mn-cs"/>
              </a:defRPr>
            </a:lvl1pPr>
          </a:lstStyle>
          <a:p>
            <a:pPr lvl="0"/>
            <a:r>
              <a:rPr lang="en-US"/>
              <a:t>date</a:t>
            </a:r>
          </a:p>
        </p:txBody>
      </p:sp>
      <p:sp>
        <p:nvSpPr>
          <p:cNvPr id="9" name="Text Placeholder 6">
            <a:extLst>
              <a:ext uri="{FF2B5EF4-FFF2-40B4-BE49-F238E27FC236}">
                <a16:creationId xmlns:a16="http://schemas.microsoft.com/office/drawing/2014/main" id="{F9B9942F-8782-9217-0CDF-F953ADDDD2BD}"/>
              </a:ext>
            </a:extLst>
          </p:cNvPr>
          <p:cNvSpPr>
            <a:spLocks noGrp="1"/>
          </p:cNvSpPr>
          <p:nvPr>
            <p:ph type="body" sz="quarter" idx="15" hasCustomPrompt="1"/>
          </p:nvPr>
        </p:nvSpPr>
        <p:spPr>
          <a:xfrm>
            <a:off x="6407151" y="4262094"/>
            <a:ext cx="5011699" cy="734982"/>
          </a:xfrm>
        </p:spPr>
        <p:txBody>
          <a:bodyPr>
            <a:noAutofit/>
          </a:bodyPr>
          <a:lstStyle>
            <a:lvl1pPr marL="0" indent="0">
              <a:buNone/>
              <a:defRPr sz="3200" b="0" i="0">
                <a:solidFill>
                  <a:schemeClr val="bg1"/>
                </a:solidFill>
                <a:latin typeface="+mn-lt"/>
                <a:ea typeface="+mn-ea"/>
                <a:cs typeface="+mn-cs"/>
              </a:defRPr>
            </a:lvl1pPr>
          </a:lstStyle>
          <a:p>
            <a:pPr lvl="0"/>
            <a:r>
              <a:rPr lang="en-US"/>
              <a:t>Subtitle </a:t>
            </a:r>
          </a:p>
        </p:txBody>
      </p:sp>
      <p:pic>
        <p:nvPicPr>
          <p:cNvPr id="12" name="Picture 11">
            <a:extLst>
              <a:ext uri="{FF2B5EF4-FFF2-40B4-BE49-F238E27FC236}">
                <a16:creationId xmlns:a16="http://schemas.microsoft.com/office/drawing/2014/main" id="{DAB3E34A-8F9C-5E86-5256-FC7240DB681F}"/>
              </a:ext>
            </a:extLst>
          </p:cNvPr>
          <p:cNvPicPr>
            <a:picLocks noChangeAspect="1"/>
          </p:cNvPicPr>
          <p:nvPr userDrawn="1"/>
        </p:nvPicPr>
        <p:blipFill>
          <a:blip r:embed="rId6"/>
          <a:stretch>
            <a:fillRect/>
          </a:stretch>
        </p:blipFill>
        <p:spPr>
          <a:xfrm>
            <a:off x="0" y="-1390"/>
            <a:ext cx="5292946" cy="5286305"/>
          </a:xfrm>
          <a:prstGeom prst="rect">
            <a:avLst/>
          </a:prstGeom>
        </p:spPr>
      </p:pic>
      <p:pic>
        <p:nvPicPr>
          <p:cNvPr id="13" name="Picture 12">
            <a:extLst>
              <a:ext uri="{FF2B5EF4-FFF2-40B4-BE49-F238E27FC236}">
                <a16:creationId xmlns:a16="http://schemas.microsoft.com/office/drawing/2014/main" id="{15766D94-4B68-6652-94F9-D21C447069AF}"/>
              </a:ext>
            </a:extLst>
          </p:cNvPr>
          <p:cNvPicPr>
            <a:picLocks noChangeAspect="1"/>
          </p:cNvPicPr>
          <p:nvPr userDrawn="1"/>
        </p:nvPicPr>
        <p:blipFill>
          <a:blip r:embed="rId7"/>
          <a:stretch>
            <a:fillRect/>
          </a:stretch>
        </p:blipFill>
        <p:spPr>
          <a:xfrm>
            <a:off x="2165350" y="4549214"/>
            <a:ext cx="895724" cy="895724"/>
          </a:xfrm>
          <a:prstGeom prst="rect">
            <a:avLst/>
          </a:prstGeom>
        </p:spPr>
      </p:pic>
      <p:pic>
        <p:nvPicPr>
          <p:cNvPr id="4" name="Picture 3">
            <a:extLst>
              <a:ext uri="{FF2B5EF4-FFF2-40B4-BE49-F238E27FC236}">
                <a16:creationId xmlns:a16="http://schemas.microsoft.com/office/drawing/2014/main" id="{ADD9C52F-29B3-465A-2EB7-01668D9BBE9D}"/>
              </a:ext>
            </a:extLst>
          </p:cNvPr>
          <p:cNvPicPr>
            <a:picLocks noChangeAspect="1"/>
          </p:cNvPicPr>
          <p:nvPr userDrawn="1"/>
        </p:nvPicPr>
        <p:blipFill>
          <a:blip r:embed="rId8"/>
          <a:stretch>
            <a:fillRect/>
          </a:stretch>
        </p:blipFill>
        <p:spPr>
          <a:xfrm>
            <a:off x="292823" y="6592472"/>
            <a:ext cx="2324100" cy="107950"/>
          </a:xfrm>
          <a:prstGeom prst="rect">
            <a:avLst/>
          </a:prstGeom>
        </p:spPr>
      </p:pic>
      <p:sp>
        <p:nvSpPr>
          <p:cNvPr id="3" name="Rectangle 2">
            <a:extLst>
              <a:ext uri="{FF2B5EF4-FFF2-40B4-BE49-F238E27FC236}">
                <a16:creationId xmlns:a16="http://schemas.microsoft.com/office/drawing/2014/main" id="{096031F5-52E2-13E6-DC35-CE8E02A04CE7}"/>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6" name="Rectangle 5">
            <a:extLst>
              <a:ext uri="{FF2B5EF4-FFF2-40B4-BE49-F238E27FC236}">
                <a16:creationId xmlns:a16="http://schemas.microsoft.com/office/drawing/2014/main" id="{3364EF2F-7762-0CE6-C043-30E89012A497}"/>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8" name="Rectangle 7">
            <a:extLst>
              <a:ext uri="{FF2B5EF4-FFF2-40B4-BE49-F238E27FC236}">
                <a16:creationId xmlns:a16="http://schemas.microsoft.com/office/drawing/2014/main" id="{A7F89739-37E7-E219-23A3-1EA849A22F46}"/>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931BE03A-CA96-B873-5324-67F62D03762F}"/>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34602706-645D-5DDD-7EB8-838BAD9ABD8A}"/>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4871359C-CB4F-183F-E5EA-DF631FB5B237}"/>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991C065A-D856-E961-9DBA-49E1715470F2}"/>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DFE6CF1B-7DEC-883B-A325-5B95ABA6D3D4}"/>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A008688E-F719-233C-5094-C97B2757AF7F}"/>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8" name="Rectangle 17">
            <a:extLst>
              <a:ext uri="{FF2B5EF4-FFF2-40B4-BE49-F238E27FC236}">
                <a16:creationId xmlns:a16="http://schemas.microsoft.com/office/drawing/2014/main" id="{624EF986-AA7F-F2B3-E160-6F48CF355CE5}"/>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pic>
        <p:nvPicPr>
          <p:cNvPr id="21" name="Picture 20" descr="Logo&#10;&#10;Description automatically generated">
            <a:extLst>
              <a:ext uri="{FF2B5EF4-FFF2-40B4-BE49-F238E27FC236}">
                <a16:creationId xmlns:a16="http://schemas.microsoft.com/office/drawing/2014/main" id="{D1C87564-8A4E-3129-B9E9-C9CD439C1BF9}"/>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8936222" y="106200"/>
            <a:ext cx="3353777" cy="1375806"/>
          </a:xfrm>
          <a:prstGeom prst="rect">
            <a:avLst/>
          </a:prstGeom>
        </p:spPr>
      </p:pic>
    </p:spTree>
    <p:extLst>
      <p:ext uri="{BB962C8B-B14F-4D97-AF65-F5344CB8AC3E}">
        <p14:creationId xmlns:p14="http://schemas.microsoft.com/office/powerpoint/2010/main" val="3761163331"/>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7E32C66-893C-493F-4ACB-AD530BDA4115}"/>
              </a:ext>
            </a:extLst>
          </p:cNvPr>
          <p:cNvGraphicFramePr>
            <a:graphicFrameLocks noChangeAspect="1"/>
          </p:cNvGraphicFramePr>
          <p:nvPr userDrawn="1">
            <p:custDataLst>
              <p:tags r:id="rId1"/>
            </p:custDataLst>
            <p:extLst>
              <p:ext uri="{D42A27DB-BD31-4B8C-83A1-F6EECF244321}">
                <p14:modId xmlns:p14="http://schemas.microsoft.com/office/powerpoint/2010/main" val="2690993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8" name="think-cell data - do not delete" hidden="1">
                        <a:extLst>
                          <a:ext uri="{FF2B5EF4-FFF2-40B4-BE49-F238E27FC236}">
                            <a16:creationId xmlns:a16="http://schemas.microsoft.com/office/drawing/2014/main" id="{F7E32C66-893C-493F-4ACB-AD530BDA41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63DDEC44-7900-14BB-E1C6-E2B56B40EA62}"/>
              </a:ext>
            </a:extLst>
          </p:cNvPr>
          <p:cNvPicPr>
            <a:picLocks noChangeAspect="1"/>
          </p:cNvPicPr>
          <p:nvPr userDrawn="1"/>
        </p:nvPicPr>
        <p:blipFill>
          <a:blip r:embed="rId5"/>
          <a:stretch>
            <a:fillRect/>
          </a:stretch>
        </p:blipFill>
        <p:spPr>
          <a:xfrm>
            <a:off x="-10932" y="0"/>
            <a:ext cx="12225551" cy="984250"/>
          </a:xfrm>
          <a:prstGeom prst="rect">
            <a:avLst/>
          </a:prstGeom>
        </p:spPr>
      </p:pic>
      <p:sp>
        <p:nvSpPr>
          <p:cNvPr id="4" name="Title 23">
            <a:extLst>
              <a:ext uri="{FF2B5EF4-FFF2-40B4-BE49-F238E27FC236}">
                <a16:creationId xmlns:a16="http://schemas.microsoft.com/office/drawing/2014/main" id="{BA86CFA2-0E9B-C65F-D669-4FA48A97624C}"/>
              </a:ext>
            </a:extLst>
          </p:cNvPr>
          <p:cNvSpPr>
            <a:spLocks noGrp="1"/>
          </p:cNvSpPr>
          <p:nvPr>
            <p:ph type="title"/>
          </p:nvPr>
        </p:nvSpPr>
        <p:spPr>
          <a:xfrm>
            <a:off x="609232" y="168381"/>
            <a:ext cx="10952147" cy="623222"/>
          </a:xfrm>
        </p:spPr>
        <p:txBody>
          <a:bodyPr vert="horz" anchor="ctr">
            <a:noAutofit/>
          </a:bodyPr>
          <a:lstStyle>
            <a:lvl1pPr>
              <a:lnSpc>
                <a:spcPct val="100000"/>
              </a:lnSpc>
              <a:defRPr lang="en-US" sz="3200" b="1" i="0" kern="1200" spc="-20" dirty="0">
                <a:solidFill>
                  <a:srgbClr val="FFFFFF"/>
                </a:solidFill>
                <a:latin typeface="+mj-lt"/>
                <a:ea typeface="+mj-ea"/>
                <a:cs typeface="+mj-cs"/>
              </a:defRPr>
            </a:lvl1pPr>
          </a:lstStyle>
          <a:p>
            <a:r>
              <a:rPr lang="en-US"/>
              <a:t>Click to edit Master title style</a:t>
            </a:r>
          </a:p>
        </p:txBody>
      </p:sp>
      <p:pic>
        <p:nvPicPr>
          <p:cNvPr id="5" name="Picture 4">
            <a:extLst>
              <a:ext uri="{FF2B5EF4-FFF2-40B4-BE49-F238E27FC236}">
                <a16:creationId xmlns:a16="http://schemas.microsoft.com/office/drawing/2014/main" id="{E778A1C9-4674-7473-2695-49D1DD352F15}"/>
              </a:ext>
            </a:extLst>
          </p:cNvPr>
          <p:cNvPicPr>
            <a:picLocks noChangeAspect="1"/>
          </p:cNvPicPr>
          <p:nvPr userDrawn="1"/>
        </p:nvPicPr>
        <p:blipFill>
          <a:blip r:embed="rId6"/>
          <a:stretch>
            <a:fillRect/>
          </a:stretch>
        </p:blipFill>
        <p:spPr>
          <a:xfrm>
            <a:off x="295737" y="6584987"/>
            <a:ext cx="2324100" cy="107950"/>
          </a:xfrm>
          <a:prstGeom prst="rect">
            <a:avLst/>
          </a:prstGeom>
        </p:spPr>
      </p:pic>
      <p:pic>
        <p:nvPicPr>
          <p:cNvPr id="6" name="Picture 5">
            <a:extLst>
              <a:ext uri="{FF2B5EF4-FFF2-40B4-BE49-F238E27FC236}">
                <a16:creationId xmlns:a16="http://schemas.microsoft.com/office/drawing/2014/main" id="{27C87B5A-D30D-9E8D-FD11-E59122A98CC2}"/>
              </a:ext>
            </a:extLst>
          </p:cNvPr>
          <p:cNvPicPr>
            <a:picLocks noChangeAspect="1"/>
          </p:cNvPicPr>
          <p:nvPr userDrawn="1"/>
        </p:nvPicPr>
        <p:blipFill>
          <a:blip r:embed="rId7"/>
          <a:stretch>
            <a:fillRect/>
          </a:stretch>
        </p:blipFill>
        <p:spPr>
          <a:xfrm>
            <a:off x="9953255" y="5418611"/>
            <a:ext cx="2261365" cy="1449421"/>
          </a:xfrm>
          <a:prstGeom prst="rect">
            <a:avLst/>
          </a:prstGeom>
        </p:spPr>
      </p:pic>
      <p:sp>
        <p:nvSpPr>
          <p:cNvPr id="8" name="Rectangle 7">
            <a:extLst>
              <a:ext uri="{FF2B5EF4-FFF2-40B4-BE49-F238E27FC236}">
                <a16:creationId xmlns:a16="http://schemas.microsoft.com/office/drawing/2014/main" id="{8E48263F-855B-453F-23B1-1874389B953F}"/>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36852BD5-A601-8565-6DC8-88A5E23729E8}"/>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CBE43B89-9AD5-DC7A-B256-9161991FAA72}"/>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BD6F074B-131B-A174-8CFD-46EE9DD9EAF5}"/>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3D3E4009-923E-B89A-5329-915D2C546250}"/>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34A86DAD-D2D8-EF05-D617-4E0B37A86A32}"/>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713C0C0F-DA3E-45B7-03AD-D7680F4E56B9}"/>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A7A5A0B9-2205-B31B-97B6-FC2AB98BAF79}"/>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7A73DA91-5D70-E911-6308-65B016293A8C}"/>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FCF55151-E534-7369-6FFB-6AB8CBE165A1}"/>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Text Placeholder 2">
            <a:extLst>
              <a:ext uri="{FF2B5EF4-FFF2-40B4-BE49-F238E27FC236}">
                <a16:creationId xmlns:a16="http://schemas.microsoft.com/office/drawing/2014/main" id="{FA30E723-61D3-D0A7-9131-418A026C05E4}"/>
              </a:ext>
            </a:extLst>
          </p:cNvPr>
          <p:cNvSpPr>
            <a:spLocks noGrp="1"/>
          </p:cNvSpPr>
          <p:nvPr>
            <p:ph type="body" idx="1" hasCustomPrompt="1"/>
          </p:nvPr>
        </p:nvSpPr>
        <p:spPr>
          <a:xfrm>
            <a:off x="609231" y="1210961"/>
            <a:ext cx="10952147" cy="5060629"/>
          </a:xfrm>
          <a:prstGeom prst="rect">
            <a:avLst/>
          </a:prstGeom>
        </p:spPr>
        <p:txBody>
          <a:bodyPr vert="horz" lIns="91440" tIns="45720" rIns="91440" bIns="45720" rtlCol="0">
            <a:normAutofit/>
          </a:bodyPr>
          <a:lstStyle>
            <a:lvl1pPr>
              <a:defRPr>
                <a:solidFill>
                  <a:srgbClr val="133CCF"/>
                </a:solidFill>
                <a:latin typeface="+mn-lt"/>
                <a:ea typeface="+mn-ea"/>
                <a:cs typeface="+mn-cs"/>
              </a:defRPr>
            </a:lvl1pPr>
            <a:lvl2pPr>
              <a:defRPr>
                <a:solidFill>
                  <a:srgbClr val="133CCF"/>
                </a:solidFill>
                <a:latin typeface="+mn-lt"/>
                <a:ea typeface="+mn-ea"/>
                <a:cs typeface="+mn-cs"/>
              </a:defRPr>
            </a:lvl2pPr>
            <a:lvl3pPr>
              <a:defRPr>
                <a:solidFill>
                  <a:srgbClr val="133CCF"/>
                </a:solidFill>
                <a:latin typeface="+mn-lt"/>
                <a:ea typeface="+mn-ea"/>
                <a:cs typeface="+mn-cs"/>
              </a:defRPr>
            </a:lvl3pPr>
            <a:lvl4pPr>
              <a:defRPr>
                <a:solidFill>
                  <a:srgbClr val="133CCF"/>
                </a:solidFill>
                <a:latin typeface="+mn-lt"/>
                <a:ea typeface="+mn-ea"/>
                <a:cs typeface="+mn-cs"/>
              </a:defRPr>
            </a:lvl4pPr>
            <a:lvl5pPr>
              <a:defRPr>
                <a:solidFill>
                  <a:srgbClr val="133CCF"/>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0107965"/>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02">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A67C8376-B29A-032C-DB76-8631F049A31E}"/>
              </a:ext>
            </a:extLst>
          </p:cNvPr>
          <p:cNvGraphicFramePr>
            <a:graphicFrameLocks noChangeAspect="1"/>
          </p:cNvGraphicFramePr>
          <p:nvPr userDrawn="1">
            <p:custDataLst>
              <p:tags r:id="rId1"/>
            </p:custDataLst>
            <p:extLst>
              <p:ext uri="{D42A27DB-BD31-4B8C-83A1-F6EECF244321}">
                <p14:modId xmlns:p14="http://schemas.microsoft.com/office/powerpoint/2010/main" val="3016083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9" name="think-cell data - do not delete" hidden="1">
                        <a:extLst>
                          <a:ext uri="{FF2B5EF4-FFF2-40B4-BE49-F238E27FC236}">
                            <a16:creationId xmlns:a16="http://schemas.microsoft.com/office/drawing/2014/main" id="{A67C8376-B29A-032C-DB76-8631F049A3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642AB644-762A-78B9-54D9-8D08DF1AC1C3}"/>
              </a:ext>
            </a:extLst>
          </p:cNvPr>
          <p:cNvPicPr>
            <a:picLocks noChangeAspect="1"/>
          </p:cNvPicPr>
          <p:nvPr userDrawn="1"/>
        </p:nvPicPr>
        <p:blipFill>
          <a:blip r:embed="rId5"/>
          <a:stretch>
            <a:fillRect/>
          </a:stretch>
        </p:blipFill>
        <p:spPr>
          <a:xfrm>
            <a:off x="-10932" y="0"/>
            <a:ext cx="12225551" cy="984250"/>
          </a:xfrm>
          <a:prstGeom prst="rect">
            <a:avLst/>
          </a:prstGeom>
        </p:spPr>
      </p:pic>
      <p:sp>
        <p:nvSpPr>
          <p:cNvPr id="4" name="Title 23">
            <a:extLst>
              <a:ext uri="{FF2B5EF4-FFF2-40B4-BE49-F238E27FC236}">
                <a16:creationId xmlns:a16="http://schemas.microsoft.com/office/drawing/2014/main" id="{8D4B37A5-2FF3-D03C-A1E3-5C3067263762}"/>
              </a:ext>
            </a:extLst>
          </p:cNvPr>
          <p:cNvSpPr>
            <a:spLocks noGrp="1"/>
          </p:cNvSpPr>
          <p:nvPr>
            <p:ph type="title"/>
          </p:nvPr>
        </p:nvSpPr>
        <p:spPr>
          <a:xfrm>
            <a:off x="609233" y="168381"/>
            <a:ext cx="10951910" cy="623222"/>
          </a:xfrm>
        </p:spPr>
        <p:txBody>
          <a:bodyPr vert="horz" lIns="0" tIns="0" rIns="0" bIns="0" anchor="ctr">
            <a:noAutofit/>
          </a:bodyPr>
          <a:lstStyle>
            <a:lvl1pPr>
              <a:lnSpc>
                <a:spcPct val="85000"/>
              </a:lnSpc>
              <a:defRPr lang="en-US" sz="3200" b="1" i="0" kern="1200" spc="-20" dirty="0">
                <a:solidFill>
                  <a:srgbClr val="FFFFFF"/>
                </a:solidFill>
                <a:latin typeface="+mj-lt"/>
                <a:ea typeface="+mj-ea"/>
                <a:cs typeface="+mj-cs"/>
              </a:defRPr>
            </a:lvl1pPr>
          </a:lstStyle>
          <a:p>
            <a:r>
              <a:rPr lang="en-US"/>
              <a:t>Click to edit Master title style</a:t>
            </a:r>
          </a:p>
        </p:txBody>
      </p:sp>
      <p:pic>
        <p:nvPicPr>
          <p:cNvPr id="5" name="Picture 4">
            <a:extLst>
              <a:ext uri="{FF2B5EF4-FFF2-40B4-BE49-F238E27FC236}">
                <a16:creationId xmlns:a16="http://schemas.microsoft.com/office/drawing/2014/main" id="{5955ED6C-27C8-0BE6-66C4-C99617BA8667}"/>
              </a:ext>
            </a:extLst>
          </p:cNvPr>
          <p:cNvPicPr>
            <a:picLocks noChangeAspect="1"/>
          </p:cNvPicPr>
          <p:nvPr userDrawn="1"/>
        </p:nvPicPr>
        <p:blipFill>
          <a:blip r:embed="rId6"/>
          <a:stretch>
            <a:fillRect/>
          </a:stretch>
        </p:blipFill>
        <p:spPr>
          <a:xfrm>
            <a:off x="295737" y="6584987"/>
            <a:ext cx="2324100" cy="107950"/>
          </a:xfrm>
          <a:prstGeom prst="rect">
            <a:avLst/>
          </a:prstGeom>
        </p:spPr>
      </p:pic>
      <p:pic>
        <p:nvPicPr>
          <p:cNvPr id="6" name="Picture 5">
            <a:extLst>
              <a:ext uri="{FF2B5EF4-FFF2-40B4-BE49-F238E27FC236}">
                <a16:creationId xmlns:a16="http://schemas.microsoft.com/office/drawing/2014/main" id="{F121651B-17C8-D249-2390-5566494A4205}"/>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rot="10800000">
            <a:off x="11011648" y="0"/>
            <a:ext cx="1202971" cy="984249"/>
          </a:xfrm>
          <a:prstGeom prst="rect">
            <a:avLst/>
          </a:prstGeom>
        </p:spPr>
      </p:pic>
      <p:sp>
        <p:nvSpPr>
          <p:cNvPr id="8" name="TextBox 7">
            <a:extLst>
              <a:ext uri="{FF2B5EF4-FFF2-40B4-BE49-F238E27FC236}">
                <a16:creationId xmlns:a16="http://schemas.microsoft.com/office/drawing/2014/main" id="{3737415C-21A1-327B-15B5-C129D59365D3}"/>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mn-lt"/>
                <a:ea typeface="+mn-ea"/>
                <a:cs typeface="+mn-cs"/>
              </a:rPr>
              <a:pPr algn="r"/>
              <a:t>‹#›</a:t>
            </a:fld>
            <a:endParaRPr lang="en-US" sz="700" spc="300">
              <a:solidFill>
                <a:schemeClr val="accent5"/>
              </a:solidFill>
              <a:latin typeface="+mn-lt"/>
              <a:ea typeface="+mn-ea"/>
              <a:cs typeface="+mn-cs"/>
            </a:endParaRPr>
          </a:p>
        </p:txBody>
      </p:sp>
      <p:sp>
        <p:nvSpPr>
          <p:cNvPr id="7" name="Rectangle 6">
            <a:extLst>
              <a:ext uri="{FF2B5EF4-FFF2-40B4-BE49-F238E27FC236}">
                <a16:creationId xmlns:a16="http://schemas.microsoft.com/office/drawing/2014/main" id="{70B001CD-89C1-F7AE-63E6-F2E4495AB5F6}"/>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F24E7C63-8BEE-9577-3A62-8EC4D68DD447}"/>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50BF563C-14BE-8725-3744-228100E3EF11}"/>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AA190F70-2A5F-3DBA-9D7A-6EE3873339A0}"/>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1DC8A78E-26BB-16EA-EC53-9065D761581D}"/>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2C95E006-0601-F8D7-3C49-3C7EF4C0622D}"/>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32DBFEF5-7DDD-931D-17BD-F1EB2E4FE488}"/>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4DDA30DD-51D9-0D16-A652-01DC1EDADF5C}"/>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C3DA8BC8-2657-8EF4-48C9-E72798F2C9EF}"/>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71DFD998-762C-EE05-A0B7-53157A3E2C8A}"/>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3" name="Text Placeholder 2">
            <a:extLst>
              <a:ext uri="{FF2B5EF4-FFF2-40B4-BE49-F238E27FC236}">
                <a16:creationId xmlns:a16="http://schemas.microsoft.com/office/drawing/2014/main" id="{A366B16B-C169-4E72-F23E-30A3D09BC2A8}"/>
              </a:ext>
            </a:extLst>
          </p:cNvPr>
          <p:cNvSpPr>
            <a:spLocks noGrp="1"/>
          </p:cNvSpPr>
          <p:nvPr>
            <p:ph idx="1" hasCustomPrompt="1"/>
          </p:nvPr>
        </p:nvSpPr>
        <p:spPr>
          <a:xfrm>
            <a:off x="609231" y="1210961"/>
            <a:ext cx="10952147" cy="5060629"/>
          </a:xfrm>
          <a:prstGeom prst="rect">
            <a:avLst/>
          </a:prstGeom>
        </p:spPr>
        <p:txBody>
          <a:bodyPr vert="horz" lIns="91440" tIns="45720" rIns="91440" bIns="45720" rtlCol="0">
            <a:normAutofit/>
          </a:bodyPr>
          <a:lstStyle>
            <a:lvl1pPr>
              <a:defRPr>
                <a:solidFill>
                  <a:srgbClr val="133CCF"/>
                </a:solidFill>
                <a:latin typeface="+mn-lt"/>
                <a:ea typeface="+mn-ea"/>
                <a:cs typeface="+mn-cs"/>
              </a:defRPr>
            </a:lvl1pPr>
            <a:lvl2pPr>
              <a:defRPr>
                <a:solidFill>
                  <a:srgbClr val="133CCF"/>
                </a:solidFill>
                <a:latin typeface="+mn-lt"/>
                <a:ea typeface="+mn-ea"/>
                <a:cs typeface="+mn-cs"/>
              </a:defRPr>
            </a:lvl2pPr>
            <a:lvl3pPr>
              <a:defRPr>
                <a:solidFill>
                  <a:srgbClr val="133CCF"/>
                </a:solidFill>
                <a:latin typeface="+mn-lt"/>
                <a:ea typeface="+mn-ea"/>
                <a:cs typeface="+mn-cs"/>
              </a:defRPr>
            </a:lvl3pPr>
            <a:lvl4pPr>
              <a:defRPr>
                <a:solidFill>
                  <a:srgbClr val="133CCF"/>
                </a:solidFill>
                <a:latin typeface="+mn-lt"/>
                <a:ea typeface="+mn-ea"/>
                <a:cs typeface="+mn-cs"/>
              </a:defRPr>
            </a:lvl4pPr>
            <a:lvl5pPr>
              <a:defRPr>
                <a:solidFill>
                  <a:srgbClr val="133CCF"/>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66887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01">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E81066A1-120F-4338-B0E8-5EF5CC7EF3E7}"/>
              </a:ext>
            </a:extLst>
          </p:cNvPr>
          <p:cNvGraphicFramePr>
            <a:graphicFrameLocks noChangeAspect="1"/>
          </p:cNvGraphicFramePr>
          <p:nvPr userDrawn="1">
            <p:custDataLst>
              <p:tags r:id="rId1"/>
            </p:custDataLst>
            <p:extLst>
              <p:ext uri="{D42A27DB-BD31-4B8C-83A1-F6EECF244321}">
                <p14:modId xmlns:p14="http://schemas.microsoft.com/office/powerpoint/2010/main" val="3512710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6" name="think-cell data - do not delete" hidden="1">
                        <a:extLst>
                          <a:ext uri="{FF2B5EF4-FFF2-40B4-BE49-F238E27FC236}">
                            <a16:creationId xmlns:a16="http://schemas.microsoft.com/office/drawing/2014/main" id="{E81066A1-120F-4338-B0E8-5EF5CC7EF3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F2D53B6A-0A2A-A63E-50F4-3BE989659A21}"/>
              </a:ext>
            </a:extLst>
          </p:cNvPr>
          <p:cNvPicPr>
            <a:picLocks noChangeAspect="1"/>
          </p:cNvPicPr>
          <p:nvPr userDrawn="1"/>
        </p:nvPicPr>
        <p:blipFill>
          <a:blip r:embed="rId5"/>
          <a:stretch>
            <a:fillRect/>
          </a:stretch>
        </p:blipFill>
        <p:spPr>
          <a:xfrm>
            <a:off x="295737" y="6584987"/>
            <a:ext cx="2324100" cy="107950"/>
          </a:xfrm>
          <a:prstGeom prst="rect">
            <a:avLst/>
          </a:prstGeom>
        </p:spPr>
      </p:pic>
      <p:pic>
        <p:nvPicPr>
          <p:cNvPr id="3" name="Picture 2">
            <a:extLst>
              <a:ext uri="{FF2B5EF4-FFF2-40B4-BE49-F238E27FC236}">
                <a16:creationId xmlns:a16="http://schemas.microsoft.com/office/drawing/2014/main" id="{88240EB8-E9EE-E202-7433-DC33E88D5EE1}"/>
              </a:ext>
            </a:extLst>
          </p:cNvPr>
          <p:cNvPicPr>
            <a:picLocks noChangeAspect="1"/>
          </p:cNvPicPr>
          <p:nvPr userDrawn="1"/>
        </p:nvPicPr>
        <p:blipFill>
          <a:blip r:embed="rId6"/>
          <a:stretch>
            <a:fillRect/>
          </a:stretch>
        </p:blipFill>
        <p:spPr>
          <a:xfrm rot="10800000" flipH="1">
            <a:off x="9940574" y="-19878"/>
            <a:ext cx="2261365" cy="1449421"/>
          </a:xfrm>
          <a:prstGeom prst="rect">
            <a:avLst/>
          </a:prstGeom>
        </p:spPr>
      </p:pic>
      <p:sp>
        <p:nvSpPr>
          <p:cNvPr id="5" name="TextBox 4">
            <a:extLst>
              <a:ext uri="{FF2B5EF4-FFF2-40B4-BE49-F238E27FC236}">
                <a16:creationId xmlns:a16="http://schemas.microsoft.com/office/drawing/2014/main" id="{A2B72C6A-1C29-9545-4ACF-5CF2293C6C53}"/>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mn-lt"/>
                <a:ea typeface="+mn-ea"/>
                <a:cs typeface="+mn-cs"/>
              </a:rPr>
              <a:pPr algn="r"/>
              <a:t>‹#›</a:t>
            </a:fld>
            <a:endParaRPr lang="en-US" sz="700" spc="300">
              <a:solidFill>
                <a:schemeClr val="accent5"/>
              </a:solidFill>
              <a:latin typeface="+mn-lt"/>
              <a:ea typeface="+mn-ea"/>
              <a:cs typeface="+mn-cs"/>
            </a:endParaRPr>
          </a:p>
        </p:txBody>
      </p:sp>
      <p:sp>
        <p:nvSpPr>
          <p:cNvPr id="4" name="Rectangle 3">
            <a:extLst>
              <a:ext uri="{FF2B5EF4-FFF2-40B4-BE49-F238E27FC236}">
                <a16:creationId xmlns:a16="http://schemas.microsoft.com/office/drawing/2014/main" id="{C50597A6-EF46-2E6A-1CB2-C8BE772CFDFE}"/>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6" name="Rectangle 5">
            <a:extLst>
              <a:ext uri="{FF2B5EF4-FFF2-40B4-BE49-F238E27FC236}">
                <a16:creationId xmlns:a16="http://schemas.microsoft.com/office/drawing/2014/main" id="{D887C6C2-D16A-4418-C4E6-F0A60D5BEB71}"/>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F62592EF-2EA8-FBAB-74D0-B35A1AD98D48}"/>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8" name="Rectangle 7">
            <a:extLst>
              <a:ext uri="{FF2B5EF4-FFF2-40B4-BE49-F238E27FC236}">
                <a16:creationId xmlns:a16="http://schemas.microsoft.com/office/drawing/2014/main" id="{6CFBE338-5481-6AFF-BA76-7DF921C61BD9}"/>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80EF49FC-5AD6-CE5B-61C8-22D911207174}"/>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8E1800F1-C533-6F99-5272-67E29B411658}"/>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FF5A6764-CC8C-3E72-C492-75D3621338FA}"/>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CF451F83-5EF0-B406-2EBB-F51208625466}"/>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B48B5A09-E0D4-42C1-70DD-C5C8BE658220}"/>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FCB1E00B-1DCD-F462-B861-9BBBFD27F249}"/>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Text Placeholder 2">
            <a:extLst>
              <a:ext uri="{FF2B5EF4-FFF2-40B4-BE49-F238E27FC236}">
                <a16:creationId xmlns:a16="http://schemas.microsoft.com/office/drawing/2014/main" id="{DF468405-E35A-3081-23AA-A470E0F483DD}"/>
              </a:ext>
            </a:extLst>
          </p:cNvPr>
          <p:cNvSpPr>
            <a:spLocks noGrp="1"/>
          </p:cNvSpPr>
          <p:nvPr>
            <p:ph idx="1" hasCustomPrompt="1"/>
          </p:nvPr>
        </p:nvSpPr>
        <p:spPr>
          <a:xfrm>
            <a:off x="609231" y="735495"/>
            <a:ext cx="10952147" cy="5625547"/>
          </a:xfrm>
          <a:prstGeom prst="rect">
            <a:avLst/>
          </a:prstGeom>
        </p:spPr>
        <p:txBody>
          <a:bodyPr vert="horz" lIns="91440" tIns="45720" rIns="91440" bIns="45720" rtlCol="0">
            <a:normAutofit/>
          </a:bodyPr>
          <a:lstStyle>
            <a:lvl1pPr>
              <a:defRPr sz="3600">
                <a:solidFill>
                  <a:srgbClr val="133CCF"/>
                </a:solidFill>
                <a:latin typeface="+mn-lt"/>
                <a:ea typeface="+mn-ea"/>
                <a:cs typeface="+mn-cs"/>
              </a:defRPr>
            </a:lvl1pPr>
            <a:lvl2pPr>
              <a:defRPr sz="2800">
                <a:solidFill>
                  <a:srgbClr val="133CCF"/>
                </a:solidFill>
                <a:latin typeface="+mn-lt"/>
                <a:ea typeface="+mn-ea"/>
                <a:cs typeface="+mn-cs"/>
              </a:defRPr>
            </a:lvl2pPr>
            <a:lvl3pPr>
              <a:defRPr sz="2800">
                <a:solidFill>
                  <a:srgbClr val="133CCF"/>
                </a:solidFill>
                <a:latin typeface="+mn-lt"/>
                <a:ea typeface="+mn-ea"/>
                <a:cs typeface="+mn-cs"/>
              </a:defRPr>
            </a:lvl3pPr>
            <a:lvl4pPr>
              <a:defRPr sz="2800">
                <a:solidFill>
                  <a:srgbClr val="133CCF"/>
                </a:solidFill>
                <a:latin typeface="+mn-lt"/>
                <a:ea typeface="+mn-ea"/>
                <a:cs typeface="+mn-cs"/>
              </a:defRPr>
            </a:lvl4pPr>
            <a:lvl5pPr>
              <a:defRPr sz="2800">
                <a:solidFill>
                  <a:srgbClr val="133CCF"/>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30997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1E70694-5143-996D-C0EA-629B53563BF1}"/>
              </a:ext>
            </a:extLst>
          </p:cNvPr>
          <p:cNvGraphicFramePr>
            <a:graphicFrameLocks noChangeAspect="1"/>
          </p:cNvGraphicFramePr>
          <p:nvPr userDrawn="1">
            <p:custDataLst>
              <p:tags r:id="rId1"/>
            </p:custDataLst>
            <p:extLst>
              <p:ext uri="{D42A27DB-BD31-4B8C-83A1-F6EECF244321}">
                <p14:modId xmlns:p14="http://schemas.microsoft.com/office/powerpoint/2010/main" val="1803819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8" name="think-cell data - do not delete" hidden="1">
                        <a:extLst>
                          <a:ext uri="{FF2B5EF4-FFF2-40B4-BE49-F238E27FC236}">
                            <a16:creationId xmlns:a16="http://schemas.microsoft.com/office/drawing/2014/main" id="{F1E70694-5143-996D-C0EA-629B53563B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731B6055-753F-B35A-F46A-50D548BD4254}"/>
              </a:ext>
            </a:extLst>
          </p:cNvPr>
          <p:cNvPicPr>
            <a:picLocks noChangeAspect="1"/>
          </p:cNvPicPr>
          <p:nvPr userDrawn="1"/>
        </p:nvPicPr>
        <p:blipFill>
          <a:blip r:embed="rId5"/>
          <a:stretch>
            <a:fillRect/>
          </a:stretch>
        </p:blipFill>
        <p:spPr>
          <a:xfrm>
            <a:off x="0" y="1390"/>
            <a:ext cx="12192000" cy="6855220"/>
          </a:xfrm>
          <a:prstGeom prst="rect">
            <a:avLst/>
          </a:prstGeom>
        </p:spPr>
      </p:pic>
      <p:pic>
        <p:nvPicPr>
          <p:cNvPr id="5" name="Picture 4">
            <a:extLst>
              <a:ext uri="{FF2B5EF4-FFF2-40B4-BE49-F238E27FC236}">
                <a16:creationId xmlns:a16="http://schemas.microsoft.com/office/drawing/2014/main" id="{198CA8E3-8E10-31C8-E30A-7034E2AEBA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1390"/>
            <a:ext cx="5214876" cy="4513432"/>
          </a:xfrm>
          <a:prstGeom prst="rect">
            <a:avLst/>
          </a:prstGeom>
        </p:spPr>
      </p:pic>
      <p:pic>
        <p:nvPicPr>
          <p:cNvPr id="7" name="Picture 6">
            <a:extLst>
              <a:ext uri="{FF2B5EF4-FFF2-40B4-BE49-F238E27FC236}">
                <a16:creationId xmlns:a16="http://schemas.microsoft.com/office/drawing/2014/main" id="{5247F414-5F05-B515-6F7E-82386ABDF7C2}"/>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909700" y="4560782"/>
            <a:ext cx="2282300" cy="2314252"/>
          </a:xfrm>
          <a:prstGeom prst="rect">
            <a:avLst/>
          </a:prstGeom>
        </p:spPr>
      </p:pic>
      <p:sp>
        <p:nvSpPr>
          <p:cNvPr id="8" name="Text Placeholder 6">
            <a:extLst>
              <a:ext uri="{FF2B5EF4-FFF2-40B4-BE49-F238E27FC236}">
                <a16:creationId xmlns:a16="http://schemas.microsoft.com/office/drawing/2014/main" id="{F855BE84-80B4-B287-0343-996ACA21E61A}"/>
              </a:ext>
            </a:extLst>
          </p:cNvPr>
          <p:cNvSpPr>
            <a:spLocks noGrp="1"/>
          </p:cNvSpPr>
          <p:nvPr>
            <p:ph type="body" sz="quarter" idx="15" hasCustomPrompt="1"/>
          </p:nvPr>
        </p:nvSpPr>
        <p:spPr>
          <a:xfrm>
            <a:off x="1767017" y="3684482"/>
            <a:ext cx="8674442" cy="608864"/>
          </a:xfrm>
        </p:spPr>
        <p:txBody>
          <a:bodyPr>
            <a:noAutofit/>
          </a:bodyPr>
          <a:lstStyle>
            <a:lvl1pPr marL="0" indent="0" algn="ctr">
              <a:buNone/>
              <a:defRPr sz="4400" b="1" i="0">
                <a:solidFill>
                  <a:schemeClr val="bg1"/>
                </a:solidFill>
                <a:latin typeface="+mn-lt"/>
                <a:ea typeface="+mn-ea"/>
                <a:cs typeface="+mn-cs"/>
              </a:defRPr>
            </a:lvl1pPr>
          </a:lstStyle>
          <a:p>
            <a:pPr lvl="0"/>
            <a:r>
              <a:rPr lang="en-US"/>
              <a:t>Title text</a:t>
            </a:r>
          </a:p>
        </p:txBody>
      </p:sp>
      <p:sp>
        <p:nvSpPr>
          <p:cNvPr id="9" name="Text Placeholder 6">
            <a:extLst>
              <a:ext uri="{FF2B5EF4-FFF2-40B4-BE49-F238E27FC236}">
                <a16:creationId xmlns:a16="http://schemas.microsoft.com/office/drawing/2014/main" id="{71660172-DB72-31A3-0D6C-322C56FFDFB4}"/>
              </a:ext>
            </a:extLst>
          </p:cNvPr>
          <p:cNvSpPr>
            <a:spLocks noGrp="1"/>
          </p:cNvSpPr>
          <p:nvPr>
            <p:ph type="body" sz="quarter" idx="16" hasCustomPrompt="1"/>
          </p:nvPr>
        </p:nvSpPr>
        <p:spPr>
          <a:xfrm>
            <a:off x="1767017" y="4475046"/>
            <a:ext cx="8674442" cy="608864"/>
          </a:xfrm>
          <a:noFill/>
        </p:spPr>
        <p:txBody>
          <a:bodyPr>
            <a:noAutofit/>
          </a:bodyPr>
          <a:lstStyle>
            <a:lvl1pPr marL="0" indent="0" algn="ctr">
              <a:buNone/>
              <a:defRPr sz="2800" b="0" i="0">
                <a:solidFill>
                  <a:schemeClr val="bg1"/>
                </a:solidFill>
                <a:latin typeface="+mn-lt"/>
                <a:ea typeface="+mn-ea"/>
                <a:cs typeface="+mn-cs"/>
              </a:defRPr>
            </a:lvl1pPr>
          </a:lstStyle>
          <a:p>
            <a:pPr lvl="0"/>
            <a:r>
              <a:rPr lang="en-US" err="1"/>
              <a:t>Subtile</a:t>
            </a:r>
            <a:endParaRPr lang="en-US"/>
          </a:p>
        </p:txBody>
      </p:sp>
      <p:pic>
        <p:nvPicPr>
          <p:cNvPr id="3" name="Picture 2">
            <a:extLst>
              <a:ext uri="{FF2B5EF4-FFF2-40B4-BE49-F238E27FC236}">
                <a16:creationId xmlns:a16="http://schemas.microsoft.com/office/drawing/2014/main" id="{3A1A6BFE-D9CB-E904-15BB-81F9E486EF92}"/>
              </a:ext>
            </a:extLst>
          </p:cNvPr>
          <p:cNvPicPr>
            <a:picLocks noChangeAspect="1"/>
          </p:cNvPicPr>
          <p:nvPr userDrawn="1"/>
        </p:nvPicPr>
        <p:blipFill>
          <a:blip r:embed="rId8"/>
          <a:stretch>
            <a:fillRect/>
          </a:stretch>
        </p:blipFill>
        <p:spPr>
          <a:xfrm>
            <a:off x="292823" y="6592472"/>
            <a:ext cx="2324100" cy="107950"/>
          </a:xfrm>
          <a:prstGeom prst="rect">
            <a:avLst/>
          </a:prstGeom>
        </p:spPr>
      </p:pic>
      <p:sp>
        <p:nvSpPr>
          <p:cNvPr id="4" name="Rectangle 3">
            <a:extLst>
              <a:ext uri="{FF2B5EF4-FFF2-40B4-BE49-F238E27FC236}">
                <a16:creationId xmlns:a16="http://schemas.microsoft.com/office/drawing/2014/main" id="{CD46EAB5-B1CA-C4F4-1686-52A1616696B5}"/>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6" name="Rectangle 5">
            <a:extLst>
              <a:ext uri="{FF2B5EF4-FFF2-40B4-BE49-F238E27FC236}">
                <a16:creationId xmlns:a16="http://schemas.microsoft.com/office/drawing/2014/main" id="{382277D3-97E2-B7F7-CFD8-32FD89222BCF}"/>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ED3E162B-CBA8-CB55-F442-0CB77D72408C}"/>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BB3978BA-FCF9-D00F-B941-71EDC792CCD0}"/>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1BBABC82-73C7-B527-726C-788CFB4C74AF}"/>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D2626234-325E-0353-F1C1-E3EC675923F8}"/>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CB3D02AF-CD28-6C28-32A9-6F832CA8C9C0}"/>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273CBC14-60EB-A4C8-622E-0FA75A726D0D}"/>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1AD17D68-EBF1-4E84-04F2-30EB4894F41C}"/>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2B5EF35E-C934-F5D5-D4EC-48FBDAC0DD4A}"/>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pic>
        <p:nvPicPr>
          <p:cNvPr id="20" name="Picture 19" descr="Logo&#10;&#10;Description automatically generated">
            <a:extLst>
              <a:ext uri="{FF2B5EF4-FFF2-40B4-BE49-F238E27FC236}">
                <a16:creationId xmlns:a16="http://schemas.microsoft.com/office/drawing/2014/main" id="{399CC9E1-034D-8912-23E2-1BDC58FF7B9F}"/>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8936222" y="106200"/>
            <a:ext cx="3353777" cy="1375806"/>
          </a:xfrm>
          <a:prstGeom prst="rect">
            <a:avLst/>
          </a:prstGeom>
        </p:spPr>
      </p:pic>
    </p:spTree>
    <p:extLst>
      <p:ext uri="{BB962C8B-B14F-4D97-AF65-F5344CB8AC3E}">
        <p14:creationId xmlns:p14="http://schemas.microsoft.com/office/powerpoint/2010/main" val="906114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02">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51A9E24B-DE7D-DCB4-79D8-14ABB502DC9C}"/>
              </a:ext>
            </a:extLst>
          </p:cNvPr>
          <p:cNvGraphicFramePr>
            <a:graphicFrameLocks noChangeAspect="1"/>
          </p:cNvGraphicFramePr>
          <p:nvPr userDrawn="1">
            <p:custDataLst>
              <p:tags r:id="rId1"/>
            </p:custDataLst>
            <p:extLst>
              <p:ext uri="{D42A27DB-BD31-4B8C-83A1-F6EECF244321}">
                <p14:modId xmlns:p14="http://schemas.microsoft.com/office/powerpoint/2010/main" val="1701845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2" name="think-cell data - do not delete" hidden="1">
                        <a:extLst>
                          <a:ext uri="{FF2B5EF4-FFF2-40B4-BE49-F238E27FC236}">
                            <a16:creationId xmlns:a16="http://schemas.microsoft.com/office/drawing/2014/main" id="{51A9E24B-DE7D-DCB4-79D8-14ABB502DC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0E294F4-59D8-22AF-A935-EED997D8EDC0}"/>
              </a:ext>
            </a:extLst>
          </p:cNvPr>
          <p:cNvPicPr>
            <a:picLocks noChangeAspect="1"/>
          </p:cNvPicPr>
          <p:nvPr userDrawn="1"/>
        </p:nvPicPr>
        <p:blipFill>
          <a:blip r:embed="rId5"/>
          <a:stretch>
            <a:fillRect/>
          </a:stretch>
        </p:blipFill>
        <p:spPr>
          <a:xfrm>
            <a:off x="0" y="0"/>
            <a:ext cx="12192000" cy="6858000"/>
          </a:xfrm>
          <a:prstGeom prst="rect">
            <a:avLst/>
          </a:prstGeom>
        </p:spPr>
      </p:pic>
      <p:pic>
        <p:nvPicPr>
          <p:cNvPr id="3" name="Picture 2">
            <a:extLst>
              <a:ext uri="{FF2B5EF4-FFF2-40B4-BE49-F238E27FC236}">
                <a16:creationId xmlns:a16="http://schemas.microsoft.com/office/drawing/2014/main" id="{3659A700-3A2B-F840-339B-5A4EFC24EFA5}"/>
              </a:ext>
            </a:extLst>
          </p:cNvPr>
          <p:cNvPicPr>
            <a:picLocks noChangeAspect="1"/>
          </p:cNvPicPr>
          <p:nvPr userDrawn="1"/>
        </p:nvPicPr>
        <p:blipFill>
          <a:blip r:embed="rId6"/>
          <a:stretch>
            <a:fillRect/>
          </a:stretch>
        </p:blipFill>
        <p:spPr>
          <a:xfrm rot="16200000">
            <a:off x="10124325" y="-18535"/>
            <a:ext cx="2035962" cy="2099388"/>
          </a:xfrm>
          <a:prstGeom prst="rect">
            <a:avLst/>
          </a:prstGeom>
        </p:spPr>
      </p:pic>
      <p:pic>
        <p:nvPicPr>
          <p:cNvPr id="4" name="Picture 3">
            <a:extLst>
              <a:ext uri="{FF2B5EF4-FFF2-40B4-BE49-F238E27FC236}">
                <a16:creationId xmlns:a16="http://schemas.microsoft.com/office/drawing/2014/main" id="{01BB1214-EAA9-160D-C9CA-5B2611FBEAD3}"/>
              </a:ext>
            </a:extLst>
          </p:cNvPr>
          <p:cNvPicPr>
            <a:picLocks noChangeAspect="1"/>
          </p:cNvPicPr>
          <p:nvPr userDrawn="1"/>
        </p:nvPicPr>
        <p:blipFill>
          <a:blip r:embed="rId7"/>
          <a:stretch>
            <a:fillRect/>
          </a:stretch>
        </p:blipFill>
        <p:spPr>
          <a:xfrm>
            <a:off x="292823" y="6592472"/>
            <a:ext cx="2324100" cy="107950"/>
          </a:xfrm>
          <a:prstGeom prst="rect">
            <a:avLst/>
          </a:prstGeom>
        </p:spPr>
      </p:pic>
      <p:sp>
        <p:nvSpPr>
          <p:cNvPr id="6" name="TextBox 5">
            <a:extLst>
              <a:ext uri="{FF2B5EF4-FFF2-40B4-BE49-F238E27FC236}">
                <a16:creationId xmlns:a16="http://schemas.microsoft.com/office/drawing/2014/main" id="{2E3CC20C-FB3E-7FAE-E265-957CBD7B046A}"/>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mn-lt"/>
                <a:ea typeface="+mn-ea"/>
                <a:cs typeface="+mn-cs"/>
              </a:rPr>
              <a:pPr algn="r"/>
              <a:t>‹#›</a:t>
            </a:fld>
            <a:endParaRPr lang="en-US" sz="700" spc="300">
              <a:solidFill>
                <a:schemeClr val="bg1"/>
              </a:solidFill>
              <a:latin typeface="+mn-lt"/>
              <a:ea typeface="+mn-ea"/>
              <a:cs typeface="+mn-cs"/>
            </a:endParaRPr>
          </a:p>
        </p:txBody>
      </p:sp>
      <p:sp>
        <p:nvSpPr>
          <p:cNvPr id="2" name="Rectangle 1">
            <a:extLst>
              <a:ext uri="{FF2B5EF4-FFF2-40B4-BE49-F238E27FC236}">
                <a16:creationId xmlns:a16="http://schemas.microsoft.com/office/drawing/2014/main" id="{4D0B73B3-945A-C41F-D753-21E1E64F19A1}"/>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9D682366-F3D6-E75D-7601-4EE50B39492E}"/>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8" name="Rectangle 7">
            <a:extLst>
              <a:ext uri="{FF2B5EF4-FFF2-40B4-BE49-F238E27FC236}">
                <a16:creationId xmlns:a16="http://schemas.microsoft.com/office/drawing/2014/main" id="{1888BFE8-C95B-6DBC-1BFB-4F7A3FA57126}"/>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6F745BA5-7D92-2CFE-67BD-72F8CF25EF2B}"/>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D2DBB934-58B7-A22A-CF85-648D5F2CFD5A}"/>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20ED8663-2765-3550-97E7-F2308B59A297}"/>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7B1E37FC-D396-C377-63A7-7848EDB9805A}"/>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9D45ECEF-2D90-95ED-043A-8FF8AA3C30ED}"/>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BCDE37E5-8ED1-0746-90D2-0FD9DAFB53C3}"/>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B2566DF6-38C2-83FB-5B6E-B8433093412B}"/>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26" name="Text Placeholder 2">
            <a:extLst>
              <a:ext uri="{FF2B5EF4-FFF2-40B4-BE49-F238E27FC236}">
                <a16:creationId xmlns:a16="http://schemas.microsoft.com/office/drawing/2014/main" id="{823FF341-27CB-7B69-AB79-6AEE6F5EF48C}"/>
              </a:ext>
            </a:extLst>
          </p:cNvPr>
          <p:cNvSpPr>
            <a:spLocks noGrp="1"/>
          </p:cNvSpPr>
          <p:nvPr>
            <p:ph idx="10" hasCustomPrompt="1"/>
          </p:nvPr>
        </p:nvSpPr>
        <p:spPr>
          <a:xfrm>
            <a:off x="604873" y="715868"/>
            <a:ext cx="10977895" cy="5625547"/>
          </a:xfrm>
          <a:prstGeom prst="rect">
            <a:avLst/>
          </a:prstGeom>
        </p:spPr>
        <p:txBody>
          <a:bodyPr vert="horz" lIns="91440" tIns="45720" rIns="91440" bIns="45720" rtlCol="0">
            <a:normAutofit/>
          </a:bodyPr>
          <a:lstStyle>
            <a:lvl1pPr>
              <a:defRPr sz="3600">
                <a:solidFill>
                  <a:schemeClr val="bg1"/>
                </a:solidFill>
                <a:latin typeface="+mn-lt"/>
                <a:ea typeface="+mn-ea"/>
                <a:cs typeface="+mn-cs"/>
              </a:defRPr>
            </a:lvl1pPr>
            <a:lvl2pPr marL="344488" indent="-173038">
              <a:buFont typeface="Arial" panose="020B0604020202020204" pitchFamily="34" charset="0"/>
              <a:buChar char="•"/>
              <a:tabLst/>
              <a:defRPr sz="2800">
                <a:solidFill>
                  <a:schemeClr val="bg1"/>
                </a:solidFill>
                <a:latin typeface="+mn-lt"/>
                <a:ea typeface="+mn-ea"/>
                <a:cs typeface="+mn-cs"/>
              </a:defRPr>
            </a:lvl2pPr>
            <a:lvl3pPr marL="517525" indent="-173038">
              <a:buFont typeface="Courier New" panose="02070309020205020404" pitchFamily="49" charset="0"/>
              <a:buChar char="o"/>
              <a:tabLst/>
              <a:defRPr sz="2800">
                <a:solidFill>
                  <a:schemeClr val="bg1"/>
                </a:solidFill>
                <a:latin typeface="+mn-lt"/>
                <a:ea typeface="+mn-ea"/>
                <a:cs typeface="+mn-cs"/>
              </a:defRPr>
            </a:lvl3pPr>
            <a:lvl4pPr marL="690563" indent="-173038">
              <a:buFont typeface="Wingdings" pitchFamily="2" charset="2"/>
              <a:buChar char="§"/>
              <a:tabLst/>
              <a:defRPr sz="2800">
                <a:solidFill>
                  <a:schemeClr val="bg1"/>
                </a:solidFill>
                <a:latin typeface="+mn-lt"/>
                <a:ea typeface="+mn-ea"/>
                <a:cs typeface="+mn-cs"/>
              </a:defRPr>
            </a:lvl4pPr>
            <a:lvl5pPr marL="923925" indent="-233363">
              <a:buSzPct val="70000"/>
              <a:buFont typeface="Wingdings" pitchFamily="2" charset="2"/>
              <a:buChar char="q"/>
              <a:tabLst/>
              <a:defRPr sz="2800">
                <a:solidFill>
                  <a:schemeClr val="bg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66806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_1+text ">
    <p:bg>
      <p:bgPr>
        <a:solidFill>
          <a:schemeClr val="bg1"/>
        </a:solidFill>
        <a:effectLst/>
      </p:bgPr>
    </p:bg>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B750194D-9C85-50C6-B299-BC64751797F6}"/>
              </a:ext>
            </a:extLst>
          </p:cNvPr>
          <p:cNvGraphicFramePr>
            <a:graphicFrameLocks noChangeAspect="1"/>
          </p:cNvGraphicFramePr>
          <p:nvPr userDrawn="1">
            <p:custDataLst>
              <p:tags r:id="rId1"/>
            </p:custDataLst>
            <p:extLst>
              <p:ext uri="{D42A27DB-BD31-4B8C-83A1-F6EECF244321}">
                <p14:modId xmlns:p14="http://schemas.microsoft.com/office/powerpoint/2010/main" val="2211070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2" name="think-cell data - do not delete" hidden="1">
                        <a:extLst>
                          <a:ext uri="{FF2B5EF4-FFF2-40B4-BE49-F238E27FC236}">
                            <a16:creationId xmlns:a16="http://schemas.microsoft.com/office/drawing/2014/main" id="{B750194D-9C85-50C6-B299-BC64751797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AF0B358-08BD-6C4B-4939-78D7E710E8F7}"/>
              </a:ext>
            </a:extLst>
          </p:cNvPr>
          <p:cNvPicPr>
            <a:picLocks noChangeAspect="1"/>
          </p:cNvPicPr>
          <p:nvPr userDrawn="1"/>
        </p:nvPicPr>
        <p:blipFill>
          <a:blip r:embed="rId5"/>
          <a:stretch>
            <a:fillRect/>
          </a:stretch>
        </p:blipFill>
        <p:spPr>
          <a:xfrm>
            <a:off x="0" y="0"/>
            <a:ext cx="12192000" cy="6858000"/>
          </a:xfrm>
          <a:prstGeom prst="rect">
            <a:avLst/>
          </a:prstGeom>
        </p:spPr>
      </p:pic>
      <p:pic>
        <p:nvPicPr>
          <p:cNvPr id="4" name="Picture 3" descr="A picture containing text, outdoor&#10;&#10;Description automatically generated">
            <a:extLst>
              <a:ext uri="{FF2B5EF4-FFF2-40B4-BE49-F238E27FC236}">
                <a16:creationId xmlns:a16="http://schemas.microsoft.com/office/drawing/2014/main" id="{CE644B59-6021-A14B-DD53-20AB5F57E7D1}"/>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b="-98"/>
          <a:stretch/>
        </p:blipFill>
        <p:spPr>
          <a:xfrm>
            <a:off x="0" y="6684"/>
            <a:ext cx="6096000" cy="6844632"/>
          </a:xfrm>
          <a:prstGeom prst="rect">
            <a:avLst/>
          </a:prstGeom>
        </p:spPr>
      </p:pic>
      <p:pic>
        <p:nvPicPr>
          <p:cNvPr id="2" name="Picture Placeholder 7" descr="Water droplets on a surface&#10;&#10;Description automatically generated with medium confidence">
            <a:extLst>
              <a:ext uri="{FF2B5EF4-FFF2-40B4-BE49-F238E27FC236}">
                <a16:creationId xmlns:a16="http://schemas.microsoft.com/office/drawing/2014/main" id="{3CBB4E9F-B4FB-5C6F-BA96-96E70DEEB6EF}"/>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a:fillRect/>
          </a:stretch>
        </p:blipFill>
        <p:spPr>
          <a:xfrm>
            <a:off x="3313" y="0"/>
            <a:ext cx="6096000" cy="6858000"/>
          </a:xfrm>
          <a:prstGeom prst="rect">
            <a:avLst/>
          </a:prstGeom>
        </p:spPr>
      </p:pic>
      <p:pic>
        <p:nvPicPr>
          <p:cNvPr id="9" name="Picture 8">
            <a:extLst>
              <a:ext uri="{FF2B5EF4-FFF2-40B4-BE49-F238E27FC236}">
                <a16:creationId xmlns:a16="http://schemas.microsoft.com/office/drawing/2014/main" id="{9C193CD1-34BB-A273-3467-D9E8864B2FD7}"/>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0" y="0"/>
            <a:ext cx="3838837" cy="4611757"/>
          </a:xfrm>
          <a:prstGeom prst="rect">
            <a:avLst/>
          </a:prstGeom>
        </p:spPr>
      </p:pic>
      <p:pic>
        <p:nvPicPr>
          <p:cNvPr id="6" name="Picture 5">
            <a:extLst>
              <a:ext uri="{FF2B5EF4-FFF2-40B4-BE49-F238E27FC236}">
                <a16:creationId xmlns:a16="http://schemas.microsoft.com/office/drawing/2014/main" id="{FA993D30-B9E5-8158-9D96-AE6895E03B08}"/>
              </a:ext>
            </a:extLst>
          </p:cNvPr>
          <p:cNvPicPr>
            <a:picLocks noChangeAspect="1"/>
          </p:cNvPicPr>
          <p:nvPr userDrawn="1"/>
        </p:nvPicPr>
        <p:blipFill>
          <a:blip r:embed="rId9"/>
          <a:stretch>
            <a:fillRect/>
          </a:stretch>
        </p:blipFill>
        <p:spPr>
          <a:xfrm rot="10800000">
            <a:off x="9501716" y="-410636"/>
            <a:ext cx="1979083" cy="1386073"/>
          </a:xfrm>
          <a:prstGeom prst="rect">
            <a:avLst/>
          </a:prstGeom>
        </p:spPr>
      </p:pic>
      <p:pic>
        <p:nvPicPr>
          <p:cNvPr id="10" name="Picture 9">
            <a:extLst>
              <a:ext uri="{FF2B5EF4-FFF2-40B4-BE49-F238E27FC236}">
                <a16:creationId xmlns:a16="http://schemas.microsoft.com/office/drawing/2014/main" id="{48600A7A-75A2-F736-A4CF-17B022ABB668}"/>
              </a:ext>
            </a:extLst>
          </p:cNvPr>
          <p:cNvPicPr>
            <a:picLocks noChangeAspect="1"/>
          </p:cNvPicPr>
          <p:nvPr userDrawn="1"/>
        </p:nvPicPr>
        <p:blipFill>
          <a:blip r:embed="rId10"/>
          <a:stretch>
            <a:fillRect/>
          </a:stretch>
        </p:blipFill>
        <p:spPr>
          <a:xfrm>
            <a:off x="6716183" y="6236759"/>
            <a:ext cx="412750" cy="412750"/>
          </a:xfrm>
          <a:prstGeom prst="rect">
            <a:avLst/>
          </a:prstGeom>
        </p:spPr>
      </p:pic>
      <p:pic>
        <p:nvPicPr>
          <p:cNvPr id="11" name="Picture 10">
            <a:extLst>
              <a:ext uri="{FF2B5EF4-FFF2-40B4-BE49-F238E27FC236}">
                <a16:creationId xmlns:a16="http://schemas.microsoft.com/office/drawing/2014/main" id="{D440B84C-AD24-3D74-6FA4-4D1D156BC544}"/>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5660972" y="5636721"/>
            <a:ext cx="863636" cy="863636"/>
          </a:xfrm>
          <a:prstGeom prst="rect">
            <a:avLst/>
          </a:prstGeom>
        </p:spPr>
      </p:pic>
      <p:sp>
        <p:nvSpPr>
          <p:cNvPr id="7" name="TextBox 6">
            <a:extLst>
              <a:ext uri="{FF2B5EF4-FFF2-40B4-BE49-F238E27FC236}">
                <a16:creationId xmlns:a16="http://schemas.microsoft.com/office/drawing/2014/main" id="{62ACF97B-61C0-C337-6D35-B8D747148442}"/>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mn-lt"/>
                <a:ea typeface="+mn-ea"/>
                <a:cs typeface="+mn-cs"/>
              </a:rPr>
              <a:pPr algn="r"/>
              <a:t>‹#›</a:t>
            </a:fld>
            <a:endParaRPr lang="en-US" sz="700" spc="300">
              <a:solidFill>
                <a:schemeClr val="bg1"/>
              </a:solidFill>
              <a:latin typeface="+mn-lt"/>
              <a:ea typeface="+mn-ea"/>
              <a:cs typeface="+mn-cs"/>
            </a:endParaRPr>
          </a:p>
        </p:txBody>
      </p:sp>
      <p:sp>
        <p:nvSpPr>
          <p:cNvPr id="8" name="Rectangle 7">
            <a:extLst>
              <a:ext uri="{FF2B5EF4-FFF2-40B4-BE49-F238E27FC236}">
                <a16:creationId xmlns:a16="http://schemas.microsoft.com/office/drawing/2014/main" id="{B9BACE25-5353-4E36-7CF7-576A4CC6A9EC}"/>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6E019C6F-63E6-A48A-AF7F-F6F02E610504}"/>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F230E482-0B3D-079C-B471-D36C4ED80403}"/>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4D91393F-B91C-2C52-68D3-DF9F990B6D5E}"/>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9A01DCBA-5CEF-EE71-662B-7C59DF0BA0E0}"/>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0422531F-0EF9-6DD3-C1B0-73D93A16B3D3}"/>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22605293-7BA4-6E38-6AC1-70BEFA1A36E6}"/>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8" name="Rectangle 17">
            <a:extLst>
              <a:ext uri="{FF2B5EF4-FFF2-40B4-BE49-F238E27FC236}">
                <a16:creationId xmlns:a16="http://schemas.microsoft.com/office/drawing/2014/main" id="{646BA7F6-141F-832B-EC44-13CDC72E28C0}"/>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9" name="Rectangle 18">
            <a:extLst>
              <a:ext uri="{FF2B5EF4-FFF2-40B4-BE49-F238E27FC236}">
                <a16:creationId xmlns:a16="http://schemas.microsoft.com/office/drawing/2014/main" id="{D95E3C91-27B4-E77D-E94B-BF5D3B2F7A03}"/>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20" name="Rectangle 19">
            <a:extLst>
              <a:ext uri="{FF2B5EF4-FFF2-40B4-BE49-F238E27FC236}">
                <a16:creationId xmlns:a16="http://schemas.microsoft.com/office/drawing/2014/main" id="{2C247CD1-07D6-96FF-18E2-E9184FF7A853}"/>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23" name="Title 7">
            <a:extLst>
              <a:ext uri="{FF2B5EF4-FFF2-40B4-BE49-F238E27FC236}">
                <a16:creationId xmlns:a16="http://schemas.microsoft.com/office/drawing/2014/main" id="{3F5EEAC8-184E-4CDF-7E3D-00B58F4999F4}"/>
              </a:ext>
            </a:extLst>
          </p:cNvPr>
          <p:cNvSpPr>
            <a:spLocks noGrp="1"/>
          </p:cNvSpPr>
          <p:nvPr>
            <p:ph type="title" hasCustomPrompt="1"/>
          </p:nvPr>
        </p:nvSpPr>
        <p:spPr>
          <a:xfrm>
            <a:off x="6323107" y="1629155"/>
            <a:ext cx="5243485" cy="509237"/>
          </a:xfrm>
        </p:spPr>
        <p:txBody>
          <a:bodyPr vert="horz">
            <a:noAutofit/>
          </a:bodyPr>
          <a:lstStyle>
            <a:lvl1pPr>
              <a:lnSpc>
                <a:spcPct val="100000"/>
              </a:lnSpc>
              <a:defRPr lang="en-US" sz="4000" b="1" i="0" kern="1200" spc="-20" dirty="0">
                <a:solidFill>
                  <a:schemeClr val="bg1"/>
                </a:solidFill>
                <a:latin typeface="+mj-lt"/>
                <a:ea typeface="+mj-ea"/>
                <a:cs typeface="+mj-cs"/>
              </a:defRPr>
            </a:lvl1pPr>
          </a:lstStyle>
          <a:p>
            <a:r>
              <a:rPr lang="en-US"/>
              <a:t>Click to edit Headline</a:t>
            </a:r>
          </a:p>
        </p:txBody>
      </p:sp>
      <p:sp>
        <p:nvSpPr>
          <p:cNvPr id="21" name="TextBox 20">
            <a:extLst>
              <a:ext uri="{FF2B5EF4-FFF2-40B4-BE49-F238E27FC236}">
                <a16:creationId xmlns:a16="http://schemas.microsoft.com/office/drawing/2014/main" id="{74D869B9-EB64-AE45-11E8-CC034A771C87}"/>
              </a:ext>
            </a:extLst>
          </p:cNvPr>
          <p:cNvSpPr txBox="1"/>
          <p:nvPr userDrawn="1"/>
        </p:nvSpPr>
        <p:spPr>
          <a:xfrm>
            <a:off x="4512623" y="7327075"/>
            <a:ext cx="184731" cy="369332"/>
          </a:xfrm>
          <a:prstGeom prst="rect">
            <a:avLst/>
          </a:prstGeom>
          <a:noFill/>
        </p:spPr>
        <p:txBody>
          <a:bodyPr wrap="none" rtlCol="0">
            <a:spAutoFit/>
          </a:bodyPr>
          <a:lstStyle/>
          <a:p>
            <a:endParaRPr lang="en-US">
              <a:latin typeface="+mn-lt"/>
              <a:ea typeface="+mn-ea"/>
              <a:cs typeface="+mn-cs"/>
            </a:endParaRPr>
          </a:p>
        </p:txBody>
      </p:sp>
      <p:sp>
        <p:nvSpPr>
          <p:cNvPr id="26" name="Text Placeholder 2">
            <a:extLst>
              <a:ext uri="{FF2B5EF4-FFF2-40B4-BE49-F238E27FC236}">
                <a16:creationId xmlns:a16="http://schemas.microsoft.com/office/drawing/2014/main" id="{7844FA39-522C-6B43-F107-447A0B37C8B9}"/>
              </a:ext>
            </a:extLst>
          </p:cNvPr>
          <p:cNvSpPr>
            <a:spLocks noGrp="1"/>
          </p:cNvSpPr>
          <p:nvPr>
            <p:ph idx="1" hasCustomPrompt="1"/>
          </p:nvPr>
        </p:nvSpPr>
        <p:spPr>
          <a:xfrm>
            <a:off x="6304709" y="2285999"/>
            <a:ext cx="5256669" cy="3985591"/>
          </a:xfrm>
          <a:prstGeom prst="rect">
            <a:avLst/>
          </a:prstGeom>
        </p:spPr>
        <p:txBody>
          <a:bodyPr vert="horz" lIns="91440" tIns="45720" rIns="91440" bIns="45720" rtlCol="0">
            <a:normAutofit/>
          </a:bodyPr>
          <a:lstStyle>
            <a:lvl1pPr>
              <a:defRPr>
                <a:solidFill>
                  <a:schemeClr val="bg1"/>
                </a:solidFill>
                <a:latin typeface="+mn-lt"/>
                <a:ea typeface="+mn-ea"/>
                <a:cs typeface="+mn-cs"/>
              </a:defRPr>
            </a:lvl1pPr>
            <a:lvl2pPr marL="344488" indent="-173038">
              <a:buFont typeface="Arial" panose="020B0604020202020204" pitchFamily="34" charset="0"/>
              <a:buChar char="•"/>
              <a:tabLst/>
              <a:defRPr>
                <a:solidFill>
                  <a:schemeClr val="bg1"/>
                </a:solidFill>
                <a:latin typeface="+mn-lt"/>
                <a:ea typeface="+mn-ea"/>
                <a:cs typeface="+mn-cs"/>
              </a:defRPr>
            </a:lvl2pPr>
            <a:lvl3pPr marL="517525" indent="-173038">
              <a:buFont typeface="Courier New" panose="02070309020205020404" pitchFamily="49" charset="0"/>
              <a:buChar char="o"/>
              <a:tabLst/>
              <a:defRPr>
                <a:solidFill>
                  <a:schemeClr val="bg1"/>
                </a:solidFill>
                <a:latin typeface="+mn-lt"/>
                <a:ea typeface="+mn-ea"/>
                <a:cs typeface="+mn-cs"/>
              </a:defRPr>
            </a:lvl3pPr>
            <a:lvl4pPr marL="690563" indent="-173038">
              <a:buFont typeface="Wingdings" pitchFamily="2" charset="2"/>
              <a:buChar char="§"/>
              <a:tabLst/>
              <a:defRPr>
                <a:solidFill>
                  <a:schemeClr val="bg1"/>
                </a:solidFill>
                <a:latin typeface="+mn-lt"/>
                <a:ea typeface="+mn-ea"/>
                <a:cs typeface="+mn-cs"/>
              </a:defRPr>
            </a:lvl4pPr>
            <a:lvl5pPr marL="923925" indent="-233363">
              <a:buSzPct val="70000"/>
              <a:buFont typeface="Wingdings" pitchFamily="2" charset="2"/>
              <a:buChar char="q"/>
              <a:tabLst/>
              <a:defRPr>
                <a:solidFill>
                  <a:schemeClr val="bg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1854959"/>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Image_1+text ">
    <p:bg>
      <p:bgPr>
        <a:solidFill>
          <a:schemeClr val="bg1"/>
        </a:solidFill>
        <a:effectLst/>
      </p:bgPr>
    </p:bg>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8ADEF8C3-8726-7D3E-9ED7-43757EA5AFE1}"/>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3" name="think-cell data - do not delete" hidden="1">
            <a:extLst>
              <a:ext uri="{FF2B5EF4-FFF2-40B4-BE49-F238E27FC236}">
                <a16:creationId xmlns:a16="http://schemas.microsoft.com/office/drawing/2014/main" id="{68F092F9-4A97-271B-7F2B-77D349C5BDCA}"/>
              </a:ext>
            </a:extLst>
          </p:cNvPr>
          <p:cNvGraphicFramePr>
            <a:graphicFrameLocks noChangeAspect="1"/>
          </p:cNvGraphicFramePr>
          <p:nvPr userDrawn="1">
            <p:custDataLst>
              <p:tags r:id="rId1"/>
            </p:custDataLst>
            <p:extLst>
              <p:ext uri="{D42A27DB-BD31-4B8C-83A1-F6EECF244321}">
                <p14:modId xmlns:p14="http://schemas.microsoft.com/office/powerpoint/2010/main" val="1044159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think-cell data - do not delete" hidden="1">
                        <a:extLst>
                          <a:ext uri="{FF2B5EF4-FFF2-40B4-BE49-F238E27FC236}">
                            <a16:creationId xmlns:a16="http://schemas.microsoft.com/office/drawing/2014/main" id="{68F092F9-4A97-271B-7F2B-77D349C5BD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1" descr="A person holding a pen over a paper&#10;&#10;Description automatically generated">
            <a:extLst>
              <a:ext uri="{FF2B5EF4-FFF2-40B4-BE49-F238E27FC236}">
                <a16:creationId xmlns:a16="http://schemas.microsoft.com/office/drawing/2014/main" id="{152DC4C8-097A-A1AC-98D8-9802ACEA0118}"/>
              </a:ext>
            </a:extLst>
          </p:cNvPr>
          <p:cNvPicPr>
            <a:picLocks/>
          </p:cNvPicPr>
          <p:nvPr userDrawn="1"/>
        </p:nvPicPr>
        <p:blipFill rotWithShape="1">
          <a:blip r:embed="rId6" cstate="screen">
            <a:extLst>
              <a:ext uri="{28A0092B-C50C-407E-A947-70E740481C1C}">
                <a14:useLocalDpi xmlns:a14="http://schemas.microsoft.com/office/drawing/2010/main"/>
              </a:ext>
            </a:extLst>
          </a:blip>
          <a:srcRect l="5556" r="5556"/>
          <a:stretch/>
        </p:blipFill>
        <p:spPr>
          <a:xfrm>
            <a:off x="3313" y="0"/>
            <a:ext cx="6096000" cy="6858000"/>
          </a:xfrm>
          <a:prstGeom prst="rect">
            <a:avLst/>
          </a:prstGeom>
        </p:spPr>
      </p:pic>
      <p:pic>
        <p:nvPicPr>
          <p:cNvPr id="9" name="Picture 8">
            <a:extLst>
              <a:ext uri="{FF2B5EF4-FFF2-40B4-BE49-F238E27FC236}">
                <a16:creationId xmlns:a16="http://schemas.microsoft.com/office/drawing/2014/main" id="{9C193CD1-34BB-A273-3467-D9E8864B2FD7}"/>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0"/>
            <a:ext cx="3838837" cy="4611757"/>
          </a:xfrm>
          <a:prstGeom prst="rect">
            <a:avLst/>
          </a:prstGeom>
        </p:spPr>
      </p:pic>
      <p:pic>
        <p:nvPicPr>
          <p:cNvPr id="6" name="Picture 5">
            <a:extLst>
              <a:ext uri="{FF2B5EF4-FFF2-40B4-BE49-F238E27FC236}">
                <a16:creationId xmlns:a16="http://schemas.microsoft.com/office/drawing/2014/main" id="{FA993D30-B9E5-8158-9D96-AE6895E03B08}"/>
              </a:ext>
            </a:extLst>
          </p:cNvPr>
          <p:cNvPicPr>
            <a:picLocks noChangeAspect="1"/>
          </p:cNvPicPr>
          <p:nvPr userDrawn="1"/>
        </p:nvPicPr>
        <p:blipFill>
          <a:blip r:embed="rId8"/>
          <a:stretch>
            <a:fillRect/>
          </a:stretch>
        </p:blipFill>
        <p:spPr>
          <a:xfrm rot="10800000">
            <a:off x="9501716" y="-410636"/>
            <a:ext cx="1979083" cy="1386073"/>
          </a:xfrm>
          <a:prstGeom prst="rect">
            <a:avLst/>
          </a:prstGeom>
        </p:spPr>
      </p:pic>
      <p:pic>
        <p:nvPicPr>
          <p:cNvPr id="10" name="Picture 9">
            <a:extLst>
              <a:ext uri="{FF2B5EF4-FFF2-40B4-BE49-F238E27FC236}">
                <a16:creationId xmlns:a16="http://schemas.microsoft.com/office/drawing/2014/main" id="{48600A7A-75A2-F736-A4CF-17B022ABB668}"/>
              </a:ext>
            </a:extLst>
          </p:cNvPr>
          <p:cNvPicPr>
            <a:picLocks noChangeAspect="1"/>
          </p:cNvPicPr>
          <p:nvPr userDrawn="1"/>
        </p:nvPicPr>
        <p:blipFill>
          <a:blip r:embed="rId9"/>
          <a:stretch>
            <a:fillRect/>
          </a:stretch>
        </p:blipFill>
        <p:spPr>
          <a:xfrm>
            <a:off x="6716183" y="6236759"/>
            <a:ext cx="412750" cy="412750"/>
          </a:xfrm>
          <a:prstGeom prst="rect">
            <a:avLst/>
          </a:prstGeom>
        </p:spPr>
      </p:pic>
      <p:pic>
        <p:nvPicPr>
          <p:cNvPr id="11" name="Picture 10">
            <a:extLst>
              <a:ext uri="{FF2B5EF4-FFF2-40B4-BE49-F238E27FC236}">
                <a16:creationId xmlns:a16="http://schemas.microsoft.com/office/drawing/2014/main" id="{D440B84C-AD24-3D74-6FA4-4D1D156BC544}"/>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5660972" y="5636721"/>
            <a:ext cx="863636" cy="863636"/>
          </a:xfrm>
          <a:prstGeom prst="rect">
            <a:avLst/>
          </a:prstGeom>
        </p:spPr>
      </p:pic>
      <p:sp>
        <p:nvSpPr>
          <p:cNvPr id="7" name="TextBox 6">
            <a:extLst>
              <a:ext uri="{FF2B5EF4-FFF2-40B4-BE49-F238E27FC236}">
                <a16:creationId xmlns:a16="http://schemas.microsoft.com/office/drawing/2014/main" id="{62ACF97B-61C0-C337-6D35-B8D747148442}"/>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mn-lt"/>
                <a:ea typeface="+mn-ea"/>
                <a:cs typeface="+mn-cs"/>
              </a:rPr>
              <a:pPr algn="r"/>
              <a:t>‹#›</a:t>
            </a:fld>
            <a:endParaRPr lang="en-US" sz="700" spc="300">
              <a:solidFill>
                <a:schemeClr val="bg1"/>
              </a:solidFill>
              <a:latin typeface="+mn-lt"/>
              <a:ea typeface="+mn-ea"/>
              <a:cs typeface="+mn-cs"/>
            </a:endParaRPr>
          </a:p>
        </p:txBody>
      </p:sp>
      <p:sp>
        <p:nvSpPr>
          <p:cNvPr id="8" name="Rectangle 7">
            <a:extLst>
              <a:ext uri="{FF2B5EF4-FFF2-40B4-BE49-F238E27FC236}">
                <a16:creationId xmlns:a16="http://schemas.microsoft.com/office/drawing/2014/main" id="{B9BACE25-5353-4E36-7CF7-576A4CC6A9EC}"/>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6E019C6F-63E6-A48A-AF7F-F6F02E610504}"/>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F230E482-0B3D-079C-B471-D36C4ED80403}"/>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4D91393F-B91C-2C52-68D3-DF9F990B6D5E}"/>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9A01DCBA-5CEF-EE71-662B-7C59DF0BA0E0}"/>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0422531F-0EF9-6DD3-C1B0-73D93A16B3D3}"/>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22605293-7BA4-6E38-6AC1-70BEFA1A36E6}"/>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8" name="Rectangle 17">
            <a:extLst>
              <a:ext uri="{FF2B5EF4-FFF2-40B4-BE49-F238E27FC236}">
                <a16:creationId xmlns:a16="http://schemas.microsoft.com/office/drawing/2014/main" id="{646BA7F6-141F-832B-EC44-13CDC72E28C0}"/>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9" name="Rectangle 18">
            <a:extLst>
              <a:ext uri="{FF2B5EF4-FFF2-40B4-BE49-F238E27FC236}">
                <a16:creationId xmlns:a16="http://schemas.microsoft.com/office/drawing/2014/main" id="{D95E3C91-27B4-E77D-E94B-BF5D3B2F7A03}"/>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20" name="Rectangle 19">
            <a:extLst>
              <a:ext uri="{FF2B5EF4-FFF2-40B4-BE49-F238E27FC236}">
                <a16:creationId xmlns:a16="http://schemas.microsoft.com/office/drawing/2014/main" id="{2C247CD1-07D6-96FF-18E2-E9184FF7A853}"/>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23" name="Title 7">
            <a:extLst>
              <a:ext uri="{FF2B5EF4-FFF2-40B4-BE49-F238E27FC236}">
                <a16:creationId xmlns:a16="http://schemas.microsoft.com/office/drawing/2014/main" id="{3F5EEAC8-184E-4CDF-7E3D-00B58F4999F4}"/>
              </a:ext>
            </a:extLst>
          </p:cNvPr>
          <p:cNvSpPr>
            <a:spLocks noGrp="1"/>
          </p:cNvSpPr>
          <p:nvPr>
            <p:ph type="title" hasCustomPrompt="1"/>
          </p:nvPr>
        </p:nvSpPr>
        <p:spPr>
          <a:xfrm>
            <a:off x="6323107" y="1629155"/>
            <a:ext cx="5243485" cy="509237"/>
          </a:xfrm>
        </p:spPr>
        <p:txBody>
          <a:bodyPr vert="horz">
            <a:noAutofit/>
          </a:bodyPr>
          <a:lstStyle>
            <a:lvl1pPr>
              <a:lnSpc>
                <a:spcPct val="100000"/>
              </a:lnSpc>
              <a:defRPr lang="en-US" sz="4000" b="1" i="0" kern="1200" spc="-20" dirty="0">
                <a:solidFill>
                  <a:schemeClr val="bg1"/>
                </a:solidFill>
                <a:latin typeface="+mj-lt"/>
                <a:ea typeface="+mj-ea"/>
                <a:cs typeface="+mj-cs"/>
              </a:defRPr>
            </a:lvl1pPr>
          </a:lstStyle>
          <a:p>
            <a:r>
              <a:rPr lang="en-US"/>
              <a:t>Click to edit Headline</a:t>
            </a:r>
          </a:p>
        </p:txBody>
      </p:sp>
      <p:sp>
        <p:nvSpPr>
          <p:cNvPr id="21" name="TextBox 20">
            <a:extLst>
              <a:ext uri="{FF2B5EF4-FFF2-40B4-BE49-F238E27FC236}">
                <a16:creationId xmlns:a16="http://schemas.microsoft.com/office/drawing/2014/main" id="{74D869B9-EB64-AE45-11E8-CC034A771C87}"/>
              </a:ext>
            </a:extLst>
          </p:cNvPr>
          <p:cNvSpPr txBox="1"/>
          <p:nvPr userDrawn="1"/>
        </p:nvSpPr>
        <p:spPr>
          <a:xfrm>
            <a:off x="4512623" y="7327075"/>
            <a:ext cx="184731" cy="369332"/>
          </a:xfrm>
          <a:prstGeom prst="rect">
            <a:avLst/>
          </a:prstGeom>
          <a:noFill/>
        </p:spPr>
        <p:txBody>
          <a:bodyPr wrap="none" rtlCol="0">
            <a:spAutoFit/>
          </a:bodyPr>
          <a:lstStyle/>
          <a:p>
            <a:endParaRPr lang="en-US">
              <a:latin typeface="+mn-lt"/>
              <a:ea typeface="+mn-ea"/>
              <a:cs typeface="+mn-cs"/>
            </a:endParaRPr>
          </a:p>
        </p:txBody>
      </p:sp>
      <p:sp>
        <p:nvSpPr>
          <p:cNvPr id="26" name="Text Placeholder 2">
            <a:extLst>
              <a:ext uri="{FF2B5EF4-FFF2-40B4-BE49-F238E27FC236}">
                <a16:creationId xmlns:a16="http://schemas.microsoft.com/office/drawing/2014/main" id="{7844FA39-522C-6B43-F107-447A0B37C8B9}"/>
              </a:ext>
            </a:extLst>
          </p:cNvPr>
          <p:cNvSpPr>
            <a:spLocks noGrp="1"/>
          </p:cNvSpPr>
          <p:nvPr>
            <p:ph idx="1" hasCustomPrompt="1"/>
          </p:nvPr>
        </p:nvSpPr>
        <p:spPr>
          <a:xfrm>
            <a:off x="6304709" y="2285999"/>
            <a:ext cx="5256669" cy="3985591"/>
          </a:xfrm>
          <a:prstGeom prst="rect">
            <a:avLst/>
          </a:prstGeom>
        </p:spPr>
        <p:txBody>
          <a:bodyPr vert="horz" lIns="91440" tIns="45720" rIns="91440" bIns="45720" rtlCol="0">
            <a:normAutofit/>
          </a:bodyPr>
          <a:lstStyle>
            <a:lvl1pPr>
              <a:defRPr>
                <a:solidFill>
                  <a:schemeClr val="bg1"/>
                </a:solidFill>
                <a:latin typeface="+mn-lt"/>
                <a:ea typeface="+mn-ea"/>
                <a:cs typeface="+mn-cs"/>
              </a:defRPr>
            </a:lvl1pPr>
            <a:lvl2pPr marL="344488" indent="-173038">
              <a:buFont typeface="Arial" panose="020B0604020202020204" pitchFamily="34" charset="0"/>
              <a:buChar char="•"/>
              <a:tabLst/>
              <a:defRPr>
                <a:solidFill>
                  <a:schemeClr val="bg1"/>
                </a:solidFill>
                <a:latin typeface="+mn-lt"/>
                <a:ea typeface="+mn-ea"/>
                <a:cs typeface="+mn-cs"/>
              </a:defRPr>
            </a:lvl2pPr>
            <a:lvl3pPr marL="517525" indent="-173038">
              <a:buFont typeface="Courier New" panose="02070309020205020404" pitchFamily="49" charset="0"/>
              <a:buChar char="o"/>
              <a:tabLst/>
              <a:defRPr>
                <a:solidFill>
                  <a:schemeClr val="bg1"/>
                </a:solidFill>
                <a:latin typeface="+mn-lt"/>
                <a:ea typeface="+mn-ea"/>
                <a:cs typeface="+mn-cs"/>
              </a:defRPr>
            </a:lvl3pPr>
            <a:lvl4pPr marL="690563" indent="-173038">
              <a:buFont typeface="Wingdings" pitchFamily="2" charset="2"/>
              <a:buChar char="§"/>
              <a:tabLst/>
              <a:defRPr>
                <a:solidFill>
                  <a:schemeClr val="bg1"/>
                </a:solidFill>
                <a:latin typeface="+mn-lt"/>
                <a:ea typeface="+mn-ea"/>
                <a:cs typeface="+mn-cs"/>
              </a:defRPr>
            </a:lvl4pPr>
            <a:lvl5pPr marL="923925" indent="-233363">
              <a:buSzPct val="70000"/>
              <a:buFont typeface="Wingdings" pitchFamily="2" charset="2"/>
              <a:buChar char="q"/>
              <a:tabLst/>
              <a:defRPr>
                <a:solidFill>
                  <a:schemeClr val="bg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0694464"/>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Image_1+text ">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8F092F9-4A97-271B-7F2B-77D349C5BDCA}"/>
              </a:ext>
            </a:extLst>
          </p:cNvPr>
          <p:cNvGraphicFramePr>
            <a:graphicFrameLocks noChangeAspect="1"/>
          </p:cNvGraphicFramePr>
          <p:nvPr userDrawn="1">
            <p:custDataLst>
              <p:tags r:id="rId1"/>
            </p:custDataLst>
            <p:extLst>
              <p:ext uri="{D42A27DB-BD31-4B8C-83A1-F6EECF244321}">
                <p14:modId xmlns:p14="http://schemas.microsoft.com/office/powerpoint/2010/main" val="1044159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68F092F9-4A97-271B-7F2B-77D349C5BD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AF0B358-08BD-6C4B-4939-78D7E710E8F7}"/>
              </a:ext>
            </a:extLst>
          </p:cNvPr>
          <p:cNvPicPr>
            <a:picLocks noChangeAspect="1"/>
          </p:cNvPicPr>
          <p:nvPr userDrawn="1"/>
        </p:nvPicPr>
        <p:blipFill>
          <a:blip r:embed="rId5"/>
          <a:stretch>
            <a:fillRect/>
          </a:stretch>
        </p:blipFill>
        <p:spPr>
          <a:xfrm>
            <a:off x="0" y="0"/>
            <a:ext cx="12192000" cy="6858000"/>
          </a:xfrm>
          <a:prstGeom prst="rect">
            <a:avLst/>
          </a:prstGeom>
        </p:spPr>
      </p:pic>
      <p:sp>
        <p:nvSpPr>
          <p:cNvPr id="19" name="Rectangle 18">
            <a:extLst>
              <a:ext uri="{FF2B5EF4-FFF2-40B4-BE49-F238E27FC236}">
                <a16:creationId xmlns:a16="http://schemas.microsoft.com/office/drawing/2014/main" id="{D95E3C91-27B4-E77D-E94B-BF5D3B2F7A03}"/>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20" name="Rectangle 19">
            <a:extLst>
              <a:ext uri="{FF2B5EF4-FFF2-40B4-BE49-F238E27FC236}">
                <a16:creationId xmlns:a16="http://schemas.microsoft.com/office/drawing/2014/main" id="{2C247CD1-07D6-96FF-18E2-E9184FF7A853}"/>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pic>
        <p:nvPicPr>
          <p:cNvPr id="24" name="Picture 23">
            <a:extLst>
              <a:ext uri="{FF2B5EF4-FFF2-40B4-BE49-F238E27FC236}">
                <a16:creationId xmlns:a16="http://schemas.microsoft.com/office/drawing/2014/main" id="{C95B1108-ED4D-5D2F-2688-1C5410EDFC51}"/>
              </a:ext>
            </a:extLst>
          </p:cNvPr>
          <p:cNvPicPr>
            <a:picLocks/>
          </p:cNvPicPr>
          <p:nvPr userDrawn="1"/>
        </p:nvPicPr>
        <p:blipFill rotWithShape="1">
          <a:blip r:embed="rId6"/>
          <a:srcRect t="11816" b="11816"/>
          <a:stretch/>
        </p:blipFill>
        <p:spPr>
          <a:xfrm>
            <a:off x="3312" y="0"/>
            <a:ext cx="6096000" cy="6858000"/>
          </a:xfrm>
          <a:prstGeom prst="rect">
            <a:avLst/>
          </a:prstGeom>
        </p:spPr>
      </p:pic>
      <p:pic>
        <p:nvPicPr>
          <p:cNvPr id="9" name="Picture 8">
            <a:extLst>
              <a:ext uri="{FF2B5EF4-FFF2-40B4-BE49-F238E27FC236}">
                <a16:creationId xmlns:a16="http://schemas.microsoft.com/office/drawing/2014/main" id="{9C193CD1-34BB-A273-3467-D9E8864B2FD7}"/>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0"/>
            <a:ext cx="3838837" cy="4611757"/>
          </a:xfrm>
          <a:prstGeom prst="rect">
            <a:avLst/>
          </a:prstGeom>
        </p:spPr>
      </p:pic>
      <p:sp>
        <p:nvSpPr>
          <p:cNvPr id="8" name="Rectangle 7">
            <a:extLst>
              <a:ext uri="{FF2B5EF4-FFF2-40B4-BE49-F238E27FC236}">
                <a16:creationId xmlns:a16="http://schemas.microsoft.com/office/drawing/2014/main" id="{B9BACE25-5353-4E36-7CF7-576A4CC6A9EC}"/>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6E019C6F-63E6-A48A-AF7F-F6F02E610504}"/>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F230E482-0B3D-079C-B471-D36C4ED80403}"/>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4D91393F-B91C-2C52-68D3-DF9F990B6D5E}"/>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9A01DCBA-5CEF-EE71-662B-7C59DF0BA0E0}"/>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0422531F-0EF9-6DD3-C1B0-73D93A16B3D3}"/>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22605293-7BA4-6E38-6AC1-70BEFA1A36E6}"/>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8" name="Rectangle 17">
            <a:extLst>
              <a:ext uri="{FF2B5EF4-FFF2-40B4-BE49-F238E27FC236}">
                <a16:creationId xmlns:a16="http://schemas.microsoft.com/office/drawing/2014/main" id="{646BA7F6-141F-832B-EC44-13CDC72E28C0}"/>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pic>
        <p:nvPicPr>
          <p:cNvPr id="6" name="Picture 5">
            <a:extLst>
              <a:ext uri="{FF2B5EF4-FFF2-40B4-BE49-F238E27FC236}">
                <a16:creationId xmlns:a16="http://schemas.microsoft.com/office/drawing/2014/main" id="{FA993D30-B9E5-8158-9D96-AE6895E03B08}"/>
              </a:ext>
            </a:extLst>
          </p:cNvPr>
          <p:cNvPicPr>
            <a:picLocks noChangeAspect="1"/>
          </p:cNvPicPr>
          <p:nvPr userDrawn="1"/>
        </p:nvPicPr>
        <p:blipFill>
          <a:blip r:embed="rId8"/>
          <a:stretch>
            <a:fillRect/>
          </a:stretch>
        </p:blipFill>
        <p:spPr>
          <a:xfrm rot="10800000">
            <a:off x="9501716" y="-410636"/>
            <a:ext cx="1979083" cy="1386073"/>
          </a:xfrm>
          <a:prstGeom prst="rect">
            <a:avLst/>
          </a:prstGeom>
        </p:spPr>
      </p:pic>
      <p:sp>
        <p:nvSpPr>
          <p:cNvPr id="23" name="Title 7">
            <a:extLst>
              <a:ext uri="{FF2B5EF4-FFF2-40B4-BE49-F238E27FC236}">
                <a16:creationId xmlns:a16="http://schemas.microsoft.com/office/drawing/2014/main" id="{3F5EEAC8-184E-4CDF-7E3D-00B58F4999F4}"/>
              </a:ext>
            </a:extLst>
          </p:cNvPr>
          <p:cNvSpPr>
            <a:spLocks noGrp="1"/>
          </p:cNvSpPr>
          <p:nvPr>
            <p:ph type="title" hasCustomPrompt="1"/>
          </p:nvPr>
        </p:nvSpPr>
        <p:spPr>
          <a:xfrm>
            <a:off x="6323107" y="1629155"/>
            <a:ext cx="5243485" cy="509237"/>
          </a:xfrm>
        </p:spPr>
        <p:txBody>
          <a:bodyPr vert="horz">
            <a:noAutofit/>
          </a:bodyPr>
          <a:lstStyle>
            <a:lvl1pPr>
              <a:lnSpc>
                <a:spcPct val="100000"/>
              </a:lnSpc>
              <a:defRPr lang="en-US" sz="4000" b="1" i="0" kern="1200" spc="-20" dirty="0">
                <a:solidFill>
                  <a:schemeClr val="bg1"/>
                </a:solidFill>
                <a:latin typeface="+mj-lt"/>
                <a:ea typeface="+mj-ea"/>
                <a:cs typeface="+mj-cs"/>
              </a:defRPr>
            </a:lvl1pPr>
          </a:lstStyle>
          <a:p>
            <a:r>
              <a:rPr lang="en-US"/>
              <a:t>Click to edit Headline</a:t>
            </a:r>
          </a:p>
        </p:txBody>
      </p:sp>
      <p:sp>
        <p:nvSpPr>
          <p:cNvPr id="26" name="Text Placeholder 2">
            <a:extLst>
              <a:ext uri="{FF2B5EF4-FFF2-40B4-BE49-F238E27FC236}">
                <a16:creationId xmlns:a16="http://schemas.microsoft.com/office/drawing/2014/main" id="{7844FA39-522C-6B43-F107-447A0B37C8B9}"/>
              </a:ext>
            </a:extLst>
          </p:cNvPr>
          <p:cNvSpPr>
            <a:spLocks noGrp="1"/>
          </p:cNvSpPr>
          <p:nvPr>
            <p:ph idx="1" hasCustomPrompt="1"/>
          </p:nvPr>
        </p:nvSpPr>
        <p:spPr>
          <a:xfrm>
            <a:off x="6304709" y="2285999"/>
            <a:ext cx="5256669" cy="3985591"/>
          </a:xfrm>
          <a:prstGeom prst="rect">
            <a:avLst/>
          </a:prstGeom>
        </p:spPr>
        <p:txBody>
          <a:bodyPr vert="horz" lIns="91440" tIns="45720" rIns="91440" bIns="45720" rtlCol="0">
            <a:normAutofit/>
          </a:bodyPr>
          <a:lstStyle>
            <a:lvl1pPr>
              <a:defRPr>
                <a:solidFill>
                  <a:schemeClr val="bg1"/>
                </a:solidFill>
                <a:latin typeface="+mn-lt"/>
                <a:ea typeface="+mn-ea"/>
                <a:cs typeface="+mn-cs"/>
              </a:defRPr>
            </a:lvl1pPr>
            <a:lvl2pPr marL="344488" indent="-173038">
              <a:buFont typeface="Arial" panose="020B0604020202020204" pitchFamily="34" charset="0"/>
              <a:buChar char="•"/>
              <a:tabLst/>
              <a:defRPr>
                <a:solidFill>
                  <a:schemeClr val="bg1"/>
                </a:solidFill>
                <a:latin typeface="+mn-lt"/>
                <a:ea typeface="+mn-ea"/>
                <a:cs typeface="+mn-cs"/>
              </a:defRPr>
            </a:lvl2pPr>
            <a:lvl3pPr marL="517525" indent="-173038">
              <a:buFont typeface="Courier New" panose="02070309020205020404" pitchFamily="49" charset="0"/>
              <a:buChar char="o"/>
              <a:tabLst/>
              <a:defRPr>
                <a:solidFill>
                  <a:schemeClr val="bg1"/>
                </a:solidFill>
                <a:latin typeface="+mn-lt"/>
                <a:ea typeface="+mn-ea"/>
                <a:cs typeface="+mn-cs"/>
              </a:defRPr>
            </a:lvl3pPr>
            <a:lvl4pPr marL="690563" indent="-173038">
              <a:buFont typeface="Wingdings" pitchFamily="2" charset="2"/>
              <a:buChar char="§"/>
              <a:tabLst/>
              <a:defRPr>
                <a:solidFill>
                  <a:schemeClr val="bg1"/>
                </a:solidFill>
                <a:latin typeface="+mn-lt"/>
                <a:ea typeface="+mn-ea"/>
                <a:cs typeface="+mn-cs"/>
              </a:defRPr>
            </a:lvl4pPr>
            <a:lvl5pPr marL="923925" indent="-233363">
              <a:buSzPct val="70000"/>
              <a:buFont typeface="Wingdings" pitchFamily="2" charset="2"/>
              <a:buChar char="q"/>
              <a:tabLst/>
              <a:defRPr>
                <a:solidFill>
                  <a:schemeClr val="bg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48600A7A-75A2-F736-A4CF-17B022ABB668}"/>
              </a:ext>
            </a:extLst>
          </p:cNvPr>
          <p:cNvPicPr>
            <a:picLocks noChangeAspect="1"/>
          </p:cNvPicPr>
          <p:nvPr userDrawn="1"/>
        </p:nvPicPr>
        <p:blipFill>
          <a:blip r:embed="rId9"/>
          <a:stretch>
            <a:fillRect/>
          </a:stretch>
        </p:blipFill>
        <p:spPr>
          <a:xfrm>
            <a:off x="6716183" y="6236759"/>
            <a:ext cx="412750" cy="412750"/>
          </a:xfrm>
          <a:prstGeom prst="rect">
            <a:avLst/>
          </a:prstGeom>
        </p:spPr>
      </p:pic>
      <p:pic>
        <p:nvPicPr>
          <p:cNvPr id="11" name="Picture 10">
            <a:extLst>
              <a:ext uri="{FF2B5EF4-FFF2-40B4-BE49-F238E27FC236}">
                <a16:creationId xmlns:a16="http://schemas.microsoft.com/office/drawing/2014/main" id="{D440B84C-AD24-3D74-6FA4-4D1D156BC544}"/>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5660972" y="5636721"/>
            <a:ext cx="863636" cy="863636"/>
          </a:xfrm>
          <a:prstGeom prst="rect">
            <a:avLst/>
          </a:prstGeom>
        </p:spPr>
      </p:pic>
      <p:sp>
        <p:nvSpPr>
          <p:cNvPr id="7" name="TextBox 6">
            <a:extLst>
              <a:ext uri="{FF2B5EF4-FFF2-40B4-BE49-F238E27FC236}">
                <a16:creationId xmlns:a16="http://schemas.microsoft.com/office/drawing/2014/main" id="{62ACF97B-61C0-C337-6D35-B8D747148442}"/>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mn-lt"/>
                <a:ea typeface="+mn-ea"/>
                <a:cs typeface="+mn-cs"/>
              </a:rPr>
              <a:pPr algn="r"/>
              <a:t>‹#›</a:t>
            </a:fld>
            <a:endParaRPr lang="en-US" sz="700" spc="300">
              <a:solidFill>
                <a:schemeClr val="bg1"/>
              </a:solidFill>
              <a:latin typeface="+mn-lt"/>
              <a:ea typeface="+mn-ea"/>
              <a:cs typeface="+mn-cs"/>
            </a:endParaRPr>
          </a:p>
        </p:txBody>
      </p:sp>
    </p:spTree>
    <p:extLst>
      <p:ext uri="{BB962C8B-B14F-4D97-AF65-F5344CB8AC3E}">
        <p14:creationId xmlns:p14="http://schemas.microsoft.com/office/powerpoint/2010/main" val="3415973692"/>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Image_1+text ">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8F092F9-4A97-271B-7F2B-77D349C5BDCA}"/>
              </a:ext>
            </a:extLst>
          </p:cNvPr>
          <p:cNvGraphicFramePr>
            <a:graphicFrameLocks noChangeAspect="1"/>
          </p:cNvGraphicFramePr>
          <p:nvPr userDrawn="1">
            <p:custDataLst>
              <p:tags r:id="rId1"/>
            </p:custDataLst>
            <p:extLst>
              <p:ext uri="{D42A27DB-BD31-4B8C-83A1-F6EECF244321}">
                <p14:modId xmlns:p14="http://schemas.microsoft.com/office/powerpoint/2010/main" val="1044159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68F092F9-4A97-271B-7F2B-77D349C5BD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AF0B358-08BD-6C4B-4939-78D7E710E8F7}"/>
              </a:ext>
            </a:extLst>
          </p:cNvPr>
          <p:cNvPicPr>
            <a:picLocks noChangeAspect="1"/>
          </p:cNvPicPr>
          <p:nvPr userDrawn="1"/>
        </p:nvPicPr>
        <p:blipFill>
          <a:blip r:embed="rId5"/>
          <a:stretch>
            <a:fillRect/>
          </a:stretch>
        </p:blipFill>
        <p:spPr>
          <a:xfrm>
            <a:off x="0" y="0"/>
            <a:ext cx="12192000" cy="6858000"/>
          </a:xfrm>
          <a:prstGeom prst="rect">
            <a:avLst/>
          </a:prstGeom>
        </p:spPr>
      </p:pic>
      <p:sp>
        <p:nvSpPr>
          <p:cNvPr id="19" name="Rectangle 18">
            <a:extLst>
              <a:ext uri="{FF2B5EF4-FFF2-40B4-BE49-F238E27FC236}">
                <a16:creationId xmlns:a16="http://schemas.microsoft.com/office/drawing/2014/main" id="{D95E3C91-27B4-E77D-E94B-BF5D3B2F7A03}"/>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20" name="Rectangle 19">
            <a:extLst>
              <a:ext uri="{FF2B5EF4-FFF2-40B4-BE49-F238E27FC236}">
                <a16:creationId xmlns:a16="http://schemas.microsoft.com/office/drawing/2014/main" id="{2C247CD1-07D6-96FF-18E2-E9184FF7A853}"/>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pic>
        <p:nvPicPr>
          <p:cNvPr id="2" name="Picture 1">
            <a:extLst>
              <a:ext uri="{FF2B5EF4-FFF2-40B4-BE49-F238E27FC236}">
                <a16:creationId xmlns:a16="http://schemas.microsoft.com/office/drawing/2014/main" id="{A8AAA551-631E-AF0A-3A99-69D43E8CE295}"/>
              </a:ext>
            </a:extLst>
          </p:cNvPr>
          <p:cNvPicPr>
            <a:picLocks/>
          </p:cNvPicPr>
          <p:nvPr userDrawn="1"/>
        </p:nvPicPr>
        <p:blipFill rotWithShape="1">
          <a:blip r:embed="rId6"/>
          <a:srcRect t="26900" b="10100"/>
          <a:stretch/>
        </p:blipFill>
        <p:spPr>
          <a:xfrm>
            <a:off x="3312" y="0"/>
            <a:ext cx="6096000" cy="6858000"/>
          </a:xfrm>
          <a:prstGeom prst="rect">
            <a:avLst/>
          </a:prstGeom>
        </p:spPr>
      </p:pic>
      <p:pic>
        <p:nvPicPr>
          <p:cNvPr id="9" name="Picture 8">
            <a:extLst>
              <a:ext uri="{FF2B5EF4-FFF2-40B4-BE49-F238E27FC236}">
                <a16:creationId xmlns:a16="http://schemas.microsoft.com/office/drawing/2014/main" id="{9C193CD1-34BB-A273-3467-D9E8864B2FD7}"/>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0"/>
            <a:ext cx="3838837" cy="4611757"/>
          </a:xfrm>
          <a:prstGeom prst="rect">
            <a:avLst/>
          </a:prstGeom>
        </p:spPr>
      </p:pic>
      <p:sp>
        <p:nvSpPr>
          <p:cNvPr id="8" name="Rectangle 7">
            <a:extLst>
              <a:ext uri="{FF2B5EF4-FFF2-40B4-BE49-F238E27FC236}">
                <a16:creationId xmlns:a16="http://schemas.microsoft.com/office/drawing/2014/main" id="{B9BACE25-5353-4E36-7CF7-576A4CC6A9EC}"/>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6E019C6F-63E6-A48A-AF7F-F6F02E610504}"/>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F230E482-0B3D-079C-B471-D36C4ED80403}"/>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4D91393F-B91C-2C52-68D3-DF9F990B6D5E}"/>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9A01DCBA-5CEF-EE71-662B-7C59DF0BA0E0}"/>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0422531F-0EF9-6DD3-C1B0-73D93A16B3D3}"/>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22605293-7BA4-6E38-6AC1-70BEFA1A36E6}"/>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8" name="Rectangle 17">
            <a:extLst>
              <a:ext uri="{FF2B5EF4-FFF2-40B4-BE49-F238E27FC236}">
                <a16:creationId xmlns:a16="http://schemas.microsoft.com/office/drawing/2014/main" id="{646BA7F6-141F-832B-EC44-13CDC72E28C0}"/>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pic>
        <p:nvPicPr>
          <p:cNvPr id="6" name="Picture 5">
            <a:extLst>
              <a:ext uri="{FF2B5EF4-FFF2-40B4-BE49-F238E27FC236}">
                <a16:creationId xmlns:a16="http://schemas.microsoft.com/office/drawing/2014/main" id="{FA993D30-B9E5-8158-9D96-AE6895E03B08}"/>
              </a:ext>
            </a:extLst>
          </p:cNvPr>
          <p:cNvPicPr>
            <a:picLocks noChangeAspect="1"/>
          </p:cNvPicPr>
          <p:nvPr userDrawn="1"/>
        </p:nvPicPr>
        <p:blipFill>
          <a:blip r:embed="rId8"/>
          <a:stretch>
            <a:fillRect/>
          </a:stretch>
        </p:blipFill>
        <p:spPr>
          <a:xfrm rot="10800000">
            <a:off x="9501716" y="-410636"/>
            <a:ext cx="1979083" cy="1386073"/>
          </a:xfrm>
          <a:prstGeom prst="rect">
            <a:avLst/>
          </a:prstGeom>
        </p:spPr>
      </p:pic>
      <p:sp>
        <p:nvSpPr>
          <p:cNvPr id="23" name="Title 7">
            <a:extLst>
              <a:ext uri="{FF2B5EF4-FFF2-40B4-BE49-F238E27FC236}">
                <a16:creationId xmlns:a16="http://schemas.microsoft.com/office/drawing/2014/main" id="{3F5EEAC8-184E-4CDF-7E3D-00B58F4999F4}"/>
              </a:ext>
            </a:extLst>
          </p:cNvPr>
          <p:cNvSpPr>
            <a:spLocks noGrp="1"/>
          </p:cNvSpPr>
          <p:nvPr>
            <p:ph type="title" hasCustomPrompt="1"/>
          </p:nvPr>
        </p:nvSpPr>
        <p:spPr>
          <a:xfrm>
            <a:off x="6323107" y="1629155"/>
            <a:ext cx="5243485" cy="509237"/>
          </a:xfrm>
        </p:spPr>
        <p:txBody>
          <a:bodyPr vert="horz">
            <a:noAutofit/>
          </a:bodyPr>
          <a:lstStyle>
            <a:lvl1pPr>
              <a:lnSpc>
                <a:spcPct val="100000"/>
              </a:lnSpc>
              <a:defRPr lang="en-US" sz="4000" b="1" i="0" kern="1200" spc="-20" dirty="0">
                <a:solidFill>
                  <a:schemeClr val="bg1"/>
                </a:solidFill>
                <a:latin typeface="+mj-lt"/>
                <a:ea typeface="+mj-ea"/>
                <a:cs typeface="+mj-cs"/>
              </a:defRPr>
            </a:lvl1pPr>
          </a:lstStyle>
          <a:p>
            <a:r>
              <a:rPr lang="en-US"/>
              <a:t>Click to edit Headline</a:t>
            </a:r>
          </a:p>
        </p:txBody>
      </p:sp>
      <p:sp>
        <p:nvSpPr>
          <p:cNvPr id="26" name="Text Placeholder 2">
            <a:extLst>
              <a:ext uri="{FF2B5EF4-FFF2-40B4-BE49-F238E27FC236}">
                <a16:creationId xmlns:a16="http://schemas.microsoft.com/office/drawing/2014/main" id="{7844FA39-522C-6B43-F107-447A0B37C8B9}"/>
              </a:ext>
            </a:extLst>
          </p:cNvPr>
          <p:cNvSpPr>
            <a:spLocks noGrp="1"/>
          </p:cNvSpPr>
          <p:nvPr>
            <p:ph idx="1" hasCustomPrompt="1"/>
          </p:nvPr>
        </p:nvSpPr>
        <p:spPr>
          <a:xfrm>
            <a:off x="6304709" y="2285999"/>
            <a:ext cx="5256669" cy="3985591"/>
          </a:xfrm>
          <a:prstGeom prst="rect">
            <a:avLst/>
          </a:prstGeom>
        </p:spPr>
        <p:txBody>
          <a:bodyPr vert="horz" lIns="91440" tIns="45720" rIns="91440" bIns="45720" rtlCol="0">
            <a:normAutofit/>
          </a:bodyPr>
          <a:lstStyle>
            <a:lvl1pPr>
              <a:defRPr>
                <a:solidFill>
                  <a:schemeClr val="bg1"/>
                </a:solidFill>
                <a:latin typeface="+mn-lt"/>
                <a:ea typeface="+mn-ea"/>
                <a:cs typeface="+mn-cs"/>
              </a:defRPr>
            </a:lvl1pPr>
            <a:lvl2pPr marL="344488" indent="-173038">
              <a:buFont typeface="Arial" panose="020B0604020202020204" pitchFamily="34" charset="0"/>
              <a:buChar char="•"/>
              <a:tabLst/>
              <a:defRPr>
                <a:solidFill>
                  <a:schemeClr val="bg1"/>
                </a:solidFill>
                <a:latin typeface="+mn-lt"/>
                <a:ea typeface="+mn-ea"/>
                <a:cs typeface="+mn-cs"/>
              </a:defRPr>
            </a:lvl2pPr>
            <a:lvl3pPr marL="517525" indent="-173038">
              <a:buFont typeface="Courier New" panose="02070309020205020404" pitchFamily="49" charset="0"/>
              <a:buChar char="o"/>
              <a:tabLst/>
              <a:defRPr>
                <a:solidFill>
                  <a:schemeClr val="bg1"/>
                </a:solidFill>
                <a:latin typeface="+mn-lt"/>
                <a:ea typeface="+mn-ea"/>
                <a:cs typeface="+mn-cs"/>
              </a:defRPr>
            </a:lvl3pPr>
            <a:lvl4pPr marL="690563" indent="-173038">
              <a:buFont typeface="Wingdings" pitchFamily="2" charset="2"/>
              <a:buChar char="§"/>
              <a:tabLst/>
              <a:defRPr>
                <a:solidFill>
                  <a:schemeClr val="bg1"/>
                </a:solidFill>
                <a:latin typeface="+mn-lt"/>
                <a:ea typeface="+mn-ea"/>
                <a:cs typeface="+mn-cs"/>
              </a:defRPr>
            </a:lvl4pPr>
            <a:lvl5pPr marL="923925" indent="-233363">
              <a:buSzPct val="70000"/>
              <a:buFont typeface="Wingdings" pitchFamily="2" charset="2"/>
              <a:buChar char="q"/>
              <a:tabLst/>
              <a:defRPr>
                <a:solidFill>
                  <a:schemeClr val="bg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48600A7A-75A2-F736-A4CF-17B022ABB668}"/>
              </a:ext>
            </a:extLst>
          </p:cNvPr>
          <p:cNvPicPr>
            <a:picLocks noChangeAspect="1"/>
          </p:cNvPicPr>
          <p:nvPr userDrawn="1"/>
        </p:nvPicPr>
        <p:blipFill>
          <a:blip r:embed="rId9"/>
          <a:stretch>
            <a:fillRect/>
          </a:stretch>
        </p:blipFill>
        <p:spPr>
          <a:xfrm>
            <a:off x="6716183" y="6236759"/>
            <a:ext cx="412750" cy="412750"/>
          </a:xfrm>
          <a:prstGeom prst="rect">
            <a:avLst/>
          </a:prstGeom>
        </p:spPr>
      </p:pic>
      <p:pic>
        <p:nvPicPr>
          <p:cNvPr id="11" name="Picture 10">
            <a:extLst>
              <a:ext uri="{FF2B5EF4-FFF2-40B4-BE49-F238E27FC236}">
                <a16:creationId xmlns:a16="http://schemas.microsoft.com/office/drawing/2014/main" id="{D440B84C-AD24-3D74-6FA4-4D1D156BC544}"/>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5660972" y="5636721"/>
            <a:ext cx="863636" cy="863636"/>
          </a:xfrm>
          <a:prstGeom prst="rect">
            <a:avLst/>
          </a:prstGeom>
        </p:spPr>
      </p:pic>
      <p:sp>
        <p:nvSpPr>
          <p:cNvPr id="7" name="TextBox 6">
            <a:extLst>
              <a:ext uri="{FF2B5EF4-FFF2-40B4-BE49-F238E27FC236}">
                <a16:creationId xmlns:a16="http://schemas.microsoft.com/office/drawing/2014/main" id="{62ACF97B-61C0-C337-6D35-B8D747148442}"/>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mn-lt"/>
                <a:ea typeface="+mn-ea"/>
                <a:cs typeface="+mn-cs"/>
              </a:rPr>
              <a:pPr algn="r"/>
              <a:t>‹#›</a:t>
            </a:fld>
            <a:endParaRPr lang="en-US" sz="700" spc="300">
              <a:solidFill>
                <a:schemeClr val="bg1"/>
              </a:solidFill>
              <a:latin typeface="+mn-lt"/>
              <a:ea typeface="+mn-ea"/>
              <a:cs typeface="+mn-cs"/>
            </a:endParaRPr>
          </a:p>
        </p:txBody>
      </p:sp>
    </p:spTree>
    <p:extLst>
      <p:ext uri="{BB962C8B-B14F-4D97-AF65-F5344CB8AC3E}">
        <p14:creationId xmlns:p14="http://schemas.microsoft.com/office/powerpoint/2010/main" val="4007846775"/>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Image_1+text ">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8F092F9-4A97-271B-7F2B-77D349C5BDCA}"/>
              </a:ext>
            </a:extLst>
          </p:cNvPr>
          <p:cNvGraphicFramePr>
            <a:graphicFrameLocks noChangeAspect="1"/>
          </p:cNvGraphicFramePr>
          <p:nvPr userDrawn="1">
            <p:custDataLst>
              <p:tags r:id="rId1"/>
            </p:custDataLst>
            <p:extLst>
              <p:ext uri="{D42A27DB-BD31-4B8C-83A1-F6EECF244321}">
                <p14:modId xmlns:p14="http://schemas.microsoft.com/office/powerpoint/2010/main" val="1044159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68F092F9-4A97-271B-7F2B-77D349C5BD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AF0B358-08BD-6C4B-4939-78D7E710E8F7}"/>
              </a:ext>
            </a:extLst>
          </p:cNvPr>
          <p:cNvPicPr>
            <a:picLocks noChangeAspect="1"/>
          </p:cNvPicPr>
          <p:nvPr userDrawn="1"/>
        </p:nvPicPr>
        <p:blipFill>
          <a:blip r:embed="rId5"/>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ABE9EB41-80C2-981F-C5B9-6D6C3BAE1C0B}"/>
              </a:ext>
            </a:extLst>
          </p:cNvPr>
          <p:cNvPicPr>
            <a:picLocks/>
          </p:cNvPicPr>
          <p:nvPr userDrawn="1"/>
        </p:nvPicPr>
        <p:blipFill rotWithShape="1">
          <a:blip r:embed="rId6" cstate="screen">
            <a:extLst>
              <a:ext uri="{28A0092B-C50C-407E-A947-70E740481C1C}">
                <a14:useLocalDpi xmlns:a14="http://schemas.microsoft.com/office/drawing/2010/main"/>
              </a:ext>
            </a:extLst>
          </a:blip>
          <a:srcRect l="12462" r="12462"/>
          <a:stretch/>
        </p:blipFill>
        <p:spPr>
          <a:xfrm>
            <a:off x="3313" y="0"/>
            <a:ext cx="6096000" cy="6858000"/>
          </a:xfrm>
          <a:prstGeom prst="rect">
            <a:avLst/>
          </a:prstGeom>
        </p:spPr>
      </p:pic>
      <p:pic>
        <p:nvPicPr>
          <p:cNvPr id="9" name="Picture 8">
            <a:extLst>
              <a:ext uri="{FF2B5EF4-FFF2-40B4-BE49-F238E27FC236}">
                <a16:creationId xmlns:a16="http://schemas.microsoft.com/office/drawing/2014/main" id="{9C193CD1-34BB-A273-3467-D9E8864B2FD7}"/>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0"/>
            <a:ext cx="3838837" cy="4611757"/>
          </a:xfrm>
          <a:prstGeom prst="rect">
            <a:avLst/>
          </a:prstGeom>
        </p:spPr>
      </p:pic>
      <p:pic>
        <p:nvPicPr>
          <p:cNvPr id="6" name="Picture 5">
            <a:extLst>
              <a:ext uri="{FF2B5EF4-FFF2-40B4-BE49-F238E27FC236}">
                <a16:creationId xmlns:a16="http://schemas.microsoft.com/office/drawing/2014/main" id="{FA993D30-B9E5-8158-9D96-AE6895E03B08}"/>
              </a:ext>
            </a:extLst>
          </p:cNvPr>
          <p:cNvPicPr>
            <a:picLocks noChangeAspect="1"/>
          </p:cNvPicPr>
          <p:nvPr userDrawn="1"/>
        </p:nvPicPr>
        <p:blipFill>
          <a:blip r:embed="rId8"/>
          <a:stretch>
            <a:fillRect/>
          </a:stretch>
        </p:blipFill>
        <p:spPr>
          <a:xfrm rot="10800000">
            <a:off x="9501716" y="-410636"/>
            <a:ext cx="1979083" cy="1386073"/>
          </a:xfrm>
          <a:prstGeom prst="rect">
            <a:avLst/>
          </a:prstGeom>
        </p:spPr>
      </p:pic>
      <p:sp>
        <p:nvSpPr>
          <p:cNvPr id="23" name="Title 7">
            <a:extLst>
              <a:ext uri="{FF2B5EF4-FFF2-40B4-BE49-F238E27FC236}">
                <a16:creationId xmlns:a16="http://schemas.microsoft.com/office/drawing/2014/main" id="{3F5EEAC8-184E-4CDF-7E3D-00B58F4999F4}"/>
              </a:ext>
            </a:extLst>
          </p:cNvPr>
          <p:cNvSpPr>
            <a:spLocks noGrp="1"/>
          </p:cNvSpPr>
          <p:nvPr>
            <p:ph type="title" hasCustomPrompt="1"/>
          </p:nvPr>
        </p:nvSpPr>
        <p:spPr>
          <a:xfrm>
            <a:off x="6323107" y="1629155"/>
            <a:ext cx="5243485" cy="509237"/>
          </a:xfrm>
        </p:spPr>
        <p:txBody>
          <a:bodyPr vert="horz">
            <a:noAutofit/>
          </a:bodyPr>
          <a:lstStyle>
            <a:lvl1pPr>
              <a:lnSpc>
                <a:spcPct val="100000"/>
              </a:lnSpc>
              <a:defRPr lang="en-US" sz="4000" b="1" i="0" kern="1200" spc="-20" dirty="0">
                <a:solidFill>
                  <a:schemeClr val="bg1"/>
                </a:solidFill>
                <a:latin typeface="+mj-lt"/>
                <a:ea typeface="+mj-ea"/>
                <a:cs typeface="+mj-cs"/>
              </a:defRPr>
            </a:lvl1pPr>
          </a:lstStyle>
          <a:p>
            <a:r>
              <a:rPr lang="en-US"/>
              <a:t>Click to edit Headline</a:t>
            </a:r>
          </a:p>
        </p:txBody>
      </p:sp>
      <p:sp>
        <p:nvSpPr>
          <p:cNvPr id="26" name="Text Placeholder 2">
            <a:extLst>
              <a:ext uri="{FF2B5EF4-FFF2-40B4-BE49-F238E27FC236}">
                <a16:creationId xmlns:a16="http://schemas.microsoft.com/office/drawing/2014/main" id="{7844FA39-522C-6B43-F107-447A0B37C8B9}"/>
              </a:ext>
            </a:extLst>
          </p:cNvPr>
          <p:cNvSpPr>
            <a:spLocks noGrp="1"/>
          </p:cNvSpPr>
          <p:nvPr>
            <p:ph idx="1" hasCustomPrompt="1"/>
          </p:nvPr>
        </p:nvSpPr>
        <p:spPr>
          <a:xfrm>
            <a:off x="6304709" y="2285999"/>
            <a:ext cx="5256669" cy="3985591"/>
          </a:xfrm>
          <a:prstGeom prst="rect">
            <a:avLst/>
          </a:prstGeom>
        </p:spPr>
        <p:txBody>
          <a:bodyPr vert="horz" lIns="91440" tIns="45720" rIns="91440" bIns="45720" rtlCol="0">
            <a:normAutofit/>
          </a:bodyPr>
          <a:lstStyle>
            <a:lvl1pPr>
              <a:defRPr>
                <a:solidFill>
                  <a:schemeClr val="bg1"/>
                </a:solidFill>
                <a:latin typeface="+mn-lt"/>
                <a:ea typeface="+mn-ea"/>
                <a:cs typeface="+mn-cs"/>
              </a:defRPr>
            </a:lvl1pPr>
            <a:lvl2pPr marL="344488" indent="-173038">
              <a:buFont typeface="Arial" panose="020B0604020202020204" pitchFamily="34" charset="0"/>
              <a:buChar char="•"/>
              <a:tabLst/>
              <a:defRPr>
                <a:solidFill>
                  <a:schemeClr val="bg1"/>
                </a:solidFill>
                <a:latin typeface="+mn-lt"/>
                <a:ea typeface="+mn-ea"/>
                <a:cs typeface="+mn-cs"/>
              </a:defRPr>
            </a:lvl2pPr>
            <a:lvl3pPr marL="517525" indent="-173038">
              <a:buFont typeface="Courier New" panose="02070309020205020404" pitchFamily="49" charset="0"/>
              <a:buChar char="o"/>
              <a:tabLst/>
              <a:defRPr>
                <a:solidFill>
                  <a:schemeClr val="bg1"/>
                </a:solidFill>
                <a:latin typeface="+mn-lt"/>
                <a:ea typeface="+mn-ea"/>
                <a:cs typeface="+mn-cs"/>
              </a:defRPr>
            </a:lvl3pPr>
            <a:lvl4pPr marL="690563" indent="-173038">
              <a:buFont typeface="Wingdings" pitchFamily="2" charset="2"/>
              <a:buChar char="§"/>
              <a:tabLst/>
              <a:defRPr>
                <a:solidFill>
                  <a:schemeClr val="bg1"/>
                </a:solidFill>
                <a:latin typeface="+mn-lt"/>
                <a:ea typeface="+mn-ea"/>
                <a:cs typeface="+mn-cs"/>
              </a:defRPr>
            </a:lvl4pPr>
            <a:lvl5pPr marL="923925" indent="-233363">
              <a:buSzPct val="70000"/>
              <a:buFont typeface="Wingdings" pitchFamily="2" charset="2"/>
              <a:buChar char="q"/>
              <a:tabLst/>
              <a:defRPr>
                <a:solidFill>
                  <a:schemeClr val="bg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48600A7A-75A2-F736-A4CF-17B022ABB668}"/>
              </a:ext>
            </a:extLst>
          </p:cNvPr>
          <p:cNvPicPr>
            <a:picLocks noChangeAspect="1"/>
          </p:cNvPicPr>
          <p:nvPr userDrawn="1"/>
        </p:nvPicPr>
        <p:blipFill>
          <a:blip r:embed="rId9"/>
          <a:stretch>
            <a:fillRect/>
          </a:stretch>
        </p:blipFill>
        <p:spPr>
          <a:xfrm>
            <a:off x="6716183" y="6236759"/>
            <a:ext cx="412750" cy="412750"/>
          </a:xfrm>
          <a:prstGeom prst="rect">
            <a:avLst/>
          </a:prstGeom>
        </p:spPr>
      </p:pic>
      <p:pic>
        <p:nvPicPr>
          <p:cNvPr id="11" name="Picture 10">
            <a:extLst>
              <a:ext uri="{FF2B5EF4-FFF2-40B4-BE49-F238E27FC236}">
                <a16:creationId xmlns:a16="http://schemas.microsoft.com/office/drawing/2014/main" id="{D440B84C-AD24-3D74-6FA4-4D1D156BC544}"/>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5660972" y="5636721"/>
            <a:ext cx="863636" cy="863636"/>
          </a:xfrm>
          <a:prstGeom prst="rect">
            <a:avLst/>
          </a:prstGeom>
        </p:spPr>
      </p:pic>
      <p:sp>
        <p:nvSpPr>
          <p:cNvPr id="7" name="TextBox 6">
            <a:extLst>
              <a:ext uri="{FF2B5EF4-FFF2-40B4-BE49-F238E27FC236}">
                <a16:creationId xmlns:a16="http://schemas.microsoft.com/office/drawing/2014/main" id="{62ACF97B-61C0-C337-6D35-B8D747148442}"/>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mn-lt"/>
                <a:ea typeface="+mn-ea"/>
                <a:cs typeface="+mn-cs"/>
              </a:rPr>
              <a:pPr algn="r"/>
              <a:t>‹#›</a:t>
            </a:fld>
            <a:endParaRPr lang="en-US" sz="700" spc="300">
              <a:solidFill>
                <a:schemeClr val="bg1"/>
              </a:solidFill>
              <a:latin typeface="+mn-lt"/>
              <a:ea typeface="+mn-ea"/>
              <a:cs typeface="+mn-cs"/>
            </a:endParaRPr>
          </a:p>
        </p:txBody>
      </p:sp>
    </p:spTree>
    <p:extLst>
      <p:ext uri="{BB962C8B-B14F-4D97-AF65-F5344CB8AC3E}">
        <p14:creationId xmlns:p14="http://schemas.microsoft.com/office/powerpoint/2010/main" val="2675193278"/>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_2+text ">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02EF9D3-1D65-0DCC-37EF-B48E86DA2ABB}"/>
              </a:ext>
            </a:extLst>
          </p:cNvPr>
          <p:cNvGraphicFramePr>
            <a:graphicFrameLocks noChangeAspect="1"/>
          </p:cNvGraphicFramePr>
          <p:nvPr userDrawn="1">
            <p:custDataLst>
              <p:tags r:id="rId1"/>
            </p:custDataLst>
            <p:extLst>
              <p:ext uri="{D42A27DB-BD31-4B8C-83A1-F6EECF244321}">
                <p14:modId xmlns:p14="http://schemas.microsoft.com/office/powerpoint/2010/main" val="1975480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think-cell data - do not delete" hidden="1">
                        <a:extLst>
                          <a:ext uri="{FF2B5EF4-FFF2-40B4-BE49-F238E27FC236}">
                            <a16:creationId xmlns:a16="http://schemas.microsoft.com/office/drawing/2014/main" id="{B02EF9D3-1D65-0DCC-37EF-B48E86DA2A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AF0B358-08BD-6C4B-4939-78D7E710E8F7}"/>
              </a:ext>
            </a:extLst>
          </p:cNvPr>
          <p:cNvPicPr>
            <a:picLocks noChangeAspect="1"/>
          </p:cNvPicPr>
          <p:nvPr userDrawn="1"/>
        </p:nvPicPr>
        <p:blipFill>
          <a:blip r:embed="rId5"/>
          <a:stretch>
            <a:fillRect/>
          </a:stretch>
        </p:blipFill>
        <p:spPr>
          <a:xfrm>
            <a:off x="0" y="0"/>
            <a:ext cx="12192000" cy="6858000"/>
          </a:xfrm>
          <a:prstGeom prst="rect">
            <a:avLst/>
          </a:prstGeom>
        </p:spPr>
      </p:pic>
      <p:pic>
        <p:nvPicPr>
          <p:cNvPr id="16" name="Picture Placeholder 18" descr="A picture containing blue, plastic, vegetable&#10;&#10;Description automatically generated">
            <a:extLst>
              <a:ext uri="{FF2B5EF4-FFF2-40B4-BE49-F238E27FC236}">
                <a16:creationId xmlns:a16="http://schemas.microsoft.com/office/drawing/2014/main" id="{73438312-45D9-75E2-9176-1F696DB19592}"/>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a:fillRect/>
          </a:stretch>
        </p:blipFill>
        <p:spPr>
          <a:xfrm>
            <a:off x="0" y="0"/>
            <a:ext cx="6096000" cy="6858000"/>
          </a:xfrm>
          <a:prstGeom prst="rect">
            <a:avLst/>
          </a:prstGeom>
        </p:spPr>
      </p:pic>
      <p:pic>
        <p:nvPicPr>
          <p:cNvPr id="9" name="Picture 8">
            <a:extLst>
              <a:ext uri="{FF2B5EF4-FFF2-40B4-BE49-F238E27FC236}">
                <a16:creationId xmlns:a16="http://schemas.microsoft.com/office/drawing/2014/main" id="{9C193CD1-34BB-A273-3467-D9E8864B2FD7}"/>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0"/>
            <a:ext cx="3838837" cy="4611757"/>
          </a:xfrm>
          <a:prstGeom prst="rect">
            <a:avLst/>
          </a:prstGeom>
        </p:spPr>
      </p:pic>
      <p:pic>
        <p:nvPicPr>
          <p:cNvPr id="6" name="Picture 5">
            <a:extLst>
              <a:ext uri="{FF2B5EF4-FFF2-40B4-BE49-F238E27FC236}">
                <a16:creationId xmlns:a16="http://schemas.microsoft.com/office/drawing/2014/main" id="{FA993D30-B9E5-8158-9D96-AE6895E03B08}"/>
              </a:ext>
            </a:extLst>
          </p:cNvPr>
          <p:cNvPicPr>
            <a:picLocks noChangeAspect="1"/>
          </p:cNvPicPr>
          <p:nvPr userDrawn="1"/>
        </p:nvPicPr>
        <p:blipFill>
          <a:blip r:embed="rId8"/>
          <a:stretch>
            <a:fillRect/>
          </a:stretch>
        </p:blipFill>
        <p:spPr>
          <a:xfrm rot="10800000">
            <a:off x="9501716" y="-410636"/>
            <a:ext cx="1979083" cy="1386073"/>
          </a:xfrm>
          <a:prstGeom prst="rect">
            <a:avLst/>
          </a:prstGeom>
        </p:spPr>
      </p:pic>
      <p:pic>
        <p:nvPicPr>
          <p:cNvPr id="10" name="Picture 9">
            <a:extLst>
              <a:ext uri="{FF2B5EF4-FFF2-40B4-BE49-F238E27FC236}">
                <a16:creationId xmlns:a16="http://schemas.microsoft.com/office/drawing/2014/main" id="{48600A7A-75A2-F736-A4CF-17B022ABB668}"/>
              </a:ext>
            </a:extLst>
          </p:cNvPr>
          <p:cNvPicPr>
            <a:picLocks noChangeAspect="1"/>
          </p:cNvPicPr>
          <p:nvPr userDrawn="1"/>
        </p:nvPicPr>
        <p:blipFill>
          <a:blip r:embed="rId9"/>
          <a:stretch>
            <a:fillRect/>
          </a:stretch>
        </p:blipFill>
        <p:spPr>
          <a:xfrm>
            <a:off x="6716183" y="6236759"/>
            <a:ext cx="412750" cy="412750"/>
          </a:xfrm>
          <a:prstGeom prst="rect">
            <a:avLst/>
          </a:prstGeom>
        </p:spPr>
      </p:pic>
      <p:pic>
        <p:nvPicPr>
          <p:cNvPr id="11" name="Picture 10">
            <a:extLst>
              <a:ext uri="{FF2B5EF4-FFF2-40B4-BE49-F238E27FC236}">
                <a16:creationId xmlns:a16="http://schemas.microsoft.com/office/drawing/2014/main" id="{D440B84C-AD24-3D74-6FA4-4D1D156BC544}"/>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5660972" y="5636721"/>
            <a:ext cx="863636" cy="863636"/>
          </a:xfrm>
          <a:prstGeom prst="rect">
            <a:avLst/>
          </a:prstGeom>
        </p:spPr>
      </p:pic>
      <p:sp>
        <p:nvSpPr>
          <p:cNvPr id="13" name="Title 7">
            <a:extLst>
              <a:ext uri="{FF2B5EF4-FFF2-40B4-BE49-F238E27FC236}">
                <a16:creationId xmlns:a16="http://schemas.microsoft.com/office/drawing/2014/main" id="{B25241A1-97E3-3206-1B3E-8025F28AF20B}"/>
              </a:ext>
            </a:extLst>
          </p:cNvPr>
          <p:cNvSpPr>
            <a:spLocks noGrp="1"/>
          </p:cNvSpPr>
          <p:nvPr>
            <p:ph type="title" hasCustomPrompt="1"/>
          </p:nvPr>
        </p:nvSpPr>
        <p:spPr>
          <a:xfrm>
            <a:off x="6382644" y="975438"/>
            <a:ext cx="5527649" cy="959747"/>
          </a:xfrm>
        </p:spPr>
        <p:txBody>
          <a:bodyPr vert="horz">
            <a:noAutofit/>
          </a:bodyPr>
          <a:lstStyle>
            <a:lvl1pPr>
              <a:lnSpc>
                <a:spcPct val="100000"/>
              </a:lnSpc>
              <a:defRPr lang="en-US" sz="3500" b="1" i="0" kern="1200" spc="-20" dirty="0">
                <a:solidFill>
                  <a:schemeClr val="bg1"/>
                </a:solidFill>
                <a:latin typeface="+mj-lt"/>
                <a:ea typeface="+mj-ea"/>
                <a:cs typeface="+mj-cs"/>
              </a:defRPr>
            </a:lvl1pPr>
          </a:lstStyle>
          <a:p>
            <a:r>
              <a:rPr lang="en-US"/>
              <a:t>Click to edit Headline</a:t>
            </a:r>
          </a:p>
        </p:txBody>
      </p:sp>
      <p:sp>
        <p:nvSpPr>
          <p:cNvPr id="14" name="Text Placeholder 17">
            <a:extLst>
              <a:ext uri="{FF2B5EF4-FFF2-40B4-BE49-F238E27FC236}">
                <a16:creationId xmlns:a16="http://schemas.microsoft.com/office/drawing/2014/main" id="{2EA4697B-B83D-1680-0152-465D89D0AF37}"/>
              </a:ext>
            </a:extLst>
          </p:cNvPr>
          <p:cNvSpPr>
            <a:spLocks noGrp="1"/>
          </p:cNvSpPr>
          <p:nvPr>
            <p:ph type="body" sz="quarter" idx="15" hasCustomPrompt="1"/>
          </p:nvPr>
        </p:nvSpPr>
        <p:spPr>
          <a:xfrm>
            <a:off x="6382645" y="1997133"/>
            <a:ext cx="5527648" cy="541556"/>
          </a:xfrm>
        </p:spPr>
        <p:txBody>
          <a:bodyPr anchor="t">
            <a:noAutofit/>
          </a:bodyPr>
          <a:lstStyle>
            <a:lvl1pPr marL="0" indent="0">
              <a:lnSpc>
                <a:spcPct val="100000"/>
              </a:lnSpc>
              <a:spcBef>
                <a:spcPts val="100"/>
              </a:spcBef>
              <a:spcAft>
                <a:spcPts val="100"/>
              </a:spcAft>
              <a:buNone/>
              <a:defRPr lang="en-US" sz="2500" b="1" i="0" kern="1200" dirty="0" smtClean="0">
                <a:solidFill>
                  <a:schemeClr val="bg1"/>
                </a:solidFill>
                <a:latin typeface="+mn-lt"/>
                <a:ea typeface="+mn-ea"/>
                <a:cs typeface="+mn-cs"/>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Sub-heading</a:t>
            </a:r>
          </a:p>
        </p:txBody>
      </p:sp>
      <p:sp>
        <p:nvSpPr>
          <p:cNvPr id="15" name="Text Placeholder 17">
            <a:extLst>
              <a:ext uri="{FF2B5EF4-FFF2-40B4-BE49-F238E27FC236}">
                <a16:creationId xmlns:a16="http://schemas.microsoft.com/office/drawing/2014/main" id="{5AC75EF0-09B5-E87F-C824-9ED2E56EC415}"/>
              </a:ext>
            </a:extLst>
          </p:cNvPr>
          <p:cNvSpPr>
            <a:spLocks noGrp="1"/>
          </p:cNvSpPr>
          <p:nvPr>
            <p:ph type="body" sz="quarter" idx="18" hasCustomPrompt="1"/>
          </p:nvPr>
        </p:nvSpPr>
        <p:spPr>
          <a:xfrm>
            <a:off x="6382645" y="4402936"/>
            <a:ext cx="5527646" cy="541556"/>
          </a:xfrm>
        </p:spPr>
        <p:txBody>
          <a:bodyPr anchor="t">
            <a:noAutofit/>
          </a:bodyPr>
          <a:lstStyle>
            <a:lvl1pPr marL="0" indent="0">
              <a:lnSpc>
                <a:spcPct val="100000"/>
              </a:lnSpc>
              <a:spcBef>
                <a:spcPts val="100"/>
              </a:spcBef>
              <a:spcAft>
                <a:spcPts val="100"/>
              </a:spcAft>
              <a:buNone/>
              <a:defRPr lang="en-US" sz="2500" b="1" i="0" kern="1200" dirty="0" smtClean="0">
                <a:solidFill>
                  <a:schemeClr val="bg1"/>
                </a:solidFill>
                <a:latin typeface="+mn-lt"/>
                <a:ea typeface="+mn-ea"/>
                <a:cs typeface="+mn-cs"/>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Sub-heading</a:t>
            </a:r>
          </a:p>
        </p:txBody>
      </p:sp>
      <p:sp>
        <p:nvSpPr>
          <p:cNvPr id="2" name="TextBox 1">
            <a:extLst>
              <a:ext uri="{FF2B5EF4-FFF2-40B4-BE49-F238E27FC236}">
                <a16:creationId xmlns:a16="http://schemas.microsoft.com/office/drawing/2014/main" id="{665B7329-4B82-99CE-EDA3-7AAB89496EFA}"/>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mn-lt"/>
                <a:ea typeface="+mn-ea"/>
                <a:cs typeface="+mn-cs"/>
              </a:rPr>
              <a:pPr algn="r"/>
              <a:t>‹#›</a:t>
            </a:fld>
            <a:endParaRPr lang="en-US" sz="700" spc="300">
              <a:solidFill>
                <a:schemeClr val="bg1"/>
              </a:solidFill>
              <a:latin typeface="+mn-lt"/>
              <a:ea typeface="+mn-ea"/>
              <a:cs typeface="+mn-cs"/>
            </a:endParaRPr>
          </a:p>
        </p:txBody>
      </p:sp>
      <p:sp>
        <p:nvSpPr>
          <p:cNvPr id="4" name="Rectangle 3">
            <a:extLst>
              <a:ext uri="{FF2B5EF4-FFF2-40B4-BE49-F238E27FC236}">
                <a16:creationId xmlns:a16="http://schemas.microsoft.com/office/drawing/2014/main" id="{D12AD305-5B72-F0AC-8186-6B48C51A6E0C}"/>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1337A9A0-BD0A-D000-5209-7FFD5836D12E}"/>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F5BB9ED0-195B-C789-FC52-C414783EF720}"/>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8" name="Rectangle 17">
            <a:extLst>
              <a:ext uri="{FF2B5EF4-FFF2-40B4-BE49-F238E27FC236}">
                <a16:creationId xmlns:a16="http://schemas.microsoft.com/office/drawing/2014/main" id="{4065D2F3-ECCF-E660-3949-4B9A97FF919E}"/>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9" name="Rectangle 18">
            <a:extLst>
              <a:ext uri="{FF2B5EF4-FFF2-40B4-BE49-F238E27FC236}">
                <a16:creationId xmlns:a16="http://schemas.microsoft.com/office/drawing/2014/main" id="{34663DF2-1221-1E13-55E2-030699632912}"/>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20" name="Rectangle 19">
            <a:extLst>
              <a:ext uri="{FF2B5EF4-FFF2-40B4-BE49-F238E27FC236}">
                <a16:creationId xmlns:a16="http://schemas.microsoft.com/office/drawing/2014/main" id="{19852FCC-D6AD-3934-24DE-E0383E09195E}"/>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21" name="Rectangle 20">
            <a:extLst>
              <a:ext uri="{FF2B5EF4-FFF2-40B4-BE49-F238E27FC236}">
                <a16:creationId xmlns:a16="http://schemas.microsoft.com/office/drawing/2014/main" id="{1CDD2C14-E56D-432D-DDDC-D509AE18DC70}"/>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22" name="Rectangle 21">
            <a:extLst>
              <a:ext uri="{FF2B5EF4-FFF2-40B4-BE49-F238E27FC236}">
                <a16:creationId xmlns:a16="http://schemas.microsoft.com/office/drawing/2014/main" id="{09052AD9-8CAC-3B85-44E6-BAC021877CB7}"/>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23" name="Rectangle 22">
            <a:extLst>
              <a:ext uri="{FF2B5EF4-FFF2-40B4-BE49-F238E27FC236}">
                <a16:creationId xmlns:a16="http://schemas.microsoft.com/office/drawing/2014/main" id="{9A61BC68-F306-2AF8-8121-4A145B25FD32}"/>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24" name="Rectangle 23">
            <a:extLst>
              <a:ext uri="{FF2B5EF4-FFF2-40B4-BE49-F238E27FC236}">
                <a16:creationId xmlns:a16="http://schemas.microsoft.com/office/drawing/2014/main" id="{A7C395AB-74BD-B7DF-B69D-B04B1654B0B9}"/>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Text Placeholder 2">
            <a:extLst>
              <a:ext uri="{FF2B5EF4-FFF2-40B4-BE49-F238E27FC236}">
                <a16:creationId xmlns:a16="http://schemas.microsoft.com/office/drawing/2014/main" id="{E5F52B0D-E776-D08A-0A30-8B949D9F974F}"/>
              </a:ext>
            </a:extLst>
          </p:cNvPr>
          <p:cNvSpPr>
            <a:spLocks noGrp="1"/>
          </p:cNvSpPr>
          <p:nvPr>
            <p:ph idx="1" hasCustomPrompt="1"/>
          </p:nvPr>
        </p:nvSpPr>
        <p:spPr>
          <a:xfrm>
            <a:off x="6382644" y="2673326"/>
            <a:ext cx="5527646" cy="1565290"/>
          </a:xfrm>
          <a:prstGeom prst="rect">
            <a:avLst/>
          </a:prstGeom>
        </p:spPr>
        <p:txBody>
          <a:bodyPr vert="horz" lIns="91440" tIns="45720" rIns="91440" bIns="45720" rtlCol="0">
            <a:normAutofit/>
          </a:bodyPr>
          <a:lstStyle>
            <a:lvl1pPr>
              <a:defRPr sz="1400">
                <a:solidFill>
                  <a:schemeClr val="bg1"/>
                </a:solidFill>
                <a:latin typeface="+mn-lt"/>
                <a:ea typeface="+mn-ea"/>
                <a:cs typeface="+mn-cs"/>
              </a:defRPr>
            </a:lvl1pPr>
            <a:lvl2pPr marL="344488" indent="-173038">
              <a:buFont typeface="Arial" panose="020B0604020202020204" pitchFamily="34" charset="0"/>
              <a:buChar char="•"/>
              <a:tabLst/>
              <a:defRPr sz="1400">
                <a:solidFill>
                  <a:schemeClr val="bg1"/>
                </a:solidFill>
                <a:latin typeface="+mn-lt"/>
                <a:ea typeface="+mn-ea"/>
                <a:cs typeface="+mn-cs"/>
              </a:defRPr>
            </a:lvl2pPr>
            <a:lvl3pPr marL="517525" indent="-173038">
              <a:buFont typeface="Courier New" panose="02070309020205020404" pitchFamily="49" charset="0"/>
              <a:buChar char="o"/>
              <a:tabLst/>
              <a:defRPr sz="1400">
                <a:solidFill>
                  <a:schemeClr val="bg1"/>
                </a:solidFill>
                <a:latin typeface="+mn-lt"/>
                <a:ea typeface="+mn-ea"/>
                <a:cs typeface="+mn-cs"/>
              </a:defRPr>
            </a:lvl3pPr>
            <a:lvl4pPr marL="690563" indent="-173038">
              <a:buFont typeface="Wingdings" pitchFamily="2" charset="2"/>
              <a:buChar char="§"/>
              <a:tabLst/>
              <a:defRPr sz="1400">
                <a:solidFill>
                  <a:schemeClr val="bg1"/>
                </a:solidFill>
                <a:latin typeface="+mn-lt"/>
                <a:ea typeface="+mn-ea"/>
                <a:cs typeface="+mn-cs"/>
              </a:defRPr>
            </a:lvl4pPr>
            <a:lvl5pPr marL="923925" indent="-233363">
              <a:buSzPct val="70000"/>
              <a:buFont typeface="Wingdings" pitchFamily="2" charset="2"/>
              <a:buChar char="q"/>
              <a:tabLst/>
              <a:defRPr sz="1400">
                <a:solidFill>
                  <a:schemeClr val="bg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09A47E92-F9E8-52C9-9AFB-51C9588271DC}"/>
              </a:ext>
            </a:extLst>
          </p:cNvPr>
          <p:cNvSpPr>
            <a:spLocks noGrp="1"/>
          </p:cNvSpPr>
          <p:nvPr>
            <p:ph idx="19" hasCustomPrompt="1"/>
          </p:nvPr>
        </p:nvSpPr>
        <p:spPr>
          <a:xfrm>
            <a:off x="6380177" y="5046602"/>
            <a:ext cx="5527646" cy="1565290"/>
          </a:xfrm>
          <a:prstGeom prst="rect">
            <a:avLst/>
          </a:prstGeom>
        </p:spPr>
        <p:txBody>
          <a:bodyPr vert="horz" lIns="91440" tIns="45720" rIns="91440" bIns="45720" rtlCol="0">
            <a:normAutofit/>
          </a:bodyPr>
          <a:lstStyle>
            <a:lvl1pPr>
              <a:defRPr sz="1400">
                <a:solidFill>
                  <a:schemeClr val="bg1"/>
                </a:solidFill>
                <a:latin typeface="+mn-lt"/>
                <a:ea typeface="+mn-ea"/>
                <a:cs typeface="+mn-cs"/>
              </a:defRPr>
            </a:lvl1pPr>
            <a:lvl2pPr marL="344488" indent="-173038">
              <a:buFont typeface="Arial" panose="020B0604020202020204" pitchFamily="34" charset="0"/>
              <a:buChar char="•"/>
              <a:tabLst/>
              <a:defRPr sz="1400">
                <a:solidFill>
                  <a:schemeClr val="bg1"/>
                </a:solidFill>
                <a:latin typeface="+mn-lt"/>
                <a:ea typeface="+mn-ea"/>
                <a:cs typeface="+mn-cs"/>
              </a:defRPr>
            </a:lvl2pPr>
            <a:lvl3pPr marL="517525" indent="-173038">
              <a:buFont typeface="Courier New" panose="02070309020205020404" pitchFamily="49" charset="0"/>
              <a:buChar char="o"/>
              <a:tabLst/>
              <a:defRPr sz="1400">
                <a:solidFill>
                  <a:schemeClr val="bg1"/>
                </a:solidFill>
                <a:latin typeface="+mn-lt"/>
                <a:ea typeface="+mn-ea"/>
                <a:cs typeface="+mn-cs"/>
              </a:defRPr>
            </a:lvl3pPr>
            <a:lvl4pPr marL="690563" indent="-173038">
              <a:buFont typeface="Wingdings" pitchFamily="2" charset="2"/>
              <a:buChar char="§"/>
              <a:tabLst/>
              <a:defRPr sz="1400">
                <a:solidFill>
                  <a:schemeClr val="bg1"/>
                </a:solidFill>
                <a:latin typeface="+mn-lt"/>
                <a:ea typeface="+mn-ea"/>
                <a:cs typeface="+mn-cs"/>
              </a:defRPr>
            </a:lvl4pPr>
            <a:lvl5pPr marL="923925" indent="-233363">
              <a:buSzPct val="70000"/>
              <a:buFont typeface="Wingdings" pitchFamily="2" charset="2"/>
              <a:buChar char="q"/>
              <a:tabLst/>
              <a:defRPr sz="1400">
                <a:solidFill>
                  <a:schemeClr val="bg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1266628"/>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_4+text ">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0D78223-CC91-FAA2-57DE-A810F8FBBECA}"/>
              </a:ext>
            </a:extLst>
          </p:cNvPr>
          <p:cNvGraphicFramePr>
            <a:graphicFrameLocks noChangeAspect="1"/>
          </p:cNvGraphicFramePr>
          <p:nvPr userDrawn="1">
            <p:custDataLst>
              <p:tags r:id="rId1"/>
            </p:custDataLst>
            <p:extLst>
              <p:ext uri="{D42A27DB-BD31-4B8C-83A1-F6EECF244321}">
                <p14:modId xmlns:p14="http://schemas.microsoft.com/office/powerpoint/2010/main" val="1668959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70D78223-CC91-FAA2-57DE-A810F8FBBE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AF0B358-08BD-6C4B-4939-78D7E710E8F7}"/>
              </a:ext>
            </a:extLst>
          </p:cNvPr>
          <p:cNvPicPr>
            <a:picLocks noChangeAspect="1"/>
          </p:cNvPicPr>
          <p:nvPr userDrawn="1"/>
        </p:nvPicPr>
        <p:blipFill>
          <a:blip r:embed="rId5"/>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89336D69-015D-4BB5-BC86-8242628C5C5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901811" y="0"/>
            <a:ext cx="2290189" cy="772273"/>
          </a:xfrm>
          <a:prstGeom prst="rect">
            <a:avLst/>
          </a:prstGeom>
        </p:spPr>
      </p:pic>
      <p:pic>
        <p:nvPicPr>
          <p:cNvPr id="17" name="Picture 16">
            <a:extLst>
              <a:ext uri="{FF2B5EF4-FFF2-40B4-BE49-F238E27FC236}">
                <a16:creationId xmlns:a16="http://schemas.microsoft.com/office/drawing/2014/main" id="{2056823E-6006-1F75-24A2-A51ABC6D50B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442538" y="614051"/>
            <a:ext cx="401053" cy="401053"/>
          </a:xfrm>
          <a:prstGeom prst="rect">
            <a:avLst/>
          </a:prstGeom>
        </p:spPr>
      </p:pic>
      <p:pic>
        <p:nvPicPr>
          <p:cNvPr id="19" name="Picture Placeholder 16" descr="A person standing in a field&#10;&#10;Description automatically generated with medium confidence">
            <a:extLst>
              <a:ext uri="{FF2B5EF4-FFF2-40B4-BE49-F238E27FC236}">
                <a16:creationId xmlns:a16="http://schemas.microsoft.com/office/drawing/2014/main" id="{2C991B4A-3ECA-8741-34BA-D2454DD6ABF0}"/>
              </a:ext>
            </a:extLst>
          </p:cNvPr>
          <p:cNvPicPr>
            <a:picLocks noChangeAspect="1"/>
          </p:cNvPicPr>
          <p:nvPr userDrawn="1"/>
        </p:nvPicPr>
        <p:blipFill>
          <a:blip r:embed="rId8" cstate="email">
            <a:extLst>
              <a:ext uri="{28A0092B-C50C-407E-A947-70E740481C1C}">
                <a14:useLocalDpi xmlns:a14="http://schemas.microsoft.com/office/drawing/2010/main"/>
              </a:ext>
            </a:extLst>
          </a:blip>
          <a:srcRect/>
          <a:stretch>
            <a:fillRect/>
          </a:stretch>
        </p:blipFill>
        <p:spPr>
          <a:xfrm>
            <a:off x="0" y="-9508"/>
            <a:ext cx="6096000" cy="6858000"/>
          </a:xfrm>
          <a:prstGeom prst="rect">
            <a:avLst/>
          </a:prstGeom>
        </p:spPr>
      </p:pic>
      <p:pic>
        <p:nvPicPr>
          <p:cNvPr id="18" name="Picture 17">
            <a:extLst>
              <a:ext uri="{FF2B5EF4-FFF2-40B4-BE49-F238E27FC236}">
                <a16:creationId xmlns:a16="http://schemas.microsoft.com/office/drawing/2014/main" id="{21B41031-0BEC-91FD-2AE4-67BA017151F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0" y="-24496"/>
            <a:ext cx="3979484" cy="4780722"/>
          </a:xfrm>
          <a:prstGeom prst="rect">
            <a:avLst/>
          </a:prstGeom>
        </p:spPr>
      </p:pic>
      <p:sp>
        <p:nvSpPr>
          <p:cNvPr id="6" name="TextBox 5">
            <a:extLst>
              <a:ext uri="{FF2B5EF4-FFF2-40B4-BE49-F238E27FC236}">
                <a16:creationId xmlns:a16="http://schemas.microsoft.com/office/drawing/2014/main" id="{35E47B3C-F251-CCB7-363E-BA7FFC8DDC78}"/>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mn-lt"/>
                <a:ea typeface="+mn-ea"/>
                <a:cs typeface="+mn-cs"/>
              </a:rPr>
              <a:pPr algn="r"/>
              <a:t>‹#›</a:t>
            </a:fld>
            <a:endParaRPr lang="en-US" sz="700" spc="300">
              <a:solidFill>
                <a:schemeClr val="bg1"/>
              </a:solidFill>
              <a:latin typeface="+mn-lt"/>
              <a:ea typeface="+mn-ea"/>
              <a:cs typeface="+mn-cs"/>
            </a:endParaRPr>
          </a:p>
        </p:txBody>
      </p:sp>
      <p:sp>
        <p:nvSpPr>
          <p:cNvPr id="7" name="Rectangle 6">
            <a:extLst>
              <a:ext uri="{FF2B5EF4-FFF2-40B4-BE49-F238E27FC236}">
                <a16:creationId xmlns:a16="http://schemas.microsoft.com/office/drawing/2014/main" id="{628CD422-4F5B-8389-973A-EF7BBE7E8A73}"/>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8" name="Rectangle 7">
            <a:extLst>
              <a:ext uri="{FF2B5EF4-FFF2-40B4-BE49-F238E27FC236}">
                <a16:creationId xmlns:a16="http://schemas.microsoft.com/office/drawing/2014/main" id="{560CD5B9-A866-0DB0-09B1-F4B500315A98}"/>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AB90D3D8-BE3F-4FFE-EC5C-4EB1BD69A3D1}"/>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DD4B41A8-79B4-ECD3-0611-C69D1E250FA7}"/>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E8B490D5-3229-517D-2ECD-68F6ADCBBA09}"/>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893F0BD5-8120-61B3-82BD-A589B8281DD3}"/>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8EF1AEAF-12E1-6A86-590E-43BE99137F3C}"/>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87596ECF-CB1B-4CBD-CA40-A323F673A978}"/>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B379F450-479E-F491-F86A-A4E7A942A343}"/>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125A055B-8A6A-9FD6-191F-8916F3831BBA}"/>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20" name="Title 7">
            <a:extLst>
              <a:ext uri="{FF2B5EF4-FFF2-40B4-BE49-F238E27FC236}">
                <a16:creationId xmlns:a16="http://schemas.microsoft.com/office/drawing/2014/main" id="{A512E1FD-7E6B-E762-11C8-A213453A9044}"/>
              </a:ext>
            </a:extLst>
          </p:cNvPr>
          <p:cNvSpPr>
            <a:spLocks noGrp="1"/>
          </p:cNvSpPr>
          <p:nvPr>
            <p:ph type="title" hasCustomPrompt="1"/>
          </p:nvPr>
        </p:nvSpPr>
        <p:spPr>
          <a:xfrm>
            <a:off x="6323107" y="1629155"/>
            <a:ext cx="5243485" cy="509237"/>
          </a:xfrm>
        </p:spPr>
        <p:txBody>
          <a:bodyPr vert="horz">
            <a:noAutofit/>
          </a:bodyPr>
          <a:lstStyle>
            <a:lvl1pPr>
              <a:lnSpc>
                <a:spcPct val="100000"/>
              </a:lnSpc>
              <a:defRPr lang="en-US" sz="4000" b="1" i="0" kern="1200" spc="-20" dirty="0">
                <a:solidFill>
                  <a:schemeClr val="bg1"/>
                </a:solidFill>
                <a:latin typeface="+mj-lt"/>
                <a:ea typeface="+mj-ea"/>
                <a:cs typeface="+mj-cs"/>
              </a:defRPr>
            </a:lvl1pPr>
          </a:lstStyle>
          <a:p>
            <a:r>
              <a:rPr lang="en-US"/>
              <a:t>Click to edit Headline</a:t>
            </a:r>
          </a:p>
        </p:txBody>
      </p:sp>
      <p:sp>
        <p:nvSpPr>
          <p:cNvPr id="22" name="Text Placeholder 2">
            <a:extLst>
              <a:ext uri="{FF2B5EF4-FFF2-40B4-BE49-F238E27FC236}">
                <a16:creationId xmlns:a16="http://schemas.microsoft.com/office/drawing/2014/main" id="{8C21744E-D207-E57D-A5E1-1D499D8EA935}"/>
              </a:ext>
            </a:extLst>
          </p:cNvPr>
          <p:cNvSpPr>
            <a:spLocks noGrp="1"/>
          </p:cNvSpPr>
          <p:nvPr>
            <p:ph idx="1" hasCustomPrompt="1"/>
          </p:nvPr>
        </p:nvSpPr>
        <p:spPr>
          <a:xfrm>
            <a:off x="6304709" y="2285999"/>
            <a:ext cx="5256669" cy="3985591"/>
          </a:xfrm>
          <a:prstGeom prst="rect">
            <a:avLst/>
          </a:prstGeom>
        </p:spPr>
        <p:txBody>
          <a:bodyPr vert="horz" lIns="91440" tIns="45720" rIns="91440" bIns="45720" rtlCol="0">
            <a:normAutofit/>
          </a:bodyPr>
          <a:lstStyle>
            <a:lvl1pPr>
              <a:defRPr>
                <a:solidFill>
                  <a:schemeClr val="bg1"/>
                </a:solidFill>
                <a:latin typeface="+mn-lt"/>
                <a:ea typeface="+mn-ea"/>
                <a:cs typeface="+mn-cs"/>
              </a:defRPr>
            </a:lvl1pPr>
            <a:lvl2pPr marL="344488" indent="-173038">
              <a:buFont typeface="Arial" panose="020B0604020202020204" pitchFamily="34" charset="0"/>
              <a:buChar char="•"/>
              <a:tabLst/>
              <a:defRPr>
                <a:solidFill>
                  <a:schemeClr val="bg1"/>
                </a:solidFill>
                <a:latin typeface="+mn-lt"/>
                <a:ea typeface="+mn-ea"/>
                <a:cs typeface="+mn-cs"/>
              </a:defRPr>
            </a:lvl2pPr>
            <a:lvl3pPr marL="517525" indent="-173038">
              <a:buFont typeface="Courier New" panose="02070309020205020404" pitchFamily="49" charset="0"/>
              <a:buChar char="o"/>
              <a:tabLst/>
              <a:defRPr>
                <a:solidFill>
                  <a:schemeClr val="bg1"/>
                </a:solidFill>
                <a:latin typeface="+mn-lt"/>
                <a:ea typeface="+mn-ea"/>
                <a:cs typeface="+mn-cs"/>
              </a:defRPr>
            </a:lvl3pPr>
            <a:lvl4pPr marL="690563" indent="-173038">
              <a:buFont typeface="Wingdings" pitchFamily="2" charset="2"/>
              <a:buChar char="§"/>
              <a:tabLst/>
              <a:defRPr>
                <a:solidFill>
                  <a:schemeClr val="bg1"/>
                </a:solidFill>
                <a:latin typeface="+mn-lt"/>
                <a:ea typeface="+mn-ea"/>
                <a:cs typeface="+mn-cs"/>
              </a:defRPr>
            </a:lvl4pPr>
            <a:lvl5pPr marL="923925" indent="-233363">
              <a:buSzPct val="70000"/>
              <a:buFont typeface="Wingdings" pitchFamily="2" charset="2"/>
              <a:buChar char="q"/>
              <a:tabLst/>
              <a:defRPr>
                <a:solidFill>
                  <a:schemeClr val="bg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9721411"/>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_5+text ">
    <p:bg>
      <p:bgPr>
        <a:solidFill>
          <a:schemeClr val="bg1"/>
        </a:solidFill>
        <a:effectLst/>
      </p:bgPr>
    </p:bg>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4D9DC2BA-E830-EFB2-18FA-0725D2DB3D8E}"/>
              </a:ext>
            </a:extLst>
          </p:cNvPr>
          <p:cNvGraphicFramePr>
            <a:graphicFrameLocks noChangeAspect="1"/>
          </p:cNvGraphicFramePr>
          <p:nvPr userDrawn="1">
            <p:custDataLst>
              <p:tags r:id="rId1"/>
            </p:custDataLst>
            <p:extLst>
              <p:ext uri="{D42A27DB-BD31-4B8C-83A1-F6EECF244321}">
                <p14:modId xmlns:p14="http://schemas.microsoft.com/office/powerpoint/2010/main" val="418229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2" name="think-cell data - do not delete" hidden="1">
                        <a:extLst>
                          <a:ext uri="{FF2B5EF4-FFF2-40B4-BE49-F238E27FC236}">
                            <a16:creationId xmlns:a16="http://schemas.microsoft.com/office/drawing/2014/main" id="{4D9DC2BA-E830-EFB2-18FA-0725D2DB3D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AF0B358-08BD-6C4B-4939-78D7E710E8F7}"/>
              </a:ext>
            </a:extLst>
          </p:cNvPr>
          <p:cNvPicPr>
            <a:picLocks noChangeAspect="1"/>
          </p:cNvPicPr>
          <p:nvPr userDrawn="1"/>
        </p:nvPicPr>
        <p:blipFill>
          <a:blip r:embed="rId5"/>
          <a:stretch>
            <a:fillRect/>
          </a:stretch>
        </p:blipFill>
        <p:spPr>
          <a:xfrm>
            <a:off x="0" y="0"/>
            <a:ext cx="12192000" cy="6858000"/>
          </a:xfrm>
          <a:prstGeom prst="rect">
            <a:avLst/>
          </a:prstGeom>
        </p:spPr>
      </p:pic>
      <p:pic>
        <p:nvPicPr>
          <p:cNvPr id="6" name="Picture Placeholder 8" descr="A picture containing corn, person, food&#10;&#10;Description automatically generated">
            <a:extLst>
              <a:ext uri="{FF2B5EF4-FFF2-40B4-BE49-F238E27FC236}">
                <a16:creationId xmlns:a16="http://schemas.microsoft.com/office/drawing/2014/main" id="{05DC7BF9-0284-3EF7-3885-91D2854FB60D}"/>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a:fillRect/>
          </a:stretch>
        </p:blipFill>
        <p:spPr>
          <a:xfrm flipH="1">
            <a:off x="0" y="0"/>
            <a:ext cx="6096000" cy="6858000"/>
          </a:xfrm>
          <a:prstGeom prst="rect">
            <a:avLst/>
          </a:prstGeom>
        </p:spPr>
      </p:pic>
      <p:grpSp>
        <p:nvGrpSpPr>
          <p:cNvPr id="2" name="Group 1">
            <a:extLst>
              <a:ext uri="{FF2B5EF4-FFF2-40B4-BE49-F238E27FC236}">
                <a16:creationId xmlns:a16="http://schemas.microsoft.com/office/drawing/2014/main" id="{EAA53261-7131-FF6B-FFBA-56B570787A35}"/>
              </a:ext>
            </a:extLst>
          </p:cNvPr>
          <p:cNvGrpSpPr/>
          <p:nvPr userDrawn="1"/>
        </p:nvGrpSpPr>
        <p:grpSpPr>
          <a:xfrm>
            <a:off x="9901811" y="0"/>
            <a:ext cx="2290189" cy="1015104"/>
            <a:chOff x="9901811" y="0"/>
            <a:chExt cx="2290189" cy="1015104"/>
          </a:xfrm>
        </p:grpSpPr>
        <p:pic>
          <p:nvPicPr>
            <p:cNvPr id="4" name="Picture 3">
              <a:extLst>
                <a:ext uri="{FF2B5EF4-FFF2-40B4-BE49-F238E27FC236}">
                  <a16:creationId xmlns:a16="http://schemas.microsoft.com/office/drawing/2014/main" id="{89336D69-015D-4BB5-BC86-8242628C5C56}"/>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901811" y="0"/>
              <a:ext cx="2290189" cy="772273"/>
            </a:xfrm>
            <a:prstGeom prst="rect">
              <a:avLst/>
            </a:prstGeom>
          </p:spPr>
        </p:pic>
        <p:pic>
          <p:nvPicPr>
            <p:cNvPr id="17" name="Picture 16">
              <a:extLst>
                <a:ext uri="{FF2B5EF4-FFF2-40B4-BE49-F238E27FC236}">
                  <a16:creationId xmlns:a16="http://schemas.microsoft.com/office/drawing/2014/main" id="{2056823E-6006-1F75-24A2-A51ABC6D50BA}"/>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442538" y="614051"/>
              <a:ext cx="401053" cy="401053"/>
            </a:xfrm>
            <a:prstGeom prst="rect">
              <a:avLst/>
            </a:prstGeom>
          </p:spPr>
        </p:pic>
      </p:grpSp>
      <p:pic>
        <p:nvPicPr>
          <p:cNvPr id="18" name="Picture 17">
            <a:extLst>
              <a:ext uri="{FF2B5EF4-FFF2-40B4-BE49-F238E27FC236}">
                <a16:creationId xmlns:a16="http://schemas.microsoft.com/office/drawing/2014/main" id="{21B41031-0BEC-91FD-2AE4-67BA017151F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0" y="-24496"/>
            <a:ext cx="3979484" cy="4780722"/>
          </a:xfrm>
          <a:prstGeom prst="rect">
            <a:avLst/>
          </a:prstGeom>
        </p:spPr>
      </p:pic>
      <p:sp>
        <p:nvSpPr>
          <p:cNvPr id="9" name="Title 7">
            <a:extLst>
              <a:ext uri="{FF2B5EF4-FFF2-40B4-BE49-F238E27FC236}">
                <a16:creationId xmlns:a16="http://schemas.microsoft.com/office/drawing/2014/main" id="{FCB6A94C-CD4A-89F0-45CB-DE624B356A51}"/>
              </a:ext>
            </a:extLst>
          </p:cNvPr>
          <p:cNvSpPr>
            <a:spLocks noGrp="1"/>
          </p:cNvSpPr>
          <p:nvPr>
            <p:ph type="title" hasCustomPrompt="1"/>
          </p:nvPr>
        </p:nvSpPr>
        <p:spPr>
          <a:xfrm>
            <a:off x="6323107" y="1629155"/>
            <a:ext cx="5243485" cy="509237"/>
          </a:xfrm>
        </p:spPr>
        <p:txBody>
          <a:bodyPr vert="horz">
            <a:noAutofit/>
          </a:bodyPr>
          <a:lstStyle>
            <a:lvl1pPr>
              <a:lnSpc>
                <a:spcPct val="100000"/>
              </a:lnSpc>
              <a:defRPr lang="en-US" sz="4000" b="1" i="0" kern="1200" spc="-20" dirty="0">
                <a:solidFill>
                  <a:schemeClr val="bg1"/>
                </a:solidFill>
                <a:latin typeface="+mj-lt"/>
                <a:ea typeface="+mj-ea"/>
                <a:cs typeface="+mj-cs"/>
              </a:defRPr>
            </a:lvl1pPr>
          </a:lstStyle>
          <a:p>
            <a:r>
              <a:rPr lang="en-US"/>
              <a:t>Click to edit Headline</a:t>
            </a:r>
          </a:p>
        </p:txBody>
      </p:sp>
      <p:sp>
        <p:nvSpPr>
          <p:cNvPr id="3" name="TextBox 2">
            <a:extLst>
              <a:ext uri="{FF2B5EF4-FFF2-40B4-BE49-F238E27FC236}">
                <a16:creationId xmlns:a16="http://schemas.microsoft.com/office/drawing/2014/main" id="{8A0EA1A6-3264-1E39-4647-913E401A4436}"/>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mn-lt"/>
                <a:ea typeface="+mn-ea"/>
                <a:cs typeface="+mn-cs"/>
              </a:rPr>
              <a:pPr algn="r"/>
              <a:t>‹#›</a:t>
            </a:fld>
            <a:endParaRPr lang="en-US" sz="700" spc="300">
              <a:solidFill>
                <a:schemeClr val="bg1"/>
              </a:solidFill>
              <a:latin typeface="+mn-lt"/>
              <a:ea typeface="+mn-ea"/>
              <a:cs typeface="+mn-cs"/>
            </a:endParaRPr>
          </a:p>
        </p:txBody>
      </p:sp>
      <p:sp>
        <p:nvSpPr>
          <p:cNvPr id="7" name="Rectangle 6">
            <a:extLst>
              <a:ext uri="{FF2B5EF4-FFF2-40B4-BE49-F238E27FC236}">
                <a16:creationId xmlns:a16="http://schemas.microsoft.com/office/drawing/2014/main" id="{D54DE58C-A78E-4F34-ACAA-41A7160E46C7}"/>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32F67EBC-1039-7D44-E156-6A9E66C9695E}"/>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0AE29477-DEFD-146C-1018-CC8DE12E17C7}"/>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D906559B-81D2-551B-E4BE-327DD47FBF2B}"/>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A1F9D56F-4963-CA4D-63DD-5C11EAFE0E64}"/>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66AC3E69-27DE-EA7B-C7B9-F7FDD7F1A1BF}"/>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690DD664-ECDA-DF75-70AE-010CEE51DB2B}"/>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463B61D6-C860-E099-ABB7-82905D4C1EBC}"/>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9" name="Rectangle 18">
            <a:extLst>
              <a:ext uri="{FF2B5EF4-FFF2-40B4-BE49-F238E27FC236}">
                <a16:creationId xmlns:a16="http://schemas.microsoft.com/office/drawing/2014/main" id="{8EDC7256-BB05-30D0-C8C7-EE9AF8C4DF95}"/>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20" name="Rectangle 19">
            <a:extLst>
              <a:ext uri="{FF2B5EF4-FFF2-40B4-BE49-F238E27FC236}">
                <a16:creationId xmlns:a16="http://schemas.microsoft.com/office/drawing/2014/main" id="{51A77411-FF83-F3A0-AE36-BE75310525A8}"/>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21" name="Text Placeholder 2">
            <a:extLst>
              <a:ext uri="{FF2B5EF4-FFF2-40B4-BE49-F238E27FC236}">
                <a16:creationId xmlns:a16="http://schemas.microsoft.com/office/drawing/2014/main" id="{60BB8633-AB7D-8ED3-F9F7-19E93AF13D11}"/>
              </a:ext>
            </a:extLst>
          </p:cNvPr>
          <p:cNvSpPr>
            <a:spLocks noGrp="1"/>
          </p:cNvSpPr>
          <p:nvPr>
            <p:ph idx="1" hasCustomPrompt="1"/>
          </p:nvPr>
        </p:nvSpPr>
        <p:spPr>
          <a:xfrm>
            <a:off x="6304709" y="2285999"/>
            <a:ext cx="5256669" cy="3985591"/>
          </a:xfrm>
          <a:prstGeom prst="rect">
            <a:avLst/>
          </a:prstGeom>
        </p:spPr>
        <p:txBody>
          <a:bodyPr vert="horz" lIns="91440" tIns="45720" rIns="91440" bIns="45720" rtlCol="0">
            <a:normAutofit/>
          </a:bodyPr>
          <a:lstStyle>
            <a:lvl1pPr>
              <a:defRPr>
                <a:solidFill>
                  <a:schemeClr val="bg1"/>
                </a:solidFill>
                <a:latin typeface="+mn-lt"/>
                <a:ea typeface="+mn-ea"/>
                <a:cs typeface="+mn-cs"/>
              </a:defRPr>
            </a:lvl1pPr>
            <a:lvl2pPr marL="344488" indent="-173038">
              <a:buFont typeface="Arial" panose="020B0604020202020204" pitchFamily="34" charset="0"/>
              <a:buChar char="•"/>
              <a:tabLst/>
              <a:defRPr>
                <a:solidFill>
                  <a:schemeClr val="bg1"/>
                </a:solidFill>
                <a:latin typeface="+mn-lt"/>
                <a:ea typeface="+mn-ea"/>
                <a:cs typeface="+mn-cs"/>
              </a:defRPr>
            </a:lvl2pPr>
            <a:lvl3pPr marL="517525" indent="-173038">
              <a:buFont typeface="Courier New" panose="02070309020205020404" pitchFamily="49" charset="0"/>
              <a:buChar char="o"/>
              <a:tabLst/>
              <a:defRPr>
                <a:solidFill>
                  <a:schemeClr val="bg1"/>
                </a:solidFill>
                <a:latin typeface="+mn-lt"/>
                <a:ea typeface="+mn-ea"/>
                <a:cs typeface="+mn-cs"/>
              </a:defRPr>
            </a:lvl3pPr>
            <a:lvl4pPr marL="690563" indent="-173038">
              <a:buFont typeface="Wingdings" pitchFamily="2" charset="2"/>
              <a:buChar char="§"/>
              <a:tabLst/>
              <a:defRPr>
                <a:solidFill>
                  <a:schemeClr val="bg1"/>
                </a:solidFill>
                <a:latin typeface="+mn-lt"/>
                <a:ea typeface="+mn-ea"/>
                <a:cs typeface="+mn-cs"/>
              </a:defRPr>
            </a:lvl4pPr>
            <a:lvl5pPr marL="923925" indent="-233363">
              <a:buSzPct val="70000"/>
              <a:buFont typeface="Wingdings" pitchFamily="2" charset="2"/>
              <a:buChar char="q"/>
              <a:tabLst/>
              <a:defRPr>
                <a:solidFill>
                  <a:schemeClr val="bg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7888109"/>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_Text">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287D3FF3-45D6-137D-B79D-60C4FB069DF7}"/>
              </a:ext>
            </a:extLst>
          </p:cNvPr>
          <p:cNvGraphicFramePr>
            <a:graphicFrameLocks noChangeAspect="1"/>
          </p:cNvGraphicFramePr>
          <p:nvPr userDrawn="1">
            <p:custDataLst>
              <p:tags r:id="rId1"/>
            </p:custDataLst>
            <p:extLst>
              <p:ext uri="{D42A27DB-BD31-4B8C-83A1-F6EECF244321}">
                <p14:modId xmlns:p14="http://schemas.microsoft.com/office/powerpoint/2010/main" val="3153582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9" name="think-cell data - do not delete" hidden="1">
                        <a:extLst>
                          <a:ext uri="{FF2B5EF4-FFF2-40B4-BE49-F238E27FC236}">
                            <a16:creationId xmlns:a16="http://schemas.microsoft.com/office/drawing/2014/main" id="{287D3FF3-45D6-137D-B79D-60C4FB069D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Box 12">
            <a:extLst>
              <a:ext uri="{FF2B5EF4-FFF2-40B4-BE49-F238E27FC236}">
                <a16:creationId xmlns:a16="http://schemas.microsoft.com/office/drawing/2014/main" id="{D84B00D6-F204-9642-B56C-5BBE902D4083}"/>
              </a:ext>
            </a:extLst>
          </p:cNvPr>
          <p:cNvSpPr txBox="1"/>
          <p:nvPr userDrawn="1"/>
        </p:nvSpPr>
        <p:spPr>
          <a:xfrm>
            <a:off x="133954" y="6639040"/>
            <a:ext cx="5734982" cy="200055"/>
          </a:xfrm>
          <a:prstGeom prst="rect">
            <a:avLst/>
          </a:prstGeom>
          <a:noFill/>
        </p:spPr>
        <p:txBody>
          <a:bodyPr wrap="square" rtlCol="0">
            <a:spAutoFit/>
          </a:bodyPr>
          <a:lstStyle/>
          <a:p>
            <a:r>
              <a:rPr lang="en-US" sz="700" spc="300">
                <a:solidFill>
                  <a:schemeClr val="bg1"/>
                </a:solidFill>
                <a:latin typeface="+mn-lt"/>
                <a:ea typeface="+mn-ea"/>
                <a:cs typeface="+mn-cs"/>
              </a:rPr>
              <a:t>CONFIDENTIAL &amp; PROPRIETARY</a:t>
            </a:r>
          </a:p>
        </p:txBody>
      </p:sp>
      <p:pic>
        <p:nvPicPr>
          <p:cNvPr id="2" name="Picture 1">
            <a:extLst>
              <a:ext uri="{FF2B5EF4-FFF2-40B4-BE49-F238E27FC236}">
                <a16:creationId xmlns:a16="http://schemas.microsoft.com/office/drawing/2014/main" id="{099591D5-E53C-F400-D2FE-351007A75B9B}"/>
              </a:ext>
            </a:extLst>
          </p:cNvPr>
          <p:cNvPicPr>
            <a:picLocks noChangeAspect="1"/>
          </p:cNvPicPr>
          <p:nvPr userDrawn="1"/>
        </p:nvPicPr>
        <p:blipFill>
          <a:blip r:embed="rId5"/>
          <a:stretch>
            <a:fillRect/>
          </a:stretch>
        </p:blipFill>
        <p:spPr>
          <a:xfrm>
            <a:off x="0" y="0"/>
            <a:ext cx="12192000" cy="6858000"/>
          </a:xfrm>
          <a:prstGeom prst="rect">
            <a:avLst/>
          </a:prstGeom>
        </p:spPr>
      </p:pic>
      <p:pic>
        <p:nvPicPr>
          <p:cNvPr id="3" name="Picture 2">
            <a:extLst>
              <a:ext uri="{FF2B5EF4-FFF2-40B4-BE49-F238E27FC236}">
                <a16:creationId xmlns:a16="http://schemas.microsoft.com/office/drawing/2014/main" id="{3BF8C198-0614-9383-F6BF-D9CA65D14185}"/>
              </a:ext>
            </a:extLst>
          </p:cNvPr>
          <p:cNvPicPr>
            <a:picLocks noChangeAspect="1"/>
          </p:cNvPicPr>
          <p:nvPr userDrawn="1"/>
        </p:nvPicPr>
        <p:blipFill>
          <a:blip r:embed="rId6"/>
          <a:stretch>
            <a:fillRect/>
          </a:stretch>
        </p:blipFill>
        <p:spPr>
          <a:xfrm>
            <a:off x="292823" y="6592472"/>
            <a:ext cx="2324100" cy="107950"/>
          </a:xfrm>
          <a:prstGeom prst="rect">
            <a:avLst/>
          </a:prstGeom>
        </p:spPr>
      </p:pic>
      <p:sp>
        <p:nvSpPr>
          <p:cNvPr id="4" name="Text Placeholder 8">
            <a:extLst>
              <a:ext uri="{FF2B5EF4-FFF2-40B4-BE49-F238E27FC236}">
                <a16:creationId xmlns:a16="http://schemas.microsoft.com/office/drawing/2014/main" id="{E936D29E-0CB8-16C6-2CDB-28F21243B4CB}"/>
              </a:ext>
            </a:extLst>
          </p:cNvPr>
          <p:cNvSpPr>
            <a:spLocks noGrp="1"/>
          </p:cNvSpPr>
          <p:nvPr>
            <p:ph type="body" sz="quarter" idx="14" hasCustomPrompt="1"/>
          </p:nvPr>
        </p:nvSpPr>
        <p:spPr>
          <a:xfrm>
            <a:off x="292823" y="3748528"/>
            <a:ext cx="6730756" cy="2532409"/>
          </a:xfrm>
        </p:spPr>
        <p:txBody>
          <a:bodyPr>
            <a:normAutofit/>
          </a:bodyPr>
          <a:lstStyle>
            <a:lvl1pPr marL="0" marR="0" indent="0" algn="l" defTabSz="914400" rtl="0" eaLnBrk="1" fontAlgn="auto" latinLnBrk="0" hangingPunct="1">
              <a:lnSpc>
                <a:spcPct val="100000"/>
              </a:lnSpc>
              <a:spcBef>
                <a:spcPts val="1000"/>
              </a:spcBef>
              <a:spcAft>
                <a:spcPts val="0"/>
              </a:spcAft>
              <a:buClr>
                <a:srgbClr val="1670FF"/>
              </a:buClr>
              <a:buSzTx/>
              <a:buFont typeface="Arial" panose="020B0604020202020204" pitchFamily="34" charset="0"/>
              <a:buNone/>
              <a:tabLst/>
              <a:defRPr lang="en-US" sz="1800" b="0" i="0" u="none" strike="noStrike" smtClean="0">
                <a:solidFill>
                  <a:schemeClr val="bg1"/>
                </a:solidFill>
                <a:effectLst/>
                <a:latin typeface="+mn-lt"/>
                <a:ea typeface="+mn-ea"/>
                <a:cs typeface="+mn-cs"/>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sed diam </a:t>
            </a:r>
            <a:r>
              <a:rPr lang="en-US" err="1"/>
              <a:t>nonummy</a:t>
            </a:r>
            <a:r>
              <a:rPr lang="en-US"/>
              <a:t> </a:t>
            </a:r>
            <a:r>
              <a:rPr lang="en-US" err="1"/>
              <a:t>nibh</a:t>
            </a:r>
            <a:r>
              <a:rPr lang="en-US"/>
              <a:t> </a:t>
            </a:r>
            <a:r>
              <a:rPr lang="en-US" err="1"/>
              <a:t>euismod</a:t>
            </a:r>
            <a:r>
              <a:rPr lang="en-US"/>
              <a:t> </a:t>
            </a:r>
            <a:r>
              <a:rPr lang="en-US" err="1"/>
              <a:t>tincidunt</a:t>
            </a:r>
            <a:r>
              <a:rPr lang="en-US"/>
              <a:t> </a:t>
            </a:r>
            <a:r>
              <a:rPr lang="en-US" err="1"/>
              <a:t>ut</a:t>
            </a:r>
            <a:r>
              <a:rPr lang="en-US"/>
              <a:t> </a:t>
            </a:r>
            <a:r>
              <a:rPr lang="en-US" err="1"/>
              <a:t>laoreet</a:t>
            </a:r>
            <a:r>
              <a:rPr lang="en-US"/>
              <a:t> dolore magna </a:t>
            </a:r>
            <a:r>
              <a:rPr lang="en-US" err="1"/>
              <a:t>aliquam</a:t>
            </a:r>
            <a:r>
              <a:rPr lang="en-US"/>
              <a:t> </a:t>
            </a:r>
            <a:r>
              <a:rPr lang="en-US" err="1"/>
              <a:t>erat</a:t>
            </a:r>
            <a:r>
              <a:rPr lang="en-US"/>
              <a:t> </a:t>
            </a:r>
            <a:r>
              <a:rPr lang="en-US" err="1"/>
              <a:t>volutpat</a:t>
            </a:r>
            <a:r>
              <a:rPr lang="en-US"/>
              <a:t>. Ut </a:t>
            </a:r>
            <a:r>
              <a:rPr lang="en-US" err="1"/>
              <a:t>wisi</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a:t>
            </a:r>
          </a:p>
        </p:txBody>
      </p:sp>
      <p:sp>
        <p:nvSpPr>
          <p:cNvPr id="5" name="Text Placeholder 6">
            <a:extLst>
              <a:ext uri="{FF2B5EF4-FFF2-40B4-BE49-F238E27FC236}">
                <a16:creationId xmlns:a16="http://schemas.microsoft.com/office/drawing/2014/main" id="{3ED9364B-EA77-5ABB-E1E9-8BAB0EC47827}"/>
              </a:ext>
            </a:extLst>
          </p:cNvPr>
          <p:cNvSpPr>
            <a:spLocks noGrp="1"/>
          </p:cNvSpPr>
          <p:nvPr>
            <p:ph type="body" sz="quarter" idx="13" hasCustomPrompt="1"/>
          </p:nvPr>
        </p:nvSpPr>
        <p:spPr>
          <a:xfrm>
            <a:off x="292823" y="2042669"/>
            <a:ext cx="6730756" cy="734982"/>
          </a:xfrm>
        </p:spPr>
        <p:txBody>
          <a:bodyPr>
            <a:noAutofit/>
          </a:bodyPr>
          <a:lstStyle>
            <a:lvl1pPr marL="0" indent="0">
              <a:buNone/>
              <a:defRPr sz="3600" b="1" i="0">
                <a:solidFill>
                  <a:schemeClr val="bg1"/>
                </a:solidFill>
                <a:latin typeface="+mn-lt"/>
                <a:ea typeface="+mn-ea"/>
                <a:cs typeface="+mn-cs"/>
              </a:defRPr>
            </a:lvl1pPr>
          </a:lstStyle>
          <a:p>
            <a:pPr lvl="0"/>
            <a:r>
              <a:rPr lang="en-US"/>
              <a:t>Project name</a:t>
            </a:r>
          </a:p>
        </p:txBody>
      </p:sp>
      <p:sp>
        <p:nvSpPr>
          <p:cNvPr id="7" name="Text Placeholder 6">
            <a:extLst>
              <a:ext uri="{FF2B5EF4-FFF2-40B4-BE49-F238E27FC236}">
                <a16:creationId xmlns:a16="http://schemas.microsoft.com/office/drawing/2014/main" id="{AA31F7D3-74BB-564D-9CC4-6AF30FD48585}"/>
              </a:ext>
            </a:extLst>
          </p:cNvPr>
          <p:cNvSpPr>
            <a:spLocks noGrp="1"/>
          </p:cNvSpPr>
          <p:nvPr>
            <p:ph type="body" sz="quarter" idx="15" hasCustomPrompt="1"/>
          </p:nvPr>
        </p:nvSpPr>
        <p:spPr>
          <a:xfrm>
            <a:off x="292823" y="2890653"/>
            <a:ext cx="6730756" cy="734982"/>
          </a:xfrm>
        </p:spPr>
        <p:txBody>
          <a:bodyPr>
            <a:noAutofit/>
          </a:bodyPr>
          <a:lstStyle>
            <a:lvl1pPr marL="0" indent="0">
              <a:buNone/>
              <a:defRPr sz="3200" b="0" i="0">
                <a:solidFill>
                  <a:schemeClr val="bg1"/>
                </a:solidFill>
                <a:latin typeface="+mn-lt"/>
                <a:ea typeface="+mn-ea"/>
                <a:cs typeface="+mn-cs"/>
              </a:defRPr>
            </a:lvl1pPr>
          </a:lstStyle>
          <a:p>
            <a:pPr lvl="0"/>
            <a:r>
              <a:rPr lang="en-US"/>
              <a:t>Subtitle </a:t>
            </a:r>
          </a:p>
        </p:txBody>
      </p:sp>
      <p:pic>
        <p:nvPicPr>
          <p:cNvPr id="11" name="Picture 10">
            <a:extLst>
              <a:ext uri="{FF2B5EF4-FFF2-40B4-BE49-F238E27FC236}">
                <a16:creationId xmlns:a16="http://schemas.microsoft.com/office/drawing/2014/main" id="{D7DBC506-D395-E5A5-239C-FD4E7FC78867}"/>
              </a:ext>
            </a:extLst>
          </p:cNvPr>
          <p:cNvPicPr>
            <a:picLocks noChangeAspect="1"/>
          </p:cNvPicPr>
          <p:nvPr userDrawn="1"/>
        </p:nvPicPr>
        <p:blipFill>
          <a:blip r:embed="rId7"/>
          <a:stretch>
            <a:fillRect/>
          </a:stretch>
        </p:blipFill>
        <p:spPr>
          <a:xfrm>
            <a:off x="7023579" y="0"/>
            <a:ext cx="5178360" cy="6858000"/>
          </a:xfrm>
          <a:prstGeom prst="rect">
            <a:avLst/>
          </a:prstGeom>
        </p:spPr>
      </p:pic>
      <p:sp>
        <p:nvSpPr>
          <p:cNvPr id="6" name="Rectangle 5">
            <a:extLst>
              <a:ext uri="{FF2B5EF4-FFF2-40B4-BE49-F238E27FC236}">
                <a16:creationId xmlns:a16="http://schemas.microsoft.com/office/drawing/2014/main" id="{50E9DD62-2AED-1120-1E80-37B3A0661DAB}"/>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8" name="Rectangle 7">
            <a:extLst>
              <a:ext uri="{FF2B5EF4-FFF2-40B4-BE49-F238E27FC236}">
                <a16:creationId xmlns:a16="http://schemas.microsoft.com/office/drawing/2014/main" id="{FC046B9A-BC02-9990-A298-22E4D87398D7}"/>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2A722C6D-CDB1-86E1-D240-AE401227EF57}"/>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FC31E2B0-77B2-6162-91FE-187390C47B8B}"/>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CCB9BE38-323F-CF3A-99E0-84CEF660F710}"/>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5B47A148-2E3D-1D6E-1BC8-5E7D4FB72CE8}"/>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E6CE58FB-40F5-70FA-F9F2-CBF0EE2808DD}"/>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72CA09D7-558B-F952-035F-CAC11390AC81}"/>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6B208DD0-7F81-4D68-6DCA-67D9786985F4}"/>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8" name="Rectangle 17">
            <a:extLst>
              <a:ext uri="{FF2B5EF4-FFF2-40B4-BE49-F238E27FC236}">
                <a16:creationId xmlns:a16="http://schemas.microsoft.com/office/drawing/2014/main" id="{4D921CBB-3893-E37D-4C8D-2C4CDA1F6613}"/>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Tree>
    <p:extLst>
      <p:ext uri="{BB962C8B-B14F-4D97-AF65-F5344CB8AC3E}">
        <p14:creationId xmlns:p14="http://schemas.microsoft.com/office/powerpoint/2010/main" val="23648935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_1">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7F4BB68-DDCA-8C3D-660B-49B9CF89DB6F}"/>
              </a:ext>
            </a:extLst>
          </p:cNvPr>
          <p:cNvGraphicFramePr>
            <a:graphicFrameLocks noChangeAspect="1"/>
          </p:cNvGraphicFramePr>
          <p:nvPr userDrawn="1">
            <p:custDataLst>
              <p:tags r:id="rId1"/>
            </p:custDataLst>
            <p:extLst>
              <p:ext uri="{D42A27DB-BD31-4B8C-83A1-F6EECF244321}">
                <p14:modId xmlns:p14="http://schemas.microsoft.com/office/powerpoint/2010/main" val="3805958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think-cell data - do not delete" hidden="1">
                        <a:extLst>
                          <a:ext uri="{FF2B5EF4-FFF2-40B4-BE49-F238E27FC236}">
                            <a16:creationId xmlns:a16="http://schemas.microsoft.com/office/drawing/2014/main" id="{57F4BB68-DDCA-8C3D-660B-49B9CF89DB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3F9111E3-B6B3-F20D-E234-232A58D77455}"/>
              </a:ext>
            </a:extLst>
          </p:cNvPr>
          <p:cNvPicPr>
            <a:picLocks noChangeAspect="1"/>
          </p:cNvPicPr>
          <p:nvPr userDrawn="1"/>
        </p:nvPicPr>
        <p:blipFill>
          <a:blip r:embed="rId5"/>
          <a:stretch>
            <a:fillRect/>
          </a:stretch>
        </p:blipFill>
        <p:spPr>
          <a:xfrm>
            <a:off x="19504" y="2780"/>
            <a:ext cx="12192000" cy="6855220"/>
          </a:xfrm>
          <a:prstGeom prst="rect">
            <a:avLst/>
          </a:prstGeom>
        </p:spPr>
      </p:pic>
      <p:pic>
        <p:nvPicPr>
          <p:cNvPr id="11" name="Picture Placeholder 11" descr="A picture containing person, cutting, plant, vegetable&#10;&#10;Description automatically generated">
            <a:extLst>
              <a:ext uri="{FF2B5EF4-FFF2-40B4-BE49-F238E27FC236}">
                <a16:creationId xmlns:a16="http://schemas.microsoft.com/office/drawing/2014/main" id="{B5C0B13E-0394-87CE-81AC-CF00C5075CFC}"/>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a:xfrm>
            <a:off x="0" y="0"/>
            <a:ext cx="6483963" cy="6858000"/>
          </a:xfrm>
          <a:prstGeom prst="rect">
            <a:avLst/>
          </a:prstGeom>
          <a:noFill/>
        </p:spPr>
      </p:pic>
      <p:pic>
        <p:nvPicPr>
          <p:cNvPr id="8" name="Picture 7">
            <a:extLst>
              <a:ext uri="{FF2B5EF4-FFF2-40B4-BE49-F238E27FC236}">
                <a16:creationId xmlns:a16="http://schemas.microsoft.com/office/drawing/2014/main" id="{22402783-288C-2D52-A4BA-8F45BACAE0B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0"/>
            <a:ext cx="5214876" cy="4513432"/>
          </a:xfrm>
          <a:prstGeom prst="rect">
            <a:avLst/>
          </a:prstGeom>
        </p:spPr>
      </p:pic>
      <p:sp>
        <p:nvSpPr>
          <p:cNvPr id="4" name="TextBox 3">
            <a:extLst>
              <a:ext uri="{FF2B5EF4-FFF2-40B4-BE49-F238E27FC236}">
                <a16:creationId xmlns:a16="http://schemas.microsoft.com/office/drawing/2014/main" id="{39C32344-3F64-881D-8597-493E4E19655C}"/>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mn-lt"/>
                <a:ea typeface="+mn-ea"/>
                <a:cs typeface="+mn-cs"/>
              </a:rPr>
              <a:pPr algn="r"/>
              <a:t>‹#›</a:t>
            </a:fld>
            <a:endParaRPr lang="en-US" sz="700" spc="300">
              <a:solidFill>
                <a:schemeClr val="bg1"/>
              </a:solidFill>
              <a:latin typeface="+mn-lt"/>
              <a:ea typeface="+mn-ea"/>
              <a:cs typeface="+mn-cs"/>
            </a:endParaRPr>
          </a:p>
        </p:txBody>
      </p:sp>
      <p:sp>
        <p:nvSpPr>
          <p:cNvPr id="3" name="Rectangle 2">
            <a:extLst>
              <a:ext uri="{FF2B5EF4-FFF2-40B4-BE49-F238E27FC236}">
                <a16:creationId xmlns:a16="http://schemas.microsoft.com/office/drawing/2014/main" id="{A98DFE46-B5E2-F718-94E7-DEF297DF395B}"/>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8E00E491-5360-4420-3643-DDA785916048}"/>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52670FD2-6DEE-3AD9-85AC-45AAB1C3274F}"/>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1ED70F8B-B5D8-3BA6-1B64-F30D81678066}"/>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00714F0B-729E-CAB1-D0E3-5633DF445DB1}"/>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1C1B6030-5708-896E-87F9-D9EB5A92297E}"/>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D2DD69C2-D4FE-4E6E-F4EA-F29654973D31}"/>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BC48FFBE-14CD-15D0-B311-6B84759D8C47}"/>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2A0CD2D3-A28D-3316-27BD-4D7CA492E49B}"/>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8" name="Rectangle 17">
            <a:extLst>
              <a:ext uri="{FF2B5EF4-FFF2-40B4-BE49-F238E27FC236}">
                <a16:creationId xmlns:a16="http://schemas.microsoft.com/office/drawing/2014/main" id="{2798D593-3A07-FA79-0F2D-3BA8F7D72047}"/>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9" name="Text Placeholder 6">
            <a:extLst>
              <a:ext uri="{FF2B5EF4-FFF2-40B4-BE49-F238E27FC236}">
                <a16:creationId xmlns:a16="http://schemas.microsoft.com/office/drawing/2014/main" id="{CCEE4AD4-5673-DC5D-0072-55F8141A6EE8}"/>
              </a:ext>
            </a:extLst>
          </p:cNvPr>
          <p:cNvSpPr>
            <a:spLocks noGrp="1"/>
          </p:cNvSpPr>
          <p:nvPr>
            <p:ph type="body" sz="quarter" idx="15" hasCustomPrompt="1"/>
          </p:nvPr>
        </p:nvSpPr>
        <p:spPr>
          <a:xfrm>
            <a:off x="6916416" y="1907198"/>
            <a:ext cx="4882138" cy="608864"/>
          </a:xfrm>
        </p:spPr>
        <p:txBody>
          <a:bodyPr>
            <a:noAutofit/>
          </a:bodyPr>
          <a:lstStyle>
            <a:lvl1pPr marL="0" indent="0">
              <a:buNone/>
              <a:defRPr sz="3600" b="1" i="0">
                <a:solidFill>
                  <a:schemeClr val="bg1"/>
                </a:solidFill>
                <a:latin typeface="+mn-lt"/>
                <a:ea typeface="+mn-ea"/>
                <a:cs typeface="+mn-cs"/>
              </a:defRPr>
            </a:lvl1pPr>
          </a:lstStyle>
          <a:p>
            <a:pPr lvl="0"/>
            <a:r>
              <a:rPr lang="en-US"/>
              <a:t>Title text</a:t>
            </a:r>
          </a:p>
        </p:txBody>
      </p:sp>
      <p:sp>
        <p:nvSpPr>
          <p:cNvPr id="20" name="Text Placeholder 6">
            <a:extLst>
              <a:ext uri="{FF2B5EF4-FFF2-40B4-BE49-F238E27FC236}">
                <a16:creationId xmlns:a16="http://schemas.microsoft.com/office/drawing/2014/main" id="{D7AEF975-7E8E-3FB4-D358-82BE2CB20294}"/>
              </a:ext>
            </a:extLst>
          </p:cNvPr>
          <p:cNvSpPr>
            <a:spLocks noGrp="1"/>
          </p:cNvSpPr>
          <p:nvPr>
            <p:ph type="body" sz="quarter" idx="16" hasCustomPrompt="1"/>
          </p:nvPr>
        </p:nvSpPr>
        <p:spPr>
          <a:xfrm>
            <a:off x="6916416" y="2736147"/>
            <a:ext cx="4882138" cy="608864"/>
          </a:xfrm>
          <a:noFill/>
        </p:spPr>
        <p:txBody>
          <a:bodyPr>
            <a:noAutofit/>
          </a:bodyPr>
          <a:lstStyle>
            <a:lvl1pPr marL="0" indent="0">
              <a:buNone/>
              <a:defRPr sz="2800" b="0" i="0">
                <a:solidFill>
                  <a:schemeClr val="bg1"/>
                </a:solidFill>
                <a:latin typeface="+mn-lt"/>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0"/>
            <a:endParaRPr lang="en-US"/>
          </a:p>
        </p:txBody>
      </p:sp>
      <p:sp>
        <p:nvSpPr>
          <p:cNvPr id="21" name="Text Placeholder 6">
            <a:extLst>
              <a:ext uri="{FF2B5EF4-FFF2-40B4-BE49-F238E27FC236}">
                <a16:creationId xmlns:a16="http://schemas.microsoft.com/office/drawing/2014/main" id="{CDD05584-C1AB-97CD-2E18-F6E51E3A46FE}"/>
              </a:ext>
            </a:extLst>
          </p:cNvPr>
          <p:cNvSpPr>
            <a:spLocks noGrp="1"/>
          </p:cNvSpPr>
          <p:nvPr>
            <p:ph type="body" sz="quarter" idx="18" hasCustomPrompt="1"/>
          </p:nvPr>
        </p:nvSpPr>
        <p:spPr>
          <a:xfrm>
            <a:off x="6942174" y="3959640"/>
            <a:ext cx="4882138" cy="384460"/>
          </a:xfrm>
          <a:noFill/>
        </p:spPr>
        <p:txBody>
          <a:bodyPr>
            <a:noAutofit/>
          </a:bodyPr>
          <a:lstStyle>
            <a:lvl1pPr marL="0" indent="0">
              <a:buNone/>
              <a:defRPr sz="2000" b="0" i="0">
                <a:solidFill>
                  <a:schemeClr val="bg1"/>
                </a:solidFill>
                <a:latin typeface="+mn-lt"/>
                <a:ea typeface="+mn-ea"/>
                <a:cs typeface="+mn-cs"/>
              </a:defRPr>
            </a:lvl1pPr>
          </a:lstStyle>
          <a:p>
            <a:pPr lvl="0"/>
            <a:r>
              <a:rPr lang="en-US"/>
              <a:t>Date </a:t>
            </a:r>
          </a:p>
        </p:txBody>
      </p:sp>
      <p:pic>
        <p:nvPicPr>
          <p:cNvPr id="5" name="Picture 4" descr="Logo&#10;&#10;Description automatically generated">
            <a:extLst>
              <a:ext uri="{FF2B5EF4-FFF2-40B4-BE49-F238E27FC236}">
                <a16:creationId xmlns:a16="http://schemas.microsoft.com/office/drawing/2014/main" id="{4A681047-6AA1-EC24-0AE4-2062D4899CA7}"/>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615031" y="5220255"/>
            <a:ext cx="3180246" cy="1304619"/>
          </a:xfrm>
          <a:prstGeom prst="rect">
            <a:avLst/>
          </a:prstGeom>
        </p:spPr>
      </p:pic>
    </p:spTree>
    <p:extLst>
      <p:ext uri="{BB962C8B-B14F-4D97-AF65-F5344CB8AC3E}">
        <p14:creationId xmlns:p14="http://schemas.microsoft.com/office/powerpoint/2010/main" val="4600460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1">
    <p:bg>
      <p:bgPr>
        <a:solidFill>
          <a:schemeClr val="bg1"/>
        </a:solidFill>
        <a:effectLst/>
      </p:bgPr>
    </p:bg>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94F20496-C121-8952-FB00-2EC1425082A3}"/>
              </a:ext>
            </a:extLst>
          </p:cNvPr>
          <p:cNvGraphicFramePr>
            <a:graphicFrameLocks noChangeAspect="1"/>
          </p:cNvGraphicFramePr>
          <p:nvPr userDrawn="1">
            <p:custDataLst>
              <p:tags r:id="rId1"/>
            </p:custDataLst>
            <p:extLst>
              <p:ext uri="{D42A27DB-BD31-4B8C-83A1-F6EECF244321}">
                <p14:modId xmlns:p14="http://schemas.microsoft.com/office/powerpoint/2010/main" val="4014806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5" name="think-cell data - do not delete" hidden="1">
                        <a:extLst>
                          <a:ext uri="{FF2B5EF4-FFF2-40B4-BE49-F238E27FC236}">
                            <a16:creationId xmlns:a16="http://schemas.microsoft.com/office/drawing/2014/main" id="{94F20496-C121-8952-FB00-2EC1425082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91B31E91-131E-9F1B-B825-CE238076C095}"/>
              </a:ext>
            </a:extLst>
          </p:cNvPr>
          <p:cNvSpPr>
            <a:spLocks noGrp="1"/>
          </p:cNvSpPr>
          <p:nvPr>
            <p:ph type="title" hasCustomPrompt="1"/>
          </p:nvPr>
        </p:nvSpPr>
        <p:spPr>
          <a:xfrm>
            <a:off x="1594884" y="2252671"/>
            <a:ext cx="8992372" cy="2352658"/>
          </a:xfrm>
        </p:spPr>
        <p:txBody>
          <a:bodyPr vert="horz"/>
          <a:lstStyle>
            <a:lvl1pPr algn="ctr">
              <a:defRPr>
                <a:solidFill>
                  <a:srgbClr val="153DCF"/>
                </a:solidFill>
                <a:latin typeface="+mj-lt"/>
                <a:ea typeface="+mj-ea"/>
                <a:cs typeface="+mj-cs"/>
              </a:defRPr>
            </a:lvl1pPr>
          </a:lstStyle>
          <a:p>
            <a:r>
              <a:rPr lang="en-US"/>
              <a:t>Quote</a:t>
            </a:r>
          </a:p>
        </p:txBody>
      </p:sp>
      <p:pic>
        <p:nvPicPr>
          <p:cNvPr id="3" name="Picture 2">
            <a:extLst>
              <a:ext uri="{FF2B5EF4-FFF2-40B4-BE49-F238E27FC236}">
                <a16:creationId xmlns:a16="http://schemas.microsoft.com/office/drawing/2014/main" id="{FA8FABC3-39CB-DBD6-ED10-D07B3D1F627D}"/>
              </a:ext>
            </a:extLst>
          </p:cNvPr>
          <p:cNvPicPr>
            <a:picLocks noChangeAspect="1"/>
          </p:cNvPicPr>
          <p:nvPr userDrawn="1"/>
        </p:nvPicPr>
        <p:blipFill>
          <a:blip r:embed="rId5"/>
          <a:stretch>
            <a:fillRect/>
          </a:stretch>
        </p:blipFill>
        <p:spPr>
          <a:xfrm>
            <a:off x="0" y="3568"/>
            <a:ext cx="12192000" cy="6850864"/>
          </a:xfrm>
          <a:prstGeom prst="rect">
            <a:avLst/>
          </a:prstGeom>
        </p:spPr>
      </p:pic>
      <p:sp>
        <p:nvSpPr>
          <p:cNvPr id="4" name="TextBox 3">
            <a:extLst>
              <a:ext uri="{FF2B5EF4-FFF2-40B4-BE49-F238E27FC236}">
                <a16:creationId xmlns:a16="http://schemas.microsoft.com/office/drawing/2014/main" id="{45D43324-D355-15DC-9F7F-F1F9FF32074D}"/>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mn-lt"/>
                <a:ea typeface="+mn-ea"/>
                <a:cs typeface="+mn-cs"/>
              </a:rPr>
              <a:pPr algn="r"/>
              <a:t>‹#›</a:t>
            </a:fld>
            <a:endParaRPr lang="en-US" sz="700" spc="300">
              <a:solidFill>
                <a:schemeClr val="accent5"/>
              </a:solidFill>
              <a:latin typeface="+mn-lt"/>
              <a:ea typeface="+mn-ea"/>
              <a:cs typeface="+mn-cs"/>
            </a:endParaRPr>
          </a:p>
        </p:txBody>
      </p:sp>
      <p:sp>
        <p:nvSpPr>
          <p:cNvPr id="2" name="Rectangle 1">
            <a:extLst>
              <a:ext uri="{FF2B5EF4-FFF2-40B4-BE49-F238E27FC236}">
                <a16:creationId xmlns:a16="http://schemas.microsoft.com/office/drawing/2014/main" id="{00C69D31-673A-F37A-FF74-17FE81C16F24}"/>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5" name="Rectangle 4">
            <a:extLst>
              <a:ext uri="{FF2B5EF4-FFF2-40B4-BE49-F238E27FC236}">
                <a16:creationId xmlns:a16="http://schemas.microsoft.com/office/drawing/2014/main" id="{C3602CFF-3440-149F-DB19-8C2F04BDA736}"/>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6" name="Rectangle 5">
            <a:extLst>
              <a:ext uri="{FF2B5EF4-FFF2-40B4-BE49-F238E27FC236}">
                <a16:creationId xmlns:a16="http://schemas.microsoft.com/office/drawing/2014/main" id="{928B8054-E451-1E5F-F021-A5E46F8E6779}"/>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65D37D35-D9EB-A0FF-68F6-4589550DF8E6}"/>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8" name="Rectangle 7">
            <a:extLst>
              <a:ext uri="{FF2B5EF4-FFF2-40B4-BE49-F238E27FC236}">
                <a16:creationId xmlns:a16="http://schemas.microsoft.com/office/drawing/2014/main" id="{BD9CCEB0-81E4-63BC-3235-145DD115B351}"/>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FC921DC3-C55E-CA53-3FA4-0275A29FEF40}"/>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0DA54148-C346-8B17-0938-7CE3AD5B3B19}"/>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859A4F9E-E773-6516-6B1C-D18FFFD150F2}"/>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2F6A98E1-00AE-D04E-6621-D110FC9E2EBA}"/>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E6003117-0C4E-43A0-FABB-51EC0D04EE0D}"/>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Tree>
    <p:extLst>
      <p:ext uri="{BB962C8B-B14F-4D97-AF65-F5344CB8AC3E}">
        <p14:creationId xmlns:p14="http://schemas.microsoft.com/office/powerpoint/2010/main" val="1558060407"/>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2">
    <p:bg>
      <p:bgPr>
        <a:solidFill>
          <a:schemeClr val="bg1"/>
        </a:solidFill>
        <a:effectLst/>
      </p:bgPr>
    </p:b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64723C6-9017-3915-8566-A8B236C308CB}"/>
              </a:ext>
            </a:extLst>
          </p:cNvPr>
          <p:cNvGraphicFramePr>
            <a:graphicFrameLocks noChangeAspect="1"/>
          </p:cNvGraphicFramePr>
          <p:nvPr userDrawn="1">
            <p:custDataLst>
              <p:tags r:id="rId1"/>
            </p:custDataLst>
            <p:extLst>
              <p:ext uri="{D42A27DB-BD31-4B8C-83A1-F6EECF244321}">
                <p14:modId xmlns:p14="http://schemas.microsoft.com/office/powerpoint/2010/main" val="2322159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6" name="think-cell data - do not delete" hidden="1">
                        <a:extLst>
                          <a:ext uri="{FF2B5EF4-FFF2-40B4-BE49-F238E27FC236}">
                            <a16:creationId xmlns:a16="http://schemas.microsoft.com/office/drawing/2014/main" id="{364723C6-9017-3915-8566-A8B236C308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78D175BA-52D5-4F17-0EE7-784CFB789AE4}"/>
              </a:ext>
            </a:extLst>
          </p:cNvPr>
          <p:cNvPicPr>
            <a:picLocks noChangeAspect="1"/>
          </p:cNvPicPr>
          <p:nvPr userDrawn="1"/>
        </p:nvPicPr>
        <p:blipFill>
          <a:blip r:embed="rId5"/>
          <a:stretch>
            <a:fillRect/>
          </a:stretch>
        </p:blipFill>
        <p:spPr>
          <a:xfrm>
            <a:off x="295737" y="6584987"/>
            <a:ext cx="2324100" cy="107950"/>
          </a:xfrm>
          <a:prstGeom prst="rect">
            <a:avLst/>
          </a:prstGeom>
        </p:spPr>
      </p:pic>
      <p:pic>
        <p:nvPicPr>
          <p:cNvPr id="4" name="Picture 3">
            <a:extLst>
              <a:ext uri="{FF2B5EF4-FFF2-40B4-BE49-F238E27FC236}">
                <a16:creationId xmlns:a16="http://schemas.microsoft.com/office/drawing/2014/main" id="{46DC7CEC-5A62-AFF6-732F-20A9B663B606}"/>
              </a:ext>
            </a:extLst>
          </p:cNvPr>
          <p:cNvPicPr>
            <a:picLocks noChangeAspect="1"/>
          </p:cNvPicPr>
          <p:nvPr userDrawn="1"/>
        </p:nvPicPr>
        <p:blipFill>
          <a:blip r:embed="rId6"/>
          <a:stretch>
            <a:fillRect/>
          </a:stretch>
        </p:blipFill>
        <p:spPr>
          <a:xfrm>
            <a:off x="5295935" y="0"/>
            <a:ext cx="6896065" cy="6858000"/>
          </a:xfrm>
          <a:prstGeom prst="rect">
            <a:avLst/>
          </a:prstGeom>
        </p:spPr>
      </p:pic>
      <p:sp>
        <p:nvSpPr>
          <p:cNvPr id="15" name="Title 1">
            <a:extLst>
              <a:ext uri="{FF2B5EF4-FFF2-40B4-BE49-F238E27FC236}">
                <a16:creationId xmlns:a16="http://schemas.microsoft.com/office/drawing/2014/main" id="{328D0AFF-FC2C-9B9F-627F-DB24FC54ABF2}"/>
              </a:ext>
            </a:extLst>
          </p:cNvPr>
          <p:cNvSpPr>
            <a:spLocks noGrp="1"/>
          </p:cNvSpPr>
          <p:nvPr>
            <p:ph type="title" hasCustomPrompt="1"/>
          </p:nvPr>
        </p:nvSpPr>
        <p:spPr>
          <a:xfrm>
            <a:off x="295737" y="4025784"/>
            <a:ext cx="6896064" cy="2099116"/>
          </a:xfrm>
        </p:spPr>
        <p:txBody>
          <a:bodyPr vert="horz">
            <a:noAutofit/>
          </a:bodyPr>
          <a:lstStyle>
            <a:lvl1pPr>
              <a:defRPr sz="4000" b="0">
                <a:solidFill>
                  <a:srgbClr val="153DCF"/>
                </a:solidFill>
                <a:latin typeface="+mj-lt"/>
                <a:ea typeface="+mj-ea"/>
                <a:cs typeface="+mj-cs"/>
              </a:defRPr>
            </a:lvl1pPr>
          </a:lstStyle>
          <a:p>
            <a:r>
              <a:rPr lang="en-US"/>
              <a:t>Inspirational or reference </a:t>
            </a:r>
            <a:br>
              <a:rPr lang="en-US"/>
            </a:br>
            <a:r>
              <a:rPr lang="en-US"/>
              <a:t>quote should be here highlighting some key words with a different color. </a:t>
            </a:r>
          </a:p>
        </p:txBody>
      </p:sp>
      <p:sp>
        <p:nvSpPr>
          <p:cNvPr id="2" name="Rectangle 1">
            <a:extLst>
              <a:ext uri="{FF2B5EF4-FFF2-40B4-BE49-F238E27FC236}">
                <a16:creationId xmlns:a16="http://schemas.microsoft.com/office/drawing/2014/main" id="{EA71DEEB-FA35-9D45-FAC5-1BB9D425CE92}"/>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3" name="Rectangle 2">
            <a:extLst>
              <a:ext uri="{FF2B5EF4-FFF2-40B4-BE49-F238E27FC236}">
                <a16:creationId xmlns:a16="http://schemas.microsoft.com/office/drawing/2014/main" id="{E86E568D-0837-ADE9-A14F-3D440BAFDD8B}"/>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5" name="Rectangle 4">
            <a:extLst>
              <a:ext uri="{FF2B5EF4-FFF2-40B4-BE49-F238E27FC236}">
                <a16:creationId xmlns:a16="http://schemas.microsoft.com/office/drawing/2014/main" id="{09E187E7-1DCD-C27A-A71B-B55B8944B94D}"/>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6" name="Rectangle 5">
            <a:extLst>
              <a:ext uri="{FF2B5EF4-FFF2-40B4-BE49-F238E27FC236}">
                <a16:creationId xmlns:a16="http://schemas.microsoft.com/office/drawing/2014/main" id="{24DC4CF9-ADE5-5630-694F-EF8E7E316CBE}"/>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D7972F1F-0DA8-02DD-FEA9-6188567715AD}"/>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8" name="Rectangle 7">
            <a:extLst>
              <a:ext uri="{FF2B5EF4-FFF2-40B4-BE49-F238E27FC236}">
                <a16:creationId xmlns:a16="http://schemas.microsoft.com/office/drawing/2014/main" id="{2121EE73-AA9F-69BB-D67F-644525DA712D}"/>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82B2B4EF-51AE-101E-3569-F76D512DB85D}"/>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CA13616A-CA4D-9D9D-31BE-CB72CB16A245}"/>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BA60BA59-1037-14E7-9275-C031EA787703}"/>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CF3F475E-01C3-2668-5E98-5F372A5FEA1E}"/>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Tree>
    <p:extLst>
      <p:ext uri="{BB962C8B-B14F-4D97-AF65-F5344CB8AC3E}">
        <p14:creationId xmlns:p14="http://schemas.microsoft.com/office/powerpoint/2010/main" val="442667003"/>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ample_Page">
    <p:bg>
      <p:bgPr>
        <a:solidFill>
          <a:schemeClr val="bg1"/>
        </a:solidFill>
        <a:effectLst/>
      </p:bgPr>
    </p:b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1531B907-0A91-35FE-9479-3CE0D3A56011}"/>
              </a:ext>
            </a:extLst>
          </p:cNvPr>
          <p:cNvGraphicFramePr>
            <a:graphicFrameLocks noChangeAspect="1"/>
          </p:cNvGraphicFramePr>
          <p:nvPr userDrawn="1">
            <p:custDataLst>
              <p:tags r:id="rId1"/>
            </p:custDataLst>
            <p:extLst>
              <p:ext uri="{D42A27DB-BD31-4B8C-83A1-F6EECF244321}">
                <p14:modId xmlns:p14="http://schemas.microsoft.com/office/powerpoint/2010/main" val="627273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6" name="think-cell data - do not delete" hidden="1">
                        <a:extLst>
                          <a:ext uri="{FF2B5EF4-FFF2-40B4-BE49-F238E27FC236}">
                            <a16:creationId xmlns:a16="http://schemas.microsoft.com/office/drawing/2014/main" id="{1531B907-0A91-35FE-9479-3CE0D3A560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2E835239-ECF4-4328-4803-FFACE5629BEB}"/>
              </a:ext>
            </a:extLst>
          </p:cNvPr>
          <p:cNvPicPr>
            <a:picLocks noChangeAspect="1"/>
          </p:cNvPicPr>
          <p:nvPr userDrawn="1"/>
        </p:nvPicPr>
        <p:blipFill>
          <a:blip r:embed="rId5"/>
          <a:stretch>
            <a:fillRect/>
          </a:stretch>
        </p:blipFill>
        <p:spPr>
          <a:xfrm>
            <a:off x="0" y="1390"/>
            <a:ext cx="12192000" cy="6855220"/>
          </a:xfrm>
          <a:prstGeom prst="rect">
            <a:avLst/>
          </a:prstGeom>
        </p:spPr>
      </p:pic>
      <p:pic>
        <p:nvPicPr>
          <p:cNvPr id="11" name="Picture 10">
            <a:extLst>
              <a:ext uri="{FF2B5EF4-FFF2-40B4-BE49-F238E27FC236}">
                <a16:creationId xmlns:a16="http://schemas.microsoft.com/office/drawing/2014/main" id="{78D175BA-52D5-4F17-0EE7-784CFB789AE4}"/>
              </a:ext>
            </a:extLst>
          </p:cNvPr>
          <p:cNvPicPr>
            <a:picLocks noChangeAspect="1"/>
          </p:cNvPicPr>
          <p:nvPr userDrawn="1"/>
        </p:nvPicPr>
        <p:blipFill>
          <a:blip r:embed="rId6"/>
          <a:stretch>
            <a:fillRect/>
          </a:stretch>
        </p:blipFill>
        <p:spPr>
          <a:xfrm>
            <a:off x="295737" y="6584987"/>
            <a:ext cx="2324100" cy="107950"/>
          </a:xfrm>
          <a:prstGeom prst="rect">
            <a:avLst/>
          </a:prstGeom>
        </p:spPr>
      </p:pic>
      <p:sp>
        <p:nvSpPr>
          <p:cNvPr id="12" name="Title 1">
            <a:extLst>
              <a:ext uri="{FF2B5EF4-FFF2-40B4-BE49-F238E27FC236}">
                <a16:creationId xmlns:a16="http://schemas.microsoft.com/office/drawing/2014/main" id="{C82FF431-011F-065B-7635-3B0775D7689B}"/>
              </a:ext>
            </a:extLst>
          </p:cNvPr>
          <p:cNvSpPr>
            <a:spLocks noGrp="1"/>
          </p:cNvSpPr>
          <p:nvPr>
            <p:ph type="title" hasCustomPrompt="1"/>
          </p:nvPr>
        </p:nvSpPr>
        <p:spPr>
          <a:xfrm>
            <a:off x="2423117" y="382660"/>
            <a:ext cx="9053536" cy="909493"/>
          </a:xfrm>
        </p:spPr>
        <p:txBody>
          <a:bodyPr vert="horz">
            <a:normAutofit/>
          </a:bodyPr>
          <a:lstStyle>
            <a:lvl1pPr>
              <a:defRPr sz="4000">
                <a:solidFill>
                  <a:srgbClr val="143DCF"/>
                </a:solidFill>
                <a:latin typeface="+mj-lt"/>
                <a:ea typeface="+mj-ea"/>
                <a:cs typeface="+mj-cs"/>
              </a:defRPr>
            </a:lvl1pPr>
          </a:lstStyle>
          <a:p>
            <a:r>
              <a:rPr lang="en-US"/>
              <a:t>Click here</a:t>
            </a:r>
          </a:p>
        </p:txBody>
      </p:sp>
      <p:sp>
        <p:nvSpPr>
          <p:cNvPr id="3" name="Rectangle 2">
            <a:extLst>
              <a:ext uri="{FF2B5EF4-FFF2-40B4-BE49-F238E27FC236}">
                <a16:creationId xmlns:a16="http://schemas.microsoft.com/office/drawing/2014/main" id="{21F0BE97-CA99-7B79-D826-93E9F46EBB49}"/>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4" name="Rectangle 3">
            <a:extLst>
              <a:ext uri="{FF2B5EF4-FFF2-40B4-BE49-F238E27FC236}">
                <a16:creationId xmlns:a16="http://schemas.microsoft.com/office/drawing/2014/main" id="{69C3A227-3D76-4165-91B3-287D7E997403}"/>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5" name="Rectangle 4">
            <a:extLst>
              <a:ext uri="{FF2B5EF4-FFF2-40B4-BE49-F238E27FC236}">
                <a16:creationId xmlns:a16="http://schemas.microsoft.com/office/drawing/2014/main" id="{2228AECE-747E-0B41-291E-F103A0FAB7F4}"/>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6" name="Rectangle 5">
            <a:extLst>
              <a:ext uri="{FF2B5EF4-FFF2-40B4-BE49-F238E27FC236}">
                <a16:creationId xmlns:a16="http://schemas.microsoft.com/office/drawing/2014/main" id="{4F35519D-C4F2-5EDC-3804-6C2D8ECD5657}"/>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F1690A03-A770-6530-1E47-F016AB1E892B}"/>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8" name="Rectangle 7">
            <a:extLst>
              <a:ext uri="{FF2B5EF4-FFF2-40B4-BE49-F238E27FC236}">
                <a16:creationId xmlns:a16="http://schemas.microsoft.com/office/drawing/2014/main" id="{21FA8D01-B7F4-5921-0B94-83CB908874CD}"/>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0D53F36E-A990-9FEA-625A-5420B4D93CDF}"/>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BD4E1361-ECF1-91E6-50F4-51EE3B8F871E}"/>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7BEBE4AF-688B-F414-F99A-2BDDA34483D6}"/>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3D1D321D-3D0B-A997-798C-0BDBC34945D7}"/>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Tree>
    <p:extLst>
      <p:ext uri="{BB962C8B-B14F-4D97-AF65-F5344CB8AC3E}">
        <p14:creationId xmlns:p14="http://schemas.microsoft.com/office/powerpoint/2010/main" val="790036212"/>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reen_Background">
    <p:bg>
      <p:bgPr>
        <a:solidFill>
          <a:schemeClr val="bg1"/>
        </a:solidFill>
        <a:effectLst/>
      </p:bgPr>
    </p:bg>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5356A950-807F-8B3D-14E0-95D6E6E2B557}"/>
              </a:ext>
            </a:extLst>
          </p:cNvPr>
          <p:cNvGraphicFramePr>
            <a:graphicFrameLocks noChangeAspect="1"/>
          </p:cNvGraphicFramePr>
          <p:nvPr userDrawn="1">
            <p:custDataLst>
              <p:tags r:id="rId1"/>
            </p:custDataLst>
            <p:extLst>
              <p:ext uri="{D42A27DB-BD31-4B8C-83A1-F6EECF244321}">
                <p14:modId xmlns:p14="http://schemas.microsoft.com/office/powerpoint/2010/main" val="1079415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5" name="think-cell data - do not delete" hidden="1">
                        <a:extLst>
                          <a:ext uri="{FF2B5EF4-FFF2-40B4-BE49-F238E27FC236}">
                            <a16:creationId xmlns:a16="http://schemas.microsoft.com/office/drawing/2014/main" id="{5356A950-807F-8B3D-14E0-95D6E6E2B5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210703FA-F8EC-03DD-1E36-D8E2A8594CAD}"/>
              </a:ext>
            </a:extLst>
          </p:cNvPr>
          <p:cNvPicPr>
            <a:picLocks noChangeAspect="1"/>
          </p:cNvPicPr>
          <p:nvPr userDrawn="1"/>
        </p:nvPicPr>
        <p:blipFill>
          <a:blip r:embed="rId5"/>
          <a:stretch>
            <a:fillRect/>
          </a:stretch>
        </p:blipFill>
        <p:spPr>
          <a:xfrm>
            <a:off x="0" y="-2267"/>
            <a:ext cx="12186837" cy="6874138"/>
          </a:xfrm>
          <a:prstGeom prst="rect">
            <a:avLst/>
          </a:prstGeom>
        </p:spPr>
      </p:pic>
      <p:sp>
        <p:nvSpPr>
          <p:cNvPr id="5" name="Title 1">
            <a:extLst>
              <a:ext uri="{FF2B5EF4-FFF2-40B4-BE49-F238E27FC236}">
                <a16:creationId xmlns:a16="http://schemas.microsoft.com/office/drawing/2014/main" id="{37E7D121-327E-617A-67C7-C4DFE6B33040}"/>
              </a:ext>
            </a:extLst>
          </p:cNvPr>
          <p:cNvSpPr>
            <a:spLocks noGrp="1"/>
          </p:cNvSpPr>
          <p:nvPr>
            <p:ph type="title"/>
          </p:nvPr>
        </p:nvSpPr>
        <p:spPr>
          <a:xfrm>
            <a:off x="295737" y="388571"/>
            <a:ext cx="10515600" cy="909493"/>
          </a:xfrm>
        </p:spPr>
        <p:txBody>
          <a:bodyPr>
            <a:normAutofit/>
          </a:bodyPr>
          <a:lstStyle>
            <a:lvl1pPr>
              <a:defRPr sz="4000">
                <a:solidFill>
                  <a:schemeClr val="bg1"/>
                </a:solidFill>
                <a:latin typeface="+mj-lt"/>
                <a:ea typeface="+mj-ea"/>
                <a:cs typeface="+mj-cs"/>
              </a:defRPr>
            </a:lvl1pPr>
          </a:lstStyle>
          <a:p>
            <a:endParaRPr lang="en-US"/>
          </a:p>
        </p:txBody>
      </p:sp>
      <p:pic>
        <p:nvPicPr>
          <p:cNvPr id="6" name="Picture 5">
            <a:extLst>
              <a:ext uri="{FF2B5EF4-FFF2-40B4-BE49-F238E27FC236}">
                <a16:creationId xmlns:a16="http://schemas.microsoft.com/office/drawing/2014/main" id="{827C6441-F40A-4E3F-636E-DC9EA33ED3E7}"/>
              </a:ext>
            </a:extLst>
          </p:cNvPr>
          <p:cNvPicPr>
            <a:picLocks noChangeAspect="1"/>
          </p:cNvPicPr>
          <p:nvPr userDrawn="1"/>
        </p:nvPicPr>
        <p:blipFill>
          <a:blip r:embed="rId6"/>
          <a:stretch>
            <a:fillRect/>
          </a:stretch>
        </p:blipFill>
        <p:spPr>
          <a:xfrm>
            <a:off x="295737" y="6594926"/>
            <a:ext cx="2324100" cy="107950"/>
          </a:xfrm>
          <a:prstGeom prst="rect">
            <a:avLst/>
          </a:prstGeom>
        </p:spPr>
      </p:pic>
      <p:sp>
        <p:nvSpPr>
          <p:cNvPr id="2" name="Rectangle 1">
            <a:extLst>
              <a:ext uri="{FF2B5EF4-FFF2-40B4-BE49-F238E27FC236}">
                <a16:creationId xmlns:a16="http://schemas.microsoft.com/office/drawing/2014/main" id="{0EFD1AD8-A82A-D201-FA11-3D2BB29DF8EF}"/>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4" name="Rectangle 3">
            <a:extLst>
              <a:ext uri="{FF2B5EF4-FFF2-40B4-BE49-F238E27FC236}">
                <a16:creationId xmlns:a16="http://schemas.microsoft.com/office/drawing/2014/main" id="{7017F892-BE05-D890-A2F5-16831FAF48AA}"/>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7E161CC2-A373-DC17-4C84-1402F2AB6DA1}"/>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8" name="Rectangle 7">
            <a:extLst>
              <a:ext uri="{FF2B5EF4-FFF2-40B4-BE49-F238E27FC236}">
                <a16:creationId xmlns:a16="http://schemas.microsoft.com/office/drawing/2014/main" id="{4A1BECA5-8EA3-A98A-C3B3-64C895C8AE2E}"/>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854EB9D6-0136-CB5C-F37E-886BBB8158CC}"/>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6CBF3E87-3DA6-E216-9B23-B7422ADD1BC3}"/>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D6FCE919-6BBF-B3A9-15EA-B58C789472CC}"/>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AB4A32DF-D5C1-A9C3-FA22-CA83869F6937}"/>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84CAB153-DF4A-88E7-9707-FBD929575294}"/>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F20EA46B-E164-A56C-5A24-D68B12B41C3E}"/>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Tree>
    <p:extLst>
      <p:ext uri="{BB962C8B-B14F-4D97-AF65-F5344CB8AC3E}">
        <p14:creationId xmlns:p14="http://schemas.microsoft.com/office/powerpoint/2010/main" val="474840525"/>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imple_Tex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F14763A3-C70D-460B-3671-94CA1C8815CE}"/>
              </a:ext>
            </a:extLst>
          </p:cNvPr>
          <p:cNvGraphicFramePr>
            <a:graphicFrameLocks noChangeAspect="1"/>
          </p:cNvGraphicFramePr>
          <p:nvPr userDrawn="1">
            <p:custDataLst>
              <p:tags r:id="rId1"/>
            </p:custDataLst>
            <p:extLst>
              <p:ext uri="{D42A27DB-BD31-4B8C-83A1-F6EECF244321}">
                <p14:modId xmlns:p14="http://schemas.microsoft.com/office/powerpoint/2010/main" val="1112681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F14763A3-C70D-460B-3671-94CA1C8815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45578B07-4D87-C67E-03EC-C2B62BD92331}"/>
              </a:ext>
            </a:extLst>
          </p:cNvPr>
          <p:cNvPicPr>
            <a:picLocks noChangeAspect="1"/>
          </p:cNvPicPr>
          <p:nvPr userDrawn="1"/>
        </p:nvPicPr>
        <p:blipFill>
          <a:blip r:embed="rId5"/>
          <a:stretch>
            <a:fillRect/>
          </a:stretch>
        </p:blipFill>
        <p:spPr>
          <a:xfrm>
            <a:off x="-10932" y="0"/>
            <a:ext cx="12225551" cy="984250"/>
          </a:xfrm>
          <a:prstGeom prst="rect">
            <a:avLst/>
          </a:prstGeom>
        </p:spPr>
      </p:pic>
      <p:sp>
        <p:nvSpPr>
          <p:cNvPr id="24" name="Title 23"/>
          <p:cNvSpPr>
            <a:spLocks noGrp="1"/>
          </p:cNvSpPr>
          <p:nvPr>
            <p:ph type="title"/>
          </p:nvPr>
        </p:nvSpPr>
        <p:spPr>
          <a:xfrm>
            <a:off x="609232" y="168381"/>
            <a:ext cx="10952147" cy="623222"/>
          </a:xfrm>
        </p:spPr>
        <p:txBody>
          <a:bodyPr vert="horz" lIns="0" tIns="0" rIns="0" bIns="0" anchor="ctr">
            <a:noAutofit/>
          </a:bodyPr>
          <a:lstStyle>
            <a:lvl1pPr>
              <a:lnSpc>
                <a:spcPct val="100000"/>
              </a:lnSpc>
              <a:defRPr lang="en-US" sz="3200" b="1" i="0" kern="1200" spc="-20" dirty="0">
                <a:solidFill>
                  <a:srgbClr val="FFFFFF"/>
                </a:solidFill>
                <a:latin typeface="+mj-lt"/>
                <a:ea typeface="+mj-ea"/>
                <a:cs typeface="+mj-cs"/>
              </a:defRPr>
            </a:lvl1pPr>
          </a:lstStyle>
          <a:p>
            <a:r>
              <a:rPr lang="en-US"/>
              <a:t>Click to edit Master title style</a:t>
            </a:r>
          </a:p>
        </p:txBody>
      </p:sp>
      <p:pic>
        <p:nvPicPr>
          <p:cNvPr id="14" name="Picture 13">
            <a:extLst>
              <a:ext uri="{FF2B5EF4-FFF2-40B4-BE49-F238E27FC236}">
                <a16:creationId xmlns:a16="http://schemas.microsoft.com/office/drawing/2014/main" id="{8BA7BD91-1229-618F-FEE9-62EAECA716AB}"/>
              </a:ext>
            </a:extLst>
          </p:cNvPr>
          <p:cNvPicPr>
            <a:picLocks noChangeAspect="1"/>
          </p:cNvPicPr>
          <p:nvPr userDrawn="1"/>
        </p:nvPicPr>
        <p:blipFill>
          <a:blip r:embed="rId6"/>
          <a:stretch>
            <a:fillRect/>
          </a:stretch>
        </p:blipFill>
        <p:spPr>
          <a:xfrm>
            <a:off x="295737" y="6584987"/>
            <a:ext cx="2324100" cy="107950"/>
          </a:xfrm>
          <a:prstGeom prst="rect">
            <a:avLst/>
          </a:prstGeom>
        </p:spPr>
      </p:pic>
      <p:pic>
        <p:nvPicPr>
          <p:cNvPr id="4" name="Picture 3">
            <a:extLst>
              <a:ext uri="{FF2B5EF4-FFF2-40B4-BE49-F238E27FC236}">
                <a16:creationId xmlns:a16="http://schemas.microsoft.com/office/drawing/2014/main" id="{FFEF50F8-AEE9-A933-6117-D7B4B4F123A7}"/>
              </a:ext>
            </a:extLst>
          </p:cNvPr>
          <p:cNvPicPr>
            <a:picLocks noChangeAspect="1"/>
          </p:cNvPicPr>
          <p:nvPr userDrawn="1"/>
        </p:nvPicPr>
        <p:blipFill>
          <a:blip r:embed="rId7"/>
          <a:stretch>
            <a:fillRect/>
          </a:stretch>
        </p:blipFill>
        <p:spPr>
          <a:xfrm>
            <a:off x="9953255" y="5418611"/>
            <a:ext cx="2261365" cy="1449421"/>
          </a:xfrm>
          <a:prstGeom prst="rect">
            <a:avLst/>
          </a:prstGeom>
        </p:spPr>
      </p:pic>
      <p:sp>
        <p:nvSpPr>
          <p:cNvPr id="5" name="Rectangle 4">
            <a:extLst>
              <a:ext uri="{FF2B5EF4-FFF2-40B4-BE49-F238E27FC236}">
                <a16:creationId xmlns:a16="http://schemas.microsoft.com/office/drawing/2014/main" id="{0C1269EF-E9CB-D480-DFFE-AD15E3224D07}"/>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6" name="Rectangle 5">
            <a:extLst>
              <a:ext uri="{FF2B5EF4-FFF2-40B4-BE49-F238E27FC236}">
                <a16:creationId xmlns:a16="http://schemas.microsoft.com/office/drawing/2014/main" id="{85BC36A3-57BB-3D6F-29E8-C94CB5207963}"/>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20A4A4D2-A39B-335D-008B-8CE77145E500}"/>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8" name="Rectangle 7">
            <a:extLst>
              <a:ext uri="{FF2B5EF4-FFF2-40B4-BE49-F238E27FC236}">
                <a16:creationId xmlns:a16="http://schemas.microsoft.com/office/drawing/2014/main" id="{2134A3B1-37E0-E12E-B62D-FDD725695926}"/>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999A66ED-CBDE-2ED1-D45C-AF5DE42445D4}"/>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5685DC56-5961-D3BD-A150-BF31D0D0B2F9}"/>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16858EBE-D6F1-B2FD-7907-11351E2C0326}"/>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FDA81C2A-1D81-B16D-B913-994BA5959537}"/>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650778D7-BBFE-BC0F-598E-CF9997C4E8BA}"/>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1C657207-F844-85CD-F9E3-4241A0D1912B}"/>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9" name="Text Placeholder 2">
            <a:extLst>
              <a:ext uri="{FF2B5EF4-FFF2-40B4-BE49-F238E27FC236}">
                <a16:creationId xmlns:a16="http://schemas.microsoft.com/office/drawing/2014/main" id="{67724A55-6F8E-1B2B-3043-9E24C064AA27}"/>
              </a:ext>
            </a:extLst>
          </p:cNvPr>
          <p:cNvSpPr>
            <a:spLocks noGrp="1"/>
          </p:cNvSpPr>
          <p:nvPr>
            <p:ph idx="1" hasCustomPrompt="1"/>
          </p:nvPr>
        </p:nvSpPr>
        <p:spPr>
          <a:xfrm>
            <a:off x="609232" y="1301577"/>
            <a:ext cx="10952147" cy="5017943"/>
          </a:xfrm>
          <a:prstGeom prst="rect">
            <a:avLst/>
          </a:prstGeom>
        </p:spPr>
        <p:txBody>
          <a:bodyPr vert="horz" lIns="91440" tIns="45720" rIns="91440" bIns="45720" rtlCol="0">
            <a:normAutofit/>
          </a:bodyPr>
          <a:lstStyle>
            <a:lvl1pPr>
              <a:defRPr>
                <a:solidFill>
                  <a:srgbClr val="133CCF"/>
                </a:solidFill>
                <a:latin typeface="+mn-lt"/>
                <a:ea typeface="+mn-ea"/>
                <a:cs typeface="+mn-cs"/>
              </a:defRPr>
            </a:lvl1pPr>
            <a:lvl2pPr marL="344488" indent="-173038">
              <a:buFont typeface="Arial" panose="020B0604020202020204" pitchFamily="34" charset="0"/>
              <a:buChar char="•"/>
              <a:tabLst/>
              <a:defRPr>
                <a:solidFill>
                  <a:srgbClr val="133CCF"/>
                </a:solidFill>
                <a:latin typeface="+mn-lt"/>
                <a:ea typeface="+mn-ea"/>
                <a:cs typeface="+mn-cs"/>
              </a:defRPr>
            </a:lvl2pPr>
            <a:lvl3pPr marL="517525" indent="-173038">
              <a:buFont typeface="Courier New" panose="02070309020205020404" pitchFamily="49" charset="0"/>
              <a:buChar char="o"/>
              <a:tabLst/>
              <a:defRPr>
                <a:solidFill>
                  <a:srgbClr val="133CCF"/>
                </a:solidFill>
                <a:latin typeface="+mn-lt"/>
                <a:ea typeface="+mn-ea"/>
                <a:cs typeface="+mn-cs"/>
              </a:defRPr>
            </a:lvl3pPr>
            <a:lvl4pPr marL="690563" indent="-173038">
              <a:buFont typeface="Wingdings" pitchFamily="2" charset="2"/>
              <a:buChar char="§"/>
              <a:tabLst/>
              <a:defRPr>
                <a:solidFill>
                  <a:srgbClr val="133CCF"/>
                </a:solidFill>
                <a:latin typeface="+mn-lt"/>
                <a:ea typeface="+mn-ea"/>
                <a:cs typeface="+mn-cs"/>
              </a:defRPr>
            </a:lvl4pPr>
            <a:lvl5pPr marL="923925" indent="-233363">
              <a:buSzPct val="70000"/>
              <a:buFont typeface="Wingdings" pitchFamily="2" charset="2"/>
              <a:buChar char="q"/>
              <a:tabLst/>
              <a:defRPr>
                <a:solidFill>
                  <a:srgbClr val="133CCF"/>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1733605"/>
      </p:ext>
    </p:extLst>
  </p:cSld>
  <p:clrMapOvr>
    <a:masterClrMapping/>
  </p:clrMapOvr>
  <p:extLst>
    <p:ext uri="{DCECCB84-F9BA-43D5-87BE-67443E8EF086}">
      <p15:sldGuideLst xmlns:p15="http://schemas.microsoft.com/office/powerpoint/2012/main">
        <p15:guide id="1" orient="horz" pos="4064" userDrawn="1">
          <p15:clr>
            <a:srgbClr val="FBAE40"/>
          </p15:clr>
        </p15:guide>
        <p15:guide id="2" orient="horz" pos="72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mple_Text only">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D19149D3-CA6C-85E9-5E2A-23BA03362BA6}"/>
              </a:ext>
            </a:extLst>
          </p:cNvPr>
          <p:cNvGraphicFramePr>
            <a:graphicFrameLocks noChangeAspect="1"/>
          </p:cNvGraphicFramePr>
          <p:nvPr userDrawn="1">
            <p:custDataLst>
              <p:tags r:id="rId1"/>
            </p:custDataLst>
            <p:extLst>
              <p:ext uri="{D42A27DB-BD31-4B8C-83A1-F6EECF244321}">
                <p14:modId xmlns:p14="http://schemas.microsoft.com/office/powerpoint/2010/main" val="745952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D19149D3-CA6C-85E9-5E2A-23BA03362B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45578B07-4D87-C67E-03EC-C2B62BD92331}"/>
              </a:ext>
            </a:extLst>
          </p:cNvPr>
          <p:cNvPicPr>
            <a:picLocks noChangeAspect="1"/>
          </p:cNvPicPr>
          <p:nvPr userDrawn="1"/>
        </p:nvPicPr>
        <p:blipFill>
          <a:blip r:embed="rId5"/>
          <a:stretch>
            <a:fillRect/>
          </a:stretch>
        </p:blipFill>
        <p:spPr>
          <a:xfrm>
            <a:off x="-10932" y="0"/>
            <a:ext cx="12225551" cy="984250"/>
          </a:xfrm>
          <a:prstGeom prst="rect">
            <a:avLst/>
          </a:prstGeom>
        </p:spPr>
      </p:pic>
      <p:sp>
        <p:nvSpPr>
          <p:cNvPr id="24" name="Title 23"/>
          <p:cNvSpPr>
            <a:spLocks noGrp="1"/>
          </p:cNvSpPr>
          <p:nvPr>
            <p:ph type="title"/>
          </p:nvPr>
        </p:nvSpPr>
        <p:spPr>
          <a:xfrm>
            <a:off x="609232" y="168381"/>
            <a:ext cx="10985868" cy="623222"/>
          </a:xfrm>
        </p:spPr>
        <p:txBody>
          <a:bodyPr vert="horz" lIns="0" tIns="0" rIns="0" bIns="0" anchor="ctr">
            <a:noAutofit/>
          </a:bodyPr>
          <a:lstStyle>
            <a:lvl1pPr>
              <a:lnSpc>
                <a:spcPct val="100000"/>
              </a:lnSpc>
              <a:defRPr lang="en-US" sz="3200" b="1" i="0" kern="1200" spc="-20" dirty="0">
                <a:solidFill>
                  <a:srgbClr val="FFFFFF"/>
                </a:solidFill>
                <a:latin typeface="+mj-lt"/>
                <a:ea typeface="+mj-ea"/>
                <a:cs typeface="+mj-cs"/>
              </a:defRPr>
            </a:lvl1pPr>
          </a:lstStyle>
          <a:p>
            <a:r>
              <a:rPr lang="en-US"/>
              <a:t>Click to edit Master title style</a:t>
            </a:r>
          </a:p>
        </p:txBody>
      </p:sp>
      <p:pic>
        <p:nvPicPr>
          <p:cNvPr id="14" name="Picture 13">
            <a:extLst>
              <a:ext uri="{FF2B5EF4-FFF2-40B4-BE49-F238E27FC236}">
                <a16:creationId xmlns:a16="http://schemas.microsoft.com/office/drawing/2014/main" id="{8BA7BD91-1229-618F-FEE9-62EAECA716AB}"/>
              </a:ext>
            </a:extLst>
          </p:cNvPr>
          <p:cNvPicPr>
            <a:picLocks noChangeAspect="1"/>
          </p:cNvPicPr>
          <p:nvPr userDrawn="1"/>
        </p:nvPicPr>
        <p:blipFill>
          <a:blip r:embed="rId6"/>
          <a:stretch>
            <a:fillRect/>
          </a:stretch>
        </p:blipFill>
        <p:spPr>
          <a:xfrm>
            <a:off x="295737" y="6584987"/>
            <a:ext cx="2324100" cy="107950"/>
          </a:xfrm>
          <a:prstGeom prst="rect">
            <a:avLst/>
          </a:prstGeom>
        </p:spPr>
      </p:pic>
      <p:pic>
        <p:nvPicPr>
          <p:cNvPr id="4" name="Picture 3">
            <a:extLst>
              <a:ext uri="{FF2B5EF4-FFF2-40B4-BE49-F238E27FC236}">
                <a16:creationId xmlns:a16="http://schemas.microsoft.com/office/drawing/2014/main" id="{FFEF50F8-AEE9-A933-6117-D7B4B4F123A7}"/>
              </a:ext>
            </a:extLst>
          </p:cNvPr>
          <p:cNvPicPr>
            <a:picLocks noChangeAspect="1"/>
          </p:cNvPicPr>
          <p:nvPr userDrawn="1"/>
        </p:nvPicPr>
        <p:blipFill>
          <a:blip r:embed="rId7"/>
          <a:stretch>
            <a:fillRect/>
          </a:stretch>
        </p:blipFill>
        <p:spPr>
          <a:xfrm>
            <a:off x="9953255" y="5418611"/>
            <a:ext cx="2261365" cy="1449421"/>
          </a:xfrm>
          <a:prstGeom prst="rect">
            <a:avLst/>
          </a:prstGeom>
        </p:spPr>
      </p:pic>
      <p:sp>
        <p:nvSpPr>
          <p:cNvPr id="5" name="Rectangle 4">
            <a:extLst>
              <a:ext uri="{FF2B5EF4-FFF2-40B4-BE49-F238E27FC236}">
                <a16:creationId xmlns:a16="http://schemas.microsoft.com/office/drawing/2014/main" id="{0C1269EF-E9CB-D480-DFFE-AD15E3224D07}"/>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6" name="Rectangle 5">
            <a:extLst>
              <a:ext uri="{FF2B5EF4-FFF2-40B4-BE49-F238E27FC236}">
                <a16:creationId xmlns:a16="http://schemas.microsoft.com/office/drawing/2014/main" id="{85BC36A3-57BB-3D6F-29E8-C94CB5207963}"/>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20A4A4D2-A39B-335D-008B-8CE77145E500}"/>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8" name="Rectangle 7">
            <a:extLst>
              <a:ext uri="{FF2B5EF4-FFF2-40B4-BE49-F238E27FC236}">
                <a16:creationId xmlns:a16="http://schemas.microsoft.com/office/drawing/2014/main" id="{2134A3B1-37E0-E12E-B62D-FDD725695926}"/>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999A66ED-CBDE-2ED1-D45C-AF5DE42445D4}"/>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5685DC56-5961-D3BD-A150-BF31D0D0B2F9}"/>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16858EBE-D6F1-B2FD-7907-11351E2C0326}"/>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FDA81C2A-1D81-B16D-B913-994BA5959537}"/>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650778D7-BBFE-BC0F-598E-CF9997C4E8BA}"/>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1C657207-F844-85CD-F9E3-4241A0D1912B}"/>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Tree>
    <p:extLst>
      <p:ext uri="{BB962C8B-B14F-4D97-AF65-F5344CB8AC3E}">
        <p14:creationId xmlns:p14="http://schemas.microsoft.com/office/powerpoint/2010/main" val="3149572570"/>
      </p:ext>
    </p:extLst>
  </p:cSld>
  <p:clrMapOvr>
    <a:masterClrMapping/>
  </p:clrMapOvr>
  <p:extLst>
    <p:ext uri="{DCECCB84-F9BA-43D5-87BE-67443E8EF086}">
      <p15:sldGuideLst xmlns:p15="http://schemas.microsoft.com/office/powerpoint/2012/main">
        <p15:guide id="1" orient="horz" pos="4064" userDrawn="1">
          <p15:clr>
            <a:srgbClr val="FBAE40"/>
          </p15:clr>
        </p15:guide>
        <p15:guide id="2" orient="horz" pos="72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E90E3383-1AC6-98F9-F9B7-8053829C3534}"/>
              </a:ext>
            </a:extLst>
          </p:cNvPr>
          <p:cNvGraphicFramePr>
            <a:graphicFrameLocks noChangeAspect="1"/>
          </p:cNvGraphicFramePr>
          <p:nvPr userDrawn="1">
            <p:custDataLst>
              <p:tags r:id="rId1"/>
            </p:custDataLst>
            <p:extLst>
              <p:ext uri="{D42A27DB-BD31-4B8C-83A1-F6EECF244321}">
                <p14:modId xmlns:p14="http://schemas.microsoft.com/office/powerpoint/2010/main" val="657539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7" name="Object 16" hidden="1">
                        <a:extLst>
                          <a:ext uri="{FF2B5EF4-FFF2-40B4-BE49-F238E27FC236}">
                            <a16:creationId xmlns:a16="http://schemas.microsoft.com/office/drawing/2014/main" id="{E90E3383-1AC6-98F9-F9B7-8053829C35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F6F23CE4-FE7C-2C77-B618-E4367FE3FD37}"/>
              </a:ext>
            </a:extLst>
          </p:cNvPr>
          <p:cNvPicPr>
            <a:picLocks noChangeAspect="1"/>
          </p:cNvPicPr>
          <p:nvPr userDrawn="1"/>
        </p:nvPicPr>
        <p:blipFill>
          <a:blip r:embed="rId5"/>
          <a:stretch>
            <a:fillRect/>
          </a:stretch>
        </p:blipFill>
        <p:spPr>
          <a:xfrm>
            <a:off x="-1204" y="0"/>
            <a:ext cx="12202931" cy="984250"/>
          </a:xfrm>
          <a:prstGeom prst="rect">
            <a:avLst/>
          </a:prstGeom>
        </p:spPr>
      </p:pic>
      <p:sp>
        <p:nvSpPr>
          <p:cNvPr id="16" name="Title 23">
            <a:extLst>
              <a:ext uri="{FF2B5EF4-FFF2-40B4-BE49-F238E27FC236}">
                <a16:creationId xmlns:a16="http://schemas.microsoft.com/office/drawing/2014/main" id="{4085826A-7691-1843-B06C-82034F1F58ED}"/>
              </a:ext>
            </a:extLst>
          </p:cNvPr>
          <p:cNvSpPr>
            <a:spLocks noGrp="1"/>
          </p:cNvSpPr>
          <p:nvPr>
            <p:ph type="title"/>
          </p:nvPr>
        </p:nvSpPr>
        <p:spPr>
          <a:xfrm>
            <a:off x="609232" y="164592"/>
            <a:ext cx="10985868" cy="623222"/>
          </a:xfrm>
        </p:spPr>
        <p:txBody>
          <a:bodyPr vert="horz" lIns="0" tIns="0" rIns="0" bIns="0">
            <a:noAutofit/>
          </a:bodyPr>
          <a:lstStyle>
            <a:lvl1pPr>
              <a:lnSpc>
                <a:spcPct val="90000"/>
              </a:lnSpc>
              <a:defRPr lang="en-US" sz="3200" b="1" i="0" kern="1200" spc="-20" dirty="0">
                <a:solidFill>
                  <a:srgbClr val="FFFFFF"/>
                </a:solidFill>
                <a:latin typeface="+mj-lt"/>
                <a:ea typeface="+mj-ea"/>
                <a:cs typeface="+mj-cs"/>
              </a:defRPr>
            </a:lvl1pPr>
          </a:lstStyle>
          <a:p>
            <a:r>
              <a:rPr lang="en-US"/>
              <a:t>Click to edit Master title style</a:t>
            </a:r>
          </a:p>
        </p:txBody>
      </p:sp>
      <p:pic>
        <p:nvPicPr>
          <p:cNvPr id="3" name="Picture 2">
            <a:extLst>
              <a:ext uri="{FF2B5EF4-FFF2-40B4-BE49-F238E27FC236}">
                <a16:creationId xmlns:a16="http://schemas.microsoft.com/office/drawing/2014/main" id="{1C6D7EFE-B94E-A0C8-5388-BC62CE528AE2}"/>
              </a:ext>
            </a:extLst>
          </p:cNvPr>
          <p:cNvPicPr>
            <a:picLocks noChangeAspect="1"/>
          </p:cNvPicPr>
          <p:nvPr userDrawn="1"/>
        </p:nvPicPr>
        <p:blipFill>
          <a:blip r:embed="rId6"/>
          <a:stretch>
            <a:fillRect/>
          </a:stretch>
        </p:blipFill>
        <p:spPr>
          <a:xfrm>
            <a:off x="295737" y="6584987"/>
            <a:ext cx="2324100" cy="107950"/>
          </a:xfrm>
          <a:prstGeom prst="rect">
            <a:avLst/>
          </a:prstGeom>
        </p:spPr>
      </p:pic>
      <p:pic>
        <p:nvPicPr>
          <p:cNvPr id="4" name="Picture 3">
            <a:extLst>
              <a:ext uri="{FF2B5EF4-FFF2-40B4-BE49-F238E27FC236}">
                <a16:creationId xmlns:a16="http://schemas.microsoft.com/office/drawing/2014/main" id="{67265669-6E78-1892-09A2-F67A67F5F0B0}"/>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rot="10800000">
            <a:off x="11008907" y="0"/>
            <a:ext cx="1202971" cy="984249"/>
          </a:xfrm>
          <a:prstGeom prst="rect">
            <a:avLst/>
          </a:prstGeom>
        </p:spPr>
      </p:pic>
      <p:pic>
        <p:nvPicPr>
          <p:cNvPr id="5" name="Picture 4">
            <a:extLst>
              <a:ext uri="{FF2B5EF4-FFF2-40B4-BE49-F238E27FC236}">
                <a16:creationId xmlns:a16="http://schemas.microsoft.com/office/drawing/2014/main" id="{A90CF7B4-DE90-21A6-D620-7BCD91B40ADC}"/>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569480" y="159548"/>
            <a:ext cx="269928" cy="269928"/>
          </a:xfrm>
          <a:prstGeom prst="rect">
            <a:avLst/>
          </a:prstGeom>
        </p:spPr>
      </p:pic>
      <p:sp>
        <p:nvSpPr>
          <p:cNvPr id="7" name="TextBox 6">
            <a:extLst>
              <a:ext uri="{FF2B5EF4-FFF2-40B4-BE49-F238E27FC236}">
                <a16:creationId xmlns:a16="http://schemas.microsoft.com/office/drawing/2014/main" id="{C2663213-C84B-C89E-4A66-6CE8722A5113}"/>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mn-lt"/>
                <a:ea typeface="+mn-ea"/>
                <a:cs typeface="+mn-cs"/>
              </a:rPr>
              <a:pPr algn="r"/>
              <a:t>‹#›</a:t>
            </a:fld>
            <a:endParaRPr lang="en-US" sz="700" spc="300">
              <a:solidFill>
                <a:schemeClr val="accent5"/>
              </a:solidFill>
              <a:latin typeface="+mn-lt"/>
              <a:ea typeface="+mn-ea"/>
              <a:cs typeface="+mn-cs"/>
            </a:endParaRPr>
          </a:p>
        </p:txBody>
      </p:sp>
      <p:sp>
        <p:nvSpPr>
          <p:cNvPr id="9" name="Rectangle 8">
            <a:extLst>
              <a:ext uri="{FF2B5EF4-FFF2-40B4-BE49-F238E27FC236}">
                <a16:creationId xmlns:a16="http://schemas.microsoft.com/office/drawing/2014/main" id="{9F992DEB-7BB3-9DE7-9807-6EDEF1614772}"/>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3A6B7645-AB98-A166-C159-BBB0911ED82B}"/>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70AAECB4-7ED0-587F-8F3B-BB80E5A4822F}"/>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0479A0D5-CB5E-BA69-32F3-8D59FAEC5CC8}"/>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D927DEB0-1704-6FD6-D04F-E1BB13604DB7}"/>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6883FE8C-0C48-F488-DFF3-81EDA6B0F23F}"/>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8C7E62DB-5181-617B-620D-4714F10E6191}"/>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9" name="Rectangle 18">
            <a:extLst>
              <a:ext uri="{FF2B5EF4-FFF2-40B4-BE49-F238E27FC236}">
                <a16:creationId xmlns:a16="http://schemas.microsoft.com/office/drawing/2014/main" id="{3D31B9C5-02D6-3BE6-E9FF-6BCC50BAB5AE}"/>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20" name="Rectangle 19">
            <a:extLst>
              <a:ext uri="{FF2B5EF4-FFF2-40B4-BE49-F238E27FC236}">
                <a16:creationId xmlns:a16="http://schemas.microsoft.com/office/drawing/2014/main" id="{F8734AE0-25BD-1764-A032-4FB5F5D2E6A8}"/>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21" name="Rectangle 20">
            <a:extLst>
              <a:ext uri="{FF2B5EF4-FFF2-40B4-BE49-F238E27FC236}">
                <a16:creationId xmlns:a16="http://schemas.microsoft.com/office/drawing/2014/main" id="{A6BB7120-787E-71B4-78EC-A07E3FD7F622}"/>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Tree>
    <p:extLst>
      <p:ext uri="{BB962C8B-B14F-4D97-AF65-F5344CB8AC3E}">
        <p14:creationId xmlns:p14="http://schemas.microsoft.com/office/powerpoint/2010/main" val="12624337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E90E3383-1AC6-98F9-F9B7-8053829C3534}"/>
              </a:ext>
            </a:extLst>
          </p:cNvPr>
          <p:cNvGraphicFramePr>
            <a:graphicFrameLocks noChangeAspect="1"/>
          </p:cNvGraphicFramePr>
          <p:nvPr userDrawn="1">
            <p:custDataLst>
              <p:tags r:id="rId1"/>
            </p:custDataLst>
            <p:extLst>
              <p:ext uri="{D42A27DB-BD31-4B8C-83A1-F6EECF244321}">
                <p14:modId xmlns:p14="http://schemas.microsoft.com/office/powerpoint/2010/main" val="961424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7" name="Object 16" hidden="1">
                        <a:extLst>
                          <a:ext uri="{FF2B5EF4-FFF2-40B4-BE49-F238E27FC236}">
                            <a16:creationId xmlns:a16="http://schemas.microsoft.com/office/drawing/2014/main" id="{E90E3383-1AC6-98F9-F9B7-8053829C35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1C6D7EFE-B94E-A0C8-5388-BC62CE528AE2}"/>
              </a:ext>
            </a:extLst>
          </p:cNvPr>
          <p:cNvPicPr>
            <a:picLocks noChangeAspect="1"/>
          </p:cNvPicPr>
          <p:nvPr userDrawn="1"/>
        </p:nvPicPr>
        <p:blipFill>
          <a:blip r:embed="rId5"/>
          <a:stretch>
            <a:fillRect/>
          </a:stretch>
        </p:blipFill>
        <p:spPr>
          <a:xfrm>
            <a:off x="295737" y="6584987"/>
            <a:ext cx="2324100" cy="107950"/>
          </a:xfrm>
          <a:prstGeom prst="rect">
            <a:avLst/>
          </a:prstGeom>
        </p:spPr>
      </p:pic>
      <p:sp>
        <p:nvSpPr>
          <p:cNvPr id="7" name="TextBox 6">
            <a:extLst>
              <a:ext uri="{FF2B5EF4-FFF2-40B4-BE49-F238E27FC236}">
                <a16:creationId xmlns:a16="http://schemas.microsoft.com/office/drawing/2014/main" id="{C2663213-C84B-C89E-4A66-6CE8722A5113}"/>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mn-lt"/>
                <a:ea typeface="+mn-ea"/>
                <a:cs typeface="+mn-cs"/>
              </a:rPr>
              <a:pPr algn="r"/>
              <a:t>‹#›</a:t>
            </a:fld>
            <a:endParaRPr lang="en-US" sz="700" spc="300">
              <a:solidFill>
                <a:schemeClr val="accent5"/>
              </a:solidFill>
              <a:latin typeface="+mn-lt"/>
              <a:ea typeface="+mn-ea"/>
              <a:cs typeface="+mn-cs"/>
            </a:endParaRPr>
          </a:p>
        </p:txBody>
      </p:sp>
      <p:sp>
        <p:nvSpPr>
          <p:cNvPr id="12" name="Rectangle 11">
            <a:extLst>
              <a:ext uri="{FF2B5EF4-FFF2-40B4-BE49-F238E27FC236}">
                <a16:creationId xmlns:a16="http://schemas.microsoft.com/office/drawing/2014/main" id="{0479A0D5-CB5E-BA69-32F3-8D59FAEC5CC8}"/>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D927DEB0-1704-6FD6-D04F-E1BB13604DB7}"/>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6883FE8C-0C48-F488-DFF3-81EDA6B0F23F}"/>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8C7E62DB-5181-617B-620D-4714F10E6191}"/>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9" name="Rectangle 18">
            <a:extLst>
              <a:ext uri="{FF2B5EF4-FFF2-40B4-BE49-F238E27FC236}">
                <a16:creationId xmlns:a16="http://schemas.microsoft.com/office/drawing/2014/main" id="{3D31B9C5-02D6-3BE6-E9FF-6BCC50BAB5AE}"/>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20" name="Rectangle 19">
            <a:extLst>
              <a:ext uri="{FF2B5EF4-FFF2-40B4-BE49-F238E27FC236}">
                <a16:creationId xmlns:a16="http://schemas.microsoft.com/office/drawing/2014/main" id="{F8734AE0-25BD-1764-A032-4FB5F5D2E6A8}"/>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21" name="Rectangle 20">
            <a:extLst>
              <a:ext uri="{FF2B5EF4-FFF2-40B4-BE49-F238E27FC236}">
                <a16:creationId xmlns:a16="http://schemas.microsoft.com/office/drawing/2014/main" id="{A6BB7120-787E-71B4-78EC-A07E3FD7F622}"/>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45C5644D-3FB8-C0EA-0621-072EA22A32DB}"/>
              </a:ext>
            </a:extLst>
          </p:cNvPr>
          <p:cNvSpPr>
            <a:spLocks/>
          </p:cNvSpPr>
          <p:nvPr userDrawn="1"/>
        </p:nvSpPr>
        <p:spPr>
          <a:xfrm>
            <a:off x="-1204" y="0"/>
            <a:ext cx="12202931" cy="984250"/>
          </a:xfrm>
          <a:prstGeom prst="rect">
            <a:avLst/>
          </a:prstGeom>
          <a:solidFill>
            <a:srgbClr val="09218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mn-lt"/>
              <a:ea typeface="+mn-ea"/>
              <a:cs typeface="+mn-cs"/>
            </a:endParaRPr>
          </a:p>
        </p:txBody>
      </p:sp>
      <p:sp>
        <p:nvSpPr>
          <p:cNvPr id="8" name="Title 23">
            <a:extLst>
              <a:ext uri="{FF2B5EF4-FFF2-40B4-BE49-F238E27FC236}">
                <a16:creationId xmlns:a16="http://schemas.microsoft.com/office/drawing/2014/main" id="{698B294A-1ABD-A2E5-1542-7F44880CB741}"/>
              </a:ext>
            </a:extLst>
          </p:cNvPr>
          <p:cNvSpPr>
            <a:spLocks noGrp="1"/>
          </p:cNvSpPr>
          <p:nvPr>
            <p:ph type="title"/>
          </p:nvPr>
        </p:nvSpPr>
        <p:spPr>
          <a:xfrm>
            <a:off x="609232" y="164592"/>
            <a:ext cx="8679547" cy="623222"/>
          </a:xfrm>
        </p:spPr>
        <p:txBody>
          <a:bodyPr vert="horz" lIns="0" tIns="0" rIns="0" bIns="0">
            <a:noAutofit/>
          </a:bodyPr>
          <a:lstStyle>
            <a:lvl1pPr>
              <a:lnSpc>
                <a:spcPct val="90000"/>
              </a:lnSpc>
              <a:defRPr lang="en-US" sz="3200" b="1" i="0" kern="1200" spc="-20" dirty="0">
                <a:solidFill>
                  <a:srgbClr val="FFFFFF"/>
                </a:solidFill>
                <a:latin typeface="+mj-lt"/>
                <a:ea typeface="+mj-ea"/>
                <a:cs typeface="+mj-cs"/>
              </a:defRPr>
            </a:lvl1pPr>
          </a:lstStyle>
          <a:p>
            <a:r>
              <a:rPr lang="en-US"/>
              <a:t>Click to edit Master title style</a:t>
            </a:r>
          </a:p>
        </p:txBody>
      </p:sp>
      <p:pic>
        <p:nvPicPr>
          <p:cNvPr id="18" name="Picture 17">
            <a:extLst>
              <a:ext uri="{FF2B5EF4-FFF2-40B4-BE49-F238E27FC236}">
                <a16:creationId xmlns:a16="http://schemas.microsoft.com/office/drawing/2014/main" id="{A2C879C4-6798-5EC1-77CC-5185E79CD7C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rot="10800000">
            <a:off x="11008907" y="0"/>
            <a:ext cx="1202971" cy="984249"/>
          </a:xfrm>
          <a:prstGeom prst="rect">
            <a:avLst/>
          </a:prstGeom>
        </p:spPr>
      </p:pic>
      <p:pic>
        <p:nvPicPr>
          <p:cNvPr id="22" name="Picture 21">
            <a:extLst>
              <a:ext uri="{FF2B5EF4-FFF2-40B4-BE49-F238E27FC236}">
                <a16:creationId xmlns:a16="http://schemas.microsoft.com/office/drawing/2014/main" id="{31A35971-C5D2-72BF-2C57-4B5082295765}"/>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569480" y="159548"/>
            <a:ext cx="269928" cy="269928"/>
          </a:xfrm>
          <a:prstGeom prst="rect">
            <a:avLst/>
          </a:prstGeom>
        </p:spPr>
      </p:pic>
      <p:sp>
        <p:nvSpPr>
          <p:cNvPr id="23" name="Rectangle 22">
            <a:extLst>
              <a:ext uri="{FF2B5EF4-FFF2-40B4-BE49-F238E27FC236}">
                <a16:creationId xmlns:a16="http://schemas.microsoft.com/office/drawing/2014/main" id="{22B27B05-49C3-4EA1-377B-24EFFD537FB7}"/>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pic>
        <p:nvPicPr>
          <p:cNvPr id="24" name="Picture 23" descr="Logo, company name&#10;&#10;Description automatically generated">
            <a:extLst>
              <a:ext uri="{FF2B5EF4-FFF2-40B4-BE49-F238E27FC236}">
                <a16:creationId xmlns:a16="http://schemas.microsoft.com/office/drawing/2014/main" id="{AAB72009-33DF-CB2F-3AB4-7A14582D03C0}"/>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l="21196" t="17928" r="20543" b="18722"/>
          <a:stretch/>
        </p:blipFill>
        <p:spPr>
          <a:xfrm>
            <a:off x="9374127" y="105280"/>
            <a:ext cx="1131948" cy="773690"/>
          </a:xfrm>
          <a:prstGeom prst="rect">
            <a:avLst/>
          </a:prstGeom>
        </p:spPr>
      </p:pic>
      <p:sp>
        <p:nvSpPr>
          <p:cNvPr id="2" name="Rectangle 1">
            <a:extLst>
              <a:ext uri="{FF2B5EF4-FFF2-40B4-BE49-F238E27FC236}">
                <a16:creationId xmlns:a16="http://schemas.microsoft.com/office/drawing/2014/main" id="{E0702500-F4D3-18C0-5CEA-0237C3819E67}"/>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4" name="Rectangle 3">
            <a:extLst>
              <a:ext uri="{FF2B5EF4-FFF2-40B4-BE49-F238E27FC236}">
                <a16:creationId xmlns:a16="http://schemas.microsoft.com/office/drawing/2014/main" id="{6AFF4318-84B2-E7F5-CFD2-E8C32F72FE64}"/>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Tree>
    <p:extLst>
      <p:ext uri="{BB962C8B-B14F-4D97-AF65-F5344CB8AC3E}">
        <p14:creationId xmlns:p14="http://schemas.microsoft.com/office/powerpoint/2010/main" val="26185332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E90E3383-1AC6-98F9-F9B7-8053829C3534}"/>
              </a:ext>
            </a:extLst>
          </p:cNvPr>
          <p:cNvGraphicFramePr>
            <a:graphicFrameLocks noChangeAspect="1"/>
          </p:cNvGraphicFramePr>
          <p:nvPr userDrawn="1">
            <p:custDataLst>
              <p:tags r:id="rId1"/>
            </p:custDataLst>
            <p:extLst>
              <p:ext uri="{D42A27DB-BD31-4B8C-83A1-F6EECF244321}">
                <p14:modId xmlns:p14="http://schemas.microsoft.com/office/powerpoint/2010/main" val="4210235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7" name="Object 16" hidden="1">
                        <a:extLst>
                          <a:ext uri="{FF2B5EF4-FFF2-40B4-BE49-F238E27FC236}">
                            <a16:creationId xmlns:a16="http://schemas.microsoft.com/office/drawing/2014/main" id="{E90E3383-1AC6-98F9-F9B7-8053829C35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1C6D7EFE-B94E-A0C8-5388-BC62CE528AE2}"/>
              </a:ext>
            </a:extLst>
          </p:cNvPr>
          <p:cNvPicPr>
            <a:picLocks noChangeAspect="1"/>
          </p:cNvPicPr>
          <p:nvPr userDrawn="1"/>
        </p:nvPicPr>
        <p:blipFill>
          <a:blip r:embed="rId5"/>
          <a:stretch>
            <a:fillRect/>
          </a:stretch>
        </p:blipFill>
        <p:spPr>
          <a:xfrm>
            <a:off x="295737" y="6584987"/>
            <a:ext cx="2324100" cy="107950"/>
          </a:xfrm>
          <a:prstGeom prst="rect">
            <a:avLst/>
          </a:prstGeom>
        </p:spPr>
      </p:pic>
      <p:sp>
        <p:nvSpPr>
          <p:cNvPr id="7" name="TextBox 6">
            <a:extLst>
              <a:ext uri="{FF2B5EF4-FFF2-40B4-BE49-F238E27FC236}">
                <a16:creationId xmlns:a16="http://schemas.microsoft.com/office/drawing/2014/main" id="{C2663213-C84B-C89E-4A66-6CE8722A5113}"/>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mn-lt"/>
                <a:ea typeface="+mn-ea"/>
                <a:cs typeface="+mn-cs"/>
              </a:rPr>
              <a:pPr algn="r"/>
              <a:t>‹#›</a:t>
            </a:fld>
            <a:endParaRPr lang="en-US" sz="700" spc="300">
              <a:solidFill>
                <a:schemeClr val="accent5"/>
              </a:solidFill>
              <a:latin typeface="+mn-lt"/>
              <a:ea typeface="+mn-ea"/>
              <a:cs typeface="+mn-cs"/>
            </a:endParaRPr>
          </a:p>
        </p:txBody>
      </p:sp>
      <p:sp>
        <p:nvSpPr>
          <p:cNvPr id="9" name="Rectangle 8">
            <a:extLst>
              <a:ext uri="{FF2B5EF4-FFF2-40B4-BE49-F238E27FC236}">
                <a16:creationId xmlns:a16="http://schemas.microsoft.com/office/drawing/2014/main" id="{9F992DEB-7BB3-9DE7-9807-6EDEF1614772}"/>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3A6B7645-AB98-A166-C159-BBB0911ED82B}"/>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70AAECB4-7ED0-587F-8F3B-BB80E5A4822F}"/>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0479A0D5-CB5E-BA69-32F3-8D59FAEC5CC8}"/>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D927DEB0-1704-6FD6-D04F-E1BB13604DB7}"/>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6883FE8C-0C48-F488-DFF3-81EDA6B0F23F}"/>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8C7E62DB-5181-617B-620D-4714F10E6191}"/>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9" name="Rectangle 18">
            <a:extLst>
              <a:ext uri="{FF2B5EF4-FFF2-40B4-BE49-F238E27FC236}">
                <a16:creationId xmlns:a16="http://schemas.microsoft.com/office/drawing/2014/main" id="{3D31B9C5-02D6-3BE6-E9FF-6BCC50BAB5AE}"/>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20" name="Rectangle 19">
            <a:extLst>
              <a:ext uri="{FF2B5EF4-FFF2-40B4-BE49-F238E27FC236}">
                <a16:creationId xmlns:a16="http://schemas.microsoft.com/office/drawing/2014/main" id="{F8734AE0-25BD-1764-A032-4FB5F5D2E6A8}"/>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21" name="Rectangle 20">
            <a:extLst>
              <a:ext uri="{FF2B5EF4-FFF2-40B4-BE49-F238E27FC236}">
                <a16:creationId xmlns:a16="http://schemas.microsoft.com/office/drawing/2014/main" id="{A6BB7120-787E-71B4-78EC-A07E3FD7F622}"/>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Tree>
    <p:extLst>
      <p:ext uri="{BB962C8B-B14F-4D97-AF65-F5344CB8AC3E}">
        <p14:creationId xmlns:p14="http://schemas.microsoft.com/office/powerpoint/2010/main" val="5423627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B761586D-ADF6-529C-2413-590788670DE6}"/>
              </a:ext>
            </a:extLst>
          </p:cNvPr>
          <p:cNvGraphicFramePr>
            <a:graphicFrameLocks noChangeAspect="1"/>
          </p:cNvGraphicFramePr>
          <p:nvPr userDrawn="1">
            <p:custDataLst>
              <p:tags r:id="rId1"/>
            </p:custDataLst>
            <p:extLst>
              <p:ext uri="{D42A27DB-BD31-4B8C-83A1-F6EECF244321}">
                <p14:modId xmlns:p14="http://schemas.microsoft.com/office/powerpoint/2010/main" val="3682697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0" name="Object 19" hidden="1">
                        <a:extLst>
                          <a:ext uri="{FF2B5EF4-FFF2-40B4-BE49-F238E27FC236}">
                            <a16:creationId xmlns:a16="http://schemas.microsoft.com/office/drawing/2014/main" id="{B761586D-ADF6-529C-2413-590788670D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AB13C4C8-B71C-8BC1-0E3C-8C4DC174835E}"/>
              </a:ext>
            </a:extLst>
          </p:cNvPr>
          <p:cNvPicPr>
            <a:picLocks noChangeAspect="1"/>
          </p:cNvPicPr>
          <p:nvPr userDrawn="1"/>
        </p:nvPicPr>
        <p:blipFill>
          <a:blip r:embed="rId5"/>
          <a:stretch>
            <a:fillRect/>
          </a:stretch>
        </p:blipFill>
        <p:spPr>
          <a:xfrm>
            <a:off x="-1204" y="0"/>
            <a:ext cx="12202931" cy="984250"/>
          </a:xfrm>
          <a:prstGeom prst="rect">
            <a:avLst/>
          </a:prstGeom>
        </p:spPr>
      </p:pic>
      <p:sp>
        <p:nvSpPr>
          <p:cNvPr id="28" name="Text Placeholder 17"/>
          <p:cNvSpPr>
            <a:spLocks noGrp="1"/>
          </p:cNvSpPr>
          <p:nvPr>
            <p:ph type="body" sz="quarter" idx="14" hasCustomPrompt="1"/>
          </p:nvPr>
        </p:nvSpPr>
        <p:spPr>
          <a:xfrm>
            <a:off x="486324" y="1287610"/>
            <a:ext cx="2649783" cy="727086"/>
          </a:xfrm>
        </p:spPr>
        <p:txBody>
          <a:bodyPr anchor="t">
            <a:noAutofit/>
          </a:bodyPr>
          <a:lstStyle>
            <a:lvl1pPr marL="0" indent="0">
              <a:lnSpc>
                <a:spcPct val="100000"/>
              </a:lnSpc>
              <a:spcBef>
                <a:spcPts val="100"/>
              </a:spcBef>
              <a:spcAft>
                <a:spcPts val="100"/>
              </a:spcAft>
              <a:buNone/>
              <a:defRPr lang="en-US" sz="2000" b="1" i="0" kern="1200" dirty="0" smtClean="0">
                <a:solidFill>
                  <a:srgbClr val="153DCF"/>
                </a:solidFill>
                <a:latin typeface="+mn-lt"/>
                <a:ea typeface="+mn-ea"/>
                <a:cs typeface="+mn-cs"/>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sp>
        <p:nvSpPr>
          <p:cNvPr id="26" name="Text Placeholder 17">
            <a:extLst>
              <a:ext uri="{FF2B5EF4-FFF2-40B4-BE49-F238E27FC236}">
                <a16:creationId xmlns:a16="http://schemas.microsoft.com/office/drawing/2014/main" id="{00E51550-7B1F-D643-870F-108D0F6F5385}"/>
              </a:ext>
            </a:extLst>
          </p:cNvPr>
          <p:cNvSpPr>
            <a:spLocks noGrp="1"/>
          </p:cNvSpPr>
          <p:nvPr>
            <p:ph type="body" sz="quarter" idx="17" hasCustomPrompt="1"/>
          </p:nvPr>
        </p:nvSpPr>
        <p:spPr>
          <a:xfrm>
            <a:off x="3335032" y="1287610"/>
            <a:ext cx="2649783" cy="727086"/>
          </a:xfrm>
        </p:spPr>
        <p:txBody>
          <a:bodyPr anchor="t">
            <a:noAutofit/>
          </a:bodyPr>
          <a:lstStyle>
            <a:lvl1pPr marL="0" indent="0">
              <a:lnSpc>
                <a:spcPct val="100000"/>
              </a:lnSpc>
              <a:spcBef>
                <a:spcPts val="100"/>
              </a:spcBef>
              <a:spcAft>
                <a:spcPts val="100"/>
              </a:spcAft>
              <a:buNone/>
              <a:defRPr lang="en-US" sz="2000" b="1" i="0" kern="1200" dirty="0" smtClean="0">
                <a:solidFill>
                  <a:srgbClr val="153DCF"/>
                </a:solidFill>
                <a:latin typeface="+mn-lt"/>
                <a:ea typeface="+mn-ea"/>
                <a:cs typeface="+mn-cs"/>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sp>
        <p:nvSpPr>
          <p:cNvPr id="36" name="Text Placeholder 17">
            <a:extLst>
              <a:ext uri="{FF2B5EF4-FFF2-40B4-BE49-F238E27FC236}">
                <a16:creationId xmlns:a16="http://schemas.microsoft.com/office/drawing/2014/main" id="{79BB3282-881C-9E42-8CB7-B6BB0FB05F12}"/>
              </a:ext>
            </a:extLst>
          </p:cNvPr>
          <p:cNvSpPr>
            <a:spLocks noGrp="1"/>
          </p:cNvSpPr>
          <p:nvPr>
            <p:ph type="body" sz="quarter" idx="19" hasCustomPrompt="1"/>
          </p:nvPr>
        </p:nvSpPr>
        <p:spPr>
          <a:xfrm>
            <a:off x="6207185" y="1287610"/>
            <a:ext cx="2649783" cy="727086"/>
          </a:xfrm>
        </p:spPr>
        <p:txBody>
          <a:bodyPr anchor="t">
            <a:noAutofit/>
          </a:bodyPr>
          <a:lstStyle>
            <a:lvl1pPr marL="0" indent="0">
              <a:lnSpc>
                <a:spcPct val="100000"/>
              </a:lnSpc>
              <a:spcBef>
                <a:spcPts val="100"/>
              </a:spcBef>
              <a:spcAft>
                <a:spcPts val="100"/>
              </a:spcAft>
              <a:buNone/>
              <a:defRPr lang="en-US" sz="2000" b="1" i="0" kern="1200" dirty="0" smtClean="0">
                <a:solidFill>
                  <a:srgbClr val="153DCF"/>
                </a:solidFill>
                <a:latin typeface="+mn-lt"/>
                <a:ea typeface="+mn-ea"/>
                <a:cs typeface="+mn-cs"/>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sp>
        <p:nvSpPr>
          <p:cNvPr id="39" name="Text Placeholder 17">
            <a:extLst>
              <a:ext uri="{FF2B5EF4-FFF2-40B4-BE49-F238E27FC236}">
                <a16:creationId xmlns:a16="http://schemas.microsoft.com/office/drawing/2014/main" id="{F4886CBF-A333-544D-BD50-AA45FAD785AD}"/>
              </a:ext>
            </a:extLst>
          </p:cNvPr>
          <p:cNvSpPr>
            <a:spLocks noGrp="1"/>
          </p:cNvSpPr>
          <p:nvPr>
            <p:ph type="body" sz="quarter" idx="21" hasCustomPrompt="1"/>
          </p:nvPr>
        </p:nvSpPr>
        <p:spPr>
          <a:xfrm>
            <a:off x="9079340" y="1287610"/>
            <a:ext cx="2649783" cy="727086"/>
          </a:xfrm>
        </p:spPr>
        <p:txBody>
          <a:bodyPr anchor="t">
            <a:noAutofit/>
          </a:bodyPr>
          <a:lstStyle>
            <a:lvl1pPr marL="0" indent="0">
              <a:lnSpc>
                <a:spcPct val="100000"/>
              </a:lnSpc>
              <a:spcBef>
                <a:spcPts val="100"/>
              </a:spcBef>
              <a:spcAft>
                <a:spcPts val="100"/>
              </a:spcAft>
              <a:buNone/>
              <a:defRPr lang="en-US" sz="2000" b="1" i="0" kern="1200" dirty="0" smtClean="0">
                <a:solidFill>
                  <a:srgbClr val="153DCF"/>
                </a:solidFill>
                <a:latin typeface="+mn-lt"/>
                <a:ea typeface="+mn-ea"/>
                <a:cs typeface="+mn-cs"/>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cxnSp>
        <p:nvCxnSpPr>
          <p:cNvPr id="4" name="Straight Connector 3">
            <a:extLst>
              <a:ext uri="{FF2B5EF4-FFF2-40B4-BE49-F238E27FC236}">
                <a16:creationId xmlns:a16="http://schemas.microsoft.com/office/drawing/2014/main" id="{B7A20E48-257C-6C4C-BA1A-76666652B49E}"/>
              </a:ext>
            </a:extLst>
          </p:cNvPr>
          <p:cNvCxnSpPr>
            <a:cxnSpLocks/>
          </p:cNvCxnSpPr>
          <p:nvPr/>
        </p:nvCxnSpPr>
        <p:spPr>
          <a:xfrm>
            <a:off x="486325" y="2185352"/>
            <a:ext cx="2649783"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9241A30-0879-8948-AFA7-3CF869C9F734}"/>
              </a:ext>
            </a:extLst>
          </p:cNvPr>
          <p:cNvCxnSpPr>
            <a:cxnSpLocks/>
          </p:cNvCxnSpPr>
          <p:nvPr/>
        </p:nvCxnSpPr>
        <p:spPr>
          <a:xfrm>
            <a:off x="3335033" y="2185352"/>
            <a:ext cx="2649783"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934634E-1ACC-4548-9DB9-F129A69B59DC}"/>
              </a:ext>
            </a:extLst>
          </p:cNvPr>
          <p:cNvCxnSpPr>
            <a:cxnSpLocks/>
          </p:cNvCxnSpPr>
          <p:nvPr/>
        </p:nvCxnSpPr>
        <p:spPr>
          <a:xfrm>
            <a:off x="6207185" y="2185352"/>
            <a:ext cx="2649783"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C0E2431-081E-D74F-9EFC-773A52E063EC}"/>
              </a:ext>
            </a:extLst>
          </p:cNvPr>
          <p:cNvCxnSpPr>
            <a:cxnSpLocks/>
          </p:cNvCxnSpPr>
          <p:nvPr/>
        </p:nvCxnSpPr>
        <p:spPr>
          <a:xfrm>
            <a:off x="9079340" y="2185352"/>
            <a:ext cx="2649783"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3" name="Title 23">
            <a:extLst>
              <a:ext uri="{FF2B5EF4-FFF2-40B4-BE49-F238E27FC236}">
                <a16:creationId xmlns:a16="http://schemas.microsoft.com/office/drawing/2014/main" id="{4D2D04FA-4602-C046-82B0-E34F5D5F3234}"/>
              </a:ext>
            </a:extLst>
          </p:cNvPr>
          <p:cNvSpPr>
            <a:spLocks noGrp="1"/>
          </p:cNvSpPr>
          <p:nvPr>
            <p:ph type="title"/>
          </p:nvPr>
        </p:nvSpPr>
        <p:spPr>
          <a:xfrm>
            <a:off x="609232" y="168310"/>
            <a:ext cx="11132394" cy="623222"/>
          </a:xfrm>
        </p:spPr>
        <p:txBody>
          <a:bodyPr vert="horz" lIns="0" tIns="0" rIns="0" bIns="0">
            <a:noAutofit/>
          </a:bodyPr>
          <a:lstStyle>
            <a:lvl1pPr>
              <a:lnSpc>
                <a:spcPct val="100000"/>
              </a:lnSpc>
              <a:defRPr lang="en-US" sz="3200" b="1" i="0" kern="1200" spc="-20" dirty="0">
                <a:solidFill>
                  <a:srgbClr val="FFFFFF"/>
                </a:solidFill>
                <a:latin typeface="+mj-lt"/>
                <a:ea typeface="+mj-ea"/>
                <a:cs typeface="+mj-cs"/>
              </a:defRPr>
            </a:lvl1pPr>
          </a:lstStyle>
          <a:p>
            <a:r>
              <a:rPr lang="en-US"/>
              <a:t>Click to edit Master title style</a:t>
            </a:r>
          </a:p>
        </p:txBody>
      </p:sp>
      <p:pic>
        <p:nvPicPr>
          <p:cNvPr id="34" name="Picture 33">
            <a:extLst>
              <a:ext uri="{FF2B5EF4-FFF2-40B4-BE49-F238E27FC236}">
                <a16:creationId xmlns:a16="http://schemas.microsoft.com/office/drawing/2014/main" id="{7067016C-4D61-C698-2AAD-FFD59BADA607}"/>
              </a:ext>
            </a:extLst>
          </p:cNvPr>
          <p:cNvPicPr>
            <a:picLocks noChangeAspect="1"/>
          </p:cNvPicPr>
          <p:nvPr userDrawn="1"/>
        </p:nvPicPr>
        <p:blipFill>
          <a:blip r:embed="rId6"/>
          <a:stretch>
            <a:fillRect/>
          </a:stretch>
        </p:blipFill>
        <p:spPr>
          <a:xfrm>
            <a:off x="295737" y="6584987"/>
            <a:ext cx="2324100" cy="107950"/>
          </a:xfrm>
          <a:prstGeom prst="rect">
            <a:avLst/>
          </a:prstGeom>
        </p:spPr>
      </p:pic>
      <p:pic>
        <p:nvPicPr>
          <p:cNvPr id="3" name="Picture 2">
            <a:extLst>
              <a:ext uri="{FF2B5EF4-FFF2-40B4-BE49-F238E27FC236}">
                <a16:creationId xmlns:a16="http://schemas.microsoft.com/office/drawing/2014/main" id="{8F4E00A7-EFE8-F4A2-78A5-50FE1CB61C6F}"/>
              </a:ext>
            </a:extLst>
          </p:cNvPr>
          <p:cNvPicPr>
            <a:picLocks noChangeAspect="1"/>
          </p:cNvPicPr>
          <p:nvPr userDrawn="1"/>
        </p:nvPicPr>
        <p:blipFill>
          <a:blip r:embed="rId7"/>
          <a:stretch>
            <a:fillRect/>
          </a:stretch>
        </p:blipFill>
        <p:spPr>
          <a:xfrm>
            <a:off x="10165423" y="-2477"/>
            <a:ext cx="2036303" cy="986727"/>
          </a:xfrm>
          <a:prstGeom prst="rect">
            <a:avLst/>
          </a:prstGeom>
        </p:spPr>
      </p:pic>
      <p:sp>
        <p:nvSpPr>
          <p:cNvPr id="6" name="TextBox 5">
            <a:extLst>
              <a:ext uri="{FF2B5EF4-FFF2-40B4-BE49-F238E27FC236}">
                <a16:creationId xmlns:a16="http://schemas.microsoft.com/office/drawing/2014/main" id="{9244FC22-6B79-1C3E-A2DA-92FA9AB159C5}"/>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mn-lt"/>
                <a:ea typeface="+mn-ea"/>
                <a:cs typeface="+mn-cs"/>
              </a:rPr>
              <a:pPr algn="r"/>
              <a:t>‹#›</a:t>
            </a:fld>
            <a:endParaRPr lang="en-US" sz="700" spc="300">
              <a:solidFill>
                <a:schemeClr val="accent5"/>
              </a:solidFill>
              <a:latin typeface="+mn-lt"/>
              <a:ea typeface="+mn-ea"/>
              <a:cs typeface="+mn-cs"/>
            </a:endParaRPr>
          </a:p>
        </p:txBody>
      </p:sp>
      <p:sp>
        <p:nvSpPr>
          <p:cNvPr id="8" name="Rectangle 7">
            <a:extLst>
              <a:ext uri="{FF2B5EF4-FFF2-40B4-BE49-F238E27FC236}">
                <a16:creationId xmlns:a16="http://schemas.microsoft.com/office/drawing/2014/main" id="{C4D61C27-93DB-15CE-45C5-0095041A7E5E}"/>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CADDD02F-F15F-2AEB-48DB-6DA77AA7E018}"/>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F4787604-BAF9-7630-438C-641264347A04}"/>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67F16887-1288-3CF2-8BD3-C1DB85738680}"/>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9297F63B-6B5D-5AAE-A494-07D9AE822EF2}"/>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89E3C0B8-CB1F-F4D8-2670-2EE4447E08DB}"/>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5D612653-4D68-9488-9DFF-4318F161E623}"/>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72B0C6BC-D022-D9C3-CA14-913AC87540CB}"/>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45ACF052-98BE-98AE-3D4A-6658A1D40DA1}"/>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97C3E1CC-523A-B22A-FC77-41C4DAB0DF2C}"/>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2" name="Text Placeholder 2">
            <a:extLst>
              <a:ext uri="{FF2B5EF4-FFF2-40B4-BE49-F238E27FC236}">
                <a16:creationId xmlns:a16="http://schemas.microsoft.com/office/drawing/2014/main" id="{C7FCD131-7033-D4B8-4E06-B8CEB5837C45}"/>
              </a:ext>
            </a:extLst>
          </p:cNvPr>
          <p:cNvSpPr>
            <a:spLocks noGrp="1"/>
          </p:cNvSpPr>
          <p:nvPr>
            <p:ph idx="1" hasCustomPrompt="1"/>
          </p:nvPr>
        </p:nvSpPr>
        <p:spPr>
          <a:xfrm>
            <a:off x="481302" y="2318056"/>
            <a:ext cx="2649779" cy="4001464"/>
          </a:xfrm>
          <a:prstGeom prst="rect">
            <a:avLst/>
          </a:prstGeom>
        </p:spPr>
        <p:txBody>
          <a:bodyPr vert="horz" lIns="91440" tIns="45720" rIns="91440" bIns="45720" rtlCol="0">
            <a:normAutofit/>
          </a:bodyPr>
          <a:lstStyle>
            <a:lvl1pPr>
              <a:defRPr sz="1400">
                <a:solidFill>
                  <a:srgbClr val="133CCF"/>
                </a:solidFill>
                <a:latin typeface="+mn-lt"/>
                <a:ea typeface="+mn-ea"/>
                <a:cs typeface="+mn-cs"/>
              </a:defRPr>
            </a:lvl1pPr>
            <a:lvl2pPr marL="344488" indent="-173038">
              <a:buFont typeface="Arial" panose="020B0604020202020204" pitchFamily="34" charset="0"/>
              <a:buChar char="•"/>
              <a:tabLst/>
              <a:defRPr sz="1400">
                <a:solidFill>
                  <a:srgbClr val="133CCF"/>
                </a:solidFill>
                <a:latin typeface="+mn-lt"/>
                <a:ea typeface="+mn-ea"/>
                <a:cs typeface="+mn-cs"/>
              </a:defRPr>
            </a:lvl2pPr>
            <a:lvl3pPr marL="517525" indent="-173038">
              <a:buFont typeface="Courier New" panose="02070309020205020404" pitchFamily="49" charset="0"/>
              <a:buChar char="o"/>
              <a:tabLst/>
              <a:defRPr sz="1400">
                <a:solidFill>
                  <a:srgbClr val="133CCF"/>
                </a:solidFill>
                <a:latin typeface="+mn-lt"/>
                <a:ea typeface="+mn-ea"/>
                <a:cs typeface="+mn-cs"/>
              </a:defRPr>
            </a:lvl3pPr>
            <a:lvl4pPr marL="690563" indent="-173038">
              <a:buFont typeface="Wingdings" pitchFamily="2" charset="2"/>
              <a:buChar char="§"/>
              <a:tabLst/>
              <a:defRPr sz="1400">
                <a:solidFill>
                  <a:srgbClr val="133CCF"/>
                </a:solidFill>
                <a:latin typeface="+mn-lt"/>
                <a:ea typeface="+mn-ea"/>
                <a:cs typeface="+mn-cs"/>
              </a:defRPr>
            </a:lvl4pPr>
            <a:lvl5pPr marL="923925" indent="-233363">
              <a:buSzPct val="70000"/>
              <a:buFont typeface="Wingdings" pitchFamily="2" charset="2"/>
              <a:buChar char="q"/>
              <a:tabLst/>
              <a:defRPr sz="1400">
                <a:solidFill>
                  <a:srgbClr val="133CCF"/>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B1211A5B-9B0D-C6D5-47A1-70A5553BC9A4}"/>
              </a:ext>
            </a:extLst>
          </p:cNvPr>
          <p:cNvSpPr>
            <a:spLocks noGrp="1"/>
          </p:cNvSpPr>
          <p:nvPr>
            <p:ph idx="25" hasCustomPrompt="1"/>
          </p:nvPr>
        </p:nvSpPr>
        <p:spPr>
          <a:xfrm>
            <a:off x="3344243" y="2318056"/>
            <a:ext cx="2649779" cy="4001464"/>
          </a:xfrm>
          <a:prstGeom prst="rect">
            <a:avLst/>
          </a:prstGeom>
        </p:spPr>
        <p:txBody>
          <a:bodyPr vert="horz" lIns="91440" tIns="45720" rIns="91440" bIns="45720" rtlCol="0">
            <a:normAutofit/>
          </a:bodyPr>
          <a:lstStyle>
            <a:lvl1pPr>
              <a:defRPr sz="1400">
                <a:solidFill>
                  <a:srgbClr val="133CCF"/>
                </a:solidFill>
                <a:latin typeface="+mn-lt"/>
                <a:ea typeface="+mn-ea"/>
                <a:cs typeface="+mn-cs"/>
              </a:defRPr>
            </a:lvl1pPr>
            <a:lvl2pPr marL="344488" indent="-173038">
              <a:buFont typeface="Arial" panose="020B0604020202020204" pitchFamily="34" charset="0"/>
              <a:buChar char="•"/>
              <a:tabLst/>
              <a:defRPr sz="1400">
                <a:solidFill>
                  <a:srgbClr val="133CCF"/>
                </a:solidFill>
                <a:latin typeface="+mn-lt"/>
                <a:ea typeface="+mn-ea"/>
                <a:cs typeface="+mn-cs"/>
              </a:defRPr>
            </a:lvl2pPr>
            <a:lvl3pPr marL="517525" indent="-173038">
              <a:buFont typeface="Courier New" panose="02070309020205020404" pitchFamily="49" charset="0"/>
              <a:buChar char="o"/>
              <a:tabLst/>
              <a:defRPr sz="1400">
                <a:solidFill>
                  <a:srgbClr val="133CCF"/>
                </a:solidFill>
                <a:latin typeface="+mn-lt"/>
                <a:ea typeface="+mn-ea"/>
                <a:cs typeface="+mn-cs"/>
              </a:defRPr>
            </a:lvl3pPr>
            <a:lvl4pPr marL="690563" indent="-173038">
              <a:buFont typeface="Wingdings" pitchFamily="2" charset="2"/>
              <a:buChar char="§"/>
              <a:tabLst/>
              <a:defRPr sz="1400">
                <a:solidFill>
                  <a:srgbClr val="133CCF"/>
                </a:solidFill>
                <a:latin typeface="+mn-lt"/>
                <a:ea typeface="+mn-ea"/>
                <a:cs typeface="+mn-cs"/>
              </a:defRPr>
            </a:lvl4pPr>
            <a:lvl5pPr marL="923925" indent="-233363">
              <a:buSzPct val="70000"/>
              <a:buFont typeface="Wingdings" pitchFamily="2" charset="2"/>
              <a:buChar char="q"/>
              <a:tabLst/>
              <a:defRPr sz="1400">
                <a:solidFill>
                  <a:srgbClr val="133CCF"/>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a:extLst>
              <a:ext uri="{FF2B5EF4-FFF2-40B4-BE49-F238E27FC236}">
                <a16:creationId xmlns:a16="http://schemas.microsoft.com/office/drawing/2014/main" id="{2B19AC64-B490-BF55-4E2F-DCA061E7108C}"/>
              </a:ext>
            </a:extLst>
          </p:cNvPr>
          <p:cNvSpPr>
            <a:spLocks noGrp="1"/>
          </p:cNvSpPr>
          <p:nvPr>
            <p:ph idx="26" hasCustomPrompt="1"/>
          </p:nvPr>
        </p:nvSpPr>
        <p:spPr>
          <a:xfrm>
            <a:off x="6207189" y="2318056"/>
            <a:ext cx="2649779" cy="4001464"/>
          </a:xfrm>
          <a:prstGeom prst="rect">
            <a:avLst/>
          </a:prstGeom>
        </p:spPr>
        <p:txBody>
          <a:bodyPr vert="horz" lIns="91440" tIns="45720" rIns="91440" bIns="45720" rtlCol="0">
            <a:normAutofit/>
          </a:bodyPr>
          <a:lstStyle>
            <a:lvl1pPr>
              <a:defRPr sz="1400">
                <a:solidFill>
                  <a:srgbClr val="133CCF"/>
                </a:solidFill>
                <a:latin typeface="+mn-lt"/>
                <a:ea typeface="+mn-ea"/>
                <a:cs typeface="+mn-cs"/>
              </a:defRPr>
            </a:lvl1pPr>
            <a:lvl2pPr marL="344488" indent="-173038">
              <a:buFont typeface="Arial" panose="020B0604020202020204" pitchFamily="34" charset="0"/>
              <a:buChar char="•"/>
              <a:tabLst/>
              <a:defRPr sz="1400">
                <a:solidFill>
                  <a:srgbClr val="133CCF"/>
                </a:solidFill>
                <a:latin typeface="+mn-lt"/>
                <a:ea typeface="+mn-ea"/>
                <a:cs typeface="+mn-cs"/>
              </a:defRPr>
            </a:lvl2pPr>
            <a:lvl3pPr marL="517525" indent="-173038">
              <a:buFont typeface="Courier New" panose="02070309020205020404" pitchFamily="49" charset="0"/>
              <a:buChar char="o"/>
              <a:tabLst/>
              <a:defRPr sz="1400">
                <a:solidFill>
                  <a:srgbClr val="133CCF"/>
                </a:solidFill>
                <a:latin typeface="+mn-lt"/>
                <a:ea typeface="+mn-ea"/>
                <a:cs typeface="+mn-cs"/>
              </a:defRPr>
            </a:lvl3pPr>
            <a:lvl4pPr marL="690563" indent="-173038">
              <a:buFont typeface="Wingdings" pitchFamily="2" charset="2"/>
              <a:buChar char="§"/>
              <a:tabLst/>
              <a:defRPr sz="1400">
                <a:solidFill>
                  <a:srgbClr val="133CCF"/>
                </a:solidFill>
                <a:latin typeface="+mn-lt"/>
                <a:ea typeface="+mn-ea"/>
                <a:cs typeface="+mn-cs"/>
              </a:defRPr>
            </a:lvl4pPr>
            <a:lvl5pPr marL="923925" indent="-233363">
              <a:buSzPct val="70000"/>
              <a:buFont typeface="Wingdings" pitchFamily="2" charset="2"/>
              <a:buChar char="q"/>
              <a:tabLst/>
              <a:defRPr sz="1400">
                <a:solidFill>
                  <a:srgbClr val="133CCF"/>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7BB31A14-1A3C-3E8B-A4A5-0B5AC9BD4457}"/>
              </a:ext>
            </a:extLst>
          </p:cNvPr>
          <p:cNvSpPr>
            <a:spLocks noGrp="1"/>
          </p:cNvSpPr>
          <p:nvPr>
            <p:ph idx="27" hasCustomPrompt="1"/>
          </p:nvPr>
        </p:nvSpPr>
        <p:spPr>
          <a:xfrm>
            <a:off x="9091847" y="2318056"/>
            <a:ext cx="2649779" cy="4001464"/>
          </a:xfrm>
          <a:prstGeom prst="rect">
            <a:avLst/>
          </a:prstGeom>
        </p:spPr>
        <p:txBody>
          <a:bodyPr vert="horz" lIns="91440" tIns="45720" rIns="91440" bIns="45720" rtlCol="0">
            <a:normAutofit/>
          </a:bodyPr>
          <a:lstStyle>
            <a:lvl1pPr>
              <a:defRPr sz="1400">
                <a:solidFill>
                  <a:srgbClr val="133CCF"/>
                </a:solidFill>
                <a:latin typeface="+mn-lt"/>
                <a:ea typeface="+mn-ea"/>
                <a:cs typeface="+mn-cs"/>
              </a:defRPr>
            </a:lvl1pPr>
            <a:lvl2pPr marL="344488" indent="-173038">
              <a:buFont typeface="Arial" panose="020B0604020202020204" pitchFamily="34" charset="0"/>
              <a:buChar char="•"/>
              <a:tabLst/>
              <a:defRPr sz="1400">
                <a:solidFill>
                  <a:srgbClr val="133CCF"/>
                </a:solidFill>
                <a:latin typeface="+mn-lt"/>
                <a:ea typeface="+mn-ea"/>
                <a:cs typeface="+mn-cs"/>
              </a:defRPr>
            </a:lvl2pPr>
            <a:lvl3pPr marL="517525" indent="-173038">
              <a:buFont typeface="Courier New" panose="02070309020205020404" pitchFamily="49" charset="0"/>
              <a:buChar char="o"/>
              <a:tabLst/>
              <a:defRPr sz="1400">
                <a:solidFill>
                  <a:srgbClr val="133CCF"/>
                </a:solidFill>
                <a:latin typeface="+mn-lt"/>
                <a:ea typeface="+mn-ea"/>
                <a:cs typeface="+mn-cs"/>
              </a:defRPr>
            </a:lvl3pPr>
            <a:lvl4pPr marL="690563" indent="-173038">
              <a:buFont typeface="Wingdings" pitchFamily="2" charset="2"/>
              <a:buChar char="§"/>
              <a:tabLst/>
              <a:defRPr sz="1400">
                <a:solidFill>
                  <a:srgbClr val="133CCF"/>
                </a:solidFill>
                <a:latin typeface="+mn-lt"/>
                <a:ea typeface="+mn-ea"/>
                <a:cs typeface="+mn-cs"/>
              </a:defRPr>
            </a:lvl4pPr>
            <a:lvl5pPr marL="923925" indent="-233363">
              <a:buSzPct val="70000"/>
              <a:buFont typeface="Wingdings" pitchFamily="2" charset="2"/>
              <a:buChar char="q"/>
              <a:tabLst/>
              <a:defRPr sz="1400">
                <a:solidFill>
                  <a:srgbClr val="133CCF"/>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4350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over_1">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AA36D955-B3A7-C98D-63C4-65BC52F7814E}"/>
              </a:ext>
            </a:extLst>
          </p:cNvPr>
          <p:cNvGraphicFramePr>
            <a:graphicFrameLocks noChangeAspect="1"/>
          </p:cNvGraphicFramePr>
          <p:nvPr userDrawn="1">
            <p:custDataLst>
              <p:tags r:id="rId1"/>
            </p:custDataLst>
            <p:extLst>
              <p:ext uri="{D42A27DB-BD31-4B8C-83A1-F6EECF244321}">
                <p14:modId xmlns:p14="http://schemas.microsoft.com/office/powerpoint/2010/main" val="801443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2" name="Object 21" hidden="1">
                        <a:extLst>
                          <a:ext uri="{FF2B5EF4-FFF2-40B4-BE49-F238E27FC236}">
                            <a16:creationId xmlns:a16="http://schemas.microsoft.com/office/drawing/2014/main" id="{AA36D955-B3A7-C98D-63C4-65BC52F781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3F9111E3-B6B3-F20D-E234-232A58D77455}"/>
              </a:ext>
            </a:extLst>
          </p:cNvPr>
          <p:cNvPicPr>
            <a:picLocks noChangeAspect="1"/>
          </p:cNvPicPr>
          <p:nvPr userDrawn="1"/>
        </p:nvPicPr>
        <p:blipFill>
          <a:blip r:embed="rId5"/>
          <a:stretch>
            <a:fillRect/>
          </a:stretch>
        </p:blipFill>
        <p:spPr>
          <a:xfrm>
            <a:off x="19504" y="2780"/>
            <a:ext cx="12192000" cy="6855220"/>
          </a:xfrm>
          <a:prstGeom prst="rect">
            <a:avLst/>
          </a:prstGeom>
        </p:spPr>
      </p:pic>
      <p:pic>
        <p:nvPicPr>
          <p:cNvPr id="6" name="Picture 5">
            <a:extLst>
              <a:ext uri="{FF2B5EF4-FFF2-40B4-BE49-F238E27FC236}">
                <a16:creationId xmlns:a16="http://schemas.microsoft.com/office/drawing/2014/main" id="{45EC22CD-4980-8653-12BF-5C4C80672566}"/>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45833" r="985"/>
          <a:stretch/>
        </p:blipFill>
        <p:spPr>
          <a:xfrm>
            <a:off x="1" y="0"/>
            <a:ext cx="6483963" cy="6858000"/>
          </a:xfrm>
          <a:custGeom>
            <a:avLst/>
            <a:gdLst>
              <a:gd name="connsiteX0" fmla="*/ 0 w 6483963"/>
              <a:gd name="connsiteY0" fmla="*/ 0 h 6858000"/>
              <a:gd name="connsiteX1" fmla="*/ 6483963 w 6483963"/>
              <a:gd name="connsiteY1" fmla="*/ 0 h 6858000"/>
              <a:gd name="connsiteX2" fmla="*/ 6483963 w 6483963"/>
              <a:gd name="connsiteY2" fmla="*/ 6858000 h 6858000"/>
              <a:gd name="connsiteX3" fmla="*/ 0 w 648396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83963" h="6858000">
                <a:moveTo>
                  <a:pt x="0" y="0"/>
                </a:moveTo>
                <a:lnTo>
                  <a:pt x="6483963" y="0"/>
                </a:lnTo>
                <a:lnTo>
                  <a:pt x="6483963" y="6858000"/>
                </a:lnTo>
                <a:lnTo>
                  <a:pt x="0" y="6858000"/>
                </a:lnTo>
                <a:close/>
              </a:path>
            </a:pathLst>
          </a:custGeom>
        </p:spPr>
      </p:pic>
      <p:pic>
        <p:nvPicPr>
          <p:cNvPr id="10" name="Picture 9">
            <a:extLst>
              <a:ext uri="{FF2B5EF4-FFF2-40B4-BE49-F238E27FC236}">
                <a16:creationId xmlns:a16="http://schemas.microsoft.com/office/drawing/2014/main" id="{61359549-5A1F-9411-3B5D-0D48941C24F2}"/>
              </a:ext>
            </a:extLst>
          </p:cNvPr>
          <p:cNvPicPr>
            <a:picLocks noChangeAspect="1"/>
          </p:cNvPicPr>
          <p:nvPr userDrawn="1"/>
        </p:nvPicPr>
        <p:blipFill>
          <a:blip r:embed="rId7"/>
          <a:stretch>
            <a:fillRect/>
          </a:stretch>
        </p:blipFill>
        <p:spPr>
          <a:xfrm>
            <a:off x="6942174" y="5029200"/>
            <a:ext cx="2637118" cy="1418282"/>
          </a:xfrm>
          <a:prstGeom prst="rect">
            <a:avLst/>
          </a:prstGeom>
        </p:spPr>
      </p:pic>
      <p:pic>
        <p:nvPicPr>
          <p:cNvPr id="8" name="Picture 7">
            <a:extLst>
              <a:ext uri="{FF2B5EF4-FFF2-40B4-BE49-F238E27FC236}">
                <a16:creationId xmlns:a16="http://schemas.microsoft.com/office/drawing/2014/main" id="{22402783-288C-2D52-A4BA-8F45BACAE0BD}"/>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0" y="0"/>
            <a:ext cx="5214876" cy="4513432"/>
          </a:xfrm>
          <a:prstGeom prst="rect">
            <a:avLst/>
          </a:prstGeom>
        </p:spPr>
      </p:pic>
      <p:sp>
        <p:nvSpPr>
          <p:cNvPr id="4" name="TextBox 3">
            <a:extLst>
              <a:ext uri="{FF2B5EF4-FFF2-40B4-BE49-F238E27FC236}">
                <a16:creationId xmlns:a16="http://schemas.microsoft.com/office/drawing/2014/main" id="{39C32344-3F64-881D-8597-493E4E19655C}"/>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mn-lt"/>
                <a:ea typeface="+mn-ea"/>
                <a:cs typeface="+mn-cs"/>
              </a:rPr>
              <a:pPr algn="r"/>
              <a:t>‹#›</a:t>
            </a:fld>
            <a:endParaRPr lang="en-US" sz="700" spc="300">
              <a:solidFill>
                <a:schemeClr val="bg1"/>
              </a:solidFill>
              <a:latin typeface="+mn-lt"/>
              <a:ea typeface="+mn-ea"/>
              <a:cs typeface="+mn-cs"/>
            </a:endParaRPr>
          </a:p>
        </p:txBody>
      </p:sp>
      <p:sp>
        <p:nvSpPr>
          <p:cNvPr id="3" name="Rectangle 2">
            <a:extLst>
              <a:ext uri="{FF2B5EF4-FFF2-40B4-BE49-F238E27FC236}">
                <a16:creationId xmlns:a16="http://schemas.microsoft.com/office/drawing/2014/main" id="{A98DFE46-B5E2-F718-94E7-DEF297DF395B}"/>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8E00E491-5360-4420-3643-DDA785916048}"/>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52670FD2-6DEE-3AD9-85AC-45AAB1C3274F}"/>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1ED70F8B-B5D8-3BA6-1B64-F30D81678066}"/>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00714F0B-729E-CAB1-D0E3-5633DF445DB1}"/>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1C1B6030-5708-896E-87F9-D9EB5A92297E}"/>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D2DD69C2-D4FE-4E6E-F4EA-F29654973D31}"/>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BC48FFBE-14CD-15D0-B311-6B84759D8C47}"/>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2A0CD2D3-A28D-3316-27BD-4D7CA492E49B}"/>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8" name="Rectangle 17">
            <a:extLst>
              <a:ext uri="{FF2B5EF4-FFF2-40B4-BE49-F238E27FC236}">
                <a16:creationId xmlns:a16="http://schemas.microsoft.com/office/drawing/2014/main" id="{2798D593-3A07-FA79-0F2D-3BA8F7D72047}"/>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9" name="Text Placeholder 6">
            <a:extLst>
              <a:ext uri="{FF2B5EF4-FFF2-40B4-BE49-F238E27FC236}">
                <a16:creationId xmlns:a16="http://schemas.microsoft.com/office/drawing/2014/main" id="{CCEE4AD4-5673-DC5D-0072-55F8141A6EE8}"/>
              </a:ext>
            </a:extLst>
          </p:cNvPr>
          <p:cNvSpPr>
            <a:spLocks noGrp="1"/>
          </p:cNvSpPr>
          <p:nvPr>
            <p:ph type="body" sz="quarter" idx="15" hasCustomPrompt="1"/>
          </p:nvPr>
        </p:nvSpPr>
        <p:spPr>
          <a:xfrm>
            <a:off x="6916416" y="1953851"/>
            <a:ext cx="4882138" cy="608864"/>
          </a:xfrm>
        </p:spPr>
        <p:txBody>
          <a:bodyPr bIns="0" anchor="b">
            <a:noAutofit/>
          </a:bodyPr>
          <a:lstStyle>
            <a:lvl1pPr marL="0" indent="0">
              <a:buNone/>
              <a:defRPr sz="4000" b="1" i="0">
                <a:solidFill>
                  <a:schemeClr val="bg1"/>
                </a:solidFill>
                <a:latin typeface="+mn-lt"/>
                <a:ea typeface="+mn-ea"/>
                <a:cs typeface="+mn-cs"/>
              </a:defRPr>
            </a:lvl1pPr>
          </a:lstStyle>
          <a:p>
            <a:pPr lvl="0"/>
            <a:r>
              <a:rPr lang="en-US"/>
              <a:t>Title text</a:t>
            </a:r>
          </a:p>
        </p:txBody>
      </p:sp>
      <p:sp>
        <p:nvSpPr>
          <p:cNvPr id="20" name="Text Placeholder 6">
            <a:extLst>
              <a:ext uri="{FF2B5EF4-FFF2-40B4-BE49-F238E27FC236}">
                <a16:creationId xmlns:a16="http://schemas.microsoft.com/office/drawing/2014/main" id="{D7AEF975-7E8E-3FB4-D358-82BE2CB20294}"/>
              </a:ext>
            </a:extLst>
          </p:cNvPr>
          <p:cNvSpPr>
            <a:spLocks noGrp="1"/>
          </p:cNvSpPr>
          <p:nvPr>
            <p:ph type="body" sz="quarter" idx="16" hasCustomPrompt="1"/>
          </p:nvPr>
        </p:nvSpPr>
        <p:spPr>
          <a:xfrm>
            <a:off x="6916416" y="2736147"/>
            <a:ext cx="4882138" cy="608864"/>
          </a:xfrm>
          <a:noFill/>
        </p:spPr>
        <p:txBody>
          <a:bodyPr>
            <a:noAutofit/>
          </a:bodyPr>
          <a:lstStyle>
            <a:lvl1pPr marL="0" indent="0">
              <a:buNone/>
              <a:defRPr sz="2800" b="0" i="0">
                <a:solidFill>
                  <a:schemeClr val="bg1"/>
                </a:solidFill>
                <a:latin typeface="+mn-lt"/>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0"/>
            <a:endParaRPr lang="en-US"/>
          </a:p>
        </p:txBody>
      </p:sp>
      <p:sp>
        <p:nvSpPr>
          <p:cNvPr id="21" name="Text Placeholder 6">
            <a:extLst>
              <a:ext uri="{FF2B5EF4-FFF2-40B4-BE49-F238E27FC236}">
                <a16:creationId xmlns:a16="http://schemas.microsoft.com/office/drawing/2014/main" id="{CDD05584-C1AB-97CD-2E18-F6E51E3A46FE}"/>
              </a:ext>
            </a:extLst>
          </p:cNvPr>
          <p:cNvSpPr>
            <a:spLocks noGrp="1"/>
          </p:cNvSpPr>
          <p:nvPr>
            <p:ph type="body" sz="quarter" idx="18" hasCustomPrompt="1"/>
          </p:nvPr>
        </p:nvSpPr>
        <p:spPr>
          <a:xfrm>
            <a:off x="6942174" y="3959640"/>
            <a:ext cx="4882138" cy="384460"/>
          </a:xfrm>
          <a:noFill/>
        </p:spPr>
        <p:txBody>
          <a:bodyPr>
            <a:noAutofit/>
          </a:bodyPr>
          <a:lstStyle>
            <a:lvl1pPr marL="0" indent="0">
              <a:buNone/>
              <a:defRPr sz="2000" b="0" i="0">
                <a:solidFill>
                  <a:schemeClr val="bg1"/>
                </a:solidFill>
                <a:latin typeface="+mn-lt"/>
                <a:ea typeface="+mn-ea"/>
                <a:cs typeface="+mn-cs"/>
              </a:defRPr>
            </a:lvl1pPr>
          </a:lstStyle>
          <a:p>
            <a:pPr lvl="0"/>
            <a:r>
              <a:rPr lang="en-US"/>
              <a:t>Date </a:t>
            </a:r>
          </a:p>
        </p:txBody>
      </p:sp>
    </p:spTree>
    <p:extLst>
      <p:ext uri="{BB962C8B-B14F-4D97-AF65-F5344CB8AC3E}">
        <p14:creationId xmlns:p14="http://schemas.microsoft.com/office/powerpoint/2010/main" val="12825519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mparison 01 - ">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9D096F45-7B3C-1DCC-02CD-805D12DD6D7A}"/>
              </a:ext>
            </a:extLst>
          </p:cNvPr>
          <p:cNvGraphicFramePr>
            <a:graphicFrameLocks noChangeAspect="1"/>
          </p:cNvGraphicFramePr>
          <p:nvPr userDrawn="1">
            <p:custDataLst>
              <p:tags r:id="rId1"/>
            </p:custDataLst>
            <p:extLst>
              <p:ext uri="{D42A27DB-BD31-4B8C-83A1-F6EECF244321}">
                <p14:modId xmlns:p14="http://schemas.microsoft.com/office/powerpoint/2010/main" val="956432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7" name="think-cell data - do not delete" hidden="1">
                        <a:extLst>
                          <a:ext uri="{FF2B5EF4-FFF2-40B4-BE49-F238E27FC236}">
                            <a16:creationId xmlns:a16="http://schemas.microsoft.com/office/drawing/2014/main" id="{9D096F45-7B3C-1DCC-02CD-805D12DD6D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F6F23CE4-FE7C-2C77-B618-E4367FE3FD37}"/>
              </a:ext>
            </a:extLst>
          </p:cNvPr>
          <p:cNvPicPr>
            <a:picLocks noChangeAspect="1"/>
          </p:cNvPicPr>
          <p:nvPr userDrawn="1"/>
        </p:nvPicPr>
        <p:blipFill>
          <a:blip r:embed="rId5"/>
          <a:stretch>
            <a:fillRect/>
          </a:stretch>
        </p:blipFill>
        <p:spPr>
          <a:xfrm>
            <a:off x="-1204" y="0"/>
            <a:ext cx="12202931" cy="984250"/>
          </a:xfrm>
          <a:prstGeom prst="rect">
            <a:avLst/>
          </a:prstGeom>
        </p:spPr>
      </p:pic>
      <p:sp>
        <p:nvSpPr>
          <p:cNvPr id="16" name="Title 23">
            <a:extLst>
              <a:ext uri="{FF2B5EF4-FFF2-40B4-BE49-F238E27FC236}">
                <a16:creationId xmlns:a16="http://schemas.microsoft.com/office/drawing/2014/main" id="{4085826A-7691-1843-B06C-82034F1F58ED}"/>
              </a:ext>
            </a:extLst>
          </p:cNvPr>
          <p:cNvSpPr>
            <a:spLocks noGrp="1"/>
          </p:cNvSpPr>
          <p:nvPr>
            <p:ph type="title"/>
          </p:nvPr>
        </p:nvSpPr>
        <p:spPr>
          <a:xfrm>
            <a:off x="609232" y="159548"/>
            <a:ext cx="10960770" cy="623222"/>
          </a:xfrm>
        </p:spPr>
        <p:txBody>
          <a:bodyPr vert="horz">
            <a:noAutofit/>
          </a:bodyPr>
          <a:lstStyle>
            <a:lvl1pPr>
              <a:lnSpc>
                <a:spcPct val="100000"/>
              </a:lnSpc>
              <a:defRPr lang="en-US" sz="3200" b="1" i="0" kern="1200" spc="-20" dirty="0">
                <a:solidFill>
                  <a:srgbClr val="FFFFFF"/>
                </a:solidFill>
                <a:latin typeface="+mj-lt"/>
                <a:ea typeface="+mj-ea"/>
                <a:cs typeface="+mj-cs"/>
              </a:defRPr>
            </a:lvl1pPr>
          </a:lstStyle>
          <a:p>
            <a:r>
              <a:rPr lang="en-US"/>
              <a:t>Click to edit Master title style</a:t>
            </a:r>
          </a:p>
        </p:txBody>
      </p:sp>
      <p:sp>
        <p:nvSpPr>
          <p:cNvPr id="26" name="Text Placeholder 17">
            <a:extLst>
              <a:ext uri="{FF2B5EF4-FFF2-40B4-BE49-F238E27FC236}">
                <a16:creationId xmlns:a16="http://schemas.microsoft.com/office/drawing/2014/main" id="{ADB97546-6C6B-5848-B3AE-67DDFC3355A6}"/>
              </a:ext>
            </a:extLst>
          </p:cNvPr>
          <p:cNvSpPr>
            <a:spLocks noGrp="1"/>
          </p:cNvSpPr>
          <p:nvPr>
            <p:ph type="body" sz="quarter" idx="14" hasCustomPrompt="1"/>
          </p:nvPr>
        </p:nvSpPr>
        <p:spPr>
          <a:xfrm>
            <a:off x="609232" y="1287610"/>
            <a:ext cx="5259704" cy="421592"/>
          </a:xfrm>
        </p:spPr>
        <p:txBody>
          <a:bodyPr anchor="ctr">
            <a:noAutofit/>
          </a:bodyPr>
          <a:lstStyle>
            <a:lvl1pPr marL="0" indent="0">
              <a:lnSpc>
                <a:spcPct val="100000"/>
              </a:lnSpc>
              <a:spcBef>
                <a:spcPts val="0"/>
              </a:spcBef>
              <a:spcAft>
                <a:spcPts val="0"/>
              </a:spcAft>
              <a:buNone/>
              <a:defRPr lang="en-US" sz="2000" b="1" i="0" kern="1200" dirty="0" smtClean="0">
                <a:solidFill>
                  <a:srgbClr val="143DCF"/>
                </a:solidFill>
                <a:latin typeface="+mn-lt"/>
                <a:ea typeface="+mn-ea"/>
                <a:cs typeface="+mn-cs"/>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cxnSp>
        <p:nvCxnSpPr>
          <p:cNvPr id="27" name="Straight Connector 26">
            <a:extLst>
              <a:ext uri="{FF2B5EF4-FFF2-40B4-BE49-F238E27FC236}">
                <a16:creationId xmlns:a16="http://schemas.microsoft.com/office/drawing/2014/main" id="{5F26296F-DC28-A844-A02B-73449FF6A8DB}"/>
              </a:ext>
            </a:extLst>
          </p:cNvPr>
          <p:cNvCxnSpPr>
            <a:cxnSpLocks/>
          </p:cNvCxnSpPr>
          <p:nvPr userDrawn="1"/>
        </p:nvCxnSpPr>
        <p:spPr>
          <a:xfrm>
            <a:off x="609232" y="1854431"/>
            <a:ext cx="525970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3" name="Text Placeholder 17">
            <a:extLst>
              <a:ext uri="{FF2B5EF4-FFF2-40B4-BE49-F238E27FC236}">
                <a16:creationId xmlns:a16="http://schemas.microsoft.com/office/drawing/2014/main" id="{CF1B3AAF-D0DD-7744-AFEC-DBCE571A9744}"/>
              </a:ext>
            </a:extLst>
          </p:cNvPr>
          <p:cNvSpPr>
            <a:spLocks noGrp="1"/>
          </p:cNvSpPr>
          <p:nvPr>
            <p:ph type="body" sz="quarter" idx="17" hasCustomPrompt="1"/>
          </p:nvPr>
        </p:nvSpPr>
        <p:spPr>
          <a:xfrm>
            <a:off x="6294924" y="1287609"/>
            <a:ext cx="5259704" cy="421593"/>
          </a:xfrm>
        </p:spPr>
        <p:txBody>
          <a:bodyPr anchor="ctr">
            <a:noAutofit/>
          </a:bodyPr>
          <a:lstStyle>
            <a:lvl1pPr marL="0" indent="0">
              <a:lnSpc>
                <a:spcPct val="100000"/>
              </a:lnSpc>
              <a:spcBef>
                <a:spcPts val="0"/>
              </a:spcBef>
              <a:spcAft>
                <a:spcPts val="0"/>
              </a:spcAft>
              <a:buNone/>
              <a:defRPr lang="en-US" sz="2000" b="1" i="0" kern="1200" dirty="0" smtClean="0">
                <a:solidFill>
                  <a:srgbClr val="143DCF"/>
                </a:solidFill>
                <a:latin typeface="+mn-lt"/>
                <a:ea typeface="+mn-ea"/>
                <a:cs typeface="+mn-cs"/>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cxnSp>
        <p:nvCxnSpPr>
          <p:cNvPr id="34" name="Straight Connector 33">
            <a:extLst>
              <a:ext uri="{FF2B5EF4-FFF2-40B4-BE49-F238E27FC236}">
                <a16:creationId xmlns:a16="http://schemas.microsoft.com/office/drawing/2014/main" id="{3CB330AF-1672-334C-B0B1-C1C9AD1B8438}"/>
              </a:ext>
            </a:extLst>
          </p:cNvPr>
          <p:cNvCxnSpPr>
            <a:cxnSpLocks/>
          </p:cNvCxnSpPr>
          <p:nvPr userDrawn="1"/>
        </p:nvCxnSpPr>
        <p:spPr>
          <a:xfrm>
            <a:off x="6294924" y="1854431"/>
            <a:ext cx="525970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1C6D7EFE-B94E-A0C8-5388-BC62CE528AE2}"/>
              </a:ext>
            </a:extLst>
          </p:cNvPr>
          <p:cNvPicPr>
            <a:picLocks noChangeAspect="1"/>
          </p:cNvPicPr>
          <p:nvPr userDrawn="1"/>
        </p:nvPicPr>
        <p:blipFill>
          <a:blip r:embed="rId6"/>
          <a:stretch>
            <a:fillRect/>
          </a:stretch>
        </p:blipFill>
        <p:spPr>
          <a:xfrm>
            <a:off x="295737" y="6584987"/>
            <a:ext cx="2324100" cy="107950"/>
          </a:xfrm>
          <a:prstGeom prst="rect">
            <a:avLst/>
          </a:prstGeom>
        </p:spPr>
      </p:pic>
      <p:pic>
        <p:nvPicPr>
          <p:cNvPr id="4" name="Picture 3">
            <a:extLst>
              <a:ext uri="{FF2B5EF4-FFF2-40B4-BE49-F238E27FC236}">
                <a16:creationId xmlns:a16="http://schemas.microsoft.com/office/drawing/2014/main" id="{67265669-6E78-1892-09A2-F67A67F5F0B0}"/>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rot="10800000">
            <a:off x="11008907" y="0"/>
            <a:ext cx="1202971" cy="984249"/>
          </a:xfrm>
          <a:prstGeom prst="rect">
            <a:avLst/>
          </a:prstGeom>
        </p:spPr>
      </p:pic>
      <p:pic>
        <p:nvPicPr>
          <p:cNvPr id="5" name="Picture 4">
            <a:extLst>
              <a:ext uri="{FF2B5EF4-FFF2-40B4-BE49-F238E27FC236}">
                <a16:creationId xmlns:a16="http://schemas.microsoft.com/office/drawing/2014/main" id="{A90CF7B4-DE90-21A6-D620-7BCD91B40ADC}"/>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569480" y="159548"/>
            <a:ext cx="269928" cy="269928"/>
          </a:xfrm>
          <a:prstGeom prst="rect">
            <a:avLst/>
          </a:prstGeom>
        </p:spPr>
      </p:pic>
      <p:sp>
        <p:nvSpPr>
          <p:cNvPr id="7" name="TextBox 6">
            <a:extLst>
              <a:ext uri="{FF2B5EF4-FFF2-40B4-BE49-F238E27FC236}">
                <a16:creationId xmlns:a16="http://schemas.microsoft.com/office/drawing/2014/main" id="{C2663213-C84B-C89E-4A66-6CE8722A5113}"/>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mn-lt"/>
                <a:ea typeface="+mn-ea"/>
                <a:cs typeface="+mn-cs"/>
              </a:rPr>
              <a:pPr algn="r"/>
              <a:t>‹#›</a:t>
            </a:fld>
            <a:endParaRPr lang="en-US" sz="700" spc="300">
              <a:solidFill>
                <a:schemeClr val="accent5"/>
              </a:solidFill>
              <a:latin typeface="+mn-lt"/>
              <a:ea typeface="+mn-ea"/>
              <a:cs typeface="+mn-cs"/>
            </a:endParaRPr>
          </a:p>
        </p:txBody>
      </p:sp>
      <p:sp>
        <p:nvSpPr>
          <p:cNvPr id="9" name="Rectangle 8">
            <a:extLst>
              <a:ext uri="{FF2B5EF4-FFF2-40B4-BE49-F238E27FC236}">
                <a16:creationId xmlns:a16="http://schemas.microsoft.com/office/drawing/2014/main" id="{9F992DEB-7BB3-9DE7-9807-6EDEF1614772}"/>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3A6B7645-AB98-A166-C159-BBB0911ED82B}"/>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70AAECB4-7ED0-587F-8F3B-BB80E5A4822F}"/>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0479A0D5-CB5E-BA69-32F3-8D59FAEC5CC8}"/>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D927DEB0-1704-6FD6-D04F-E1BB13604DB7}"/>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6883FE8C-0C48-F488-DFF3-81EDA6B0F23F}"/>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8C7E62DB-5181-617B-620D-4714F10E6191}"/>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9" name="Rectangle 18">
            <a:extLst>
              <a:ext uri="{FF2B5EF4-FFF2-40B4-BE49-F238E27FC236}">
                <a16:creationId xmlns:a16="http://schemas.microsoft.com/office/drawing/2014/main" id="{3D31B9C5-02D6-3BE6-E9FF-6BCC50BAB5AE}"/>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20" name="Rectangle 19">
            <a:extLst>
              <a:ext uri="{FF2B5EF4-FFF2-40B4-BE49-F238E27FC236}">
                <a16:creationId xmlns:a16="http://schemas.microsoft.com/office/drawing/2014/main" id="{F8734AE0-25BD-1764-A032-4FB5F5D2E6A8}"/>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21" name="Rectangle 20">
            <a:extLst>
              <a:ext uri="{FF2B5EF4-FFF2-40B4-BE49-F238E27FC236}">
                <a16:creationId xmlns:a16="http://schemas.microsoft.com/office/drawing/2014/main" id="{A6BB7120-787E-71B4-78EC-A07E3FD7F622}"/>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8" name="Text Placeholder 2">
            <a:extLst>
              <a:ext uri="{FF2B5EF4-FFF2-40B4-BE49-F238E27FC236}">
                <a16:creationId xmlns:a16="http://schemas.microsoft.com/office/drawing/2014/main" id="{C8589BBA-1E7C-0069-E57B-23F855B098D5}"/>
              </a:ext>
            </a:extLst>
          </p:cNvPr>
          <p:cNvSpPr>
            <a:spLocks noGrp="1"/>
          </p:cNvSpPr>
          <p:nvPr>
            <p:ph idx="1" hasCustomPrompt="1"/>
          </p:nvPr>
        </p:nvSpPr>
        <p:spPr>
          <a:xfrm>
            <a:off x="609233" y="1989298"/>
            <a:ext cx="5281330" cy="4330222"/>
          </a:xfrm>
          <a:prstGeom prst="rect">
            <a:avLst/>
          </a:prstGeom>
        </p:spPr>
        <p:txBody>
          <a:bodyPr vert="horz" lIns="91440" tIns="45720" rIns="91440" bIns="45720" rtlCol="0">
            <a:normAutofit/>
          </a:bodyPr>
          <a:lstStyle>
            <a:lvl1pPr>
              <a:defRPr>
                <a:solidFill>
                  <a:srgbClr val="133CCF"/>
                </a:solidFill>
                <a:latin typeface="+mn-lt"/>
                <a:ea typeface="+mn-ea"/>
                <a:cs typeface="+mn-cs"/>
              </a:defRPr>
            </a:lvl1pPr>
            <a:lvl2pPr marL="344488" indent="-173038">
              <a:buFont typeface="Arial" panose="020B0604020202020204" pitchFamily="34" charset="0"/>
              <a:buChar char="•"/>
              <a:tabLst/>
              <a:defRPr>
                <a:solidFill>
                  <a:srgbClr val="133CCF"/>
                </a:solidFill>
                <a:latin typeface="+mn-lt"/>
                <a:ea typeface="+mn-ea"/>
                <a:cs typeface="+mn-cs"/>
              </a:defRPr>
            </a:lvl2pPr>
            <a:lvl3pPr marL="517525" indent="-173038">
              <a:buFont typeface="Courier New" panose="02070309020205020404" pitchFamily="49" charset="0"/>
              <a:buChar char="o"/>
              <a:tabLst/>
              <a:defRPr>
                <a:solidFill>
                  <a:srgbClr val="133CCF"/>
                </a:solidFill>
                <a:latin typeface="+mn-lt"/>
                <a:ea typeface="+mn-ea"/>
                <a:cs typeface="+mn-cs"/>
              </a:defRPr>
            </a:lvl3pPr>
            <a:lvl4pPr marL="690563" indent="-173038">
              <a:buFont typeface="Wingdings" pitchFamily="2" charset="2"/>
              <a:buChar char="§"/>
              <a:tabLst/>
              <a:defRPr>
                <a:solidFill>
                  <a:srgbClr val="133CCF"/>
                </a:solidFill>
                <a:latin typeface="+mn-lt"/>
                <a:ea typeface="+mn-ea"/>
                <a:cs typeface="+mn-cs"/>
              </a:defRPr>
            </a:lvl4pPr>
            <a:lvl5pPr marL="923925" indent="-233363">
              <a:buSzPct val="70000"/>
              <a:buFont typeface="Wingdings" pitchFamily="2" charset="2"/>
              <a:buChar char="q"/>
              <a:tabLst/>
              <a:defRPr>
                <a:solidFill>
                  <a:srgbClr val="133CCF"/>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9D5238E6-2807-CE10-087F-3F164EDCD798}"/>
              </a:ext>
            </a:extLst>
          </p:cNvPr>
          <p:cNvSpPr>
            <a:spLocks noGrp="1"/>
          </p:cNvSpPr>
          <p:nvPr>
            <p:ph idx="18" hasCustomPrompt="1"/>
          </p:nvPr>
        </p:nvSpPr>
        <p:spPr>
          <a:xfrm>
            <a:off x="6298833" y="1989298"/>
            <a:ext cx="5281330" cy="4330222"/>
          </a:xfrm>
          <a:prstGeom prst="rect">
            <a:avLst/>
          </a:prstGeom>
        </p:spPr>
        <p:txBody>
          <a:bodyPr vert="horz" lIns="91440" tIns="45720" rIns="91440" bIns="45720" rtlCol="0">
            <a:normAutofit/>
          </a:bodyPr>
          <a:lstStyle>
            <a:lvl1pPr>
              <a:defRPr>
                <a:solidFill>
                  <a:srgbClr val="133CCF"/>
                </a:solidFill>
                <a:latin typeface="+mn-lt"/>
                <a:ea typeface="+mn-ea"/>
                <a:cs typeface="+mn-cs"/>
              </a:defRPr>
            </a:lvl1pPr>
            <a:lvl2pPr marL="344488" indent="-173038">
              <a:buFont typeface="Arial" panose="020B0604020202020204" pitchFamily="34" charset="0"/>
              <a:buChar char="•"/>
              <a:tabLst/>
              <a:defRPr>
                <a:solidFill>
                  <a:srgbClr val="133CCF"/>
                </a:solidFill>
                <a:latin typeface="+mn-lt"/>
                <a:ea typeface="+mn-ea"/>
                <a:cs typeface="+mn-cs"/>
              </a:defRPr>
            </a:lvl2pPr>
            <a:lvl3pPr marL="517525" indent="-173038">
              <a:buFont typeface="Courier New" panose="02070309020205020404" pitchFamily="49" charset="0"/>
              <a:buChar char="o"/>
              <a:tabLst/>
              <a:defRPr>
                <a:solidFill>
                  <a:srgbClr val="133CCF"/>
                </a:solidFill>
                <a:latin typeface="+mn-lt"/>
                <a:ea typeface="+mn-ea"/>
                <a:cs typeface="+mn-cs"/>
              </a:defRPr>
            </a:lvl3pPr>
            <a:lvl4pPr marL="690563" indent="-173038">
              <a:buFont typeface="Wingdings" pitchFamily="2" charset="2"/>
              <a:buChar char="§"/>
              <a:tabLst/>
              <a:defRPr>
                <a:solidFill>
                  <a:srgbClr val="133CCF"/>
                </a:solidFill>
                <a:latin typeface="+mn-lt"/>
                <a:ea typeface="+mn-ea"/>
                <a:cs typeface="+mn-cs"/>
              </a:defRPr>
            </a:lvl4pPr>
            <a:lvl5pPr marL="923925" indent="-233363">
              <a:buSzPct val="70000"/>
              <a:buFont typeface="Wingdings" pitchFamily="2" charset="2"/>
              <a:buChar char="q"/>
              <a:tabLst/>
              <a:defRPr>
                <a:solidFill>
                  <a:srgbClr val="133CCF"/>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064571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mparison 02 - Green">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066FFACF-CEE3-F8BA-30B1-E9B7F1D51546}"/>
              </a:ext>
            </a:extLst>
          </p:cNvPr>
          <p:cNvGraphicFramePr>
            <a:graphicFrameLocks noChangeAspect="1"/>
          </p:cNvGraphicFramePr>
          <p:nvPr userDrawn="1">
            <p:custDataLst>
              <p:tags r:id="rId1"/>
            </p:custDataLst>
            <p:extLst>
              <p:ext uri="{D42A27DB-BD31-4B8C-83A1-F6EECF244321}">
                <p14:modId xmlns:p14="http://schemas.microsoft.com/office/powerpoint/2010/main" val="2877713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9" name="think-cell data - do not delete" hidden="1">
                        <a:extLst>
                          <a:ext uri="{FF2B5EF4-FFF2-40B4-BE49-F238E27FC236}">
                            <a16:creationId xmlns:a16="http://schemas.microsoft.com/office/drawing/2014/main" id="{066FFACF-CEE3-F8BA-30B1-E9B7F1D515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Text Placeholder 17">
            <a:extLst>
              <a:ext uri="{FF2B5EF4-FFF2-40B4-BE49-F238E27FC236}">
                <a16:creationId xmlns:a16="http://schemas.microsoft.com/office/drawing/2014/main" id="{ADB97546-6C6B-5848-B3AE-67DDFC3355A6}"/>
              </a:ext>
            </a:extLst>
          </p:cNvPr>
          <p:cNvSpPr>
            <a:spLocks noGrp="1"/>
          </p:cNvSpPr>
          <p:nvPr>
            <p:ph type="body" sz="quarter" idx="14" hasCustomPrompt="1"/>
          </p:nvPr>
        </p:nvSpPr>
        <p:spPr>
          <a:xfrm>
            <a:off x="609232" y="1287610"/>
            <a:ext cx="3344092" cy="421592"/>
          </a:xfrm>
        </p:spPr>
        <p:txBody>
          <a:bodyPr anchor="ctr">
            <a:noAutofit/>
          </a:bodyPr>
          <a:lstStyle>
            <a:lvl1pPr marL="0" indent="0">
              <a:lnSpc>
                <a:spcPct val="100000"/>
              </a:lnSpc>
              <a:spcBef>
                <a:spcPts val="0"/>
              </a:spcBef>
              <a:spcAft>
                <a:spcPts val="0"/>
              </a:spcAft>
              <a:buNone/>
              <a:defRPr lang="en-US" sz="2000" b="1" i="0" kern="1200" dirty="0" smtClean="0">
                <a:solidFill>
                  <a:srgbClr val="143DCF"/>
                </a:solidFill>
                <a:latin typeface="+mn-lt"/>
                <a:ea typeface="+mn-ea"/>
                <a:cs typeface="+mn-cs"/>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cxnSp>
        <p:nvCxnSpPr>
          <p:cNvPr id="27" name="Straight Connector 26">
            <a:extLst>
              <a:ext uri="{FF2B5EF4-FFF2-40B4-BE49-F238E27FC236}">
                <a16:creationId xmlns:a16="http://schemas.microsoft.com/office/drawing/2014/main" id="{5F26296F-DC28-A844-A02B-73449FF6A8DB}"/>
              </a:ext>
            </a:extLst>
          </p:cNvPr>
          <p:cNvCxnSpPr>
            <a:cxnSpLocks/>
          </p:cNvCxnSpPr>
          <p:nvPr userDrawn="1"/>
        </p:nvCxnSpPr>
        <p:spPr>
          <a:xfrm>
            <a:off x="609232" y="1854431"/>
            <a:ext cx="3344092"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1" name="Text Placeholder 17">
            <a:extLst>
              <a:ext uri="{FF2B5EF4-FFF2-40B4-BE49-F238E27FC236}">
                <a16:creationId xmlns:a16="http://schemas.microsoft.com/office/drawing/2014/main" id="{F7A1BCF4-A8A2-6245-A98E-69AAAE820CAC}"/>
              </a:ext>
            </a:extLst>
          </p:cNvPr>
          <p:cNvSpPr>
            <a:spLocks noGrp="1"/>
          </p:cNvSpPr>
          <p:nvPr>
            <p:ph type="body" sz="quarter" idx="17" hasCustomPrompt="1"/>
          </p:nvPr>
        </p:nvSpPr>
        <p:spPr>
          <a:xfrm>
            <a:off x="4436515" y="1287610"/>
            <a:ext cx="3344092" cy="421592"/>
          </a:xfrm>
        </p:spPr>
        <p:txBody>
          <a:bodyPr anchor="ctr">
            <a:noAutofit/>
          </a:bodyPr>
          <a:lstStyle>
            <a:lvl1pPr marL="0" indent="0">
              <a:lnSpc>
                <a:spcPct val="100000"/>
              </a:lnSpc>
              <a:spcBef>
                <a:spcPts val="0"/>
              </a:spcBef>
              <a:spcAft>
                <a:spcPts val="0"/>
              </a:spcAft>
              <a:buNone/>
              <a:defRPr lang="en-US" sz="2000" b="1" i="0" kern="1200" dirty="0" smtClean="0">
                <a:solidFill>
                  <a:srgbClr val="143DCF"/>
                </a:solidFill>
                <a:latin typeface="+mn-lt"/>
                <a:ea typeface="+mn-ea"/>
                <a:cs typeface="+mn-cs"/>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cxnSp>
        <p:nvCxnSpPr>
          <p:cNvPr id="22" name="Straight Connector 21">
            <a:extLst>
              <a:ext uri="{FF2B5EF4-FFF2-40B4-BE49-F238E27FC236}">
                <a16:creationId xmlns:a16="http://schemas.microsoft.com/office/drawing/2014/main" id="{B8B64A02-492D-FE46-8E47-7D3C8EF0DFE6}"/>
              </a:ext>
            </a:extLst>
          </p:cNvPr>
          <p:cNvCxnSpPr>
            <a:cxnSpLocks/>
          </p:cNvCxnSpPr>
          <p:nvPr userDrawn="1"/>
        </p:nvCxnSpPr>
        <p:spPr>
          <a:xfrm>
            <a:off x="4436515" y="1854431"/>
            <a:ext cx="3344092"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9" name="Text Placeholder 17">
            <a:extLst>
              <a:ext uri="{FF2B5EF4-FFF2-40B4-BE49-F238E27FC236}">
                <a16:creationId xmlns:a16="http://schemas.microsoft.com/office/drawing/2014/main" id="{EAB7758D-1263-9340-B58E-8BCF64EAE371}"/>
              </a:ext>
            </a:extLst>
          </p:cNvPr>
          <p:cNvSpPr>
            <a:spLocks noGrp="1"/>
          </p:cNvSpPr>
          <p:nvPr>
            <p:ph type="body" sz="quarter" idx="19" hasCustomPrompt="1"/>
          </p:nvPr>
        </p:nvSpPr>
        <p:spPr>
          <a:xfrm>
            <a:off x="8235517" y="1287610"/>
            <a:ext cx="3344092" cy="421592"/>
          </a:xfrm>
        </p:spPr>
        <p:txBody>
          <a:bodyPr anchor="ctr">
            <a:noAutofit/>
          </a:bodyPr>
          <a:lstStyle>
            <a:lvl1pPr marL="0" indent="0">
              <a:lnSpc>
                <a:spcPct val="100000"/>
              </a:lnSpc>
              <a:spcBef>
                <a:spcPts val="0"/>
              </a:spcBef>
              <a:spcAft>
                <a:spcPts val="0"/>
              </a:spcAft>
              <a:buNone/>
              <a:defRPr lang="en-US" sz="2000" b="1" i="0" kern="1200" dirty="0" smtClean="0">
                <a:solidFill>
                  <a:srgbClr val="143DCF"/>
                </a:solidFill>
                <a:latin typeface="+mn-lt"/>
                <a:ea typeface="+mn-ea"/>
                <a:cs typeface="+mn-cs"/>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cxnSp>
        <p:nvCxnSpPr>
          <p:cNvPr id="30" name="Straight Connector 29">
            <a:extLst>
              <a:ext uri="{FF2B5EF4-FFF2-40B4-BE49-F238E27FC236}">
                <a16:creationId xmlns:a16="http://schemas.microsoft.com/office/drawing/2014/main" id="{E09C1042-81DA-7544-BC1C-27DB8E4DED8E}"/>
              </a:ext>
            </a:extLst>
          </p:cNvPr>
          <p:cNvCxnSpPr>
            <a:cxnSpLocks/>
          </p:cNvCxnSpPr>
          <p:nvPr userDrawn="1"/>
        </p:nvCxnSpPr>
        <p:spPr>
          <a:xfrm>
            <a:off x="8235517" y="1854431"/>
            <a:ext cx="3344092"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39" name="object 2">
            <a:extLst>
              <a:ext uri="{FF2B5EF4-FFF2-40B4-BE49-F238E27FC236}">
                <a16:creationId xmlns:a16="http://schemas.microsoft.com/office/drawing/2014/main" id="{0A7B2C8C-0511-364F-88EC-07A6DFE862AA}"/>
              </a:ext>
            </a:extLst>
          </p:cNvPr>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3"/>
          </a:solidFill>
        </p:spPr>
        <p:txBody>
          <a:bodyPr wrap="square" lIns="0" tIns="0" rIns="0" bIns="0" rtlCol="0"/>
          <a:lstStyle/>
          <a:p>
            <a:endParaRPr>
              <a:latin typeface="+mn-lt"/>
              <a:ea typeface="+mn-ea"/>
              <a:cs typeface="+mn-cs"/>
            </a:endParaRPr>
          </a:p>
        </p:txBody>
      </p:sp>
      <p:sp>
        <p:nvSpPr>
          <p:cNvPr id="41" name="Title 23">
            <a:extLst>
              <a:ext uri="{FF2B5EF4-FFF2-40B4-BE49-F238E27FC236}">
                <a16:creationId xmlns:a16="http://schemas.microsoft.com/office/drawing/2014/main" id="{DBD66D1A-0C25-3743-96E4-E9D4CA69E78E}"/>
              </a:ext>
            </a:extLst>
          </p:cNvPr>
          <p:cNvSpPr>
            <a:spLocks noGrp="1"/>
          </p:cNvSpPr>
          <p:nvPr>
            <p:ph type="title"/>
          </p:nvPr>
        </p:nvSpPr>
        <p:spPr>
          <a:xfrm>
            <a:off x="609231" y="168310"/>
            <a:ext cx="10970377" cy="623222"/>
          </a:xfrm>
        </p:spPr>
        <p:txBody>
          <a:bodyPr vert="horz">
            <a:noAutofit/>
          </a:bodyPr>
          <a:lstStyle>
            <a:lvl1pPr>
              <a:lnSpc>
                <a:spcPct val="100000"/>
              </a:lnSpc>
              <a:defRPr lang="en-US" sz="3200" b="1" i="0" kern="1200" spc="-20" dirty="0">
                <a:solidFill>
                  <a:srgbClr val="FFFFFF"/>
                </a:solidFill>
                <a:latin typeface="+mj-lt"/>
                <a:ea typeface="+mj-ea"/>
                <a:cs typeface="+mj-cs"/>
              </a:defRPr>
            </a:lvl1pPr>
          </a:lstStyle>
          <a:p>
            <a:r>
              <a:rPr lang="en-US"/>
              <a:t>Click to edit Master title style</a:t>
            </a:r>
          </a:p>
        </p:txBody>
      </p:sp>
      <p:sp>
        <p:nvSpPr>
          <p:cNvPr id="43" name="TextBox 42">
            <a:extLst>
              <a:ext uri="{FF2B5EF4-FFF2-40B4-BE49-F238E27FC236}">
                <a16:creationId xmlns:a16="http://schemas.microsoft.com/office/drawing/2014/main" id="{36AFD1CD-D5BA-6140-8A4F-0DE9E300A16D}"/>
              </a:ext>
            </a:extLst>
          </p:cNvPr>
          <p:cNvSpPr txBox="1"/>
          <p:nvPr userDrawn="1"/>
        </p:nvSpPr>
        <p:spPr>
          <a:xfrm>
            <a:off x="11064240" y="6639040"/>
            <a:ext cx="993807" cy="200055"/>
          </a:xfrm>
          <a:prstGeom prst="rect">
            <a:avLst/>
          </a:prstGeom>
          <a:noFill/>
        </p:spPr>
        <p:txBody>
          <a:bodyPr wrap="square" rtlCol="0">
            <a:spAutoFit/>
          </a:bodyPr>
          <a:lstStyle/>
          <a:p>
            <a:pPr algn="r"/>
            <a:r>
              <a:rPr lang="en-US" sz="700" spc="300">
                <a:solidFill>
                  <a:schemeClr val="bg1"/>
                </a:solidFill>
                <a:latin typeface="+mn-lt"/>
                <a:ea typeface="+mn-ea"/>
                <a:cs typeface="+mn-cs"/>
              </a:rPr>
              <a:t>PAGE </a:t>
            </a:r>
            <a:fld id="{D6EE3F35-5EAA-0344-B6FC-083E415BACD9}" type="slidenum">
              <a:rPr lang="en-US" sz="700" spc="300" smtClean="0">
                <a:solidFill>
                  <a:schemeClr val="bg1"/>
                </a:solidFill>
                <a:latin typeface="+mn-lt"/>
                <a:ea typeface="+mn-ea"/>
                <a:cs typeface="+mn-cs"/>
              </a:rPr>
              <a:pPr algn="r"/>
              <a:t>‹#›</a:t>
            </a:fld>
            <a:endParaRPr lang="en-US" sz="700" spc="300">
              <a:solidFill>
                <a:schemeClr val="bg1"/>
              </a:solidFill>
              <a:latin typeface="+mn-lt"/>
              <a:ea typeface="+mn-ea"/>
              <a:cs typeface="+mn-cs"/>
            </a:endParaRPr>
          </a:p>
        </p:txBody>
      </p:sp>
      <p:pic>
        <p:nvPicPr>
          <p:cNvPr id="2" name="Picture 1">
            <a:extLst>
              <a:ext uri="{FF2B5EF4-FFF2-40B4-BE49-F238E27FC236}">
                <a16:creationId xmlns:a16="http://schemas.microsoft.com/office/drawing/2014/main" id="{42797EBC-F45A-5614-213D-FC429635A453}"/>
              </a:ext>
            </a:extLst>
          </p:cNvPr>
          <p:cNvPicPr>
            <a:picLocks noChangeAspect="1"/>
          </p:cNvPicPr>
          <p:nvPr userDrawn="1"/>
        </p:nvPicPr>
        <p:blipFill>
          <a:blip r:embed="rId5"/>
          <a:stretch>
            <a:fillRect/>
          </a:stretch>
        </p:blipFill>
        <p:spPr>
          <a:xfrm>
            <a:off x="295737" y="6584987"/>
            <a:ext cx="2324100" cy="107950"/>
          </a:xfrm>
          <a:prstGeom prst="rect">
            <a:avLst/>
          </a:prstGeom>
        </p:spPr>
      </p:pic>
      <p:pic>
        <p:nvPicPr>
          <p:cNvPr id="4" name="Picture 3">
            <a:extLst>
              <a:ext uri="{FF2B5EF4-FFF2-40B4-BE49-F238E27FC236}">
                <a16:creationId xmlns:a16="http://schemas.microsoft.com/office/drawing/2014/main" id="{15361CBB-EF59-D080-80B0-5480006913EB}"/>
              </a:ext>
            </a:extLst>
          </p:cNvPr>
          <p:cNvPicPr>
            <a:picLocks noChangeAspect="1"/>
          </p:cNvPicPr>
          <p:nvPr userDrawn="1"/>
        </p:nvPicPr>
        <p:blipFill>
          <a:blip r:embed="rId6"/>
          <a:stretch>
            <a:fillRect/>
          </a:stretch>
        </p:blipFill>
        <p:spPr>
          <a:xfrm>
            <a:off x="10724983" y="-274666"/>
            <a:ext cx="1333064" cy="1224390"/>
          </a:xfrm>
          <a:prstGeom prst="rect">
            <a:avLst/>
          </a:prstGeom>
        </p:spPr>
      </p:pic>
      <p:sp>
        <p:nvSpPr>
          <p:cNvPr id="5" name="TextBox 4">
            <a:extLst>
              <a:ext uri="{FF2B5EF4-FFF2-40B4-BE49-F238E27FC236}">
                <a16:creationId xmlns:a16="http://schemas.microsoft.com/office/drawing/2014/main" id="{596AFB0A-5734-D136-99C1-FC06A163AC56}"/>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mn-lt"/>
                <a:ea typeface="+mn-ea"/>
                <a:cs typeface="+mn-cs"/>
              </a:rPr>
              <a:pPr algn="r"/>
              <a:t>‹#›</a:t>
            </a:fld>
            <a:endParaRPr lang="en-US" sz="700" spc="300">
              <a:solidFill>
                <a:schemeClr val="accent5"/>
              </a:solidFill>
              <a:latin typeface="+mn-lt"/>
              <a:ea typeface="+mn-ea"/>
              <a:cs typeface="+mn-cs"/>
            </a:endParaRPr>
          </a:p>
        </p:txBody>
      </p:sp>
      <p:sp>
        <p:nvSpPr>
          <p:cNvPr id="8" name="Rectangle 7">
            <a:extLst>
              <a:ext uri="{FF2B5EF4-FFF2-40B4-BE49-F238E27FC236}">
                <a16:creationId xmlns:a16="http://schemas.microsoft.com/office/drawing/2014/main" id="{EEA3F4DF-9AFD-E5CA-6FFC-0C5171D37794}"/>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16877785-DF99-DAEF-7103-151AA5D4AF7C}"/>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9AB857CA-9ED5-A3BF-FB4B-2364F4DC1544}"/>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5363CA41-CD6F-08EF-E125-A56CCE0B3C9B}"/>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4FA418D9-25DB-F3D1-1ADC-C3DC47DD25C9}"/>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39E3A67D-E674-79A3-EC8F-3BB9806406E6}"/>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F16F6241-F702-3A52-9619-A59138C1753B}"/>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315B3004-8E8A-A99A-A6D5-743A8F0BDB93}"/>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318EDF87-9B2F-056B-5F32-14C76A5B6556}"/>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6F8948B8-0F08-F0AC-5D67-008A3E323F9A}"/>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3" name="Text Placeholder 2">
            <a:extLst>
              <a:ext uri="{FF2B5EF4-FFF2-40B4-BE49-F238E27FC236}">
                <a16:creationId xmlns:a16="http://schemas.microsoft.com/office/drawing/2014/main" id="{5778667E-ED3C-080E-08B8-39BB7381CA1A}"/>
              </a:ext>
            </a:extLst>
          </p:cNvPr>
          <p:cNvSpPr>
            <a:spLocks noGrp="1"/>
          </p:cNvSpPr>
          <p:nvPr>
            <p:ph idx="1" hasCustomPrompt="1"/>
          </p:nvPr>
        </p:nvSpPr>
        <p:spPr>
          <a:xfrm>
            <a:off x="609232" y="1997927"/>
            <a:ext cx="3344091" cy="4321593"/>
          </a:xfrm>
          <a:prstGeom prst="rect">
            <a:avLst/>
          </a:prstGeom>
        </p:spPr>
        <p:txBody>
          <a:bodyPr vert="horz" lIns="91440" tIns="45720" rIns="91440" bIns="45720" rtlCol="0">
            <a:normAutofit/>
          </a:bodyPr>
          <a:lstStyle>
            <a:lvl1pPr>
              <a:defRPr sz="1400">
                <a:solidFill>
                  <a:srgbClr val="133CCF"/>
                </a:solidFill>
                <a:latin typeface="+mn-lt"/>
                <a:ea typeface="+mn-ea"/>
                <a:cs typeface="+mn-cs"/>
              </a:defRPr>
            </a:lvl1pPr>
            <a:lvl2pPr marL="344488" indent="-173038">
              <a:buFont typeface="Arial" panose="020B0604020202020204" pitchFamily="34" charset="0"/>
              <a:buChar char="•"/>
              <a:tabLst/>
              <a:defRPr sz="1400">
                <a:solidFill>
                  <a:srgbClr val="133CCF"/>
                </a:solidFill>
                <a:latin typeface="+mn-lt"/>
                <a:ea typeface="+mn-ea"/>
                <a:cs typeface="+mn-cs"/>
              </a:defRPr>
            </a:lvl2pPr>
            <a:lvl3pPr marL="517525" indent="-173038">
              <a:buFont typeface="Courier New" panose="02070309020205020404" pitchFamily="49" charset="0"/>
              <a:buChar char="o"/>
              <a:tabLst/>
              <a:defRPr sz="1400">
                <a:solidFill>
                  <a:srgbClr val="133CCF"/>
                </a:solidFill>
                <a:latin typeface="+mn-lt"/>
                <a:ea typeface="+mn-ea"/>
                <a:cs typeface="+mn-cs"/>
              </a:defRPr>
            </a:lvl3pPr>
            <a:lvl4pPr marL="690563" indent="-173038">
              <a:buFont typeface="Wingdings" pitchFamily="2" charset="2"/>
              <a:buChar char="§"/>
              <a:tabLst/>
              <a:defRPr sz="1400">
                <a:solidFill>
                  <a:srgbClr val="133CCF"/>
                </a:solidFill>
                <a:latin typeface="+mn-lt"/>
                <a:ea typeface="+mn-ea"/>
                <a:cs typeface="+mn-cs"/>
              </a:defRPr>
            </a:lvl4pPr>
            <a:lvl5pPr marL="923925" indent="-233363">
              <a:buSzPct val="70000"/>
              <a:buFont typeface="Wingdings" pitchFamily="2" charset="2"/>
              <a:buChar char="q"/>
              <a:tabLst/>
              <a:defRPr sz="1400">
                <a:solidFill>
                  <a:srgbClr val="133CCF"/>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a:extLst>
              <a:ext uri="{FF2B5EF4-FFF2-40B4-BE49-F238E27FC236}">
                <a16:creationId xmlns:a16="http://schemas.microsoft.com/office/drawing/2014/main" id="{CE6AB6E1-E07C-5D1F-3C6B-B8A298B9DF5C}"/>
              </a:ext>
            </a:extLst>
          </p:cNvPr>
          <p:cNvSpPr>
            <a:spLocks noGrp="1"/>
          </p:cNvSpPr>
          <p:nvPr>
            <p:ph idx="20" hasCustomPrompt="1"/>
          </p:nvPr>
        </p:nvSpPr>
        <p:spPr>
          <a:xfrm>
            <a:off x="4436516" y="1997927"/>
            <a:ext cx="3344091" cy="4321593"/>
          </a:xfrm>
          <a:prstGeom prst="rect">
            <a:avLst/>
          </a:prstGeom>
        </p:spPr>
        <p:txBody>
          <a:bodyPr vert="horz" lIns="91440" tIns="45720" rIns="91440" bIns="45720" rtlCol="0">
            <a:normAutofit/>
          </a:bodyPr>
          <a:lstStyle>
            <a:lvl1pPr>
              <a:defRPr sz="1400">
                <a:solidFill>
                  <a:srgbClr val="133CCF"/>
                </a:solidFill>
                <a:latin typeface="+mn-lt"/>
                <a:ea typeface="+mn-ea"/>
                <a:cs typeface="+mn-cs"/>
              </a:defRPr>
            </a:lvl1pPr>
            <a:lvl2pPr marL="344488" indent="-173038">
              <a:buFont typeface="Arial" panose="020B0604020202020204" pitchFamily="34" charset="0"/>
              <a:buChar char="•"/>
              <a:tabLst/>
              <a:defRPr sz="1400">
                <a:solidFill>
                  <a:srgbClr val="133CCF"/>
                </a:solidFill>
                <a:latin typeface="+mn-lt"/>
                <a:ea typeface="+mn-ea"/>
                <a:cs typeface="+mn-cs"/>
              </a:defRPr>
            </a:lvl2pPr>
            <a:lvl3pPr marL="517525" indent="-173038">
              <a:buFont typeface="Courier New" panose="02070309020205020404" pitchFamily="49" charset="0"/>
              <a:buChar char="o"/>
              <a:tabLst/>
              <a:defRPr sz="1400">
                <a:solidFill>
                  <a:srgbClr val="133CCF"/>
                </a:solidFill>
                <a:latin typeface="+mn-lt"/>
                <a:ea typeface="+mn-ea"/>
                <a:cs typeface="+mn-cs"/>
              </a:defRPr>
            </a:lvl3pPr>
            <a:lvl4pPr marL="690563" indent="-173038">
              <a:buFont typeface="Wingdings" pitchFamily="2" charset="2"/>
              <a:buChar char="§"/>
              <a:tabLst/>
              <a:defRPr sz="1400">
                <a:solidFill>
                  <a:srgbClr val="133CCF"/>
                </a:solidFill>
                <a:latin typeface="+mn-lt"/>
                <a:ea typeface="+mn-ea"/>
                <a:cs typeface="+mn-cs"/>
              </a:defRPr>
            </a:lvl4pPr>
            <a:lvl5pPr marL="923925" indent="-233363">
              <a:buSzPct val="70000"/>
              <a:buFont typeface="Wingdings" pitchFamily="2" charset="2"/>
              <a:buChar char="q"/>
              <a:tabLst/>
              <a:defRPr sz="1400">
                <a:solidFill>
                  <a:srgbClr val="133CCF"/>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a:extLst>
              <a:ext uri="{FF2B5EF4-FFF2-40B4-BE49-F238E27FC236}">
                <a16:creationId xmlns:a16="http://schemas.microsoft.com/office/drawing/2014/main" id="{AD2AE29F-8132-E512-0EFC-58E9A4D85ABA}"/>
              </a:ext>
            </a:extLst>
          </p:cNvPr>
          <p:cNvSpPr>
            <a:spLocks noGrp="1"/>
          </p:cNvSpPr>
          <p:nvPr>
            <p:ph idx="21" hasCustomPrompt="1"/>
          </p:nvPr>
        </p:nvSpPr>
        <p:spPr>
          <a:xfrm>
            <a:off x="8235517" y="1997927"/>
            <a:ext cx="3344091" cy="4321593"/>
          </a:xfrm>
          <a:prstGeom prst="rect">
            <a:avLst/>
          </a:prstGeom>
        </p:spPr>
        <p:txBody>
          <a:bodyPr vert="horz" lIns="91440" tIns="45720" rIns="91440" bIns="45720" rtlCol="0">
            <a:normAutofit/>
          </a:bodyPr>
          <a:lstStyle>
            <a:lvl1pPr>
              <a:defRPr sz="1400">
                <a:solidFill>
                  <a:srgbClr val="133CCF"/>
                </a:solidFill>
                <a:latin typeface="+mn-lt"/>
                <a:ea typeface="+mn-ea"/>
                <a:cs typeface="+mn-cs"/>
              </a:defRPr>
            </a:lvl1pPr>
            <a:lvl2pPr marL="344488" indent="-173038">
              <a:buFont typeface="Arial" panose="020B0604020202020204" pitchFamily="34" charset="0"/>
              <a:buChar char="•"/>
              <a:tabLst/>
              <a:defRPr sz="1400">
                <a:solidFill>
                  <a:srgbClr val="133CCF"/>
                </a:solidFill>
                <a:latin typeface="+mn-lt"/>
                <a:ea typeface="+mn-ea"/>
                <a:cs typeface="+mn-cs"/>
              </a:defRPr>
            </a:lvl2pPr>
            <a:lvl3pPr marL="517525" indent="-173038">
              <a:buFont typeface="Courier New" panose="02070309020205020404" pitchFamily="49" charset="0"/>
              <a:buChar char="o"/>
              <a:tabLst/>
              <a:defRPr sz="1400">
                <a:solidFill>
                  <a:srgbClr val="133CCF"/>
                </a:solidFill>
                <a:latin typeface="+mn-lt"/>
                <a:ea typeface="+mn-ea"/>
                <a:cs typeface="+mn-cs"/>
              </a:defRPr>
            </a:lvl3pPr>
            <a:lvl4pPr marL="690563" indent="-173038">
              <a:buFont typeface="Wingdings" pitchFamily="2" charset="2"/>
              <a:buChar char="§"/>
              <a:tabLst/>
              <a:defRPr sz="1400">
                <a:solidFill>
                  <a:srgbClr val="133CCF"/>
                </a:solidFill>
                <a:latin typeface="+mn-lt"/>
                <a:ea typeface="+mn-ea"/>
                <a:cs typeface="+mn-cs"/>
              </a:defRPr>
            </a:lvl4pPr>
            <a:lvl5pPr marL="923925" indent="-233363">
              <a:buSzPct val="70000"/>
              <a:buFont typeface="Wingdings" pitchFamily="2" charset="2"/>
              <a:buChar char="q"/>
              <a:tabLst/>
              <a:defRPr sz="1400">
                <a:solidFill>
                  <a:srgbClr val="133CCF"/>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049235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mparison 03 - Green">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547D47EC-F63B-632D-EBFC-1F31A7FD57E5}"/>
              </a:ext>
            </a:extLst>
          </p:cNvPr>
          <p:cNvGraphicFramePr>
            <a:graphicFrameLocks noChangeAspect="1"/>
          </p:cNvGraphicFramePr>
          <p:nvPr userDrawn="1">
            <p:custDataLst>
              <p:tags r:id="rId1"/>
            </p:custDataLst>
            <p:extLst>
              <p:ext uri="{D42A27DB-BD31-4B8C-83A1-F6EECF244321}">
                <p14:modId xmlns:p14="http://schemas.microsoft.com/office/powerpoint/2010/main" val="2696405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1" name="think-cell data - do not delete" hidden="1">
                        <a:extLst>
                          <a:ext uri="{FF2B5EF4-FFF2-40B4-BE49-F238E27FC236}">
                            <a16:creationId xmlns:a16="http://schemas.microsoft.com/office/drawing/2014/main" id="{547D47EC-F63B-632D-EBFC-1F31A7FD57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Text Placeholder 17"/>
          <p:cNvSpPr>
            <a:spLocks noGrp="1"/>
          </p:cNvSpPr>
          <p:nvPr>
            <p:ph type="body" sz="quarter" idx="14" hasCustomPrompt="1"/>
          </p:nvPr>
        </p:nvSpPr>
        <p:spPr>
          <a:xfrm>
            <a:off x="486323" y="1287610"/>
            <a:ext cx="2649783" cy="727086"/>
          </a:xfrm>
        </p:spPr>
        <p:txBody>
          <a:bodyPr anchor="t">
            <a:noAutofit/>
          </a:bodyPr>
          <a:lstStyle>
            <a:lvl1pPr marL="0" indent="0">
              <a:lnSpc>
                <a:spcPct val="100000"/>
              </a:lnSpc>
              <a:spcBef>
                <a:spcPts val="100"/>
              </a:spcBef>
              <a:spcAft>
                <a:spcPts val="100"/>
              </a:spcAft>
              <a:buNone/>
              <a:defRPr lang="en-US" sz="2000" b="1" i="0" kern="1200" dirty="0" smtClean="0">
                <a:solidFill>
                  <a:srgbClr val="143DCF"/>
                </a:solidFill>
                <a:latin typeface="+mn-lt"/>
                <a:ea typeface="+mn-ea"/>
                <a:cs typeface="+mn-cs"/>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sp>
        <p:nvSpPr>
          <p:cNvPr id="26" name="Text Placeholder 17">
            <a:extLst>
              <a:ext uri="{FF2B5EF4-FFF2-40B4-BE49-F238E27FC236}">
                <a16:creationId xmlns:a16="http://schemas.microsoft.com/office/drawing/2014/main" id="{00E51550-7B1F-D643-870F-108D0F6F5385}"/>
              </a:ext>
            </a:extLst>
          </p:cNvPr>
          <p:cNvSpPr>
            <a:spLocks noGrp="1"/>
          </p:cNvSpPr>
          <p:nvPr>
            <p:ph type="body" sz="quarter" idx="17" hasCustomPrompt="1"/>
          </p:nvPr>
        </p:nvSpPr>
        <p:spPr>
          <a:xfrm>
            <a:off x="3335031" y="1287610"/>
            <a:ext cx="2649783" cy="727086"/>
          </a:xfrm>
        </p:spPr>
        <p:txBody>
          <a:bodyPr anchor="t">
            <a:noAutofit/>
          </a:bodyPr>
          <a:lstStyle>
            <a:lvl1pPr marL="0" indent="0">
              <a:lnSpc>
                <a:spcPct val="100000"/>
              </a:lnSpc>
              <a:spcBef>
                <a:spcPts val="100"/>
              </a:spcBef>
              <a:spcAft>
                <a:spcPts val="100"/>
              </a:spcAft>
              <a:buNone/>
              <a:defRPr lang="en-US" sz="2000" b="1" i="0" kern="1200" dirty="0" smtClean="0">
                <a:solidFill>
                  <a:srgbClr val="143DCF"/>
                </a:solidFill>
                <a:latin typeface="+mn-lt"/>
                <a:ea typeface="+mn-ea"/>
                <a:cs typeface="+mn-cs"/>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sp>
        <p:nvSpPr>
          <p:cNvPr id="36" name="Text Placeholder 17">
            <a:extLst>
              <a:ext uri="{FF2B5EF4-FFF2-40B4-BE49-F238E27FC236}">
                <a16:creationId xmlns:a16="http://schemas.microsoft.com/office/drawing/2014/main" id="{79BB3282-881C-9E42-8CB7-B6BB0FB05F12}"/>
              </a:ext>
            </a:extLst>
          </p:cNvPr>
          <p:cNvSpPr>
            <a:spLocks noGrp="1"/>
          </p:cNvSpPr>
          <p:nvPr>
            <p:ph type="body" sz="quarter" idx="19" hasCustomPrompt="1"/>
          </p:nvPr>
        </p:nvSpPr>
        <p:spPr>
          <a:xfrm>
            <a:off x="6207185" y="1287610"/>
            <a:ext cx="2649783" cy="727086"/>
          </a:xfrm>
        </p:spPr>
        <p:txBody>
          <a:bodyPr anchor="t">
            <a:noAutofit/>
          </a:bodyPr>
          <a:lstStyle>
            <a:lvl1pPr marL="0" indent="0">
              <a:lnSpc>
                <a:spcPct val="100000"/>
              </a:lnSpc>
              <a:spcBef>
                <a:spcPts val="100"/>
              </a:spcBef>
              <a:spcAft>
                <a:spcPts val="100"/>
              </a:spcAft>
              <a:buNone/>
              <a:defRPr lang="en-US" sz="2000" b="1" i="0" kern="1200" dirty="0" smtClean="0">
                <a:solidFill>
                  <a:srgbClr val="143DCF"/>
                </a:solidFill>
                <a:latin typeface="+mn-lt"/>
                <a:ea typeface="+mn-ea"/>
                <a:cs typeface="+mn-cs"/>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sp>
        <p:nvSpPr>
          <p:cNvPr id="39" name="Text Placeholder 17">
            <a:extLst>
              <a:ext uri="{FF2B5EF4-FFF2-40B4-BE49-F238E27FC236}">
                <a16:creationId xmlns:a16="http://schemas.microsoft.com/office/drawing/2014/main" id="{F4886CBF-A333-544D-BD50-AA45FAD785AD}"/>
              </a:ext>
            </a:extLst>
          </p:cNvPr>
          <p:cNvSpPr>
            <a:spLocks noGrp="1"/>
          </p:cNvSpPr>
          <p:nvPr>
            <p:ph type="body" sz="quarter" idx="21" hasCustomPrompt="1"/>
          </p:nvPr>
        </p:nvSpPr>
        <p:spPr>
          <a:xfrm>
            <a:off x="9079339" y="1287610"/>
            <a:ext cx="2649783" cy="727086"/>
          </a:xfrm>
        </p:spPr>
        <p:txBody>
          <a:bodyPr anchor="t">
            <a:noAutofit/>
          </a:bodyPr>
          <a:lstStyle>
            <a:lvl1pPr marL="0" indent="0">
              <a:lnSpc>
                <a:spcPct val="100000"/>
              </a:lnSpc>
              <a:spcBef>
                <a:spcPts val="100"/>
              </a:spcBef>
              <a:spcAft>
                <a:spcPts val="100"/>
              </a:spcAft>
              <a:buNone/>
              <a:defRPr lang="en-US" sz="2000" b="1" i="0" kern="1200" dirty="0" smtClean="0">
                <a:solidFill>
                  <a:srgbClr val="143DCF"/>
                </a:solidFill>
                <a:latin typeface="+mn-lt"/>
                <a:ea typeface="+mn-ea"/>
                <a:cs typeface="+mn-cs"/>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cxnSp>
        <p:nvCxnSpPr>
          <p:cNvPr id="4" name="Straight Connector 3">
            <a:extLst>
              <a:ext uri="{FF2B5EF4-FFF2-40B4-BE49-F238E27FC236}">
                <a16:creationId xmlns:a16="http://schemas.microsoft.com/office/drawing/2014/main" id="{B7A20E48-257C-6C4C-BA1A-76666652B49E}"/>
              </a:ext>
            </a:extLst>
          </p:cNvPr>
          <p:cNvCxnSpPr>
            <a:cxnSpLocks/>
          </p:cNvCxnSpPr>
          <p:nvPr userDrawn="1"/>
        </p:nvCxnSpPr>
        <p:spPr>
          <a:xfrm>
            <a:off x="486324" y="2185352"/>
            <a:ext cx="2649783"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9241A30-0879-8948-AFA7-3CF869C9F734}"/>
              </a:ext>
            </a:extLst>
          </p:cNvPr>
          <p:cNvCxnSpPr>
            <a:cxnSpLocks/>
          </p:cNvCxnSpPr>
          <p:nvPr userDrawn="1"/>
        </p:nvCxnSpPr>
        <p:spPr>
          <a:xfrm>
            <a:off x="3335032" y="2185352"/>
            <a:ext cx="2649783"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934634E-1ACC-4548-9DB9-F129A69B59DC}"/>
              </a:ext>
            </a:extLst>
          </p:cNvPr>
          <p:cNvCxnSpPr>
            <a:cxnSpLocks/>
          </p:cNvCxnSpPr>
          <p:nvPr userDrawn="1"/>
        </p:nvCxnSpPr>
        <p:spPr>
          <a:xfrm>
            <a:off x="6207184" y="2185352"/>
            <a:ext cx="2649783"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C0E2431-081E-D74F-9EFC-773A52E063EC}"/>
              </a:ext>
            </a:extLst>
          </p:cNvPr>
          <p:cNvCxnSpPr>
            <a:cxnSpLocks/>
          </p:cNvCxnSpPr>
          <p:nvPr userDrawn="1"/>
        </p:nvCxnSpPr>
        <p:spPr>
          <a:xfrm>
            <a:off x="9079339" y="2185352"/>
            <a:ext cx="2649783"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31" name="object 2">
            <a:extLst>
              <a:ext uri="{FF2B5EF4-FFF2-40B4-BE49-F238E27FC236}">
                <a16:creationId xmlns:a16="http://schemas.microsoft.com/office/drawing/2014/main" id="{81C8B496-17AD-854B-86A7-46CFE4A24FA1}"/>
              </a:ext>
            </a:extLst>
          </p:cNvPr>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3"/>
          </a:solidFill>
        </p:spPr>
        <p:txBody>
          <a:bodyPr wrap="square" lIns="0" tIns="0" rIns="0" bIns="0" rtlCol="0"/>
          <a:lstStyle/>
          <a:p>
            <a:endParaRPr>
              <a:latin typeface="+mn-lt"/>
              <a:ea typeface="+mn-ea"/>
              <a:cs typeface="+mn-cs"/>
            </a:endParaRPr>
          </a:p>
        </p:txBody>
      </p:sp>
      <p:sp>
        <p:nvSpPr>
          <p:cNvPr id="33" name="Title 23">
            <a:extLst>
              <a:ext uri="{FF2B5EF4-FFF2-40B4-BE49-F238E27FC236}">
                <a16:creationId xmlns:a16="http://schemas.microsoft.com/office/drawing/2014/main" id="{4D2D04FA-4602-C046-82B0-E34F5D5F3234}"/>
              </a:ext>
            </a:extLst>
          </p:cNvPr>
          <p:cNvSpPr>
            <a:spLocks noGrp="1"/>
          </p:cNvSpPr>
          <p:nvPr userDrawn="1">
            <p:ph type="title"/>
          </p:nvPr>
        </p:nvSpPr>
        <p:spPr>
          <a:xfrm>
            <a:off x="609232" y="168310"/>
            <a:ext cx="11119890" cy="623222"/>
          </a:xfrm>
        </p:spPr>
        <p:txBody>
          <a:bodyPr vert="horz">
            <a:noAutofit/>
          </a:bodyPr>
          <a:lstStyle>
            <a:lvl1pPr>
              <a:lnSpc>
                <a:spcPct val="100000"/>
              </a:lnSpc>
              <a:defRPr lang="en-US" sz="3200" b="1" i="0" kern="1200" spc="-20" dirty="0">
                <a:solidFill>
                  <a:srgbClr val="FFFFFF"/>
                </a:solidFill>
                <a:latin typeface="+mj-lt"/>
                <a:ea typeface="+mj-ea"/>
                <a:cs typeface="+mj-cs"/>
              </a:defRPr>
            </a:lvl1pPr>
          </a:lstStyle>
          <a:p>
            <a:r>
              <a:rPr lang="en-US"/>
              <a:t>Click to edit Master title style</a:t>
            </a:r>
          </a:p>
        </p:txBody>
      </p:sp>
      <p:pic>
        <p:nvPicPr>
          <p:cNvPr id="3" name="Picture 2">
            <a:extLst>
              <a:ext uri="{FF2B5EF4-FFF2-40B4-BE49-F238E27FC236}">
                <a16:creationId xmlns:a16="http://schemas.microsoft.com/office/drawing/2014/main" id="{F4C21270-35B1-917E-5B39-F641AC7A2B3B}"/>
              </a:ext>
            </a:extLst>
          </p:cNvPr>
          <p:cNvPicPr>
            <a:picLocks noChangeAspect="1"/>
          </p:cNvPicPr>
          <p:nvPr userDrawn="1"/>
        </p:nvPicPr>
        <p:blipFill>
          <a:blip r:embed="rId5"/>
          <a:stretch>
            <a:fillRect/>
          </a:stretch>
        </p:blipFill>
        <p:spPr>
          <a:xfrm>
            <a:off x="295737" y="6584987"/>
            <a:ext cx="2324100" cy="107950"/>
          </a:xfrm>
          <a:prstGeom prst="rect">
            <a:avLst/>
          </a:prstGeom>
        </p:spPr>
      </p:pic>
      <p:pic>
        <p:nvPicPr>
          <p:cNvPr id="6" name="Picture 5">
            <a:extLst>
              <a:ext uri="{FF2B5EF4-FFF2-40B4-BE49-F238E27FC236}">
                <a16:creationId xmlns:a16="http://schemas.microsoft.com/office/drawing/2014/main" id="{1EEC18E0-FF9D-06C5-E61F-880246308F85}"/>
              </a:ext>
            </a:extLst>
          </p:cNvPr>
          <p:cNvPicPr>
            <a:picLocks noChangeAspect="1"/>
          </p:cNvPicPr>
          <p:nvPr userDrawn="1"/>
        </p:nvPicPr>
        <p:blipFill>
          <a:blip r:embed="rId6"/>
          <a:stretch>
            <a:fillRect/>
          </a:stretch>
        </p:blipFill>
        <p:spPr>
          <a:xfrm>
            <a:off x="10212779" y="-2476"/>
            <a:ext cx="1988947" cy="963780"/>
          </a:xfrm>
          <a:prstGeom prst="rect">
            <a:avLst/>
          </a:prstGeom>
        </p:spPr>
      </p:pic>
      <p:sp>
        <p:nvSpPr>
          <p:cNvPr id="5" name="TextBox 4">
            <a:extLst>
              <a:ext uri="{FF2B5EF4-FFF2-40B4-BE49-F238E27FC236}">
                <a16:creationId xmlns:a16="http://schemas.microsoft.com/office/drawing/2014/main" id="{921BF71D-D82A-9760-6CC0-589D33DD0EB2}"/>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mn-lt"/>
                <a:ea typeface="+mn-ea"/>
                <a:cs typeface="+mn-cs"/>
              </a:rPr>
              <a:pPr algn="r"/>
              <a:t>‹#›</a:t>
            </a:fld>
            <a:endParaRPr lang="en-US" sz="700" spc="300">
              <a:solidFill>
                <a:schemeClr val="accent5"/>
              </a:solidFill>
              <a:latin typeface="+mn-lt"/>
              <a:ea typeface="+mn-ea"/>
              <a:cs typeface="+mn-cs"/>
            </a:endParaRPr>
          </a:p>
        </p:txBody>
      </p:sp>
      <p:sp>
        <p:nvSpPr>
          <p:cNvPr id="10" name="Rectangle 9">
            <a:extLst>
              <a:ext uri="{FF2B5EF4-FFF2-40B4-BE49-F238E27FC236}">
                <a16:creationId xmlns:a16="http://schemas.microsoft.com/office/drawing/2014/main" id="{5B60027D-FE01-9E9C-AD68-E6A41B660B10}"/>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A92C3C04-63CE-5984-FEB5-4E970C22DD2B}"/>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AC6B8117-920A-3F52-9178-292E8F445D2B}"/>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EEBB7939-B76C-8B48-04B0-DF24C0F4AAD5}"/>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725823CA-0482-3BB7-C8ED-9743F4FF96D0}"/>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58A90C83-7B47-517E-E735-C5A4B0CC6744}"/>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125B2EA1-B44B-0503-E5B8-56C9445DA11B}"/>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FE6E4564-4B84-E97D-0AA4-9AAED30E7F70}"/>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8" name="Rectangle 17">
            <a:extLst>
              <a:ext uri="{FF2B5EF4-FFF2-40B4-BE49-F238E27FC236}">
                <a16:creationId xmlns:a16="http://schemas.microsoft.com/office/drawing/2014/main" id="{603550EF-042D-0369-FC2F-915573C5BB64}"/>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9" name="Rectangle 18">
            <a:extLst>
              <a:ext uri="{FF2B5EF4-FFF2-40B4-BE49-F238E27FC236}">
                <a16:creationId xmlns:a16="http://schemas.microsoft.com/office/drawing/2014/main" id="{91332006-AC9E-C354-AEB7-85CE7FE6B692}"/>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2" name="Text Placeholder 2">
            <a:extLst>
              <a:ext uri="{FF2B5EF4-FFF2-40B4-BE49-F238E27FC236}">
                <a16:creationId xmlns:a16="http://schemas.microsoft.com/office/drawing/2014/main" id="{26BA6181-C0C2-6FAD-E2D9-B2DE669F7E6A}"/>
              </a:ext>
            </a:extLst>
          </p:cNvPr>
          <p:cNvSpPr>
            <a:spLocks noGrp="1"/>
          </p:cNvSpPr>
          <p:nvPr>
            <p:ph idx="1" hasCustomPrompt="1"/>
          </p:nvPr>
        </p:nvSpPr>
        <p:spPr>
          <a:xfrm>
            <a:off x="486324" y="2352582"/>
            <a:ext cx="2649782" cy="3966938"/>
          </a:xfrm>
          <a:prstGeom prst="rect">
            <a:avLst/>
          </a:prstGeom>
        </p:spPr>
        <p:txBody>
          <a:bodyPr vert="horz" lIns="91440" tIns="45720" rIns="91440" bIns="45720" rtlCol="0">
            <a:normAutofit/>
          </a:bodyPr>
          <a:lstStyle>
            <a:lvl1pPr>
              <a:defRPr sz="1400">
                <a:solidFill>
                  <a:srgbClr val="133CCF"/>
                </a:solidFill>
                <a:latin typeface="+mn-lt"/>
                <a:ea typeface="+mn-ea"/>
                <a:cs typeface="+mn-cs"/>
              </a:defRPr>
            </a:lvl1pPr>
            <a:lvl2pPr marL="344488" indent="-173038">
              <a:buFont typeface="Arial" panose="020B0604020202020204" pitchFamily="34" charset="0"/>
              <a:buChar char="•"/>
              <a:tabLst/>
              <a:defRPr sz="1400">
                <a:solidFill>
                  <a:srgbClr val="133CCF"/>
                </a:solidFill>
                <a:latin typeface="+mn-lt"/>
                <a:ea typeface="+mn-ea"/>
                <a:cs typeface="+mn-cs"/>
              </a:defRPr>
            </a:lvl2pPr>
            <a:lvl3pPr marL="517525" indent="-173038">
              <a:buFont typeface="Courier New" panose="02070309020205020404" pitchFamily="49" charset="0"/>
              <a:buChar char="o"/>
              <a:tabLst/>
              <a:defRPr sz="1400">
                <a:solidFill>
                  <a:srgbClr val="133CCF"/>
                </a:solidFill>
                <a:latin typeface="+mn-lt"/>
                <a:ea typeface="+mn-ea"/>
                <a:cs typeface="+mn-cs"/>
              </a:defRPr>
            </a:lvl3pPr>
            <a:lvl4pPr marL="690563" indent="-173038">
              <a:buFont typeface="Wingdings" pitchFamily="2" charset="2"/>
              <a:buChar char="§"/>
              <a:tabLst/>
              <a:defRPr sz="1400">
                <a:solidFill>
                  <a:srgbClr val="133CCF"/>
                </a:solidFill>
                <a:latin typeface="+mn-lt"/>
                <a:ea typeface="+mn-ea"/>
                <a:cs typeface="+mn-cs"/>
              </a:defRPr>
            </a:lvl4pPr>
            <a:lvl5pPr marL="923925" indent="-233363">
              <a:buSzPct val="70000"/>
              <a:buFont typeface="Wingdings" pitchFamily="2" charset="2"/>
              <a:buChar char="q"/>
              <a:tabLst/>
              <a:defRPr sz="1400">
                <a:solidFill>
                  <a:srgbClr val="133CCF"/>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a:extLst>
              <a:ext uri="{FF2B5EF4-FFF2-40B4-BE49-F238E27FC236}">
                <a16:creationId xmlns:a16="http://schemas.microsoft.com/office/drawing/2014/main" id="{76367D2C-AEEF-96B6-7AE2-5C2A9F2F574F}"/>
              </a:ext>
            </a:extLst>
          </p:cNvPr>
          <p:cNvSpPr>
            <a:spLocks noGrp="1"/>
          </p:cNvSpPr>
          <p:nvPr>
            <p:ph idx="22" hasCustomPrompt="1"/>
          </p:nvPr>
        </p:nvSpPr>
        <p:spPr>
          <a:xfrm>
            <a:off x="3335031" y="2352582"/>
            <a:ext cx="2649782" cy="3966938"/>
          </a:xfrm>
          <a:prstGeom prst="rect">
            <a:avLst/>
          </a:prstGeom>
        </p:spPr>
        <p:txBody>
          <a:bodyPr vert="horz" lIns="91440" tIns="45720" rIns="91440" bIns="45720" rtlCol="0">
            <a:normAutofit/>
          </a:bodyPr>
          <a:lstStyle>
            <a:lvl1pPr>
              <a:defRPr sz="1400">
                <a:solidFill>
                  <a:srgbClr val="133CCF"/>
                </a:solidFill>
                <a:latin typeface="+mn-lt"/>
                <a:ea typeface="+mn-ea"/>
                <a:cs typeface="+mn-cs"/>
              </a:defRPr>
            </a:lvl1pPr>
            <a:lvl2pPr marL="344488" indent="-173038">
              <a:buFont typeface="Arial" panose="020B0604020202020204" pitchFamily="34" charset="0"/>
              <a:buChar char="•"/>
              <a:tabLst/>
              <a:defRPr sz="1400">
                <a:solidFill>
                  <a:srgbClr val="133CCF"/>
                </a:solidFill>
                <a:latin typeface="+mn-lt"/>
                <a:ea typeface="+mn-ea"/>
                <a:cs typeface="+mn-cs"/>
              </a:defRPr>
            </a:lvl2pPr>
            <a:lvl3pPr marL="517525" indent="-173038">
              <a:buFont typeface="Courier New" panose="02070309020205020404" pitchFamily="49" charset="0"/>
              <a:buChar char="o"/>
              <a:tabLst/>
              <a:defRPr sz="1400">
                <a:solidFill>
                  <a:srgbClr val="133CCF"/>
                </a:solidFill>
                <a:latin typeface="+mn-lt"/>
                <a:ea typeface="+mn-ea"/>
                <a:cs typeface="+mn-cs"/>
              </a:defRPr>
            </a:lvl3pPr>
            <a:lvl4pPr marL="690563" indent="-173038">
              <a:buFont typeface="Wingdings" pitchFamily="2" charset="2"/>
              <a:buChar char="§"/>
              <a:tabLst/>
              <a:defRPr sz="1400">
                <a:solidFill>
                  <a:srgbClr val="133CCF"/>
                </a:solidFill>
                <a:latin typeface="+mn-lt"/>
                <a:ea typeface="+mn-ea"/>
                <a:cs typeface="+mn-cs"/>
              </a:defRPr>
            </a:lvl4pPr>
            <a:lvl5pPr marL="923925" indent="-233363">
              <a:buSzPct val="70000"/>
              <a:buFont typeface="Wingdings" pitchFamily="2" charset="2"/>
              <a:buChar char="q"/>
              <a:tabLst/>
              <a:defRPr sz="1400">
                <a:solidFill>
                  <a:srgbClr val="133CCF"/>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A3EC043-A860-35A9-429A-A760D2DDD0FE}"/>
              </a:ext>
            </a:extLst>
          </p:cNvPr>
          <p:cNvSpPr>
            <a:spLocks noGrp="1"/>
          </p:cNvSpPr>
          <p:nvPr>
            <p:ph idx="23" hasCustomPrompt="1"/>
          </p:nvPr>
        </p:nvSpPr>
        <p:spPr>
          <a:xfrm>
            <a:off x="6207184" y="2352582"/>
            <a:ext cx="2649782" cy="3966938"/>
          </a:xfrm>
          <a:prstGeom prst="rect">
            <a:avLst/>
          </a:prstGeom>
        </p:spPr>
        <p:txBody>
          <a:bodyPr vert="horz" lIns="91440" tIns="45720" rIns="91440" bIns="45720" rtlCol="0">
            <a:normAutofit/>
          </a:bodyPr>
          <a:lstStyle>
            <a:lvl1pPr>
              <a:defRPr sz="1400">
                <a:solidFill>
                  <a:srgbClr val="133CCF"/>
                </a:solidFill>
                <a:latin typeface="+mn-lt"/>
                <a:ea typeface="+mn-ea"/>
                <a:cs typeface="+mn-cs"/>
              </a:defRPr>
            </a:lvl1pPr>
            <a:lvl2pPr marL="344488" indent="-173038">
              <a:buFont typeface="Arial" panose="020B0604020202020204" pitchFamily="34" charset="0"/>
              <a:buChar char="•"/>
              <a:tabLst/>
              <a:defRPr sz="1400">
                <a:solidFill>
                  <a:srgbClr val="133CCF"/>
                </a:solidFill>
                <a:latin typeface="+mn-lt"/>
                <a:ea typeface="+mn-ea"/>
                <a:cs typeface="+mn-cs"/>
              </a:defRPr>
            </a:lvl2pPr>
            <a:lvl3pPr marL="517525" indent="-173038">
              <a:buFont typeface="Courier New" panose="02070309020205020404" pitchFamily="49" charset="0"/>
              <a:buChar char="o"/>
              <a:tabLst/>
              <a:defRPr sz="1400">
                <a:solidFill>
                  <a:srgbClr val="133CCF"/>
                </a:solidFill>
                <a:latin typeface="+mn-lt"/>
                <a:ea typeface="+mn-ea"/>
                <a:cs typeface="+mn-cs"/>
              </a:defRPr>
            </a:lvl3pPr>
            <a:lvl4pPr marL="690563" indent="-173038">
              <a:buFont typeface="Wingdings" pitchFamily="2" charset="2"/>
              <a:buChar char="§"/>
              <a:tabLst/>
              <a:defRPr sz="1400">
                <a:solidFill>
                  <a:srgbClr val="133CCF"/>
                </a:solidFill>
                <a:latin typeface="+mn-lt"/>
                <a:ea typeface="+mn-ea"/>
                <a:cs typeface="+mn-cs"/>
              </a:defRPr>
            </a:lvl4pPr>
            <a:lvl5pPr marL="923925" indent="-233363">
              <a:buSzPct val="70000"/>
              <a:buFont typeface="Wingdings" pitchFamily="2" charset="2"/>
              <a:buChar char="q"/>
              <a:tabLst/>
              <a:defRPr sz="1400">
                <a:solidFill>
                  <a:srgbClr val="133CCF"/>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B01FDFF9-DA9D-3895-9B40-7565F0766830}"/>
              </a:ext>
            </a:extLst>
          </p:cNvPr>
          <p:cNvSpPr>
            <a:spLocks noGrp="1"/>
          </p:cNvSpPr>
          <p:nvPr>
            <p:ph idx="24" hasCustomPrompt="1"/>
          </p:nvPr>
        </p:nvSpPr>
        <p:spPr>
          <a:xfrm>
            <a:off x="9079340" y="2352582"/>
            <a:ext cx="2649782" cy="3966938"/>
          </a:xfrm>
          <a:prstGeom prst="rect">
            <a:avLst/>
          </a:prstGeom>
        </p:spPr>
        <p:txBody>
          <a:bodyPr vert="horz" lIns="91440" tIns="45720" rIns="91440" bIns="45720" rtlCol="0">
            <a:normAutofit/>
          </a:bodyPr>
          <a:lstStyle>
            <a:lvl1pPr>
              <a:defRPr sz="1400">
                <a:solidFill>
                  <a:srgbClr val="133CCF"/>
                </a:solidFill>
                <a:latin typeface="+mn-lt"/>
                <a:ea typeface="+mn-ea"/>
                <a:cs typeface="+mn-cs"/>
              </a:defRPr>
            </a:lvl1pPr>
            <a:lvl2pPr marL="344488" indent="-173038">
              <a:buFont typeface="Arial" panose="020B0604020202020204" pitchFamily="34" charset="0"/>
              <a:buChar char="•"/>
              <a:tabLst/>
              <a:defRPr sz="1400">
                <a:solidFill>
                  <a:srgbClr val="133CCF"/>
                </a:solidFill>
                <a:latin typeface="+mn-lt"/>
                <a:ea typeface="+mn-ea"/>
                <a:cs typeface="+mn-cs"/>
              </a:defRPr>
            </a:lvl2pPr>
            <a:lvl3pPr marL="517525" indent="-173038">
              <a:buFont typeface="Courier New" panose="02070309020205020404" pitchFamily="49" charset="0"/>
              <a:buChar char="o"/>
              <a:tabLst/>
              <a:defRPr sz="1400">
                <a:solidFill>
                  <a:srgbClr val="133CCF"/>
                </a:solidFill>
                <a:latin typeface="+mn-lt"/>
                <a:ea typeface="+mn-ea"/>
                <a:cs typeface="+mn-cs"/>
              </a:defRPr>
            </a:lvl3pPr>
            <a:lvl4pPr marL="690563" indent="-173038">
              <a:buFont typeface="Wingdings" pitchFamily="2" charset="2"/>
              <a:buChar char="§"/>
              <a:tabLst/>
              <a:defRPr sz="1400">
                <a:solidFill>
                  <a:srgbClr val="133CCF"/>
                </a:solidFill>
                <a:latin typeface="+mn-lt"/>
                <a:ea typeface="+mn-ea"/>
                <a:cs typeface="+mn-cs"/>
              </a:defRPr>
            </a:lvl4pPr>
            <a:lvl5pPr marL="923925" indent="-233363">
              <a:buSzPct val="70000"/>
              <a:buFont typeface="Wingdings" pitchFamily="2" charset="2"/>
              <a:buChar char="q"/>
              <a:tabLst/>
              <a:defRPr sz="1400">
                <a:solidFill>
                  <a:srgbClr val="133CCF"/>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92589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01 - Blue">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FAEDE377-A493-FC31-C42F-9CD4295FF71C}"/>
              </a:ext>
            </a:extLst>
          </p:cNvPr>
          <p:cNvGraphicFramePr>
            <a:graphicFrameLocks noChangeAspect="1"/>
          </p:cNvGraphicFramePr>
          <p:nvPr userDrawn="1">
            <p:custDataLst>
              <p:tags r:id="rId1"/>
            </p:custDataLst>
            <p:extLst>
              <p:ext uri="{D42A27DB-BD31-4B8C-83A1-F6EECF244321}">
                <p14:modId xmlns:p14="http://schemas.microsoft.com/office/powerpoint/2010/main" val="2687130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8" name="think-cell data - do not delete" hidden="1">
                        <a:extLst>
                          <a:ext uri="{FF2B5EF4-FFF2-40B4-BE49-F238E27FC236}">
                            <a16:creationId xmlns:a16="http://schemas.microsoft.com/office/drawing/2014/main" id="{FAEDE377-A493-FC31-C42F-9CD4295FF7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object 2">
            <a:extLst>
              <a:ext uri="{FF2B5EF4-FFF2-40B4-BE49-F238E27FC236}">
                <a16:creationId xmlns:a16="http://schemas.microsoft.com/office/drawing/2014/main" id="{4F62F695-717D-374C-802D-7FEBEAD6FE46}"/>
              </a:ext>
            </a:extLst>
          </p:cNvPr>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latin typeface="+mn-lt"/>
              <a:ea typeface="+mn-ea"/>
              <a:cs typeface="+mn-cs"/>
            </a:endParaRPr>
          </a:p>
        </p:txBody>
      </p:sp>
      <p:sp>
        <p:nvSpPr>
          <p:cNvPr id="16" name="Title 23">
            <a:extLst>
              <a:ext uri="{FF2B5EF4-FFF2-40B4-BE49-F238E27FC236}">
                <a16:creationId xmlns:a16="http://schemas.microsoft.com/office/drawing/2014/main" id="{4085826A-7691-1843-B06C-82034F1F58ED}"/>
              </a:ext>
            </a:extLst>
          </p:cNvPr>
          <p:cNvSpPr>
            <a:spLocks noGrp="1"/>
          </p:cNvSpPr>
          <p:nvPr userDrawn="1">
            <p:ph type="title"/>
          </p:nvPr>
        </p:nvSpPr>
        <p:spPr>
          <a:xfrm>
            <a:off x="609231" y="159548"/>
            <a:ext cx="10937489" cy="623222"/>
          </a:xfrm>
        </p:spPr>
        <p:txBody>
          <a:bodyPr vert="horz">
            <a:noAutofit/>
          </a:bodyPr>
          <a:lstStyle>
            <a:lvl1pPr>
              <a:lnSpc>
                <a:spcPct val="100000"/>
              </a:lnSpc>
              <a:defRPr lang="en-US" sz="3200" b="1" i="0" kern="1200" spc="-20" dirty="0">
                <a:solidFill>
                  <a:srgbClr val="FFFFFF"/>
                </a:solidFill>
                <a:latin typeface="+mj-lt"/>
                <a:ea typeface="+mj-ea"/>
                <a:cs typeface="+mj-cs"/>
              </a:defRPr>
            </a:lvl1pPr>
          </a:lstStyle>
          <a:p>
            <a:r>
              <a:rPr lang="en-US"/>
              <a:t>Click to edit Master title style</a:t>
            </a:r>
          </a:p>
        </p:txBody>
      </p:sp>
      <p:sp>
        <p:nvSpPr>
          <p:cNvPr id="26" name="Text Placeholder 17">
            <a:extLst>
              <a:ext uri="{FF2B5EF4-FFF2-40B4-BE49-F238E27FC236}">
                <a16:creationId xmlns:a16="http://schemas.microsoft.com/office/drawing/2014/main" id="{ADB97546-6C6B-5848-B3AE-67DDFC3355A6}"/>
              </a:ext>
            </a:extLst>
          </p:cNvPr>
          <p:cNvSpPr>
            <a:spLocks noGrp="1"/>
          </p:cNvSpPr>
          <p:nvPr userDrawn="1">
            <p:ph type="body" sz="quarter" idx="14" hasCustomPrompt="1"/>
          </p:nvPr>
        </p:nvSpPr>
        <p:spPr>
          <a:xfrm>
            <a:off x="609232" y="1287610"/>
            <a:ext cx="5259704" cy="421592"/>
          </a:xfrm>
        </p:spPr>
        <p:txBody>
          <a:bodyPr anchor="ctr">
            <a:noAutofit/>
          </a:bodyPr>
          <a:lstStyle>
            <a:lvl1pPr marL="0" indent="0">
              <a:lnSpc>
                <a:spcPct val="100000"/>
              </a:lnSpc>
              <a:spcBef>
                <a:spcPts val="0"/>
              </a:spcBef>
              <a:spcAft>
                <a:spcPts val="0"/>
              </a:spcAft>
              <a:buNone/>
              <a:defRPr lang="en-US" sz="2000" b="1" i="0" kern="1200" dirty="0" smtClean="0">
                <a:solidFill>
                  <a:srgbClr val="143DCF"/>
                </a:solidFill>
                <a:latin typeface="+mn-lt"/>
                <a:ea typeface="+mn-ea"/>
                <a:cs typeface="+mn-cs"/>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cxnSp>
        <p:nvCxnSpPr>
          <p:cNvPr id="27" name="Straight Connector 26">
            <a:extLst>
              <a:ext uri="{FF2B5EF4-FFF2-40B4-BE49-F238E27FC236}">
                <a16:creationId xmlns:a16="http://schemas.microsoft.com/office/drawing/2014/main" id="{5F26296F-DC28-A844-A02B-73449FF6A8DB}"/>
              </a:ext>
            </a:extLst>
          </p:cNvPr>
          <p:cNvCxnSpPr>
            <a:cxnSpLocks/>
          </p:cNvCxnSpPr>
          <p:nvPr userDrawn="1"/>
        </p:nvCxnSpPr>
        <p:spPr>
          <a:xfrm>
            <a:off x="609232" y="1854431"/>
            <a:ext cx="525970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3" name="Text Placeholder 17">
            <a:extLst>
              <a:ext uri="{FF2B5EF4-FFF2-40B4-BE49-F238E27FC236}">
                <a16:creationId xmlns:a16="http://schemas.microsoft.com/office/drawing/2014/main" id="{CF1B3AAF-D0DD-7744-AFEC-DBCE571A9744}"/>
              </a:ext>
            </a:extLst>
          </p:cNvPr>
          <p:cNvSpPr>
            <a:spLocks noGrp="1"/>
          </p:cNvSpPr>
          <p:nvPr userDrawn="1">
            <p:ph type="body" sz="quarter" idx="17" hasCustomPrompt="1"/>
          </p:nvPr>
        </p:nvSpPr>
        <p:spPr>
          <a:xfrm>
            <a:off x="6294924" y="1287609"/>
            <a:ext cx="5259704" cy="421593"/>
          </a:xfrm>
        </p:spPr>
        <p:txBody>
          <a:bodyPr anchor="ctr">
            <a:noAutofit/>
          </a:bodyPr>
          <a:lstStyle>
            <a:lvl1pPr marL="0" indent="0">
              <a:lnSpc>
                <a:spcPct val="100000"/>
              </a:lnSpc>
              <a:spcBef>
                <a:spcPts val="0"/>
              </a:spcBef>
              <a:spcAft>
                <a:spcPts val="0"/>
              </a:spcAft>
              <a:buNone/>
              <a:defRPr lang="en-US" sz="2000" b="1" i="0" kern="1200" dirty="0" smtClean="0">
                <a:solidFill>
                  <a:srgbClr val="143DCF"/>
                </a:solidFill>
                <a:latin typeface="+mn-lt"/>
                <a:ea typeface="+mn-ea"/>
                <a:cs typeface="+mn-cs"/>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cxnSp>
        <p:nvCxnSpPr>
          <p:cNvPr id="34" name="Straight Connector 33">
            <a:extLst>
              <a:ext uri="{FF2B5EF4-FFF2-40B4-BE49-F238E27FC236}">
                <a16:creationId xmlns:a16="http://schemas.microsoft.com/office/drawing/2014/main" id="{3CB330AF-1672-334C-B0B1-C1C9AD1B8438}"/>
              </a:ext>
            </a:extLst>
          </p:cNvPr>
          <p:cNvCxnSpPr>
            <a:cxnSpLocks/>
          </p:cNvCxnSpPr>
          <p:nvPr userDrawn="1"/>
        </p:nvCxnSpPr>
        <p:spPr>
          <a:xfrm>
            <a:off x="6294924" y="1854431"/>
            <a:ext cx="525970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A6A1DD92-022E-84B0-0DC9-553E39FBE8A7}"/>
              </a:ext>
            </a:extLst>
          </p:cNvPr>
          <p:cNvPicPr>
            <a:picLocks noChangeAspect="1"/>
          </p:cNvPicPr>
          <p:nvPr userDrawn="1"/>
        </p:nvPicPr>
        <p:blipFill>
          <a:blip r:embed="rId5"/>
          <a:stretch>
            <a:fillRect/>
          </a:stretch>
        </p:blipFill>
        <p:spPr>
          <a:xfrm rot="10800000">
            <a:off x="9501716" y="-410636"/>
            <a:ext cx="1979083" cy="1386073"/>
          </a:xfrm>
          <a:prstGeom prst="rect">
            <a:avLst/>
          </a:prstGeom>
        </p:spPr>
      </p:pic>
      <p:pic>
        <p:nvPicPr>
          <p:cNvPr id="3" name="Picture 2">
            <a:extLst>
              <a:ext uri="{FF2B5EF4-FFF2-40B4-BE49-F238E27FC236}">
                <a16:creationId xmlns:a16="http://schemas.microsoft.com/office/drawing/2014/main" id="{C5AB0E66-6F76-8A2A-0794-5CC77A151836}"/>
              </a:ext>
            </a:extLst>
          </p:cNvPr>
          <p:cNvPicPr>
            <a:picLocks noChangeAspect="1"/>
          </p:cNvPicPr>
          <p:nvPr userDrawn="1"/>
        </p:nvPicPr>
        <p:blipFill>
          <a:blip r:embed="rId6"/>
          <a:stretch>
            <a:fillRect/>
          </a:stretch>
        </p:blipFill>
        <p:spPr>
          <a:xfrm>
            <a:off x="295737" y="6584987"/>
            <a:ext cx="2324100" cy="107950"/>
          </a:xfrm>
          <a:prstGeom prst="rect">
            <a:avLst/>
          </a:prstGeom>
        </p:spPr>
      </p:pic>
      <p:sp>
        <p:nvSpPr>
          <p:cNvPr id="5" name="TextBox 4">
            <a:extLst>
              <a:ext uri="{FF2B5EF4-FFF2-40B4-BE49-F238E27FC236}">
                <a16:creationId xmlns:a16="http://schemas.microsoft.com/office/drawing/2014/main" id="{C6E22F23-0A09-3474-5588-4788EFFFD991}"/>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mn-lt"/>
                <a:ea typeface="+mn-ea"/>
                <a:cs typeface="+mn-cs"/>
              </a:rPr>
              <a:pPr algn="r"/>
              <a:t>‹#›</a:t>
            </a:fld>
            <a:endParaRPr lang="en-US" sz="700" spc="300">
              <a:solidFill>
                <a:schemeClr val="accent5"/>
              </a:solidFill>
              <a:latin typeface="+mn-lt"/>
              <a:ea typeface="+mn-ea"/>
              <a:cs typeface="+mn-cs"/>
            </a:endParaRPr>
          </a:p>
        </p:txBody>
      </p:sp>
      <p:sp>
        <p:nvSpPr>
          <p:cNvPr id="7" name="Rectangle 6">
            <a:extLst>
              <a:ext uri="{FF2B5EF4-FFF2-40B4-BE49-F238E27FC236}">
                <a16:creationId xmlns:a16="http://schemas.microsoft.com/office/drawing/2014/main" id="{8813D79B-8F94-CE57-37C2-5B43A9DB45CB}"/>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8" name="Rectangle 7">
            <a:extLst>
              <a:ext uri="{FF2B5EF4-FFF2-40B4-BE49-F238E27FC236}">
                <a16:creationId xmlns:a16="http://schemas.microsoft.com/office/drawing/2014/main" id="{CF7D53F2-264D-6985-2BBC-3A6B5ABF88F6}"/>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1565F414-B91D-CDB6-4669-B6C2DE11E4BD}"/>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7D8BDE56-681E-C58C-94BC-66F06762AF25}"/>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4EFD51FB-2CC7-0B9E-449D-953D21AE882D}"/>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3E968223-A9A4-7128-ED40-723D21F98C87}"/>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4597E506-99A8-D7B7-CDA8-B5E0422C8663}"/>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92E5FC88-D8B7-6440-2CEB-AF649A4E7058}"/>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19084707-59A7-2CAF-9AEE-6D19DBBCDEF0}"/>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9" name="Rectangle 18">
            <a:extLst>
              <a:ext uri="{FF2B5EF4-FFF2-40B4-BE49-F238E27FC236}">
                <a16:creationId xmlns:a16="http://schemas.microsoft.com/office/drawing/2014/main" id="{29A7F53A-47F8-9935-1B64-6E245F3E6D67}"/>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4" name="Text Placeholder 2">
            <a:extLst>
              <a:ext uri="{FF2B5EF4-FFF2-40B4-BE49-F238E27FC236}">
                <a16:creationId xmlns:a16="http://schemas.microsoft.com/office/drawing/2014/main" id="{91FB5B96-D479-A7BC-B63E-14247CF05541}"/>
              </a:ext>
            </a:extLst>
          </p:cNvPr>
          <p:cNvSpPr>
            <a:spLocks noGrp="1"/>
          </p:cNvSpPr>
          <p:nvPr>
            <p:ph idx="1" hasCustomPrompt="1"/>
          </p:nvPr>
        </p:nvSpPr>
        <p:spPr>
          <a:xfrm>
            <a:off x="609233" y="1989298"/>
            <a:ext cx="5281330" cy="4330222"/>
          </a:xfrm>
          <a:prstGeom prst="rect">
            <a:avLst/>
          </a:prstGeom>
        </p:spPr>
        <p:txBody>
          <a:bodyPr vert="horz" lIns="91440" tIns="45720" rIns="91440" bIns="45720" rtlCol="0">
            <a:normAutofit/>
          </a:bodyPr>
          <a:lstStyle>
            <a:lvl1pPr>
              <a:defRPr>
                <a:solidFill>
                  <a:srgbClr val="133CCF"/>
                </a:solidFill>
                <a:latin typeface="+mn-lt"/>
                <a:ea typeface="+mn-ea"/>
                <a:cs typeface="+mn-cs"/>
              </a:defRPr>
            </a:lvl1pPr>
            <a:lvl2pPr marL="344488" indent="-173038">
              <a:buFont typeface="Arial" panose="020B0604020202020204" pitchFamily="34" charset="0"/>
              <a:buChar char="•"/>
              <a:tabLst/>
              <a:defRPr>
                <a:solidFill>
                  <a:srgbClr val="133CCF"/>
                </a:solidFill>
                <a:latin typeface="+mn-lt"/>
                <a:ea typeface="+mn-ea"/>
                <a:cs typeface="+mn-cs"/>
              </a:defRPr>
            </a:lvl2pPr>
            <a:lvl3pPr marL="517525" indent="-173038">
              <a:buFont typeface="Courier New" panose="02070309020205020404" pitchFamily="49" charset="0"/>
              <a:buChar char="o"/>
              <a:tabLst/>
              <a:defRPr>
                <a:solidFill>
                  <a:srgbClr val="133CCF"/>
                </a:solidFill>
                <a:latin typeface="+mn-lt"/>
                <a:ea typeface="+mn-ea"/>
                <a:cs typeface="+mn-cs"/>
              </a:defRPr>
            </a:lvl3pPr>
            <a:lvl4pPr marL="690563" indent="-173038">
              <a:buFont typeface="Wingdings" pitchFamily="2" charset="2"/>
              <a:buChar char="§"/>
              <a:tabLst/>
              <a:defRPr>
                <a:solidFill>
                  <a:srgbClr val="133CCF"/>
                </a:solidFill>
                <a:latin typeface="+mn-lt"/>
                <a:ea typeface="+mn-ea"/>
                <a:cs typeface="+mn-cs"/>
              </a:defRPr>
            </a:lvl4pPr>
            <a:lvl5pPr marL="923925" indent="-233363">
              <a:buSzPct val="70000"/>
              <a:buFont typeface="Wingdings" pitchFamily="2" charset="2"/>
              <a:buChar char="q"/>
              <a:tabLst/>
              <a:defRPr>
                <a:solidFill>
                  <a:srgbClr val="133CCF"/>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a:extLst>
              <a:ext uri="{FF2B5EF4-FFF2-40B4-BE49-F238E27FC236}">
                <a16:creationId xmlns:a16="http://schemas.microsoft.com/office/drawing/2014/main" id="{75AC2734-39D8-8E3D-702D-EF042AB021E1}"/>
              </a:ext>
            </a:extLst>
          </p:cNvPr>
          <p:cNvSpPr>
            <a:spLocks noGrp="1"/>
          </p:cNvSpPr>
          <p:nvPr>
            <p:ph idx="18" hasCustomPrompt="1"/>
          </p:nvPr>
        </p:nvSpPr>
        <p:spPr>
          <a:xfrm>
            <a:off x="6298833" y="1989298"/>
            <a:ext cx="5281330" cy="4330222"/>
          </a:xfrm>
          <a:prstGeom prst="rect">
            <a:avLst/>
          </a:prstGeom>
        </p:spPr>
        <p:txBody>
          <a:bodyPr vert="horz" lIns="91440" tIns="45720" rIns="91440" bIns="45720" rtlCol="0">
            <a:normAutofit/>
          </a:bodyPr>
          <a:lstStyle>
            <a:lvl1pPr>
              <a:defRPr>
                <a:solidFill>
                  <a:srgbClr val="133CCF"/>
                </a:solidFill>
                <a:latin typeface="+mn-lt"/>
                <a:ea typeface="+mn-ea"/>
                <a:cs typeface="+mn-cs"/>
              </a:defRPr>
            </a:lvl1pPr>
            <a:lvl2pPr marL="344488" indent="-173038">
              <a:buFont typeface="Arial" panose="020B0604020202020204" pitchFamily="34" charset="0"/>
              <a:buChar char="•"/>
              <a:tabLst/>
              <a:defRPr>
                <a:solidFill>
                  <a:srgbClr val="133CCF"/>
                </a:solidFill>
                <a:latin typeface="+mn-lt"/>
                <a:ea typeface="+mn-ea"/>
                <a:cs typeface="+mn-cs"/>
              </a:defRPr>
            </a:lvl2pPr>
            <a:lvl3pPr marL="517525" indent="-173038">
              <a:buFont typeface="Courier New" panose="02070309020205020404" pitchFamily="49" charset="0"/>
              <a:buChar char="o"/>
              <a:tabLst/>
              <a:defRPr>
                <a:solidFill>
                  <a:srgbClr val="133CCF"/>
                </a:solidFill>
                <a:latin typeface="+mn-lt"/>
                <a:ea typeface="+mn-ea"/>
                <a:cs typeface="+mn-cs"/>
              </a:defRPr>
            </a:lvl3pPr>
            <a:lvl4pPr marL="690563" indent="-173038">
              <a:buFont typeface="Wingdings" pitchFamily="2" charset="2"/>
              <a:buChar char="§"/>
              <a:tabLst/>
              <a:defRPr>
                <a:solidFill>
                  <a:srgbClr val="133CCF"/>
                </a:solidFill>
                <a:latin typeface="+mn-lt"/>
                <a:ea typeface="+mn-ea"/>
                <a:cs typeface="+mn-cs"/>
              </a:defRPr>
            </a:lvl4pPr>
            <a:lvl5pPr marL="923925" indent="-233363">
              <a:buSzPct val="70000"/>
              <a:buFont typeface="Wingdings" pitchFamily="2" charset="2"/>
              <a:buChar char="q"/>
              <a:tabLst/>
              <a:defRPr>
                <a:solidFill>
                  <a:srgbClr val="133CCF"/>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788223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mparison 02 - Blue">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114A17CE-AB43-6E66-8D18-2B3103299B3B}"/>
              </a:ext>
            </a:extLst>
          </p:cNvPr>
          <p:cNvGraphicFramePr>
            <a:graphicFrameLocks noChangeAspect="1"/>
          </p:cNvGraphicFramePr>
          <p:nvPr userDrawn="1">
            <p:custDataLst>
              <p:tags r:id="rId1"/>
            </p:custDataLst>
            <p:extLst>
              <p:ext uri="{D42A27DB-BD31-4B8C-83A1-F6EECF244321}">
                <p14:modId xmlns:p14="http://schemas.microsoft.com/office/powerpoint/2010/main" val="1684291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9" name="think-cell data - do not delete" hidden="1">
                        <a:extLst>
                          <a:ext uri="{FF2B5EF4-FFF2-40B4-BE49-F238E27FC236}">
                            <a16:creationId xmlns:a16="http://schemas.microsoft.com/office/drawing/2014/main" id="{114A17CE-AB43-6E66-8D18-2B3103299B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Text Placeholder 17">
            <a:extLst>
              <a:ext uri="{FF2B5EF4-FFF2-40B4-BE49-F238E27FC236}">
                <a16:creationId xmlns:a16="http://schemas.microsoft.com/office/drawing/2014/main" id="{ADB97546-6C6B-5848-B3AE-67DDFC3355A6}"/>
              </a:ext>
            </a:extLst>
          </p:cNvPr>
          <p:cNvSpPr>
            <a:spLocks noGrp="1"/>
          </p:cNvSpPr>
          <p:nvPr>
            <p:ph type="body" sz="quarter" idx="14" hasCustomPrompt="1"/>
          </p:nvPr>
        </p:nvSpPr>
        <p:spPr>
          <a:xfrm>
            <a:off x="609232" y="1287610"/>
            <a:ext cx="3344092" cy="421592"/>
          </a:xfrm>
        </p:spPr>
        <p:txBody>
          <a:bodyPr anchor="ctr">
            <a:noAutofit/>
          </a:bodyPr>
          <a:lstStyle>
            <a:lvl1pPr marL="0" indent="0">
              <a:lnSpc>
                <a:spcPct val="100000"/>
              </a:lnSpc>
              <a:spcBef>
                <a:spcPts val="0"/>
              </a:spcBef>
              <a:spcAft>
                <a:spcPts val="0"/>
              </a:spcAft>
              <a:buNone/>
              <a:defRPr lang="en-US" sz="2000" b="1" i="0" kern="1200" dirty="0" smtClean="0">
                <a:solidFill>
                  <a:srgbClr val="143DCF"/>
                </a:solidFill>
                <a:latin typeface="+mn-lt"/>
                <a:ea typeface="+mn-ea"/>
                <a:cs typeface="+mn-cs"/>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cxnSp>
        <p:nvCxnSpPr>
          <p:cNvPr id="27" name="Straight Connector 26">
            <a:extLst>
              <a:ext uri="{FF2B5EF4-FFF2-40B4-BE49-F238E27FC236}">
                <a16:creationId xmlns:a16="http://schemas.microsoft.com/office/drawing/2014/main" id="{5F26296F-DC28-A844-A02B-73449FF6A8DB}"/>
              </a:ext>
            </a:extLst>
          </p:cNvPr>
          <p:cNvCxnSpPr>
            <a:cxnSpLocks/>
          </p:cNvCxnSpPr>
          <p:nvPr userDrawn="1"/>
        </p:nvCxnSpPr>
        <p:spPr>
          <a:xfrm>
            <a:off x="609232" y="1854431"/>
            <a:ext cx="3344092"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1" name="Text Placeholder 17">
            <a:extLst>
              <a:ext uri="{FF2B5EF4-FFF2-40B4-BE49-F238E27FC236}">
                <a16:creationId xmlns:a16="http://schemas.microsoft.com/office/drawing/2014/main" id="{F7A1BCF4-A8A2-6245-A98E-69AAAE820CAC}"/>
              </a:ext>
            </a:extLst>
          </p:cNvPr>
          <p:cNvSpPr>
            <a:spLocks noGrp="1"/>
          </p:cNvSpPr>
          <p:nvPr>
            <p:ph type="body" sz="quarter" idx="17" hasCustomPrompt="1"/>
          </p:nvPr>
        </p:nvSpPr>
        <p:spPr>
          <a:xfrm>
            <a:off x="4436515" y="1287610"/>
            <a:ext cx="3344092" cy="421592"/>
          </a:xfrm>
        </p:spPr>
        <p:txBody>
          <a:bodyPr anchor="ctr">
            <a:noAutofit/>
          </a:bodyPr>
          <a:lstStyle>
            <a:lvl1pPr marL="0" indent="0">
              <a:lnSpc>
                <a:spcPct val="100000"/>
              </a:lnSpc>
              <a:spcBef>
                <a:spcPts val="0"/>
              </a:spcBef>
              <a:spcAft>
                <a:spcPts val="0"/>
              </a:spcAft>
              <a:buNone/>
              <a:defRPr lang="en-US" sz="2000" b="1" i="0" kern="1200" dirty="0" smtClean="0">
                <a:solidFill>
                  <a:srgbClr val="143DCF"/>
                </a:solidFill>
                <a:latin typeface="+mn-lt"/>
                <a:ea typeface="+mn-ea"/>
                <a:cs typeface="+mn-cs"/>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cxnSp>
        <p:nvCxnSpPr>
          <p:cNvPr id="22" name="Straight Connector 21">
            <a:extLst>
              <a:ext uri="{FF2B5EF4-FFF2-40B4-BE49-F238E27FC236}">
                <a16:creationId xmlns:a16="http://schemas.microsoft.com/office/drawing/2014/main" id="{B8B64A02-492D-FE46-8E47-7D3C8EF0DFE6}"/>
              </a:ext>
            </a:extLst>
          </p:cNvPr>
          <p:cNvCxnSpPr>
            <a:cxnSpLocks/>
          </p:cNvCxnSpPr>
          <p:nvPr userDrawn="1"/>
        </p:nvCxnSpPr>
        <p:spPr>
          <a:xfrm>
            <a:off x="4436515" y="1854431"/>
            <a:ext cx="3344092"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9" name="Text Placeholder 17">
            <a:extLst>
              <a:ext uri="{FF2B5EF4-FFF2-40B4-BE49-F238E27FC236}">
                <a16:creationId xmlns:a16="http://schemas.microsoft.com/office/drawing/2014/main" id="{EAB7758D-1263-9340-B58E-8BCF64EAE371}"/>
              </a:ext>
            </a:extLst>
          </p:cNvPr>
          <p:cNvSpPr>
            <a:spLocks noGrp="1"/>
          </p:cNvSpPr>
          <p:nvPr>
            <p:ph type="body" sz="quarter" idx="19" hasCustomPrompt="1"/>
          </p:nvPr>
        </p:nvSpPr>
        <p:spPr>
          <a:xfrm>
            <a:off x="8235517" y="1287610"/>
            <a:ext cx="3344092" cy="421592"/>
          </a:xfrm>
        </p:spPr>
        <p:txBody>
          <a:bodyPr anchor="ctr">
            <a:noAutofit/>
          </a:bodyPr>
          <a:lstStyle>
            <a:lvl1pPr marL="0" indent="0">
              <a:lnSpc>
                <a:spcPct val="100000"/>
              </a:lnSpc>
              <a:spcBef>
                <a:spcPts val="0"/>
              </a:spcBef>
              <a:spcAft>
                <a:spcPts val="0"/>
              </a:spcAft>
              <a:buNone/>
              <a:defRPr lang="en-US" sz="2000" b="1" i="0" kern="1200" dirty="0" smtClean="0">
                <a:solidFill>
                  <a:srgbClr val="143DCF"/>
                </a:solidFill>
                <a:latin typeface="+mn-lt"/>
                <a:ea typeface="+mn-ea"/>
                <a:cs typeface="+mn-cs"/>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cxnSp>
        <p:nvCxnSpPr>
          <p:cNvPr id="30" name="Straight Connector 29">
            <a:extLst>
              <a:ext uri="{FF2B5EF4-FFF2-40B4-BE49-F238E27FC236}">
                <a16:creationId xmlns:a16="http://schemas.microsoft.com/office/drawing/2014/main" id="{E09C1042-81DA-7544-BC1C-27DB8E4DED8E}"/>
              </a:ext>
            </a:extLst>
          </p:cNvPr>
          <p:cNvCxnSpPr>
            <a:cxnSpLocks/>
          </p:cNvCxnSpPr>
          <p:nvPr userDrawn="1"/>
        </p:nvCxnSpPr>
        <p:spPr>
          <a:xfrm>
            <a:off x="8235517" y="1854431"/>
            <a:ext cx="3344092"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9" name="object 2">
            <a:extLst>
              <a:ext uri="{FF2B5EF4-FFF2-40B4-BE49-F238E27FC236}">
                <a16:creationId xmlns:a16="http://schemas.microsoft.com/office/drawing/2014/main" id="{0A7B2C8C-0511-364F-88EC-07A6DFE862AA}"/>
              </a:ext>
            </a:extLst>
          </p:cNvPr>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latin typeface="+mn-lt"/>
              <a:ea typeface="+mn-ea"/>
              <a:cs typeface="+mn-cs"/>
            </a:endParaRPr>
          </a:p>
        </p:txBody>
      </p:sp>
      <p:sp>
        <p:nvSpPr>
          <p:cNvPr id="41" name="Title 23">
            <a:extLst>
              <a:ext uri="{FF2B5EF4-FFF2-40B4-BE49-F238E27FC236}">
                <a16:creationId xmlns:a16="http://schemas.microsoft.com/office/drawing/2014/main" id="{DBD66D1A-0C25-3743-96E4-E9D4CA69E78E}"/>
              </a:ext>
            </a:extLst>
          </p:cNvPr>
          <p:cNvSpPr>
            <a:spLocks noGrp="1"/>
          </p:cNvSpPr>
          <p:nvPr userDrawn="1">
            <p:ph type="title"/>
          </p:nvPr>
        </p:nvSpPr>
        <p:spPr>
          <a:xfrm>
            <a:off x="609231" y="168310"/>
            <a:ext cx="10970377" cy="623222"/>
          </a:xfrm>
        </p:spPr>
        <p:txBody>
          <a:bodyPr vert="horz">
            <a:noAutofit/>
          </a:bodyPr>
          <a:lstStyle>
            <a:lvl1pPr>
              <a:lnSpc>
                <a:spcPct val="100000"/>
              </a:lnSpc>
              <a:defRPr lang="en-US" sz="3200" b="1" i="0" kern="1200" spc="-20" dirty="0">
                <a:solidFill>
                  <a:srgbClr val="FFFFFF"/>
                </a:solidFill>
                <a:latin typeface="+mj-lt"/>
                <a:ea typeface="+mj-ea"/>
                <a:cs typeface="+mj-cs"/>
              </a:defRPr>
            </a:lvl1pPr>
          </a:lstStyle>
          <a:p>
            <a:r>
              <a:rPr lang="en-US"/>
              <a:t>Click to edit Master title style</a:t>
            </a:r>
          </a:p>
        </p:txBody>
      </p:sp>
      <p:pic>
        <p:nvPicPr>
          <p:cNvPr id="2" name="Picture 1">
            <a:extLst>
              <a:ext uri="{FF2B5EF4-FFF2-40B4-BE49-F238E27FC236}">
                <a16:creationId xmlns:a16="http://schemas.microsoft.com/office/drawing/2014/main" id="{CBC4C6AE-41C6-1CC2-A42F-25C2EE01C635}"/>
              </a:ext>
            </a:extLst>
          </p:cNvPr>
          <p:cNvPicPr>
            <a:picLocks noChangeAspect="1"/>
          </p:cNvPicPr>
          <p:nvPr userDrawn="1"/>
        </p:nvPicPr>
        <p:blipFill>
          <a:blip r:embed="rId5"/>
          <a:stretch>
            <a:fillRect/>
          </a:stretch>
        </p:blipFill>
        <p:spPr>
          <a:xfrm rot="10800000">
            <a:off x="9501716" y="-410636"/>
            <a:ext cx="1979083" cy="1386073"/>
          </a:xfrm>
          <a:prstGeom prst="rect">
            <a:avLst/>
          </a:prstGeom>
        </p:spPr>
      </p:pic>
      <p:pic>
        <p:nvPicPr>
          <p:cNvPr id="3" name="Picture 2">
            <a:extLst>
              <a:ext uri="{FF2B5EF4-FFF2-40B4-BE49-F238E27FC236}">
                <a16:creationId xmlns:a16="http://schemas.microsoft.com/office/drawing/2014/main" id="{576D29E3-A43A-56F2-A467-264924E0A9AE}"/>
              </a:ext>
            </a:extLst>
          </p:cNvPr>
          <p:cNvPicPr>
            <a:picLocks noChangeAspect="1"/>
          </p:cNvPicPr>
          <p:nvPr userDrawn="1"/>
        </p:nvPicPr>
        <p:blipFill>
          <a:blip r:embed="rId6"/>
          <a:stretch>
            <a:fillRect/>
          </a:stretch>
        </p:blipFill>
        <p:spPr>
          <a:xfrm>
            <a:off x="295737" y="6584987"/>
            <a:ext cx="2324100" cy="107950"/>
          </a:xfrm>
          <a:prstGeom prst="rect">
            <a:avLst/>
          </a:prstGeom>
        </p:spPr>
      </p:pic>
      <p:sp>
        <p:nvSpPr>
          <p:cNvPr id="5" name="TextBox 4">
            <a:extLst>
              <a:ext uri="{FF2B5EF4-FFF2-40B4-BE49-F238E27FC236}">
                <a16:creationId xmlns:a16="http://schemas.microsoft.com/office/drawing/2014/main" id="{12E00029-8738-DB16-239C-207D2DCC08C3}"/>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mn-lt"/>
                <a:ea typeface="+mn-ea"/>
                <a:cs typeface="+mn-cs"/>
              </a:rPr>
              <a:pPr algn="r"/>
              <a:t>‹#›</a:t>
            </a:fld>
            <a:endParaRPr lang="en-US" sz="700" spc="300">
              <a:solidFill>
                <a:schemeClr val="accent5"/>
              </a:solidFill>
              <a:latin typeface="+mn-lt"/>
              <a:ea typeface="+mn-ea"/>
              <a:cs typeface="+mn-cs"/>
            </a:endParaRPr>
          </a:p>
        </p:txBody>
      </p:sp>
      <p:sp>
        <p:nvSpPr>
          <p:cNvPr id="8" name="Rectangle 7">
            <a:extLst>
              <a:ext uri="{FF2B5EF4-FFF2-40B4-BE49-F238E27FC236}">
                <a16:creationId xmlns:a16="http://schemas.microsoft.com/office/drawing/2014/main" id="{BAB1F1DE-B4AB-E735-907E-36EEA0CEFAA2}"/>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958F0CAD-F38C-13A2-12C2-3CAD2475DBEE}"/>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8386A38A-E963-7417-9675-71EBA197FD12}"/>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E09629AD-8F79-FE56-1339-27FF070A5C93}"/>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F4EC9697-41F6-731A-04D5-7AD2D19581E2}"/>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5E94BFA9-84E5-E860-EA37-F2BFCD586355}"/>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C155E0E4-41D2-C564-D366-FA7A3F882AC5}"/>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90F192CC-D203-7349-BD22-10FA31A4C676}"/>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21E2969E-48D9-B9AB-6470-4ECB3AF00FDA}"/>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7274EA24-1080-0B89-6B4D-A3FCC5760685}"/>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4" name="Text Placeholder 2">
            <a:extLst>
              <a:ext uri="{FF2B5EF4-FFF2-40B4-BE49-F238E27FC236}">
                <a16:creationId xmlns:a16="http://schemas.microsoft.com/office/drawing/2014/main" id="{F7E83E2B-555E-E8DB-0842-DA192D981259}"/>
              </a:ext>
            </a:extLst>
          </p:cNvPr>
          <p:cNvSpPr>
            <a:spLocks noGrp="1"/>
          </p:cNvSpPr>
          <p:nvPr>
            <p:ph idx="1" hasCustomPrompt="1"/>
          </p:nvPr>
        </p:nvSpPr>
        <p:spPr>
          <a:xfrm>
            <a:off x="609232" y="1997927"/>
            <a:ext cx="3344091" cy="4321593"/>
          </a:xfrm>
          <a:prstGeom prst="rect">
            <a:avLst/>
          </a:prstGeom>
        </p:spPr>
        <p:txBody>
          <a:bodyPr vert="horz" lIns="91440" tIns="45720" rIns="91440" bIns="45720" rtlCol="0">
            <a:normAutofit/>
          </a:bodyPr>
          <a:lstStyle>
            <a:lvl1pPr>
              <a:defRPr sz="1400">
                <a:solidFill>
                  <a:srgbClr val="133CCF"/>
                </a:solidFill>
                <a:latin typeface="+mn-lt"/>
                <a:ea typeface="+mn-ea"/>
                <a:cs typeface="+mn-cs"/>
              </a:defRPr>
            </a:lvl1pPr>
            <a:lvl2pPr marL="344488" indent="-173038">
              <a:buFont typeface="Arial" panose="020B0604020202020204" pitchFamily="34" charset="0"/>
              <a:buChar char="•"/>
              <a:tabLst/>
              <a:defRPr sz="1400">
                <a:solidFill>
                  <a:srgbClr val="133CCF"/>
                </a:solidFill>
                <a:latin typeface="+mn-lt"/>
                <a:ea typeface="+mn-ea"/>
                <a:cs typeface="+mn-cs"/>
              </a:defRPr>
            </a:lvl2pPr>
            <a:lvl3pPr marL="517525" indent="-173038">
              <a:buFont typeface="Courier New" panose="02070309020205020404" pitchFamily="49" charset="0"/>
              <a:buChar char="o"/>
              <a:tabLst/>
              <a:defRPr sz="1400">
                <a:solidFill>
                  <a:srgbClr val="133CCF"/>
                </a:solidFill>
                <a:latin typeface="+mn-lt"/>
                <a:ea typeface="+mn-ea"/>
                <a:cs typeface="+mn-cs"/>
              </a:defRPr>
            </a:lvl3pPr>
            <a:lvl4pPr marL="690563" indent="-173038">
              <a:buFont typeface="Wingdings" pitchFamily="2" charset="2"/>
              <a:buChar char="§"/>
              <a:tabLst/>
              <a:defRPr sz="1400">
                <a:solidFill>
                  <a:srgbClr val="133CCF"/>
                </a:solidFill>
                <a:latin typeface="+mn-lt"/>
                <a:ea typeface="+mn-ea"/>
                <a:cs typeface="+mn-cs"/>
              </a:defRPr>
            </a:lvl4pPr>
            <a:lvl5pPr marL="923925" indent="-233363">
              <a:buSzPct val="70000"/>
              <a:buFont typeface="Wingdings" pitchFamily="2" charset="2"/>
              <a:buChar char="q"/>
              <a:tabLst/>
              <a:defRPr sz="1400">
                <a:solidFill>
                  <a:srgbClr val="133CCF"/>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a:extLst>
              <a:ext uri="{FF2B5EF4-FFF2-40B4-BE49-F238E27FC236}">
                <a16:creationId xmlns:a16="http://schemas.microsoft.com/office/drawing/2014/main" id="{8544B17D-32E0-B201-21C7-497DFDE2ECE3}"/>
              </a:ext>
            </a:extLst>
          </p:cNvPr>
          <p:cNvSpPr>
            <a:spLocks noGrp="1"/>
          </p:cNvSpPr>
          <p:nvPr>
            <p:ph idx="20" hasCustomPrompt="1"/>
          </p:nvPr>
        </p:nvSpPr>
        <p:spPr>
          <a:xfrm>
            <a:off x="4436516" y="1997927"/>
            <a:ext cx="3344091" cy="4321593"/>
          </a:xfrm>
          <a:prstGeom prst="rect">
            <a:avLst/>
          </a:prstGeom>
        </p:spPr>
        <p:txBody>
          <a:bodyPr vert="horz" lIns="91440" tIns="45720" rIns="91440" bIns="45720" rtlCol="0">
            <a:normAutofit/>
          </a:bodyPr>
          <a:lstStyle>
            <a:lvl1pPr>
              <a:defRPr sz="1400">
                <a:solidFill>
                  <a:srgbClr val="133CCF"/>
                </a:solidFill>
                <a:latin typeface="+mn-lt"/>
                <a:ea typeface="+mn-ea"/>
                <a:cs typeface="+mn-cs"/>
              </a:defRPr>
            </a:lvl1pPr>
            <a:lvl2pPr marL="344488" indent="-173038">
              <a:buFont typeface="Arial" panose="020B0604020202020204" pitchFamily="34" charset="0"/>
              <a:buChar char="•"/>
              <a:tabLst/>
              <a:defRPr sz="1400">
                <a:solidFill>
                  <a:srgbClr val="133CCF"/>
                </a:solidFill>
                <a:latin typeface="+mn-lt"/>
                <a:ea typeface="+mn-ea"/>
                <a:cs typeface="+mn-cs"/>
              </a:defRPr>
            </a:lvl2pPr>
            <a:lvl3pPr marL="517525" indent="-173038">
              <a:buFont typeface="Courier New" panose="02070309020205020404" pitchFamily="49" charset="0"/>
              <a:buChar char="o"/>
              <a:tabLst/>
              <a:defRPr sz="1400">
                <a:solidFill>
                  <a:srgbClr val="133CCF"/>
                </a:solidFill>
                <a:latin typeface="+mn-lt"/>
                <a:ea typeface="+mn-ea"/>
                <a:cs typeface="+mn-cs"/>
              </a:defRPr>
            </a:lvl3pPr>
            <a:lvl4pPr marL="690563" indent="-173038">
              <a:buFont typeface="Wingdings" pitchFamily="2" charset="2"/>
              <a:buChar char="§"/>
              <a:tabLst/>
              <a:defRPr sz="1400">
                <a:solidFill>
                  <a:srgbClr val="133CCF"/>
                </a:solidFill>
                <a:latin typeface="+mn-lt"/>
                <a:ea typeface="+mn-ea"/>
                <a:cs typeface="+mn-cs"/>
              </a:defRPr>
            </a:lvl4pPr>
            <a:lvl5pPr marL="923925" indent="-233363">
              <a:buSzPct val="70000"/>
              <a:buFont typeface="Wingdings" pitchFamily="2" charset="2"/>
              <a:buChar char="q"/>
              <a:tabLst/>
              <a:defRPr sz="1400">
                <a:solidFill>
                  <a:srgbClr val="133CCF"/>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a:extLst>
              <a:ext uri="{FF2B5EF4-FFF2-40B4-BE49-F238E27FC236}">
                <a16:creationId xmlns:a16="http://schemas.microsoft.com/office/drawing/2014/main" id="{F237D7AF-3724-7FB3-695A-EC0C5562BB9C}"/>
              </a:ext>
            </a:extLst>
          </p:cNvPr>
          <p:cNvSpPr>
            <a:spLocks noGrp="1"/>
          </p:cNvSpPr>
          <p:nvPr>
            <p:ph idx="21" hasCustomPrompt="1"/>
          </p:nvPr>
        </p:nvSpPr>
        <p:spPr>
          <a:xfrm>
            <a:off x="8235517" y="1997927"/>
            <a:ext cx="3344091" cy="4321593"/>
          </a:xfrm>
          <a:prstGeom prst="rect">
            <a:avLst/>
          </a:prstGeom>
        </p:spPr>
        <p:txBody>
          <a:bodyPr vert="horz" lIns="91440" tIns="45720" rIns="91440" bIns="45720" rtlCol="0">
            <a:normAutofit/>
          </a:bodyPr>
          <a:lstStyle>
            <a:lvl1pPr>
              <a:defRPr sz="1400">
                <a:solidFill>
                  <a:srgbClr val="133CCF"/>
                </a:solidFill>
                <a:latin typeface="+mn-lt"/>
                <a:ea typeface="+mn-ea"/>
                <a:cs typeface="+mn-cs"/>
              </a:defRPr>
            </a:lvl1pPr>
            <a:lvl2pPr marL="344488" indent="-173038">
              <a:buFont typeface="Arial" panose="020B0604020202020204" pitchFamily="34" charset="0"/>
              <a:buChar char="•"/>
              <a:tabLst/>
              <a:defRPr sz="1400">
                <a:solidFill>
                  <a:srgbClr val="133CCF"/>
                </a:solidFill>
                <a:latin typeface="+mn-lt"/>
                <a:ea typeface="+mn-ea"/>
                <a:cs typeface="+mn-cs"/>
              </a:defRPr>
            </a:lvl2pPr>
            <a:lvl3pPr marL="517525" indent="-173038">
              <a:buFont typeface="Courier New" panose="02070309020205020404" pitchFamily="49" charset="0"/>
              <a:buChar char="o"/>
              <a:tabLst/>
              <a:defRPr sz="1400">
                <a:solidFill>
                  <a:srgbClr val="133CCF"/>
                </a:solidFill>
                <a:latin typeface="+mn-lt"/>
                <a:ea typeface="+mn-ea"/>
                <a:cs typeface="+mn-cs"/>
              </a:defRPr>
            </a:lvl3pPr>
            <a:lvl4pPr marL="690563" indent="-173038">
              <a:buFont typeface="Wingdings" pitchFamily="2" charset="2"/>
              <a:buChar char="§"/>
              <a:tabLst/>
              <a:defRPr sz="1400">
                <a:solidFill>
                  <a:srgbClr val="133CCF"/>
                </a:solidFill>
                <a:latin typeface="+mn-lt"/>
                <a:ea typeface="+mn-ea"/>
                <a:cs typeface="+mn-cs"/>
              </a:defRPr>
            </a:lvl4pPr>
            <a:lvl5pPr marL="923925" indent="-233363">
              <a:buSzPct val="70000"/>
              <a:buFont typeface="Wingdings" pitchFamily="2" charset="2"/>
              <a:buChar char="q"/>
              <a:tabLst/>
              <a:defRPr sz="1400">
                <a:solidFill>
                  <a:srgbClr val="133CCF"/>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832337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mparison 03 - Blue">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A42047CA-4D7E-49CD-89B7-782043CEB094}"/>
              </a:ext>
            </a:extLst>
          </p:cNvPr>
          <p:cNvGraphicFramePr>
            <a:graphicFrameLocks noChangeAspect="1"/>
          </p:cNvGraphicFramePr>
          <p:nvPr userDrawn="1">
            <p:custDataLst>
              <p:tags r:id="rId1"/>
            </p:custDataLst>
            <p:extLst>
              <p:ext uri="{D42A27DB-BD31-4B8C-83A1-F6EECF244321}">
                <p14:modId xmlns:p14="http://schemas.microsoft.com/office/powerpoint/2010/main" val="418587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1" name="think-cell data - do not delete" hidden="1">
                        <a:extLst>
                          <a:ext uri="{FF2B5EF4-FFF2-40B4-BE49-F238E27FC236}">
                            <a16:creationId xmlns:a16="http://schemas.microsoft.com/office/drawing/2014/main" id="{A42047CA-4D7E-49CD-89B7-782043CEB0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Text Placeholder 17"/>
          <p:cNvSpPr>
            <a:spLocks noGrp="1"/>
          </p:cNvSpPr>
          <p:nvPr>
            <p:ph type="body" sz="quarter" idx="14" hasCustomPrompt="1"/>
          </p:nvPr>
        </p:nvSpPr>
        <p:spPr>
          <a:xfrm>
            <a:off x="486323" y="1287610"/>
            <a:ext cx="2649783" cy="727086"/>
          </a:xfrm>
        </p:spPr>
        <p:txBody>
          <a:bodyPr anchor="t">
            <a:noAutofit/>
          </a:bodyPr>
          <a:lstStyle>
            <a:lvl1pPr marL="0" indent="0">
              <a:lnSpc>
                <a:spcPct val="100000"/>
              </a:lnSpc>
              <a:spcBef>
                <a:spcPts val="100"/>
              </a:spcBef>
              <a:spcAft>
                <a:spcPts val="100"/>
              </a:spcAft>
              <a:buNone/>
              <a:defRPr lang="en-US" sz="2000" b="1" i="0" kern="1200" dirty="0" smtClean="0">
                <a:solidFill>
                  <a:srgbClr val="143DCF"/>
                </a:solidFill>
                <a:latin typeface="+mn-lt"/>
                <a:ea typeface="+mn-ea"/>
                <a:cs typeface="+mn-cs"/>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sp>
        <p:nvSpPr>
          <p:cNvPr id="26" name="Text Placeholder 17">
            <a:extLst>
              <a:ext uri="{FF2B5EF4-FFF2-40B4-BE49-F238E27FC236}">
                <a16:creationId xmlns:a16="http://schemas.microsoft.com/office/drawing/2014/main" id="{00E51550-7B1F-D643-870F-108D0F6F5385}"/>
              </a:ext>
            </a:extLst>
          </p:cNvPr>
          <p:cNvSpPr>
            <a:spLocks noGrp="1"/>
          </p:cNvSpPr>
          <p:nvPr>
            <p:ph type="body" sz="quarter" idx="17" hasCustomPrompt="1"/>
          </p:nvPr>
        </p:nvSpPr>
        <p:spPr>
          <a:xfrm>
            <a:off x="3335031" y="1287610"/>
            <a:ext cx="2649783" cy="727086"/>
          </a:xfrm>
        </p:spPr>
        <p:txBody>
          <a:bodyPr anchor="t">
            <a:noAutofit/>
          </a:bodyPr>
          <a:lstStyle>
            <a:lvl1pPr marL="0" indent="0">
              <a:lnSpc>
                <a:spcPct val="100000"/>
              </a:lnSpc>
              <a:spcBef>
                <a:spcPts val="100"/>
              </a:spcBef>
              <a:spcAft>
                <a:spcPts val="100"/>
              </a:spcAft>
              <a:buNone/>
              <a:defRPr lang="en-US" sz="2000" b="1" i="0" kern="1200" dirty="0" smtClean="0">
                <a:solidFill>
                  <a:srgbClr val="143DCF"/>
                </a:solidFill>
                <a:latin typeface="+mn-lt"/>
                <a:ea typeface="+mn-ea"/>
                <a:cs typeface="+mn-cs"/>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sp>
        <p:nvSpPr>
          <p:cNvPr id="36" name="Text Placeholder 17">
            <a:extLst>
              <a:ext uri="{FF2B5EF4-FFF2-40B4-BE49-F238E27FC236}">
                <a16:creationId xmlns:a16="http://schemas.microsoft.com/office/drawing/2014/main" id="{79BB3282-881C-9E42-8CB7-B6BB0FB05F12}"/>
              </a:ext>
            </a:extLst>
          </p:cNvPr>
          <p:cNvSpPr>
            <a:spLocks noGrp="1"/>
          </p:cNvSpPr>
          <p:nvPr>
            <p:ph type="body" sz="quarter" idx="19" hasCustomPrompt="1"/>
          </p:nvPr>
        </p:nvSpPr>
        <p:spPr>
          <a:xfrm>
            <a:off x="6207185" y="1287610"/>
            <a:ext cx="2649783" cy="727086"/>
          </a:xfrm>
        </p:spPr>
        <p:txBody>
          <a:bodyPr anchor="t">
            <a:noAutofit/>
          </a:bodyPr>
          <a:lstStyle>
            <a:lvl1pPr marL="0" indent="0">
              <a:lnSpc>
                <a:spcPct val="100000"/>
              </a:lnSpc>
              <a:spcBef>
                <a:spcPts val="100"/>
              </a:spcBef>
              <a:spcAft>
                <a:spcPts val="100"/>
              </a:spcAft>
              <a:buNone/>
              <a:defRPr lang="en-US" sz="2000" b="1" i="0" kern="1200" dirty="0" smtClean="0">
                <a:solidFill>
                  <a:srgbClr val="143DCF"/>
                </a:solidFill>
                <a:latin typeface="+mn-lt"/>
                <a:ea typeface="+mn-ea"/>
                <a:cs typeface="+mn-cs"/>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sp>
        <p:nvSpPr>
          <p:cNvPr id="39" name="Text Placeholder 17">
            <a:extLst>
              <a:ext uri="{FF2B5EF4-FFF2-40B4-BE49-F238E27FC236}">
                <a16:creationId xmlns:a16="http://schemas.microsoft.com/office/drawing/2014/main" id="{F4886CBF-A333-544D-BD50-AA45FAD785AD}"/>
              </a:ext>
            </a:extLst>
          </p:cNvPr>
          <p:cNvSpPr>
            <a:spLocks noGrp="1"/>
          </p:cNvSpPr>
          <p:nvPr>
            <p:ph type="body" sz="quarter" idx="21" hasCustomPrompt="1"/>
          </p:nvPr>
        </p:nvSpPr>
        <p:spPr>
          <a:xfrm>
            <a:off x="9079339" y="1287610"/>
            <a:ext cx="2649783" cy="727086"/>
          </a:xfrm>
        </p:spPr>
        <p:txBody>
          <a:bodyPr anchor="t">
            <a:noAutofit/>
          </a:bodyPr>
          <a:lstStyle>
            <a:lvl1pPr marL="0" indent="0">
              <a:lnSpc>
                <a:spcPct val="100000"/>
              </a:lnSpc>
              <a:spcBef>
                <a:spcPts val="100"/>
              </a:spcBef>
              <a:spcAft>
                <a:spcPts val="100"/>
              </a:spcAft>
              <a:buNone/>
              <a:defRPr lang="en-US" sz="2000" b="1" i="0" kern="1200" dirty="0" smtClean="0">
                <a:solidFill>
                  <a:srgbClr val="143DCF"/>
                </a:solidFill>
                <a:latin typeface="+mn-lt"/>
                <a:ea typeface="+mn-ea"/>
                <a:cs typeface="+mn-cs"/>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cxnSp>
        <p:nvCxnSpPr>
          <p:cNvPr id="4" name="Straight Connector 3">
            <a:extLst>
              <a:ext uri="{FF2B5EF4-FFF2-40B4-BE49-F238E27FC236}">
                <a16:creationId xmlns:a16="http://schemas.microsoft.com/office/drawing/2014/main" id="{B7A20E48-257C-6C4C-BA1A-76666652B49E}"/>
              </a:ext>
            </a:extLst>
          </p:cNvPr>
          <p:cNvCxnSpPr>
            <a:cxnSpLocks/>
          </p:cNvCxnSpPr>
          <p:nvPr userDrawn="1"/>
        </p:nvCxnSpPr>
        <p:spPr>
          <a:xfrm>
            <a:off x="486324" y="2185352"/>
            <a:ext cx="264978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9241A30-0879-8948-AFA7-3CF869C9F734}"/>
              </a:ext>
            </a:extLst>
          </p:cNvPr>
          <p:cNvCxnSpPr>
            <a:cxnSpLocks/>
          </p:cNvCxnSpPr>
          <p:nvPr userDrawn="1"/>
        </p:nvCxnSpPr>
        <p:spPr>
          <a:xfrm>
            <a:off x="3335032" y="2185352"/>
            <a:ext cx="264978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934634E-1ACC-4548-9DB9-F129A69B59DC}"/>
              </a:ext>
            </a:extLst>
          </p:cNvPr>
          <p:cNvCxnSpPr>
            <a:cxnSpLocks/>
          </p:cNvCxnSpPr>
          <p:nvPr userDrawn="1"/>
        </p:nvCxnSpPr>
        <p:spPr>
          <a:xfrm>
            <a:off x="6207184" y="2185352"/>
            <a:ext cx="264978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C0E2431-081E-D74F-9EFC-773A52E063EC}"/>
              </a:ext>
            </a:extLst>
          </p:cNvPr>
          <p:cNvCxnSpPr>
            <a:cxnSpLocks/>
          </p:cNvCxnSpPr>
          <p:nvPr userDrawn="1"/>
        </p:nvCxnSpPr>
        <p:spPr>
          <a:xfrm>
            <a:off x="9079339" y="2185352"/>
            <a:ext cx="264978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1" name="object 2">
            <a:extLst>
              <a:ext uri="{FF2B5EF4-FFF2-40B4-BE49-F238E27FC236}">
                <a16:creationId xmlns:a16="http://schemas.microsoft.com/office/drawing/2014/main" id="{81C8B496-17AD-854B-86A7-46CFE4A24FA1}"/>
              </a:ext>
            </a:extLst>
          </p:cNvPr>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latin typeface="+mn-lt"/>
              <a:ea typeface="+mn-ea"/>
              <a:cs typeface="+mn-cs"/>
            </a:endParaRPr>
          </a:p>
        </p:txBody>
      </p:sp>
      <p:sp>
        <p:nvSpPr>
          <p:cNvPr id="33" name="Title 23">
            <a:extLst>
              <a:ext uri="{FF2B5EF4-FFF2-40B4-BE49-F238E27FC236}">
                <a16:creationId xmlns:a16="http://schemas.microsoft.com/office/drawing/2014/main" id="{4D2D04FA-4602-C046-82B0-E34F5D5F3234}"/>
              </a:ext>
            </a:extLst>
          </p:cNvPr>
          <p:cNvSpPr>
            <a:spLocks noGrp="1"/>
          </p:cNvSpPr>
          <p:nvPr userDrawn="1">
            <p:ph type="title"/>
          </p:nvPr>
        </p:nvSpPr>
        <p:spPr>
          <a:xfrm>
            <a:off x="609232" y="168310"/>
            <a:ext cx="11119890" cy="623222"/>
          </a:xfrm>
        </p:spPr>
        <p:txBody>
          <a:bodyPr vert="horz">
            <a:noAutofit/>
          </a:bodyPr>
          <a:lstStyle>
            <a:lvl1pPr>
              <a:lnSpc>
                <a:spcPct val="100000"/>
              </a:lnSpc>
              <a:defRPr lang="en-US" sz="3200" b="1" i="0" kern="1200" spc="-20" dirty="0">
                <a:solidFill>
                  <a:srgbClr val="FFFFFF"/>
                </a:solidFill>
                <a:latin typeface="+mj-lt"/>
                <a:ea typeface="+mj-ea"/>
                <a:cs typeface="+mj-cs"/>
              </a:defRPr>
            </a:lvl1pPr>
          </a:lstStyle>
          <a:p>
            <a:r>
              <a:rPr lang="en-US"/>
              <a:t>Click to edit Master title style</a:t>
            </a:r>
          </a:p>
        </p:txBody>
      </p:sp>
      <p:pic>
        <p:nvPicPr>
          <p:cNvPr id="2" name="Picture 1">
            <a:extLst>
              <a:ext uri="{FF2B5EF4-FFF2-40B4-BE49-F238E27FC236}">
                <a16:creationId xmlns:a16="http://schemas.microsoft.com/office/drawing/2014/main" id="{20567F9A-4D2B-3E19-08D8-47A264DE46E0}"/>
              </a:ext>
            </a:extLst>
          </p:cNvPr>
          <p:cNvPicPr>
            <a:picLocks noChangeAspect="1"/>
          </p:cNvPicPr>
          <p:nvPr userDrawn="1"/>
        </p:nvPicPr>
        <p:blipFill>
          <a:blip r:embed="rId5"/>
          <a:stretch>
            <a:fillRect/>
          </a:stretch>
        </p:blipFill>
        <p:spPr>
          <a:xfrm rot="10800000">
            <a:off x="9501716" y="-410636"/>
            <a:ext cx="1979083" cy="1386073"/>
          </a:xfrm>
          <a:prstGeom prst="rect">
            <a:avLst/>
          </a:prstGeom>
        </p:spPr>
      </p:pic>
      <p:pic>
        <p:nvPicPr>
          <p:cNvPr id="3" name="Picture 2">
            <a:extLst>
              <a:ext uri="{FF2B5EF4-FFF2-40B4-BE49-F238E27FC236}">
                <a16:creationId xmlns:a16="http://schemas.microsoft.com/office/drawing/2014/main" id="{891A76CC-1BCA-2DFB-E9F8-4E1283E1B14E}"/>
              </a:ext>
            </a:extLst>
          </p:cNvPr>
          <p:cNvPicPr>
            <a:picLocks noChangeAspect="1"/>
          </p:cNvPicPr>
          <p:nvPr userDrawn="1"/>
        </p:nvPicPr>
        <p:blipFill>
          <a:blip r:embed="rId6"/>
          <a:stretch>
            <a:fillRect/>
          </a:stretch>
        </p:blipFill>
        <p:spPr>
          <a:xfrm>
            <a:off x="295737" y="6584987"/>
            <a:ext cx="2324100" cy="107950"/>
          </a:xfrm>
          <a:prstGeom prst="rect">
            <a:avLst/>
          </a:prstGeom>
        </p:spPr>
      </p:pic>
      <p:sp>
        <p:nvSpPr>
          <p:cNvPr id="6" name="TextBox 5">
            <a:extLst>
              <a:ext uri="{FF2B5EF4-FFF2-40B4-BE49-F238E27FC236}">
                <a16:creationId xmlns:a16="http://schemas.microsoft.com/office/drawing/2014/main" id="{A0C5574A-1AAF-ECF7-8EEF-8C3EA962FBAF}"/>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mn-lt"/>
                <a:ea typeface="+mn-ea"/>
                <a:cs typeface="+mn-cs"/>
              </a:rPr>
              <a:pPr algn="r"/>
              <a:t>‹#›</a:t>
            </a:fld>
            <a:endParaRPr lang="en-US" sz="700" spc="300">
              <a:solidFill>
                <a:schemeClr val="accent5"/>
              </a:solidFill>
              <a:latin typeface="+mn-lt"/>
              <a:ea typeface="+mn-ea"/>
              <a:cs typeface="+mn-cs"/>
            </a:endParaRPr>
          </a:p>
        </p:txBody>
      </p:sp>
      <p:sp>
        <p:nvSpPr>
          <p:cNvPr id="10" name="Rectangle 9">
            <a:extLst>
              <a:ext uri="{FF2B5EF4-FFF2-40B4-BE49-F238E27FC236}">
                <a16:creationId xmlns:a16="http://schemas.microsoft.com/office/drawing/2014/main" id="{73BC7268-8C86-E531-E28D-303596A0CFC0}"/>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6B97BC75-5B9D-BB13-CFE5-8FB936300D0E}"/>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C07AFA52-3D42-BCAC-89FA-6525B6ADDCC9}"/>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D51113B0-CFA5-A55C-B8D6-486A20922CAB}"/>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E79B4BCA-2FEF-27A2-76C4-05850F47BFDE}"/>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8EBFFC89-AC58-AA70-985F-F565A47681DA}"/>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FBABFFAF-CF96-84F9-C307-3652ECD98974}"/>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DBF7400B-4F09-903F-3B6C-AEFA8935C558}"/>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8" name="Rectangle 17">
            <a:extLst>
              <a:ext uri="{FF2B5EF4-FFF2-40B4-BE49-F238E27FC236}">
                <a16:creationId xmlns:a16="http://schemas.microsoft.com/office/drawing/2014/main" id="{86BF62C9-BAE0-5761-317B-2A3E1B3EDD0F}"/>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9" name="Rectangle 18">
            <a:extLst>
              <a:ext uri="{FF2B5EF4-FFF2-40B4-BE49-F238E27FC236}">
                <a16:creationId xmlns:a16="http://schemas.microsoft.com/office/drawing/2014/main" id="{D0F36E62-A079-9BC9-710F-C6179C44F548}"/>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5" name="Text Placeholder 2">
            <a:extLst>
              <a:ext uri="{FF2B5EF4-FFF2-40B4-BE49-F238E27FC236}">
                <a16:creationId xmlns:a16="http://schemas.microsoft.com/office/drawing/2014/main" id="{79BBB17E-1FB8-89FC-84DB-F8749D673500}"/>
              </a:ext>
            </a:extLst>
          </p:cNvPr>
          <p:cNvSpPr>
            <a:spLocks noGrp="1"/>
          </p:cNvSpPr>
          <p:nvPr>
            <p:ph idx="1" hasCustomPrompt="1"/>
          </p:nvPr>
        </p:nvSpPr>
        <p:spPr>
          <a:xfrm>
            <a:off x="486324" y="2352582"/>
            <a:ext cx="2649782" cy="3966938"/>
          </a:xfrm>
          <a:prstGeom prst="rect">
            <a:avLst/>
          </a:prstGeom>
        </p:spPr>
        <p:txBody>
          <a:bodyPr vert="horz" lIns="91440" tIns="45720" rIns="91440" bIns="45720" rtlCol="0">
            <a:normAutofit/>
          </a:bodyPr>
          <a:lstStyle>
            <a:lvl1pPr>
              <a:defRPr sz="1400">
                <a:solidFill>
                  <a:srgbClr val="133CCF"/>
                </a:solidFill>
                <a:latin typeface="+mn-lt"/>
                <a:ea typeface="+mn-ea"/>
                <a:cs typeface="+mn-cs"/>
              </a:defRPr>
            </a:lvl1pPr>
            <a:lvl2pPr marL="344488" indent="-173038">
              <a:buFont typeface="Arial" panose="020B0604020202020204" pitchFamily="34" charset="0"/>
              <a:buChar char="•"/>
              <a:tabLst/>
              <a:defRPr sz="1400">
                <a:solidFill>
                  <a:srgbClr val="133CCF"/>
                </a:solidFill>
                <a:latin typeface="+mn-lt"/>
                <a:ea typeface="+mn-ea"/>
                <a:cs typeface="+mn-cs"/>
              </a:defRPr>
            </a:lvl2pPr>
            <a:lvl3pPr marL="517525" indent="-173038">
              <a:buFont typeface="Courier New" panose="02070309020205020404" pitchFamily="49" charset="0"/>
              <a:buChar char="o"/>
              <a:tabLst/>
              <a:defRPr sz="1400">
                <a:solidFill>
                  <a:srgbClr val="133CCF"/>
                </a:solidFill>
                <a:latin typeface="+mn-lt"/>
                <a:ea typeface="+mn-ea"/>
                <a:cs typeface="+mn-cs"/>
              </a:defRPr>
            </a:lvl3pPr>
            <a:lvl4pPr marL="690563" indent="-173038">
              <a:buFont typeface="Wingdings" pitchFamily="2" charset="2"/>
              <a:buChar char="§"/>
              <a:tabLst/>
              <a:defRPr sz="1400">
                <a:solidFill>
                  <a:srgbClr val="133CCF"/>
                </a:solidFill>
                <a:latin typeface="+mn-lt"/>
                <a:ea typeface="+mn-ea"/>
                <a:cs typeface="+mn-cs"/>
              </a:defRPr>
            </a:lvl4pPr>
            <a:lvl5pPr marL="923925" indent="-233363">
              <a:buSzPct val="70000"/>
              <a:buFont typeface="Wingdings" pitchFamily="2" charset="2"/>
              <a:buChar char="q"/>
              <a:tabLst/>
              <a:defRPr sz="1400">
                <a:solidFill>
                  <a:srgbClr val="133CCF"/>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a:extLst>
              <a:ext uri="{FF2B5EF4-FFF2-40B4-BE49-F238E27FC236}">
                <a16:creationId xmlns:a16="http://schemas.microsoft.com/office/drawing/2014/main" id="{0E4BD2DA-8164-CCCF-2F79-1BCD6CC23A12}"/>
              </a:ext>
            </a:extLst>
          </p:cNvPr>
          <p:cNvSpPr>
            <a:spLocks noGrp="1"/>
          </p:cNvSpPr>
          <p:nvPr>
            <p:ph idx="22" hasCustomPrompt="1"/>
          </p:nvPr>
        </p:nvSpPr>
        <p:spPr>
          <a:xfrm>
            <a:off x="3335031" y="2352582"/>
            <a:ext cx="2649782" cy="3966938"/>
          </a:xfrm>
          <a:prstGeom prst="rect">
            <a:avLst/>
          </a:prstGeom>
        </p:spPr>
        <p:txBody>
          <a:bodyPr vert="horz" lIns="91440" tIns="45720" rIns="91440" bIns="45720" rtlCol="0">
            <a:normAutofit/>
          </a:bodyPr>
          <a:lstStyle>
            <a:lvl1pPr>
              <a:defRPr sz="1400">
                <a:solidFill>
                  <a:srgbClr val="133CCF"/>
                </a:solidFill>
                <a:latin typeface="+mn-lt"/>
                <a:ea typeface="+mn-ea"/>
                <a:cs typeface="+mn-cs"/>
              </a:defRPr>
            </a:lvl1pPr>
            <a:lvl2pPr marL="344488" indent="-173038">
              <a:buFont typeface="Arial" panose="020B0604020202020204" pitchFamily="34" charset="0"/>
              <a:buChar char="•"/>
              <a:tabLst/>
              <a:defRPr sz="1400">
                <a:solidFill>
                  <a:srgbClr val="133CCF"/>
                </a:solidFill>
                <a:latin typeface="+mn-lt"/>
                <a:ea typeface="+mn-ea"/>
                <a:cs typeface="+mn-cs"/>
              </a:defRPr>
            </a:lvl2pPr>
            <a:lvl3pPr marL="517525" indent="-173038">
              <a:buFont typeface="Courier New" panose="02070309020205020404" pitchFamily="49" charset="0"/>
              <a:buChar char="o"/>
              <a:tabLst/>
              <a:defRPr sz="1400">
                <a:solidFill>
                  <a:srgbClr val="133CCF"/>
                </a:solidFill>
                <a:latin typeface="+mn-lt"/>
                <a:ea typeface="+mn-ea"/>
                <a:cs typeface="+mn-cs"/>
              </a:defRPr>
            </a:lvl3pPr>
            <a:lvl4pPr marL="690563" indent="-173038">
              <a:buFont typeface="Wingdings" pitchFamily="2" charset="2"/>
              <a:buChar char="§"/>
              <a:tabLst/>
              <a:defRPr sz="1400">
                <a:solidFill>
                  <a:srgbClr val="133CCF"/>
                </a:solidFill>
                <a:latin typeface="+mn-lt"/>
                <a:ea typeface="+mn-ea"/>
                <a:cs typeface="+mn-cs"/>
              </a:defRPr>
            </a:lvl4pPr>
            <a:lvl5pPr marL="923925" indent="-233363">
              <a:buSzPct val="70000"/>
              <a:buFont typeface="Wingdings" pitchFamily="2" charset="2"/>
              <a:buChar char="q"/>
              <a:tabLst/>
              <a:defRPr sz="1400">
                <a:solidFill>
                  <a:srgbClr val="133CCF"/>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2043910-358D-24A2-2269-3CA3EF579A19}"/>
              </a:ext>
            </a:extLst>
          </p:cNvPr>
          <p:cNvSpPr>
            <a:spLocks noGrp="1"/>
          </p:cNvSpPr>
          <p:nvPr>
            <p:ph idx="23" hasCustomPrompt="1"/>
          </p:nvPr>
        </p:nvSpPr>
        <p:spPr>
          <a:xfrm>
            <a:off x="6207184" y="2352582"/>
            <a:ext cx="2649782" cy="3966938"/>
          </a:xfrm>
          <a:prstGeom prst="rect">
            <a:avLst/>
          </a:prstGeom>
        </p:spPr>
        <p:txBody>
          <a:bodyPr vert="horz" lIns="91440" tIns="45720" rIns="91440" bIns="45720" rtlCol="0">
            <a:normAutofit/>
          </a:bodyPr>
          <a:lstStyle>
            <a:lvl1pPr>
              <a:defRPr sz="1400">
                <a:solidFill>
                  <a:srgbClr val="133CCF"/>
                </a:solidFill>
                <a:latin typeface="+mn-lt"/>
                <a:ea typeface="+mn-ea"/>
                <a:cs typeface="+mn-cs"/>
              </a:defRPr>
            </a:lvl1pPr>
            <a:lvl2pPr marL="344488" indent="-173038">
              <a:buFont typeface="Arial" panose="020B0604020202020204" pitchFamily="34" charset="0"/>
              <a:buChar char="•"/>
              <a:tabLst/>
              <a:defRPr sz="1400">
                <a:solidFill>
                  <a:srgbClr val="133CCF"/>
                </a:solidFill>
                <a:latin typeface="+mn-lt"/>
                <a:ea typeface="+mn-ea"/>
                <a:cs typeface="+mn-cs"/>
              </a:defRPr>
            </a:lvl2pPr>
            <a:lvl3pPr marL="517525" indent="-173038">
              <a:buFont typeface="Courier New" panose="02070309020205020404" pitchFamily="49" charset="0"/>
              <a:buChar char="o"/>
              <a:tabLst/>
              <a:defRPr sz="1400">
                <a:solidFill>
                  <a:srgbClr val="133CCF"/>
                </a:solidFill>
                <a:latin typeface="+mn-lt"/>
                <a:ea typeface="+mn-ea"/>
                <a:cs typeface="+mn-cs"/>
              </a:defRPr>
            </a:lvl3pPr>
            <a:lvl4pPr marL="690563" indent="-173038">
              <a:buFont typeface="Wingdings" pitchFamily="2" charset="2"/>
              <a:buChar char="§"/>
              <a:tabLst/>
              <a:defRPr sz="1400">
                <a:solidFill>
                  <a:srgbClr val="133CCF"/>
                </a:solidFill>
                <a:latin typeface="+mn-lt"/>
                <a:ea typeface="+mn-ea"/>
                <a:cs typeface="+mn-cs"/>
              </a:defRPr>
            </a:lvl4pPr>
            <a:lvl5pPr marL="923925" indent="-233363">
              <a:buSzPct val="70000"/>
              <a:buFont typeface="Wingdings" pitchFamily="2" charset="2"/>
              <a:buChar char="q"/>
              <a:tabLst/>
              <a:defRPr sz="1400">
                <a:solidFill>
                  <a:srgbClr val="133CCF"/>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697CEFF0-425F-0206-B052-C17B4064CCD4}"/>
              </a:ext>
            </a:extLst>
          </p:cNvPr>
          <p:cNvSpPr>
            <a:spLocks noGrp="1"/>
          </p:cNvSpPr>
          <p:nvPr>
            <p:ph idx="24" hasCustomPrompt="1"/>
          </p:nvPr>
        </p:nvSpPr>
        <p:spPr>
          <a:xfrm>
            <a:off x="9079340" y="2352582"/>
            <a:ext cx="2649782" cy="3966938"/>
          </a:xfrm>
          <a:prstGeom prst="rect">
            <a:avLst/>
          </a:prstGeom>
        </p:spPr>
        <p:txBody>
          <a:bodyPr vert="horz" lIns="91440" tIns="45720" rIns="91440" bIns="45720" rtlCol="0">
            <a:normAutofit/>
          </a:bodyPr>
          <a:lstStyle>
            <a:lvl1pPr>
              <a:defRPr sz="1400">
                <a:solidFill>
                  <a:srgbClr val="133CCF"/>
                </a:solidFill>
                <a:latin typeface="+mn-lt"/>
                <a:ea typeface="+mn-ea"/>
                <a:cs typeface="+mn-cs"/>
              </a:defRPr>
            </a:lvl1pPr>
            <a:lvl2pPr marL="344488" indent="-173038">
              <a:buFont typeface="Arial" panose="020B0604020202020204" pitchFamily="34" charset="0"/>
              <a:buChar char="•"/>
              <a:tabLst/>
              <a:defRPr sz="1400">
                <a:solidFill>
                  <a:srgbClr val="133CCF"/>
                </a:solidFill>
                <a:latin typeface="+mn-lt"/>
                <a:ea typeface="+mn-ea"/>
                <a:cs typeface="+mn-cs"/>
              </a:defRPr>
            </a:lvl2pPr>
            <a:lvl3pPr marL="517525" indent="-173038">
              <a:buFont typeface="Courier New" panose="02070309020205020404" pitchFamily="49" charset="0"/>
              <a:buChar char="o"/>
              <a:tabLst/>
              <a:defRPr sz="1400">
                <a:solidFill>
                  <a:srgbClr val="133CCF"/>
                </a:solidFill>
                <a:latin typeface="+mn-lt"/>
                <a:ea typeface="+mn-ea"/>
                <a:cs typeface="+mn-cs"/>
              </a:defRPr>
            </a:lvl3pPr>
            <a:lvl4pPr marL="690563" indent="-173038">
              <a:buFont typeface="Wingdings" pitchFamily="2" charset="2"/>
              <a:buChar char="§"/>
              <a:tabLst/>
              <a:defRPr sz="1400">
                <a:solidFill>
                  <a:srgbClr val="133CCF"/>
                </a:solidFill>
                <a:latin typeface="+mn-lt"/>
                <a:ea typeface="+mn-ea"/>
                <a:cs typeface="+mn-cs"/>
              </a:defRPr>
            </a:lvl4pPr>
            <a:lvl5pPr marL="923925" indent="-233363">
              <a:buSzPct val="70000"/>
              <a:buFont typeface="Wingdings" pitchFamily="2" charset="2"/>
              <a:buChar char="q"/>
              <a:tabLst/>
              <a:defRPr sz="1400">
                <a:solidFill>
                  <a:srgbClr val="133CCF"/>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87470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ntent 01">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ADC91A02-808B-89FD-B6E4-698BDBF5E6CA}"/>
              </a:ext>
            </a:extLst>
          </p:cNvPr>
          <p:cNvGraphicFramePr>
            <a:graphicFrameLocks noChangeAspect="1"/>
          </p:cNvGraphicFramePr>
          <p:nvPr userDrawn="1">
            <p:custDataLst>
              <p:tags r:id="rId1"/>
            </p:custDataLst>
            <p:extLst>
              <p:ext uri="{D42A27DB-BD31-4B8C-83A1-F6EECF244321}">
                <p14:modId xmlns:p14="http://schemas.microsoft.com/office/powerpoint/2010/main" val="95876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3" name="think-cell data - do not delete" hidden="1">
                        <a:extLst>
                          <a:ext uri="{FF2B5EF4-FFF2-40B4-BE49-F238E27FC236}">
                            <a16:creationId xmlns:a16="http://schemas.microsoft.com/office/drawing/2014/main" id="{ADC91A02-808B-89FD-B6E4-698BDBF5E6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object 2">
            <a:extLst>
              <a:ext uri="{FF2B5EF4-FFF2-40B4-BE49-F238E27FC236}">
                <a16:creationId xmlns:a16="http://schemas.microsoft.com/office/drawing/2014/main" id="{126C8BFA-8CF8-DD4D-A574-D97E28367D5B}"/>
              </a:ext>
            </a:extLst>
          </p:cNvPr>
          <p:cNvSpPr/>
          <p:nvPr userDrawn="1"/>
        </p:nvSpPr>
        <p:spPr>
          <a:xfrm>
            <a:off x="-9939" y="0"/>
            <a:ext cx="4082353"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3"/>
          </a:solidFill>
          <a:ln>
            <a:noFill/>
          </a:ln>
        </p:spPr>
        <p:txBody>
          <a:bodyPr wrap="square" lIns="0" tIns="0" rIns="0" bIns="0" rtlCol="0"/>
          <a:lstStyle/>
          <a:p>
            <a:pPr algn="ctr"/>
            <a:endParaRPr>
              <a:solidFill>
                <a:schemeClr val="accent3"/>
              </a:solidFill>
              <a:latin typeface="+mn-lt"/>
              <a:ea typeface="+mn-ea"/>
              <a:cs typeface="+mn-cs"/>
            </a:endParaRPr>
          </a:p>
        </p:txBody>
      </p:sp>
      <p:sp>
        <p:nvSpPr>
          <p:cNvPr id="15" name="object 2">
            <a:extLst>
              <a:ext uri="{FF2B5EF4-FFF2-40B4-BE49-F238E27FC236}">
                <a16:creationId xmlns:a16="http://schemas.microsoft.com/office/drawing/2014/main" id="{9BF6C6E8-B7A4-924C-9E6C-3C4CC13FD576}"/>
              </a:ext>
            </a:extLst>
          </p:cNvPr>
          <p:cNvSpPr/>
          <p:nvPr userDrawn="1"/>
        </p:nvSpPr>
        <p:spPr>
          <a:xfrm>
            <a:off x="8109647" y="0"/>
            <a:ext cx="4082353"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1"/>
          </a:solidFill>
        </p:spPr>
        <p:txBody>
          <a:bodyPr wrap="square" lIns="0" tIns="0" rIns="0" bIns="0" rtlCol="0"/>
          <a:lstStyle/>
          <a:p>
            <a:pPr algn="ctr"/>
            <a:endParaRPr>
              <a:solidFill>
                <a:schemeClr val="accent3"/>
              </a:solidFill>
              <a:latin typeface="+mn-lt"/>
              <a:ea typeface="+mn-ea"/>
              <a:cs typeface="+mn-cs"/>
            </a:endParaRPr>
          </a:p>
        </p:txBody>
      </p:sp>
      <p:sp>
        <p:nvSpPr>
          <p:cNvPr id="8" name="object 2">
            <a:extLst>
              <a:ext uri="{FF2B5EF4-FFF2-40B4-BE49-F238E27FC236}">
                <a16:creationId xmlns:a16="http://schemas.microsoft.com/office/drawing/2014/main" id="{F8D48D0B-58D4-874E-A7BB-FCE1D81EA330}"/>
              </a:ext>
            </a:extLst>
          </p:cNvPr>
          <p:cNvSpPr/>
          <p:nvPr userDrawn="1"/>
        </p:nvSpPr>
        <p:spPr>
          <a:xfrm>
            <a:off x="4027296" y="-7257"/>
            <a:ext cx="4082352"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2"/>
          </a:solidFill>
        </p:spPr>
        <p:txBody>
          <a:bodyPr wrap="square" lIns="0" tIns="0" rIns="0" bIns="0" rtlCol="0"/>
          <a:lstStyle/>
          <a:p>
            <a:pPr algn="ctr"/>
            <a:endParaRPr>
              <a:latin typeface="+mn-lt"/>
              <a:ea typeface="+mn-ea"/>
              <a:cs typeface="+mn-cs"/>
            </a:endParaRP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mn-lt"/>
                <a:ea typeface="+mn-ea"/>
                <a:cs typeface="+mn-cs"/>
              </a:rPr>
              <a:t> </a:t>
            </a:r>
            <a:endParaRPr lang="en-US">
              <a:latin typeface="+mn-lt"/>
              <a:ea typeface="+mn-ea"/>
              <a:cs typeface="+mn-cs"/>
            </a:endParaRPr>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mn-lt"/>
                <a:ea typeface="+mn-ea"/>
                <a:cs typeface="+mn-cs"/>
              </a:rPr>
              <a:t> </a:t>
            </a:r>
            <a:endParaRPr lang="en-US">
              <a:latin typeface="+mn-lt"/>
              <a:ea typeface="+mn-ea"/>
              <a:cs typeface="+mn-cs"/>
            </a:endParaRPr>
          </a:p>
        </p:txBody>
      </p:sp>
      <p:sp>
        <p:nvSpPr>
          <p:cNvPr id="2" name="Title 1">
            <a:extLst>
              <a:ext uri="{FF2B5EF4-FFF2-40B4-BE49-F238E27FC236}">
                <a16:creationId xmlns:a16="http://schemas.microsoft.com/office/drawing/2014/main" id="{D37E0320-F79C-3B46-BE17-03E29EFE2757}"/>
              </a:ext>
            </a:extLst>
          </p:cNvPr>
          <p:cNvSpPr>
            <a:spLocks noGrp="1"/>
          </p:cNvSpPr>
          <p:nvPr userDrawn="1">
            <p:ph type="title" hasCustomPrompt="1"/>
          </p:nvPr>
        </p:nvSpPr>
        <p:spPr>
          <a:xfrm>
            <a:off x="846328" y="670181"/>
            <a:ext cx="10515600" cy="883666"/>
          </a:xfrm>
        </p:spPr>
        <p:txBody>
          <a:bodyPr vert="horz">
            <a:noAutofit/>
          </a:bodyPr>
          <a:lstStyle>
            <a:lvl1pPr algn="ctr">
              <a:defRPr sz="4000" b="1">
                <a:solidFill>
                  <a:schemeClr val="bg1"/>
                </a:solidFill>
                <a:latin typeface="+mj-lt"/>
                <a:ea typeface="+mj-ea"/>
                <a:cs typeface="+mj-cs"/>
              </a:defRPr>
            </a:lvl1pPr>
          </a:lstStyle>
          <a:p>
            <a:r>
              <a:rPr lang="en-US"/>
              <a:t>Click to edit title</a:t>
            </a:r>
          </a:p>
        </p:txBody>
      </p:sp>
      <p:sp>
        <p:nvSpPr>
          <p:cNvPr id="33" name="Oval 32">
            <a:extLst>
              <a:ext uri="{FF2B5EF4-FFF2-40B4-BE49-F238E27FC236}">
                <a16:creationId xmlns:a16="http://schemas.microsoft.com/office/drawing/2014/main" id="{D21E6825-4ADB-4046-805F-23ADDDCA0E2B}"/>
              </a:ext>
            </a:extLst>
          </p:cNvPr>
          <p:cNvSpPr/>
          <p:nvPr userDrawn="1"/>
        </p:nvSpPr>
        <p:spPr>
          <a:xfrm>
            <a:off x="1751211" y="2204720"/>
            <a:ext cx="560051" cy="56005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n-lt"/>
              <a:ea typeface="+mn-ea"/>
              <a:cs typeface="+mn-cs"/>
            </a:endParaRPr>
          </a:p>
        </p:txBody>
      </p:sp>
      <p:cxnSp>
        <p:nvCxnSpPr>
          <p:cNvPr id="35" name="Straight Connector 34">
            <a:extLst>
              <a:ext uri="{FF2B5EF4-FFF2-40B4-BE49-F238E27FC236}">
                <a16:creationId xmlns:a16="http://schemas.microsoft.com/office/drawing/2014/main" id="{FE787688-92FC-034B-9EE0-7D88C5556919}"/>
              </a:ext>
            </a:extLst>
          </p:cNvPr>
          <p:cNvCxnSpPr/>
          <p:nvPr userDrawn="1"/>
        </p:nvCxnSpPr>
        <p:spPr>
          <a:xfrm>
            <a:off x="1276350" y="3095568"/>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30DEE947-0818-3245-A202-52BD0F5B8C08}"/>
              </a:ext>
            </a:extLst>
          </p:cNvPr>
          <p:cNvCxnSpPr/>
          <p:nvPr userDrawn="1"/>
        </p:nvCxnSpPr>
        <p:spPr>
          <a:xfrm>
            <a:off x="5318760" y="3095568"/>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E0E9C8AC-8AD7-3940-8EF1-2CA30256A3AE}"/>
              </a:ext>
            </a:extLst>
          </p:cNvPr>
          <p:cNvCxnSpPr>
            <a:cxnSpLocks/>
          </p:cNvCxnSpPr>
          <p:nvPr userDrawn="1"/>
        </p:nvCxnSpPr>
        <p:spPr>
          <a:xfrm>
            <a:off x="9373584" y="310046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sp>
        <p:nvSpPr>
          <p:cNvPr id="44" name="Text Placeholder 43">
            <a:extLst>
              <a:ext uri="{FF2B5EF4-FFF2-40B4-BE49-F238E27FC236}">
                <a16:creationId xmlns:a16="http://schemas.microsoft.com/office/drawing/2014/main" id="{F852D0E0-2963-6D41-B973-2FA101FBD6DF}"/>
              </a:ext>
            </a:extLst>
          </p:cNvPr>
          <p:cNvSpPr>
            <a:spLocks noGrp="1"/>
          </p:cNvSpPr>
          <p:nvPr>
            <p:ph type="body" sz="quarter" idx="18" hasCustomPrompt="1"/>
          </p:nvPr>
        </p:nvSpPr>
        <p:spPr>
          <a:xfrm>
            <a:off x="1887568" y="2348799"/>
            <a:ext cx="287338" cy="361950"/>
          </a:xfrm>
        </p:spPr>
        <p:txBody>
          <a:bodyPr anchor="ctr"/>
          <a:lstStyle>
            <a:lvl1pPr algn="ctr">
              <a:buNone/>
              <a:defRPr sz="2500" b="1" i="0">
                <a:solidFill>
                  <a:schemeClr val="bg1"/>
                </a:solidFill>
                <a:latin typeface="+mn-lt"/>
                <a:ea typeface="+mn-ea"/>
                <a:cs typeface="+mn-cs"/>
              </a:defRPr>
            </a:lvl1pPr>
          </a:lstStyle>
          <a:p>
            <a:pPr lvl="0"/>
            <a:r>
              <a:rPr lang="en-US"/>
              <a:t>1</a:t>
            </a:r>
          </a:p>
        </p:txBody>
      </p:sp>
      <p:sp>
        <p:nvSpPr>
          <p:cNvPr id="47" name="Oval 46">
            <a:extLst>
              <a:ext uri="{FF2B5EF4-FFF2-40B4-BE49-F238E27FC236}">
                <a16:creationId xmlns:a16="http://schemas.microsoft.com/office/drawing/2014/main" id="{3CEE7091-C6CC-7E4E-982C-70CAE3B3A885}"/>
              </a:ext>
            </a:extLst>
          </p:cNvPr>
          <p:cNvSpPr/>
          <p:nvPr userDrawn="1"/>
        </p:nvSpPr>
        <p:spPr>
          <a:xfrm>
            <a:off x="5788448" y="2204720"/>
            <a:ext cx="560051" cy="56005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n-lt"/>
              <a:ea typeface="+mn-ea"/>
              <a:cs typeface="+mn-cs"/>
            </a:endParaRPr>
          </a:p>
        </p:txBody>
      </p:sp>
      <p:sp>
        <p:nvSpPr>
          <p:cNvPr id="48" name="Text Placeholder 43">
            <a:extLst>
              <a:ext uri="{FF2B5EF4-FFF2-40B4-BE49-F238E27FC236}">
                <a16:creationId xmlns:a16="http://schemas.microsoft.com/office/drawing/2014/main" id="{6B80AD42-B019-154B-944C-39626896A795}"/>
              </a:ext>
            </a:extLst>
          </p:cNvPr>
          <p:cNvSpPr>
            <a:spLocks noGrp="1"/>
          </p:cNvSpPr>
          <p:nvPr>
            <p:ph type="body" sz="quarter" idx="20" hasCustomPrompt="1"/>
          </p:nvPr>
        </p:nvSpPr>
        <p:spPr>
          <a:xfrm>
            <a:off x="5934744" y="2348799"/>
            <a:ext cx="287338" cy="361950"/>
          </a:xfrm>
        </p:spPr>
        <p:txBody>
          <a:bodyPr anchor="ctr"/>
          <a:lstStyle>
            <a:lvl1pPr algn="ctr">
              <a:buNone/>
              <a:defRPr sz="2500" b="1" i="0">
                <a:solidFill>
                  <a:schemeClr val="bg1"/>
                </a:solidFill>
                <a:latin typeface="+mn-lt"/>
                <a:ea typeface="+mn-ea"/>
                <a:cs typeface="+mn-cs"/>
              </a:defRPr>
            </a:lvl1pPr>
          </a:lstStyle>
          <a:p>
            <a:pPr lvl="0"/>
            <a:r>
              <a:rPr lang="en-US"/>
              <a:t>2</a:t>
            </a:r>
          </a:p>
        </p:txBody>
      </p:sp>
      <p:sp>
        <p:nvSpPr>
          <p:cNvPr id="55" name="Oval 54">
            <a:extLst>
              <a:ext uri="{FF2B5EF4-FFF2-40B4-BE49-F238E27FC236}">
                <a16:creationId xmlns:a16="http://schemas.microsoft.com/office/drawing/2014/main" id="{06B24090-F46C-7846-857E-10992A03ED7E}"/>
              </a:ext>
            </a:extLst>
          </p:cNvPr>
          <p:cNvSpPr/>
          <p:nvPr userDrawn="1"/>
        </p:nvSpPr>
        <p:spPr>
          <a:xfrm>
            <a:off x="9870797" y="2204720"/>
            <a:ext cx="560051" cy="56005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n-lt"/>
              <a:ea typeface="+mn-ea"/>
              <a:cs typeface="+mn-cs"/>
            </a:endParaRPr>
          </a:p>
        </p:txBody>
      </p:sp>
      <p:sp>
        <p:nvSpPr>
          <p:cNvPr id="56" name="Text Placeholder 43">
            <a:extLst>
              <a:ext uri="{FF2B5EF4-FFF2-40B4-BE49-F238E27FC236}">
                <a16:creationId xmlns:a16="http://schemas.microsoft.com/office/drawing/2014/main" id="{518AB753-6316-3546-AF61-D6BFA84B9FD1}"/>
              </a:ext>
            </a:extLst>
          </p:cNvPr>
          <p:cNvSpPr>
            <a:spLocks noGrp="1"/>
          </p:cNvSpPr>
          <p:nvPr>
            <p:ph type="body" sz="quarter" idx="22" hasCustomPrompt="1"/>
          </p:nvPr>
        </p:nvSpPr>
        <p:spPr>
          <a:xfrm>
            <a:off x="10006933" y="2348799"/>
            <a:ext cx="287338" cy="361950"/>
          </a:xfrm>
        </p:spPr>
        <p:txBody>
          <a:bodyPr anchor="ctr"/>
          <a:lstStyle>
            <a:lvl1pPr algn="ctr">
              <a:buNone/>
              <a:defRPr sz="2500" b="1" i="0">
                <a:solidFill>
                  <a:schemeClr val="bg1"/>
                </a:solidFill>
                <a:latin typeface="+mn-lt"/>
                <a:ea typeface="+mn-ea"/>
                <a:cs typeface="+mn-cs"/>
              </a:defRPr>
            </a:lvl1pPr>
          </a:lstStyle>
          <a:p>
            <a:pPr lvl="0"/>
            <a:r>
              <a:rPr lang="en-US"/>
              <a:t>3</a:t>
            </a:r>
          </a:p>
        </p:txBody>
      </p:sp>
      <p:pic>
        <p:nvPicPr>
          <p:cNvPr id="4" name="Picture 3">
            <a:extLst>
              <a:ext uri="{FF2B5EF4-FFF2-40B4-BE49-F238E27FC236}">
                <a16:creationId xmlns:a16="http://schemas.microsoft.com/office/drawing/2014/main" id="{E2294555-99A8-879D-49E2-99108115AEA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rot="10800000">
            <a:off x="-7494" y="-11876"/>
            <a:ext cx="2054940" cy="1553847"/>
          </a:xfrm>
          <a:prstGeom prst="rect">
            <a:avLst/>
          </a:prstGeom>
        </p:spPr>
      </p:pic>
      <p:pic>
        <p:nvPicPr>
          <p:cNvPr id="5" name="Picture 4">
            <a:extLst>
              <a:ext uri="{FF2B5EF4-FFF2-40B4-BE49-F238E27FC236}">
                <a16:creationId xmlns:a16="http://schemas.microsoft.com/office/drawing/2014/main" id="{E5FF7442-BE5C-D7B8-B267-8F53CB2381E0}"/>
              </a:ext>
            </a:extLst>
          </p:cNvPr>
          <p:cNvPicPr>
            <a:picLocks noChangeAspect="1"/>
          </p:cNvPicPr>
          <p:nvPr userDrawn="1"/>
        </p:nvPicPr>
        <p:blipFill>
          <a:blip r:embed="rId6"/>
          <a:stretch>
            <a:fillRect/>
          </a:stretch>
        </p:blipFill>
        <p:spPr>
          <a:xfrm>
            <a:off x="242321" y="6631116"/>
            <a:ext cx="2324126" cy="107951"/>
          </a:xfrm>
          <a:prstGeom prst="rect">
            <a:avLst/>
          </a:prstGeom>
        </p:spPr>
      </p:pic>
      <p:sp>
        <p:nvSpPr>
          <p:cNvPr id="11" name="TextBox 10">
            <a:extLst>
              <a:ext uri="{FF2B5EF4-FFF2-40B4-BE49-F238E27FC236}">
                <a16:creationId xmlns:a16="http://schemas.microsoft.com/office/drawing/2014/main" id="{DF9FD74F-65E5-9316-4325-3DA28D03B47C}"/>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mn-lt"/>
                <a:ea typeface="+mn-ea"/>
                <a:cs typeface="+mn-cs"/>
              </a:rPr>
              <a:pPr algn="r"/>
              <a:t>‹#›</a:t>
            </a:fld>
            <a:endParaRPr lang="en-US" sz="700" spc="300">
              <a:solidFill>
                <a:schemeClr val="bg1"/>
              </a:solidFill>
              <a:latin typeface="+mn-lt"/>
              <a:ea typeface="+mn-ea"/>
              <a:cs typeface="+mn-cs"/>
            </a:endParaRPr>
          </a:p>
        </p:txBody>
      </p:sp>
      <p:sp>
        <p:nvSpPr>
          <p:cNvPr id="10" name="Rectangle 9">
            <a:extLst>
              <a:ext uri="{FF2B5EF4-FFF2-40B4-BE49-F238E27FC236}">
                <a16:creationId xmlns:a16="http://schemas.microsoft.com/office/drawing/2014/main" id="{EA8E94C0-7F9D-36C3-2EBF-12537FD2689B}"/>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603B0BA2-EEC0-17AE-FC03-5166353FD630}"/>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41CD4E3F-DE0B-AF32-F056-F4FA09B7AD71}"/>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02A8F429-92F5-A07E-BC0C-76EFA2B07060}"/>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D82595F3-2E9F-70D3-AD46-3AE7CC66C6D2}"/>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F4EADCB5-2876-5916-5039-46CEE7511922}"/>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8" name="Rectangle 17">
            <a:extLst>
              <a:ext uri="{FF2B5EF4-FFF2-40B4-BE49-F238E27FC236}">
                <a16:creationId xmlns:a16="http://schemas.microsoft.com/office/drawing/2014/main" id="{393CC370-572F-E3D7-A9A4-FAE0B5CC90FB}"/>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9" name="Rectangle 18">
            <a:extLst>
              <a:ext uri="{FF2B5EF4-FFF2-40B4-BE49-F238E27FC236}">
                <a16:creationId xmlns:a16="http://schemas.microsoft.com/office/drawing/2014/main" id="{E80836BA-77C6-6D77-44BB-EBBC32B3FB65}"/>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20" name="Rectangle 19">
            <a:extLst>
              <a:ext uri="{FF2B5EF4-FFF2-40B4-BE49-F238E27FC236}">
                <a16:creationId xmlns:a16="http://schemas.microsoft.com/office/drawing/2014/main" id="{9DF23685-D19F-264A-ED72-A0C8185BF44C}"/>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21" name="Rectangle 20">
            <a:extLst>
              <a:ext uri="{FF2B5EF4-FFF2-40B4-BE49-F238E27FC236}">
                <a16:creationId xmlns:a16="http://schemas.microsoft.com/office/drawing/2014/main" id="{3CB4F13E-405C-7762-19F4-63BF344B45F8}"/>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3" name="Text Placeholder 2">
            <a:extLst>
              <a:ext uri="{FF2B5EF4-FFF2-40B4-BE49-F238E27FC236}">
                <a16:creationId xmlns:a16="http://schemas.microsoft.com/office/drawing/2014/main" id="{BF6DBF42-11B8-7077-E948-39D5BF99852E}"/>
              </a:ext>
            </a:extLst>
          </p:cNvPr>
          <p:cNvSpPr>
            <a:spLocks noGrp="1"/>
          </p:cNvSpPr>
          <p:nvPr>
            <p:ph idx="1" hasCustomPrompt="1"/>
          </p:nvPr>
        </p:nvSpPr>
        <p:spPr>
          <a:xfrm>
            <a:off x="609233" y="3323967"/>
            <a:ext cx="3053962" cy="2995553"/>
          </a:xfrm>
          <a:prstGeom prst="rect">
            <a:avLst/>
          </a:prstGeom>
        </p:spPr>
        <p:txBody>
          <a:bodyPr vert="horz" lIns="91440" tIns="45720" rIns="91440" bIns="45720" rtlCol="0">
            <a:normAutofit/>
          </a:bodyPr>
          <a:lstStyle>
            <a:lvl1pPr>
              <a:defRPr sz="1400">
                <a:solidFill>
                  <a:schemeClr val="bg1"/>
                </a:solidFill>
                <a:latin typeface="+mn-lt"/>
                <a:ea typeface="+mn-ea"/>
                <a:cs typeface="+mn-cs"/>
              </a:defRPr>
            </a:lvl1pPr>
            <a:lvl2pPr marL="344488" indent="-173038">
              <a:buFont typeface="Arial" panose="020B0604020202020204" pitchFamily="34" charset="0"/>
              <a:buChar char="•"/>
              <a:tabLst/>
              <a:defRPr sz="1400">
                <a:solidFill>
                  <a:schemeClr val="bg1"/>
                </a:solidFill>
                <a:latin typeface="+mn-lt"/>
                <a:ea typeface="+mn-ea"/>
                <a:cs typeface="+mn-cs"/>
              </a:defRPr>
            </a:lvl2pPr>
            <a:lvl3pPr marL="517525" indent="-173038">
              <a:buFont typeface="Courier New" panose="02070309020205020404" pitchFamily="49" charset="0"/>
              <a:buChar char="o"/>
              <a:tabLst/>
              <a:defRPr sz="1400">
                <a:solidFill>
                  <a:schemeClr val="bg1"/>
                </a:solidFill>
                <a:latin typeface="+mn-lt"/>
                <a:ea typeface="+mn-ea"/>
                <a:cs typeface="+mn-cs"/>
              </a:defRPr>
            </a:lvl3pPr>
            <a:lvl4pPr marL="690563" indent="-173038">
              <a:buFont typeface="Wingdings" pitchFamily="2" charset="2"/>
              <a:buChar char="§"/>
              <a:tabLst/>
              <a:defRPr sz="1400">
                <a:solidFill>
                  <a:schemeClr val="bg1"/>
                </a:solidFill>
                <a:latin typeface="+mn-lt"/>
                <a:ea typeface="+mn-ea"/>
                <a:cs typeface="+mn-cs"/>
              </a:defRPr>
            </a:lvl4pPr>
            <a:lvl5pPr marL="923925" indent="-233363">
              <a:buSzPct val="70000"/>
              <a:buFont typeface="Wingdings" pitchFamily="2" charset="2"/>
              <a:buChar char="q"/>
              <a:tabLst/>
              <a:defRPr sz="1400">
                <a:solidFill>
                  <a:schemeClr val="bg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FD1B08E2-03D4-0AF5-7FC1-BBCE75C56EF7}"/>
              </a:ext>
            </a:extLst>
          </p:cNvPr>
          <p:cNvSpPr>
            <a:spLocks noGrp="1"/>
          </p:cNvSpPr>
          <p:nvPr>
            <p:ph idx="23" hasCustomPrompt="1"/>
          </p:nvPr>
        </p:nvSpPr>
        <p:spPr>
          <a:xfrm>
            <a:off x="4436516" y="3323967"/>
            <a:ext cx="3344091" cy="2995553"/>
          </a:xfrm>
          <a:prstGeom prst="rect">
            <a:avLst/>
          </a:prstGeom>
        </p:spPr>
        <p:txBody>
          <a:bodyPr vert="horz" lIns="91440" tIns="45720" rIns="91440" bIns="45720" rtlCol="0">
            <a:normAutofit/>
          </a:bodyPr>
          <a:lstStyle>
            <a:lvl1pPr>
              <a:defRPr sz="1400">
                <a:solidFill>
                  <a:schemeClr val="bg1"/>
                </a:solidFill>
                <a:latin typeface="+mn-lt"/>
                <a:ea typeface="+mn-ea"/>
                <a:cs typeface="+mn-cs"/>
              </a:defRPr>
            </a:lvl1pPr>
            <a:lvl2pPr marL="344488" indent="-173038">
              <a:buFont typeface="Arial" panose="020B0604020202020204" pitchFamily="34" charset="0"/>
              <a:buChar char="•"/>
              <a:tabLst/>
              <a:defRPr sz="1400">
                <a:solidFill>
                  <a:schemeClr val="bg1"/>
                </a:solidFill>
                <a:latin typeface="+mn-lt"/>
                <a:ea typeface="+mn-ea"/>
                <a:cs typeface="+mn-cs"/>
              </a:defRPr>
            </a:lvl2pPr>
            <a:lvl3pPr marL="517525" indent="-173038">
              <a:buFont typeface="Courier New" panose="02070309020205020404" pitchFamily="49" charset="0"/>
              <a:buChar char="o"/>
              <a:tabLst/>
              <a:defRPr sz="1400">
                <a:solidFill>
                  <a:schemeClr val="bg1"/>
                </a:solidFill>
                <a:latin typeface="+mn-lt"/>
                <a:ea typeface="+mn-ea"/>
                <a:cs typeface="+mn-cs"/>
              </a:defRPr>
            </a:lvl3pPr>
            <a:lvl4pPr marL="690563" indent="-173038">
              <a:buFont typeface="Wingdings" pitchFamily="2" charset="2"/>
              <a:buChar char="§"/>
              <a:tabLst/>
              <a:defRPr sz="1400">
                <a:solidFill>
                  <a:schemeClr val="bg1"/>
                </a:solidFill>
                <a:latin typeface="+mn-lt"/>
                <a:ea typeface="+mn-ea"/>
                <a:cs typeface="+mn-cs"/>
              </a:defRPr>
            </a:lvl4pPr>
            <a:lvl5pPr marL="923925" indent="-233363">
              <a:buSzPct val="70000"/>
              <a:buFont typeface="Wingdings" pitchFamily="2" charset="2"/>
              <a:buChar char="q"/>
              <a:tabLst/>
              <a:defRPr sz="1400">
                <a:solidFill>
                  <a:schemeClr val="bg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2">
            <a:extLst>
              <a:ext uri="{FF2B5EF4-FFF2-40B4-BE49-F238E27FC236}">
                <a16:creationId xmlns:a16="http://schemas.microsoft.com/office/drawing/2014/main" id="{8E64CF58-E155-6AB4-5CAC-E05430657080}"/>
              </a:ext>
            </a:extLst>
          </p:cNvPr>
          <p:cNvSpPr>
            <a:spLocks noGrp="1"/>
          </p:cNvSpPr>
          <p:nvPr>
            <p:ph idx="21" hasCustomPrompt="1"/>
          </p:nvPr>
        </p:nvSpPr>
        <p:spPr>
          <a:xfrm>
            <a:off x="8473749" y="3323967"/>
            <a:ext cx="3105859" cy="2995553"/>
          </a:xfrm>
          <a:prstGeom prst="rect">
            <a:avLst/>
          </a:prstGeom>
        </p:spPr>
        <p:txBody>
          <a:bodyPr vert="horz" lIns="91440" tIns="45720" rIns="91440" bIns="45720" rtlCol="0">
            <a:normAutofit/>
          </a:bodyPr>
          <a:lstStyle>
            <a:lvl1pPr>
              <a:defRPr sz="1400">
                <a:solidFill>
                  <a:schemeClr val="bg1"/>
                </a:solidFill>
                <a:latin typeface="+mn-lt"/>
                <a:ea typeface="+mn-ea"/>
                <a:cs typeface="+mn-cs"/>
              </a:defRPr>
            </a:lvl1pPr>
            <a:lvl2pPr marL="344488" indent="-173038">
              <a:buFont typeface="Arial" panose="020B0604020202020204" pitchFamily="34" charset="0"/>
              <a:buChar char="•"/>
              <a:tabLst/>
              <a:defRPr sz="1400">
                <a:solidFill>
                  <a:schemeClr val="bg1"/>
                </a:solidFill>
                <a:latin typeface="+mn-lt"/>
                <a:ea typeface="+mn-ea"/>
                <a:cs typeface="+mn-cs"/>
              </a:defRPr>
            </a:lvl2pPr>
            <a:lvl3pPr marL="517525" indent="-173038">
              <a:buFont typeface="Courier New" panose="02070309020205020404" pitchFamily="49" charset="0"/>
              <a:buChar char="o"/>
              <a:tabLst/>
              <a:defRPr sz="1400">
                <a:solidFill>
                  <a:schemeClr val="bg1"/>
                </a:solidFill>
                <a:latin typeface="+mn-lt"/>
                <a:ea typeface="+mn-ea"/>
                <a:cs typeface="+mn-cs"/>
              </a:defRPr>
            </a:lvl3pPr>
            <a:lvl4pPr marL="690563" indent="-173038">
              <a:buFont typeface="Wingdings" pitchFamily="2" charset="2"/>
              <a:buChar char="§"/>
              <a:tabLst/>
              <a:defRPr sz="1400">
                <a:solidFill>
                  <a:schemeClr val="bg1"/>
                </a:solidFill>
                <a:latin typeface="+mn-lt"/>
                <a:ea typeface="+mn-ea"/>
                <a:cs typeface="+mn-cs"/>
              </a:defRPr>
            </a:lvl4pPr>
            <a:lvl5pPr marL="923925" indent="-233363">
              <a:buSzPct val="70000"/>
              <a:buFont typeface="Wingdings" pitchFamily="2" charset="2"/>
              <a:buChar char="q"/>
              <a:tabLst/>
              <a:defRPr sz="1400">
                <a:solidFill>
                  <a:schemeClr val="bg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734136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61FC149C-A9AC-B564-1A98-A267BCCF0C9C}"/>
              </a:ext>
            </a:extLst>
          </p:cNvPr>
          <p:cNvGraphicFramePr>
            <a:graphicFrameLocks noChangeAspect="1"/>
          </p:cNvGraphicFramePr>
          <p:nvPr userDrawn="1">
            <p:custDataLst>
              <p:tags r:id="rId1"/>
            </p:custDataLst>
            <p:extLst>
              <p:ext uri="{D42A27DB-BD31-4B8C-83A1-F6EECF244321}">
                <p14:modId xmlns:p14="http://schemas.microsoft.com/office/powerpoint/2010/main" val="1773083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2" name="think-cell data - do not delete" hidden="1">
                        <a:extLst>
                          <a:ext uri="{FF2B5EF4-FFF2-40B4-BE49-F238E27FC236}">
                            <a16:creationId xmlns:a16="http://schemas.microsoft.com/office/drawing/2014/main" id="{61FC149C-A9AC-B564-1A98-A267BCCF0C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object 2">
            <a:extLst>
              <a:ext uri="{FF2B5EF4-FFF2-40B4-BE49-F238E27FC236}">
                <a16:creationId xmlns:a16="http://schemas.microsoft.com/office/drawing/2014/main" id="{AF9EEA82-5990-F847-8B4D-E725893922FD}"/>
              </a:ext>
            </a:extLst>
          </p:cNvPr>
          <p:cNvSpPr/>
          <p:nvPr userDrawn="1"/>
        </p:nvSpPr>
        <p:spPr>
          <a:xfrm>
            <a:off x="4798900" y="0"/>
            <a:ext cx="2494830"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1"/>
          </a:solidFill>
        </p:spPr>
        <p:txBody>
          <a:bodyPr wrap="square" lIns="0" tIns="0" rIns="0" bIns="0" rtlCol="0"/>
          <a:lstStyle/>
          <a:p>
            <a:pPr algn="ctr"/>
            <a:endParaRPr>
              <a:solidFill>
                <a:schemeClr val="accent3"/>
              </a:solidFill>
              <a:latin typeface="+mn-lt"/>
              <a:ea typeface="+mn-ea"/>
              <a:cs typeface="+mn-cs"/>
            </a:endParaRPr>
          </a:p>
        </p:txBody>
      </p:sp>
      <p:sp>
        <p:nvSpPr>
          <p:cNvPr id="52" name="object 2">
            <a:extLst>
              <a:ext uri="{FF2B5EF4-FFF2-40B4-BE49-F238E27FC236}">
                <a16:creationId xmlns:a16="http://schemas.microsoft.com/office/drawing/2014/main" id="{15E19BCA-6990-FF4D-BF2F-57B5929A6AB4}"/>
              </a:ext>
            </a:extLst>
          </p:cNvPr>
          <p:cNvSpPr/>
          <p:nvPr userDrawn="1"/>
        </p:nvSpPr>
        <p:spPr>
          <a:xfrm>
            <a:off x="7288100" y="0"/>
            <a:ext cx="2494830"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2"/>
          </a:solidFill>
        </p:spPr>
        <p:txBody>
          <a:bodyPr wrap="square" lIns="0" tIns="0" rIns="0" bIns="0" rtlCol="0"/>
          <a:lstStyle/>
          <a:p>
            <a:pPr algn="ctr"/>
            <a:endParaRPr>
              <a:solidFill>
                <a:schemeClr val="accent3"/>
              </a:solidFill>
              <a:latin typeface="+mn-lt"/>
              <a:ea typeface="+mn-ea"/>
              <a:cs typeface="+mn-cs"/>
            </a:endParaRPr>
          </a:p>
        </p:txBody>
      </p:sp>
      <p:sp>
        <p:nvSpPr>
          <p:cNvPr id="53" name="object 2">
            <a:extLst>
              <a:ext uri="{FF2B5EF4-FFF2-40B4-BE49-F238E27FC236}">
                <a16:creationId xmlns:a16="http://schemas.microsoft.com/office/drawing/2014/main" id="{39124CAF-DA73-9D41-A0F0-4525946FEACF}"/>
              </a:ext>
            </a:extLst>
          </p:cNvPr>
          <p:cNvSpPr/>
          <p:nvPr userDrawn="1"/>
        </p:nvSpPr>
        <p:spPr>
          <a:xfrm>
            <a:off x="9764600" y="0"/>
            <a:ext cx="2427400"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1"/>
          </a:solidFill>
        </p:spPr>
        <p:txBody>
          <a:bodyPr wrap="square" lIns="0" tIns="0" rIns="0" bIns="0" rtlCol="0"/>
          <a:lstStyle/>
          <a:p>
            <a:pPr algn="ctr"/>
            <a:endParaRPr>
              <a:solidFill>
                <a:schemeClr val="accent3"/>
              </a:solidFill>
              <a:latin typeface="+mn-lt"/>
              <a:ea typeface="+mn-ea"/>
              <a:cs typeface="+mn-cs"/>
            </a:endParaRPr>
          </a:p>
        </p:txBody>
      </p:sp>
      <p:sp>
        <p:nvSpPr>
          <p:cNvPr id="54" name="object 2">
            <a:extLst>
              <a:ext uri="{FF2B5EF4-FFF2-40B4-BE49-F238E27FC236}">
                <a16:creationId xmlns:a16="http://schemas.microsoft.com/office/drawing/2014/main" id="{4913DA6F-DBCF-0141-B7AD-DBA48355ABDB}"/>
              </a:ext>
            </a:extLst>
          </p:cNvPr>
          <p:cNvSpPr/>
          <p:nvPr userDrawn="1"/>
        </p:nvSpPr>
        <p:spPr>
          <a:xfrm>
            <a:off x="0" y="0"/>
            <a:ext cx="2328030"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1"/>
          </a:solidFill>
        </p:spPr>
        <p:txBody>
          <a:bodyPr wrap="square" lIns="0" tIns="0" rIns="0" bIns="0" rtlCol="0"/>
          <a:lstStyle/>
          <a:p>
            <a:pPr algn="ctr"/>
            <a:endParaRPr>
              <a:solidFill>
                <a:schemeClr val="accent3"/>
              </a:solidFill>
              <a:latin typeface="+mn-lt"/>
              <a:ea typeface="+mn-ea"/>
              <a:cs typeface="+mn-cs"/>
            </a:endParaRPr>
          </a:p>
        </p:txBody>
      </p:sp>
      <p:sp>
        <p:nvSpPr>
          <p:cNvPr id="58" name="object 2">
            <a:extLst>
              <a:ext uri="{FF2B5EF4-FFF2-40B4-BE49-F238E27FC236}">
                <a16:creationId xmlns:a16="http://schemas.microsoft.com/office/drawing/2014/main" id="{E00BF257-0D6D-8141-A7E4-83D491757120}"/>
              </a:ext>
            </a:extLst>
          </p:cNvPr>
          <p:cNvSpPr/>
          <p:nvPr userDrawn="1"/>
        </p:nvSpPr>
        <p:spPr>
          <a:xfrm>
            <a:off x="2309700" y="0"/>
            <a:ext cx="2494830"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2"/>
          </a:solidFill>
        </p:spPr>
        <p:txBody>
          <a:bodyPr wrap="square" lIns="0" tIns="0" rIns="0" bIns="0" rtlCol="0"/>
          <a:lstStyle/>
          <a:p>
            <a:pPr algn="ctr"/>
            <a:endParaRPr>
              <a:solidFill>
                <a:schemeClr val="accent3"/>
              </a:solidFill>
              <a:latin typeface="+mn-lt"/>
              <a:ea typeface="+mn-ea"/>
              <a:cs typeface="+mn-cs"/>
            </a:endParaRP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mn-lt"/>
                <a:ea typeface="+mn-ea"/>
                <a:cs typeface="+mn-cs"/>
              </a:rPr>
              <a:t> </a:t>
            </a:r>
            <a:endParaRPr lang="en-US">
              <a:latin typeface="+mn-lt"/>
              <a:ea typeface="+mn-ea"/>
              <a:cs typeface="+mn-cs"/>
            </a:endParaRPr>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mn-lt"/>
                <a:ea typeface="+mn-ea"/>
                <a:cs typeface="+mn-cs"/>
              </a:rPr>
              <a:t> </a:t>
            </a:r>
            <a:endParaRPr lang="en-US">
              <a:latin typeface="+mn-lt"/>
              <a:ea typeface="+mn-ea"/>
              <a:cs typeface="+mn-cs"/>
            </a:endParaRPr>
          </a:p>
        </p:txBody>
      </p:sp>
      <p:cxnSp>
        <p:nvCxnSpPr>
          <p:cNvPr id="64" name="Straight Connector 63">
            <a:extLst>
              <a:ext uri="{FF2B5EF4-FFF2-40B4-BE49-F238E27FC236}">
                <a16:creationId xmlns:a16="http://schemas.microsoft.com/office/drawing/2014/main" id="{DB31E5A3-020D-7E4F-A87B-5A45BF3BB613}"/>
              </a:ext>
            </a:extLst>
          </p:cNvPr>
          <p:cNvCxnSpPr>
            <a:cxnSpLocks/>
          </p:cNvCxnSpPr>
          <p:nvPr userDrawn="1"/>
        </p:nvCxnSpPr>
        <p:spPr>
          <a:xfrm>
            <a:off x="390593" y="216167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6D76473E-B6B4-964B-B0EC-72FDC57362A2}"/>
              </a:ext>
            </a:extLst>
          </p:cNvPr>
          <p:cNvCxnSpPr>
            <a:cxnSpLocks/>
          </p:cNvCxnSpPr>
          <p:nvPr userDrawn="1"/>
        </p:nvCxnSpPr>
        <p:spPr>
          <a:xfrm>
            <a:off x="2779874" y="216167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757E0E07-3915-B04B-8AFC-0F7840CB2A08}"/>
              </a:ext>
            </a:extLst>
          </p:cNvPr>
          <p:cNvCxnSpPr>
            <a:cxnSpLocks/>
          </p:cNvCxnSpPr>
          <p:nvPr userDrawn="1"/>
        </p:nvCxnSpPr>
        <p:spPr>
          <a:xfrm>
            <a:off x="5308117" y="216167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8B8BAAAA-1FC8-504B-8F64-E895C8F23CD0}"/>
              </a:ext>
            </a:extLst>
          </p:cNvPr>
          <p:cNvCxnSpPr>
            <a:cxnSpLocks/>
          </p:cNvCxnSpPr>
          <p:nvPr userDrawn="1"/>
        </p:nvCxnSpPr>
        <p:spPr>
          <a:xfrm>
            <a:off x="7755482" y="216167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12251DFE-9E58-6E44-BFE8-816852ACB3C8}"/>
              </a:ext>
            </a:extLst>
          </p:cNvPr>
          <p:cNvCxnSpPr>
            <a:cxnSpLocks/>
          </p:cNvCxnSpPr>
          <p:nvPr userDrawn="1"/>
        </p:nvCxnSpPr>
        <p:spPr>
          <a:xfrm>
            <a:off x="10243938" y="216167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sp>
        <p:nvSpPr>
          <p:cNvPr id="5" name="Text Placeholder 4">
            <a:extLst>
              <a:ext uri="{FF2B5EF4-FFF2-40B4-BE49-F238E27FC236}">
                <a16:creationId xmlns:a16="http://schemas.microsoft.com/office/drawing/2014/main" id="{C8ED9459-6CCA-8A4F-925C-EE8B944C3E81}"/>
              </a:ext>
            </a:extLst>
          </p:cNvPr>
          <p:cNvSpPr>
            <a:spLocks noGrp="1"/>
          </p:cNvSpPr>
          <p:nvPr userDrawn="1">
            <p:ph type="body" sz="quarter" idx="24" hasCustomPrompt="1"/>
          </p:nvPr>
        </p:nvSpPr>
        <p:spPr>
          <a:xfrm>
            <a:off x="242321" y="1490981"/>
            <a:ext cx="1851025" cy="517836"/>
          </a:xfrm>
        </p:spPr>
        <p:txBody>
          <a:bodyPr anchor="ctr">
            <a:noAutofit/>
          </a:bodyPr>
          <a:lstStyle>
            <a:lvl1pPr algn="ctr">
              <a:spcBef>
                <a:spcPts val="0"/>
              </a:spcBef>
              <a:buNone/>
              <a:defRPr sz="1800" b="1" i="0">
                <a:solidFill>
                  <a:schemeClr val="bg1"/>
                </a:solidFill>
                <a:latin typeface="+mn-lt"/>
                <a:ea typeface="+mn-ea"/>
                <a:cs typeface="+mn-cs"/>
              </a:defRPr>
            </a:lvl1pPr>
          </a:lstStyle>
          <a:p>
            <a:pPr lvl="0"/>
            <a:r>
              <a:rPr lang="en-US"/>
              <a:t>Headline</a:t>
            </a:r>
          </a:p>
        </p:txBody>
      </p:sp>
      <p:sp>
        <p:nvSpPr>
          <p:cNvPr id="74" name="Text Placeholder 4">
            <a:extLst>
              <a:ext uri="{FF2B5EF4-FFF2-40B4-BE49-F238E27FC236}">
                <a16:creationId xmlns:a16="http://schemas.microsoft.com/office/drawing/2014/main" id="{E4C36B83-1666-F442-9A9A-8D7FD9AB4538}"/>
              </a:ext>
            </a:extLst>
          </p:cNvPr>
          <p:cNvSpPr>
            <a:spLocks noGrp="1"/>
          </p:cNvSpPr>
          <p:nvPr userDrawn="1">
            <p:ph type="body" sz="quarter" idx="29" hasCustomPrompt="1"/>
          </p:nvPr>
        </p:nvSpPr>
        <p:spPr>
          <a:xfrm>
            <a:off x="2625972" y="1490981"/>
            <a:ext cx="1851025" cy="517836"/>
          </a:xfrm>
        </p:spPr>
        <p:txBody>
          <a:bodyPr anchor="ctr">
            <a:noAutofit/>
          </a:bodyPr>
          <a:lstStyle>
            <a:lvl1pPr algn="ctr">
              <a:spcBef>
                <a:spcPts val="0"/>
              </a:spcBef>
              <a:buNone/>
              <a:defRPr sz="1800" b="1" i="0">
                <a:solidFill>
                  <a:schemeClr val="bg1"/>
                </a:solidFill>
                <a:latin typeface="+mn-lt"/>
                <a:ea typeface="+mn-ea"/>
                <a:cs typeface="+mn-cs"/>
              </a:defRPr>
            </a:lvl1pPr>
          </a:lstStyle>
          <a:p>
            <a:pPr lvl="0"/>
            <a:r>
              <a:rPr lang="en-US"/>
              <a:t>Headline</a:t>
            </a:r>
          </a:p>
        </p:txBody>
      </p:sp>
      <p:sp>
        <p:nvSpPr>
          <p:cNvPr id="75" name="Text Placeholder 4">
            <a:extLst>
              <a:ext uri="{FF2B5EF4-FFF2-40B4-BE49-F238E27FC236}">
                <a16:creationId xmlns:a16="http://schemas.microsoft.com/office/drawing/2014/main" id="{593A6492-91F9-0E4D-ADAB-7C1320DB1904}"/>
              </a:ext>
            </a:extLst>
          </p:cNvPr>
          <p:cNvSpPr>
            <a:spLocks noGrp="1"/>
          </p:cNvSpPr>
          <p:nvPr userDrawn="1">
            <p:ph type="body" sz="quarter" idx="30" hasCustomPrompt="1"/>
          </p:nvPr>
        </p:nvSpPr>
        <p:spPr>
          <a:xfrm>
            <a:off x="5125568" y="1490981"/>
            <a:ext cx="1851025" cy="517836"/>
          </a:xfrm>
        </p:spPr>
        <p:txBody>
          <a:bodyPr anchor="ctr">
            <a:noAutofit/>
          </a:bodyPr>
          <a:lstStyle>
            <a:lvl1pPr algn="ctr">
              <a:spcBef>
                <a:spcPts val="0"/>
              </a:spcBef>
              <a:buNone/>
              <a:defRPr sz="1800" b="1" i="0">
                <a:solidFill>
                  <a:schemeClr val="bg1"/>
                </a:solidFill>
                <a:latin typeface="+mn-lt"/>
                <a:ea typeface="+mn-ea"/>
                <a:cs typeface="+mn-cs"/>
              </a:defRPr>
            </a:lvl1pPr>
          </a:lstStyle>
          <a:p>
            <a:pPr lvl="0"/>
            <a:r>
              <a:rPr lang="en-US"/>
              <a:t>Headline</a:t>
            </a:r>
          </a:p>
        </p:txBody>
      </p:sp>
      <p:sp>
        <p:nvSpPr>
          <p:cNvPr id="76" name="Text Placeholder 4">
            <a:extLst>
              <a:ext uri="{FF2B5EF4-FFF2-40B4-BE49-F238E27FC236}">
                <a16:creationId xmlns:a16="http://schemas.microsoft.com/office/drawing/2014/main" id="{9EBBEBFD-0D8B-494F-9069-98CE3ACC2FD0}"/>
              </a:ext>
            </a:extLst>
          </p:cNvPr>
          <p:cNvSpPr>
            <a:spLocks noGrp="1"/>
          </p:cNvSpPr>
          <p:nvPr userDrawn="1">
            <p:ph type="body" sz="quarter" idx="31" hasCustomPrompt="1"/>
          </p:nvPr>
        </p:nvSpPr>
        <p:spPr>
          <a:xfrm>
            <a:off x="7605292" y="1490981"/>
            <a:ext cx="1851025" cy="517836"/>
          </a:xfrm>
        </p:spPr>
        <p:txBody>
          <a:bodyPr anchor="ctr">
            <a:noAutofit/>
          </a:bodyPr>
          <a:lstStyle>
            <a:lvl1pPr algn="ctr">
              <a:spcBef>
                <a:spcPts val="0"/>
              </a:spcBef>
              <a:buNone/>
              <a:defRPr sz="1800" b="1" i="0">
                <a:solidFill>
                  <a:schemeClr val="bg1"/>
                </a:solidFill>
                <a:latin typeface="+mn-lt"/>
                <a:ea typeface="+mn-ea"/>
                <a:cs typeface="+mn-cs"/>
              </a:defRPr>
            </a:lvl1pPr>
          </a:lstStyle>
          <a:p>
            <a:pPr lvl="0"/>
            <a:r>
              <a:rPr lang="en-US"/>
              <a:t>Headline</a:t>
            </a:r>
          </a:p>
        </p:txBody>
      </p:sp>
      <p:sp>
        <p:nvSpPr>
          <p:cNvPr id="77" name="Text Placeholder 4">
            <a:extLst>
              <a:ext uri="{FF2B5EF4-FFF2-40B4-BE49-F238E27FC236}">
                <a16:creationId xmlns:a16="http://schemas.microsoft.com/office/drawing/2014/main" id="{3D48B941-4416-AE48-89CF-A7CE72EFEE49}"/>
              </a:ext>
            </a:extLst>
          </p:cNvPr>
          <p:cNvSpPr>
            <a:spLocks noGrp="1"/>
          </p:cNvSpPr>
          <p:nvPr userDrawn="1">
            <p:ph type="body" sz="quarter" idx="32" hasCustomPrompt="1"/>
          </p:nvPr>
        </p:nvSpPr>
        <p:spPr>
          <a:xfrm>
            <a:off x="10052787" y="1500435"/>
            <a:ext cx="1851025" cy="517836"/>
          </a:xfrm>
        </p:spPr>
        <p:txBody>
          <a:bodyPr anchor="ctr">
            <a:noAutofit/>
          </a:bodyPr>
          <a:lstStyle>
            <a:lvl1pPr algn="ctr">
              <a:spcBef>
                <a:spcPts val="0"/>
              </a:spcBef>
              <a:buNone/>
              <a:defRPr sz="1800" b="1" i="0">
                <a:solidFill>
                  <a:schemeClr val="bg1"/>
                </a:solidFill>
                <a:latin typeface="+mn-lt"/>
                <a:ea typeface="+mn-ea"/>
                <a:cs typeface="+mn-cs"/>
              </a:defRPr>
            </a:lvl1pPr>
          </a:lstStyle>
          <a:p>
            <a:pPr lvl="0"/>
            <a:r>
              <a:rPr lang="en-US"/>
              <a:t>Headline</a:t>
            </a:r>
          </a:p>
        </p:txBody>
      </p:sp>
      <p:sp>
        <p:nvSpPr>
          <p:cNvPr id="37" name="object 2">
            <a:extLst>
              <a:ext uri="{FF2B5EF4-FFF2-40B4-BE49-F238E27FC236}">
                <a16:creationId xmlns:a16="http://schemas.microsoft.com/office/drawing/2014/main" id="{8B9E3A6C-84CD-5A4B-B2CE-DB99E2473091}"/>
              </a:ext>
            </a:extLst>
          </p:cNvPr>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3"/>
          </a:solidFill>
        </p:spPr>
        <p:txBody>
          <a:bodyPr wrap="square" lIns="0" tIns="0" rIns="0" bIns="0" rtlCol="0"/>
          <a:lstStyle/>
          <a:p>
            <a:endParaRPr>
              <a:latin typeface="+mn-lt"/>
              <a:ea typeface="+mn-ea"/>
              <a:cs typeface="+mn-cs"/>
            </a:endParaRPr>
          </a:p>
        </p:txBody>
      </p:sp>
      <p:sp>
        <p:nvSpPr>
          <p:cNvPr id="43" name="Title 23">
            <a:extLst>
              <a:ext uri="{FF2B5EF4-FFF2-40B4-BE49-F238E27FC236}">
                <a16:creationId xmlns:a16="http://schemas.microsoft.com/office/drawing/2014/main" id="{78D9CE9E-B3F6-B24C-9944-5A28362BC805}"/>
              </a:ext>
            </a:extLst>
          </p:cNvPr>
          <p:cNvSpPr>
            <a:spLocks noGrp="1"/>
          </p:cNvSpPr>
          <p:nvPr>
            <p:ph type="title"/>
          </p:nvPr>
        </p:nvSpPr>
        <p:spPr>
          <a:xfrm>
            <a:off x="609232" y="168310"/>
            <a:ext cx="10973168" cy="623222"/>
          </a:xfrm>
        </p:spPr>
        <p:txBody>
          <a:bodyPr vert="horz">
            <a:noAutofit/>
          </a:bodyPr>
          <a:lstStyle>
            <a:lvl1pPr>
              <a:lnSpc>
                <a:spcPct val="100000"/>
              </a:lnSpc>
              <a:defRPr lang="en-US" sz="3200" b="1" i="0" kern="1200" spc="-20" dirty="0">
                <a:solidFill>
                  <a:srgbClr val="FFFFFF"/>
                </a:solidFill>
                <a:latin typeface="+mj-lt"/>
                <a:ea typeface="+mj-ea"/>
                <a:cs typeface="+mj-cs"/>
              </a:defRPr>
            </a:lvl1pPr>
          </a:lstStyle>
          <a:p>
            <a:r>
              <a:rPr lang="en-US"/>
              <a:t>Click to edit Master title style</a:t>
            </a:r>
          </a:p>
        </p:txBody>
      </p:sp>
      <p:pic>
        <p:nvPicPr>
          <p:cNvPr id="2" name="Picture 1">
            <a:extLst>
              <a:ext uri="{FF2B5EF4-FFF2-40B4-BE49-F238E27FC236}">
                <a16:creationId xmlns:a16="http://schemas.microsoft.com/office/drawing/2014/main" id="{17DF4CF9-0720-C7A8-7857-656B6E6A8B26}"/>
              </a:ext>
            </a:extLst>
          </p:cNvPr>
          <p:cNvPicPr>
            <a:picLocks noChangeAspect="1"/>
          </p:cNvPicPr>
          <p:nvPr userDrawn="1"/>
        </p:nvPicPr>
        <p:blipFill>
          <a:blip r:embed="rId5"/>
          <a:stretch>
            <a:fillRect/>
          </a:stretch>
        </p:blipFill>
        <p:spPr>
          <a:xfrm>
            <a:off x="242321" y="6631116"/>
            <a:ext cx="2324126" cy="107951"/>
          </a:xfrm>
          <a:prstGeom prst="rect">
            <a:avLst/>
          </a:prstGeom>
        </p:spPr>
      </p:pic>
      <p:sp>
        <p:nvSpPr>
          <p:cNvPr id="4" name="TextBox 3">
            <a:extLst>
              <a:ext uri="{FF2B5EF4-FFF2-40B4-BE49-F238E27FC236}">
                <a16:creationId xmlns:a16="http://schemas.microsoft.com/office/drawing/2014/main" id="{E880969C-69F0-E43E-58BD-76BD54FA5FA0}"/>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mn-lt"/>
                <a:ea typeface="+mn-ea"/>
                <a:cs typeface="+mn-cs"/>
              </a:rPr>
              <a:pPr algn="r"/>
              <a:t>‹#›</a:t>
            </a:fld>
            <a:endParaRPr lang="en-US" sz="700" spc="300">
              <a:solidFill>
                <a:schemeClr val="bg1"/>
              </a:solidFill>
              <a:latin typeface="+mn-lt"/>
              <a:ea typeface="+mn-ea"/>
              <a:cs typeface="+mn-cs"/>
            </a:endParaRPr>
          </a:p>
        </p:txBody>
      </p:sp>
      <p:sp>
        <p:nvSpPr>
          <p:cNvPr id="11" name="Rectangle 10">
            <a:extLst>
              <a:ext uri="{FF2B5EF4-FFF2-40B4-BE49-F238E27FC236}">
                <a16:creationId xmlns:a16="http://schemas.microsoft.com/office/drawing/2014/main" id="{ABECFEB5-C0BF-6105-BCD2-40F24546456D}"/>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A36158C1-BA68-2166-F026-431C5AE0C82F}"/>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6BAEC3CA-0185-E21E-6609-9D555D68F95A}"/>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B87C3BB0-88A2-7968-068B-B0969F2F2FF4}"/>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A7821DFD-57A1-8FB9-B369-197075341B9A}"/>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A38AE2C1-E623-5EE6-0414-416EA412B471}"/>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DE70D2EB-7D43-972B-E169-4051CC56A666}"/>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8" name="Rectangle 17">
            <a:extLst>
              <a:ext uri="{FF2B5EF4-FFF2-40B4-BE49-F238E27FC236}">
                <a16:creationId xmlns:a16="http://schemas.microsoft.com/office/drawing/2014/main" id="{4964BDDF-D339-C22A-4529-2505C73A37E9}"/>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9" name="Rectangle 18">
            <a:extLst>
              <a:ext uri="{FF2B5EF4-FFF2-40B4-BE49-F238E27FC236}">
                <a16:creationId xmlns:a16="http://schemas.microsoft.com/office/drawing/2014/main" id="{66F5DA5C-04A8-3FF4-DAB9-257C1EB5F185}"/>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20" name="Rectangle 19">
            <a:extLst>
              <a:ext uri="{FF2B5EF4-FFF2-40B4-BE49-F238E27FC236}">
                <a16:creationId xmlns:a16="http://schemas.microsoft.com/office/drawing/2014/main" id="{F82CB375-78D0-8C24-F562-69DD8C6FBBF1}"/>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3" name="Text Placeholder 2">
            <a:extLst>
              <a:ext uri="{FF2B5EF4-FFF2-40B4-BE49-F238E27FC236}">
                <a16:creationId xmlns:a16="http://schemas.microsoft.com/office/drawing/2014/main" id="{D85E6836-78BB-6962-915B-4707CF38BA6C}"/>
              </a:ext>
            </a:extLst>
          </p:cNvPr>
          <p:cNvSpPr>
            <a:spLocks noGrp="1"/>
          </p:cNvSpPr>
          <p:nvPr>
            <p:ph idx="1" hasCustomPrompt="1"/>
          </p:nvPr>
        </p:nvSpPr>
        <p:spPr>
          <a:xfrm>
            <a:off x="242321" y="2352582"/>
            <a:ext cx="1851025" cy="3966938"/>
          </a:xfrm>
          <a:prstGeom prst="rect">
            <a:avLst/>
          </a:prstGeom>
        </p:spPr>
        <p:txBody>
          <a:bodyPr vert="horz" lIns="91440" tIns="45720" rIns="91440" bIns="45720" rtlCol="0">
            <a:normAutofit/>
          </a:bodyPr>
          <a:lstStyle>
            <a:lvl1pPr>
              <a:defRPr sz="1200">
                <a:solidFill>
                  <a:schemeClr val="bg1"/>
                </a:solidFill>
                <a:latin typeface="+mn-lt"/>
                <a:ea typeface="+mn-ea"/>
                <a:cs typeface="+mn-cs"/>
              </a:defRPr>
            </a:lvl1pPr>
            <a:lvl2pPr marL="344488" indent="-173038">
              <a:buFont typeface="Arial" panose="020B0604020202020204" pitchFamily="34" charset="0"/>
              <a:buChar char="•"/>
              <a:tabLst/>
              <a:defRPr sz="1200">
                <a:solidFill>
                  <a:schemeClr val="bg1"/>
                </a:solidFill>
                <a:latin typeface="+mn-lt"/>
                <a:ea typeface="+mn-ea"/>
                <a:cs typeface="+mn-cs"/>
              </a:defRPr>
            </a:lvl2pPr>
            <a:lvl3pPr marL="517525" indent="-173038">
              <a:buFont typeface="Courier New" panose="02070309020205020404" pitchFamily="49" charset="0"/>
              <a:buChar char="o"/>
              <a:tabLst/>
              <a:defRPr sz="1200">
                <a:solidFill>
                  <a:schemeClr val="bg1"/>
                </a:solidFill>
                <a:latin typeface="+mn-lt"/>
                <a:ea typeface="+mn-ea"/>
                <a:cs typeface="+mn-cs"/>
              </a:defRPr>
            </a:lvl3pPr>
            <a:lvl4pPr marL="690563" indent="-173038">
              <a:buFont typeface="Wingdings" pitchFamily="2" charset="2"/>
              <a:buChar char="§"/>
              <a:tabLst/>
              <a:defRPr sz="1200">
                <a:solidFill>
                  <a:schemeClr val="bg1"/>
                </a:solidFill>
                <a:latin typeface="+mn-lt"/>
                <a:ea typeface="+mn-ea"/>
                <a:cs typeface="+mn-cs"/>
              </a:defRPr>
            </a:lvl4pPr>
            <a:lvl5pPr marL="923925" indent="-233363">
              <a:buSzPct val="70000"/>
              <a:buFont typeface="Wingdings" pitchFamily="2" charset="2"/>
              <a:buChar char="q"/>
              <a:tabLst/>
              <a:defRPr sz="1200">
                <a:solidFill>
                  <a:schemeClr val="bg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2B19E118-8D46-AE57-D88A-ECEDCE03B101}"/>
              </a:ext>
            </a:extLst>
          </p:cNvPr>
          <p:cNvSpPr>
            <a:spLocks noGrp="1"/>
          </p:cNvSpPr>
          <p:nvPr>
            <p:ph idx="33" hasCustomPrompt="1"/>
          </p:nvPr>
        </p:nvSpPr>
        <p:spPr>
          <a:xfrm>
            <a:off x="2619761" y="2352582"/>
            <a:ext cx="1851025" cy="3966938"/>
          </a:xfrm>
          <a:prstGeom prst="rect">
            <a:avLst/>
          </a:prstGeom>
        </p:spPr>
        <p:txBody>
          <a:bodyPr vert="horz" lIns="91440" tIns="45720" rIns="91440" bIns="45720" rtlCol="0">
            <a:normAutofit/>
          </a:bodyPr>
          <a:lstStyle>
            <a:lvl1pPr>
              <a:defRPr sz="1200">
                <a:solidFill>
                  <a:schemeClr val="bg1"/>
                </a:solidFill>
                <a:latin typeface="+mn-lt"/>
                <a:ea typeface="+mn-ea"/>
                <a:cs typeface="+mn-cs"/>
              </a:defRPr>
            </a:lvl1pPr>
            <a:lvl2pPr marL="344488" indent="-173038">
              <a:buFont typeface="Arial" panose="020B0604020202020204" pitchFamily="34" charset="0"/>
              <a:buChar char="•"/>
              <a:tabLst/>
              <a:defRPr sz="1200">
                <a:solidFill>
                  <a:schemeClr val="bg1"/>
                </a:solidFill>
                <a:latin typeface="+mn-lt"/>
                <a:ea typeface="+mn-ea"/>
                <a:cs typeface="+mn-cs"/>
              </a:defRPr>
            </a:lvl2pPr>
            <a:lvl3pPr marL="517525" indent="-173038">
              <a:buFont typeface="Courier New" panose="02070309020205020404" pitchFamily="49" charset="0"/>
              <a:buChar char="o"/>
              <a:tabLst/>
              <a:defRPr sz="1200">
                <a:solidFill>
                  <a:schemeClr val="bg1"/>
                </a:solidFill>
                <a:latin typeface="+mn-lt"/>
                <a:ea typeface="+mn-ea"/>
                <a:cs typeface="+mn-cs"/>
              </a:defRPr>
            </a:lvl3pPr>
            <a:lvl4pPr marL="690563" indent="-173038">
              <a:buFont typeface="Wingdings" pitchFamily="2" charset="2"/>
              <a:buChar char="§"/>
              <a:tabLst/>
              <a:defRPr sz="1200">
                <a:solidFill>
                  <a:schemeClr val="bg1"/>
                </a:solidFill>
                <a:latin typeface="+mn-lt"/>
                <a:ea typeface="+mn-ea"/>
                <a:cs typeface="+mn-cs"/>
              </a:defRPr>
            </a:lvl4pPr>
            <a:lvl5pPr marL="923925" indent="-233363">
              <a:buSzPct val="70000"/>
              <a:buFont typeface="Wingdings" pitchFamily="2" charset="2"/>
              <a:buChar char="q"/>
              <a:tabLst/>
              <a:defRPr sz="1200">
                <a:solidFill>
                  <a:schemeClr val="bg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8B5E2367-2020-3C66-2C7E-5CE83FBE2AEB}"/>
              </a:ext>
            </a:extLst>
          </p:cNvPr>
          <p:cNvSpPr>
            <a:spLocks noGrp="1"/>
          </p:cNvSpPr>
          <p:nvPr>
            <p:ph idx="34" hasCustomPrompt="1"/>
          </p:nvPr>
        </p:nvSpPr>
        <p:spPr>
          <a:xfrm>
            <a:off x="5108961" y="2352582"/>
            <a:ext cx="1851025" cy="3966938"/>
          </a:xfrm>
          <a:prstGeom prst="rect">
            <a:avLst/>
          </a:prstGeom>
        </p:spPr>
        <p:txBody>
          <a:bodyPr vert="horz" lIns="91440" tIns="45720" rIns="91440" bIns="45720" rtlCol="0">
            <a:normAutofit/>
          </a:bodyPr>
          <a:lstStyle>
            <a:lvl1pPr>
              <a:defRPr sz="1200">
                <a:solidFill>
                  <a:schemeClr val="bg1"/>
                </a:solidFill>
                <a:latin typeface="+mn-lt"/>
                <a:ea typeface="+mn-ea"/>
                <a:cs typeface="+mn-cs"/>
              </a:defRPr>
            </a:lvl1pPr>
            <a:lvl2pPr marL="344488" indent="-173038">
              <a:buFont typeface="Arial" panose="020B0604020202020204" pitchFamily="34" charset="0"/>
              <a:buChar char="•"/>
              <a:tabLst/>
              <a:defRPr sz="1200">
                <a:solidFill>
                  <a:schemeClr val="bg1"/>
                </a:solidFill>
                <a:latin typeface="+mn-lt"/>
                <a:ea typeface="+mn-ea"/>
                <a:cs typeface="+mn-cs"/>
              </a:defRPr>
            </a:lvl2pPr>
            <a:lvl3pPr marL="517525" indent="-173038">
              <a:buFont typeface="Courier New" panose="02070309020205020404" pitchFamily="49" charset="0"/>
              <a:buChar char="o"/>
              <a:tabLst/>
              <a:defRPr sz="1200">
                <a:solidFill>
                  <a:schemeClr val="bg1"/>
                </a:solidFill>
                <a:latin typeface="+mn-lt"/>
                <a:ea typeface="+mn-ea"/>
                <a:cs typeface="+mn-cs"/>
              </a:defRPr>
            </a:lvl3pPr>
            <a:lvl4pPr marL="690563" indent="-173038">
              <a:buFont typeface="Wingdings" pitchFamily="2" charset="2"/>
              <a:buChar char="§"/>
              <a:tabLst/>
              <a:defRPr sz="1200">
                <a:solidFill>
                  <a:schemeClr val="bg1"/>
                </a:solidFill>
                <a:latin typeface="+mn-lt"/>
                <a:ea typeface="+mn-ea"/>
                <a:cs typeface="+mn-cs"/>
              </a:defRPr>
            </a:lvl4pPr>
            <a:lvl5pPr marL="923925" indent="-233363">
              <a:buSzPct val="70000"/>
              <a:buFont typeface="Wingdings" pitchFamily="2" charset="2"/>
              <a:buChar char="q"/>
              <a:tabLst/>
              <a:defRPr sz="1200">
                <a:solidFill>
                  <a:schemeClr val="bg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a:extLst>
              <a:ext uri="{FF2B5EF4-FFF2-40B4-BE49-F238E27FC236}">
                <a16:creationId xmlns:a16="http://schemas.microsoft.com/office/drawing/2014/main" id="{49A0E608-FD0E-9A0F-CABF-7E3E6FC202C5}"/>
              </a:ext>
            </a:extLst>
          </p:cNvPr>
          <p:cNvSpPr>
            <a:spLocks noGrp="1"/>
          </p:cNvSpPr>
          <p:nvPr>
            <p:ph idx="35" hasCustomPrompt="1"/>
          </p:nvPr>
        </p:nvSpPr>
        <p:spPr>
          <a:xfrm>
            <a:off x="7577841" y="2352582"/>
            <a:ext cx="1851025" cy="3966938"/>
          </a:xfrm>
          <a:prstGeom prst="rect">
            <a:avLst/>
          </a:prstGeom>
        </p:spPr>
        <p:txBody>
          <a:bodyPr vert="horz" lIns="91440" tIns="45720" rIns="91440" bIns="45720" rtlCol="0">
            <a:normAutofit/>
          </a:bodyPr>
          <a:lstStyle>
            <a:lvl1pPr>
              <a:defRPr sz="1200">
                <a:solidFill>
                  <a:schemeClr val="bg1"/>
                </a:solidFill>
                <a:latin typeface="+mn-lt"/>
                <a:ea typeface="+mn-ea"/>
                <a:cs typeface="+mn-cs"/>
              </a:defRPr>
            </a:lvl1pPr>
            <a:lvl2pPr marL="344488" indent="-173038">
              <a:buFont typeface="Arial" panose="020B0604020202020204" pitchFamily="34" charset="0"/>
              <a:buChar char="•"/>
              <a:tabLst/>
              <a:defRPr sz="1200">
                <a:solidFill>
                  <a:schemeClr val="bg1"/>
                </a:solidFill>
                <a:latin typeface="+mn-lt"/>
                <a:ea typeface="+mn-ea"/>
                <a:cs typeface="+mn-cs"/>
              </a:defRPr>
            </a:lvl2pPr>
            <a:lvl3pPr marL="517525" indent="-173038">
              <a:buFont typeface="Courier New" panose="02070309020205020404" pitchFamily="49" charset="0"/>
              <a:buChar char="o"/>
              <a:tabLst/>
              <a:defRPr sz="1200">
                <a:solidFill>
                  <a:schemeClr val="bg1"/>
                </a:solidFill>
                <a:latin typeface="+mn-lt"/>
                <a:ea typeface="+mn-ea"/>
                <a:cs typeface="+mn-cs"/>
              </a:defRPr>
            </a:lvl3pPr>
            <a:lvl4pPr marL="690563" indent="-173038">
              <a:buFont typeface="Wingdings" pitchFamily="2" charset="2"/>
              <a:buChar char="§"/>
              <a:tabLst/>
              <a:defRPr sz="1200">
                <a:solidFill>
                  <a:schemeClr val="bg1"/>
                </a:solidFill>
                <a:latin typeface="+mn-lt"/>
                <a:ea typeface="+mn-ea"/>
                <a:cs typeface="+mn-cs"/>
              </a:defRPr>
            </a:lvl4pPr>
            <a:lvl5pPr marL="923925" indent="-233363">
              <a:buSzPct val="70000"/>
              <a:buFont typeface="Wingdings" pitchFamily="2" charset="2"/>
              <a:buChar char="q"/>
              <a:tabLst/>
              <a:defRPr sz="1200">
                <a:solidFill>
                  <a:schemeClr val="bg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026ACF40-11A0-189B-6DF9-36CBE5E16A35}"/>
              </a:ext>
            </a:extLst>
          </p:cNvPr>
          <p:cNvSpPr>
            <a:spLocks noGrp="1"/>
          </p:cNvSpPr>
          <p:nvPr>
            <p:ph idx="36" hasCustomPrompt="1"/>
          </p:nvPr>
        </p:nvSpPr>
        <p:spPr>
          <a:xfrm>
            <a:off x="10036561" y="2352582"/>
            <a:ext cx="1851025" cy="3966938"/>
          </a:xfrm>
          <a:prstGeom prst="rect">
            <a:avLst/>
          </a:prstGeom>
        </p:spPr>
        <p:txBody>
          <a:bodyPr vert="horz" lIns="91440" tIns="45720" rIns="91440" bIns="45720" rtlCol="0">
            <a:normAutofit/>
          </a:bodyPr>
          <a:lstStyle>
            <a:lvl1pPr>
              <a:defRPr sz="1200">
                <a:solidFill>
                  <a:schemeClr val="bg1"/>
                </a:solidFill>
                <a:latin typeface="+mn-lt"/>
                <a:ea typeface="+mn-ea"/>
                <a:cs typeface="+mn-cs"/>
              </a:defRPr>
            </a:lvl1pPr>
            <a:lvl2pPr marL="344488" indent="-173038">
              <a:buFont typeface="Arial" panose="020B0604020202020204" pitchFamily="34" charset="0"/>
              <a:buChar char="•"/>
              <a:tabLst/>
              <a:defRPr sz="1200">
                <a:solidFill>
                  <a:schemeClr val="bg1"/>
                </a:solidFill>
                <a:latin typeface="+mn-lt"/>
                <a:ea typeface="+mn-ea"/>
                <a:cs typeface="+mn-cs"/>
              </a:defRPr>
            </a:lvl2pPr>
            <a:lvl3pPr marL="517525" indent="-173038">
              <a:buFont typeface="Courier New" panose="02070309020205020404" pitchFamily="49" charset="0"/>
              <a:buChar char="o"/>
              <a:tabLst/>
              <a:defRPr sz="1200">
                <a:solidFill>
                  <a:schemeClr val="bg1"/>
                </a:solidFill>
                <a:latin typeface="+mn-lt"/>
                <a:ea typeface="+mn-ea"/>
                <a:cs typeface="+mn-cs"/>
              </a:defRPr>
            </a:lvl3pPr>
            <a:lvl4pPr marL="690563" indent="-173038">
              <a:buFont typeface="Wingdings" pitchFamily="2" charset="2"/>
              <a:buChar char="§"/>
              <a:tabLst/>
              <a:defRPr sz="1200">
                <a:solidFill>
                  <a:schemeClr val="bg1"/>
                </a:solidFill>
                <a:latin typeface="+mn-lt"/>
                <a:ea typeface="+mn-ea"/>
                <a:cs typeface="+mn-cs"/>
              </a:defRPr>
            </a:lvl4pPr>
            <a:lvl5pPr marL="923925" indent="-233363">
              <a:buSzPct val="70000"/>
              <a:buFont typeface="Wingdings" pitchFamily="2" charset="2"/>
              <a:buChar char="q"/>
              <a:tabLst/>
              <a:defRPr sz="1200">
                <a:solidFill>
                  <a:schemeClr val="bg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37157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attern_Text_Image1">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B3DA0B88-4CCF-EB89-DBC5-0146B79BFD3A}"/>
              </a:ext>
            </a:extLst>
          </p:cNvPr>
          <p:cNvGraphicFramePr>
            <a:graphicFrameLocks noChangeAspect="1"/>
          </p:cNvGraphicFramePr>
          <p:nvPr userDrawn="1">
            <p:custDataLst>
              <p:tags r:id="rId1"/>
            </p:custDataLst>
            <p:extLst>
              <p:ext uri="{D42A27DB-BD31-4B8C-83A1-F6EECF244321}">
                <p14:modId xmlns:p14="http://schemas.microsoft.com/office/powerpoint/2010/main" val="3587504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8" name="think-cell data - do not delete" hidden="1">
                        <a:extLst>
                          <a:ext uri="{FF2B5EF4-FFF2-40B4-BE49-F238E27FC236}">
                            <a16:creationId xmlns:a16="http://schemas.microsoft.com/office/drawing/2014/main" id="{B3DA0B88-4CCF-EB89-DBC5-0146B79BFD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Picture Placeholder 5" descr="A picture containing grass, outdoor, person&#10;&#10;Description automatically generated">
            <a:extLst>
              <a:ext uri="{FF2B5EF4-FFF2-40B4-BE49-F238E27FC236}">
                <a16:creationId xmlns:a16="http://schemas.microsoft.com/office/drawing/2014/main" id="{C18EF10D-95A8-E306-5175-31927E738CFF}"/>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a:xfrm>
            <a:off x="6095294" y="0"/>
            <a:ext cx="6096000" cy="6858000"/>
          </a:xfrm>
          <a:prstGeom prst="rect">
            <a:avLst/>
          </a:prstGeom>
        </p:spPr>
      </p:pic>
      <p:pic>
        <p:nvPicPr>
          <p:cNvPr id="2" name="Picture 1">
            <a:extLst>
              <a:ext uri="{FF2B5EF4-FFF2-40B4-BE49-F238E27FC236}">
                <a16:creationId xmlns:a16="http://schemas.microsoft.com/office/drawing/2014/main" id="{2FBD1E44-CD24-6711-C7D0-4CDE07E65EF7}"/>
              </a:ext>
            </a:extLst>
          </p:cNvPr>
          <p:cNvPicPr>
            <a:picLocks noChangeAspect="1"/>
          </p:cNvPicPr>
          <p:nvPr userDrawn="1"/>
        </p:nvPicPr>
        <p:blipFill>
          <a:blip r:embed="rId6"/>
          <a:stretch>
            <a:fillRect/>
          </a:stretch>
        </p:blipFill>
        <p:spPr>
          <a:xfrm>
            <a:off x="706" y="0"/>
            <a:ext cx="6095294" cy="6858000"/>
          </a:xfrm>
          <a:prstGeom prst="rect">
            <a:avLst/>
          </a:prstGeom>
        </p:spPr>
      </p:pic>
      <p:pic>
        <p:nvPicPr>
          <p:cNvPr id="3" name="Picture 2">
            <a:extLst>
              <a:ext uri="{FF2B5EF4-FFF2-40B4-BE49-F238E27FC236}">
                <a16:creationId xmlns:a16="http://schemas.microsoft.com/office/drawing/2014/main" id="{C133DAC3-88BD-0E52-51AB-F8C369F61349}"/>
              </a:ext>
            </a:extLst>
          </p:cNvPr>
          <p:cNvPicPr>
            <a:picLocks noChangeAspect="1"/>
          </p:cNvPicPr>
          <p:nvPr userDrawn="1"/>
        </p:nvPicPr>
        <p:blipFill>
          <a:blip r:embed="rId7"/>
          <a:stretch>
            <a:fillRect/>
          </a:stretch>
        </p:blipFill>
        <p:spPr>
          <a:xfrm>
            <a:off x="292823" y="6592472"/>
            <a:ext cx="2324100" cy="107950"/>
          </a:xfrm>
          <a:prstGeom prst="rect">
            <a:avLst/>
          </a:prstGeom>
        </p:spPr>
      </p:pic>
      <p:sp>
        <p:nvSpPr>
          <p:cNvPr id="5" name="Title 1">
            <a:extLst>
              <a:ext uri="{FF2B5EF4-FFF2-40B4-BE49-F238E27FC236}">
                <a16:creationId xmlns:a16="http://schemas.microsoft.com/office/drawing/2014/main" id="{8A8CFEBD-25DA-FA23-06CE-4A222A8F513B}"/>
              </a:ext>
            </a:extLst>
          </p:cNvPr>
          <p:cNvSpPr>
            <a:spLocks noGrp="1"/>
          </p:cNvSpPr>
          <p:nvPr>
            <p:ph type="title"/>
          </p:nvPr>
        </p:nvSpPr>
        <p:spPr>
          <a:xfrm>
            <a:off x="282016" y="2142035"/>
            <a:ext cx="5167766" cy="909493"/>
          </a:xfrm>
        </p:spPr>
        <p:txBody>
          <a:bodyPr>
            <a:normAutofit/>
          </a:bodyPr>
          <a:lstStyle>
            <a:lvl1pPr>
              <a:defRPr sz="2800">
                <a:solidFill>
                  <a:schemeClr val="bg1"/>
                </a:solidFill>
                <a:latin typeface="+mj-lt"/>
                <a:ea typeface="+mj-ea"/>
                <a:cs typeface="+mj-cs"/>
              </a:defRPr>
            </a:lvl1pPr>
          </a:lstStyle>
          <a:p>
            <a:endParaRPr lang="en-US"/>
          </a:p>
        </p:txBody>
      </p:sp>
      <p:sp>
        <p:nvSpPr>
          <p:cNvPr id="8" name="Text Placeholder 8">
            <a:extLst>
              <a:ext uri="{FF2B5EF4-FFF2-40B4-BE49-F238E27FC236}">
                <a16:creationId xmlns:a16="http://schemas.microsoft.com/office/drawing/2014/main" id="{4D573E30-C2C0-E163-96D3-C82C6C3076C1}"/>
              </a:ext>
            </a:extLst>
          </p:cNvPr>
          <p:cNvSpPr>
            <a:spLocks noGrp="1"/>
          </p:cNvSpPr>
          <p:nvPr>
            <p:ph type="body" sz="quarter" idx="14" hasCustomPrompt="1"/>
          </p:nvPr>
        </p:nvSpPr>
        <p:spPr>
          <a:xfrm>
            <a:off x="292823" y="3257323"/>
            <a:ext cx="5167766" cy="2662303"/>
          </a:xfrm>
        </p:spPr>
        <p:txBody>
          <a:bodyPr>
            <a:noAutofit/>
          </a:bodyPr>
          <a:lstStyle>
            <a:lvl1pPr marL="0" marR="0" indent="0" algn="l" defTabSz="914400" rtl="0" eaLnBrk="1" fontAlgn="auto" latinLnBrk="0" hangingPunct="1">
              <a:lnSpc>
                <a:spcPct val="100000"/>
              </a:lnSpc>
              <a:spcBef>
                <a:spcPts val="1000"/>
              </a:spcBef>
              <a:spcAft>
                <a:spcPts val="0"/>
              </a:spcAft>
              <a:buClr>
                <a:srgbClr val="1670FF"/>
              </a:buClr>
              <a:buSzTx/>
              <a:buFont typeface="Arial" panose="020B0604020202020204" pitchFamily="34" charset="0"/>
              <a:buNone/>
              <a:tabLst/>
              <a:defRPr lang="en-US" sz="2000" b="0" i="0" u="none" strike="noStrike" smtClean="0">
                <a:solidFill>
                  <a:schemeClr val="bg1"/>
                </a:solidFill>
                <a:effectLst/>
                <a:latin typeface="+mn-lt"/>
                <a:ea typeface="+mn-ea"/>
                <a:cs typeface="+mn-cs"/>
              </a:defRPr>
            </a:lvl1pPr>
          </a:lstStyle>
          <a:p>
            <a:pPr lvl="0"/>
            <a:r>
              <a:rPr lang="en-US"/>
              <a:t>Text</a:t>
            </a:r>
          </a:p>
        </p:txBody>
      </p:sp>
      <p:pic>
        <p:nvPicPr>
          <p:cNvPr id="9" name="Picture 8">
            <a:extLst>
              <a:ext uri="{FF2B5EF4-FFF2-40B4-BE49-F238E27FC236}">
                <a16:creationId xmlns:a16="http://schemas.microsoft.com/office/drawing/2014/main" id="{44585851-76BE-E80D-D3A4-292AB62CD115}"/>
              </a:ext>
            </a:extLst>
          </p:cNvPr>
          <p:cNvPicPr>
            <a:picLocks noChangeAspect="1"/>
          </p:cNvPicPr>
          <p:nvPr userDrawn="1"/>
        </p:nvPicPr>
        <p:blipFill>
          <a:blip r:embed="rId8"/>
          <a:stretch>
            <a:fillRect/>
          </a:stretch>
        </p:blipFill>
        <p:spPr>
          <a:xfrm>
            <a:off x="10156038" y="4758612"/>
            <a:ext cx="2035962" cy="2099388"/>
          </a:xfrm>
          <a:prstGeom prst="rect">
            <a:avLst/>
          </a:prstGeom>
        </p:spPr>
      </p:pic>
      <p:sp>
        <p:nvSpPr>
          <p:cNvPr id="4" name="Rectangle 3">
            <a:extLst>
              <a:ext uri="{FF2B5EF4-FFF2-40B4-BE49-F238E27FC236}">
                <a16:creationId xmlns:a16="http://schemas.microsoft.com/office/drawing/2014/main" id="{9538D9F5-6642-5401-CF10-01A92AC1DD60}"/>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6" name="Rectangle 5">
            <a:extLst>
              <a:ext uri="{FF2B5EF4-FFF2-40B4-BE49-F238E27FC236}">
                <a16:creationId xmlns:a16="http://schemas.microsoft.com/office/drawing/2014/main" id="{F468EA4C-30F1-92FD-A752-45FD806B6383}"/>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CCB677A3-C280-DB8A-7895-BBF6AB3955B5}"/>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65BE3DE4-90D8-AC9A-8492-214975A3F0DC}"/>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39AB8160-AC3C-2447-E0B6-1378CA7DE898}"/>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779BAF25-0505-132B-3956-D8230AA92FC0}"/>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24BFF70D-9CFE-6075-89A9-5D070BEDC406}"/>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EF46A3DF-DA90-2824-668E-5E28002E0322}"/>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AD5800F1-9369-76BB-3541-A79812603EE1}"/>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50AA3DC0-7F37-2A79-C7BB-04AD61D71DCA}"/>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Tree>
    <p:extLst>
      <p:ext uri="{BB962C8B-B14F-4D97-AF65-F5344CB8AC3E}">
        <p14:creationId xmlns:p14="http://schemas.microsoft.com/office/powerpoint/2010/main" val="296873840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attern_Text_Image2">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D7D4260D-EB36-EB2C-AD99-FD36FAD46494}"/>
              </a:ext>
            </a:extLst>
          </p:cNvPr>
          <p:cNvGraphicFramePr>
            <a:graphicFrameLocks noChangeAspect="1"/>
          </p:cNvGraphicFramePr>
          <p:nvPr userDrawn="1">
            <p:custDataLst>
              <p:tags r:id="rId1"/>
            </p:custDataLst>
            <p:extLst>
              <p:ext uri="{D42A27DB-BD31-4B8C-83A1-F6EECF244321}">
                <p14:modId xmlns:p14="http://schemas.microsoft.com/office/powerpoint/2010/main" val="4145689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8" name="think-cell data - do not delete" hidden="1">
                        <a:extLst>
                          <a:ext uri="{FF2B5EF4-FFF2-40B4-BE49-F238E27FC236}">
                            <a16:creationId xmlns:a16="http://schemas.microsoft.com/office/drawing/2014/main" id="{D7D4260D-EB36-EB2C-AD99-FD36FAD464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Placeholder 11" descr="A picture containing person, cutting, plant, vegetable&#10;&#10;Description automatically generated">
            <a:extLst>
              <a:ext uri="{FF2B5EF4-FFF2-40B4-BE49-F238E27FC236}">
                <a16:creationId xmlns:a16="http://schemas.microsoft.com/office/drawing/2014/main" id="{A54BD8B4-3CF2-94C7-4816-7C37BC7CE2F5}"/>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a:xfrm>
            <a:off x="6096000" y="0"/>
            <a:ext cx="6096000" cy="6858000"/>
          </a:xfrm>
          <a:prstGeom prst="rect">
            <a:avLst/>
          </a:prstGeom>
        </p:spPr>
      </p:pic>
      <p:pic>
        <p:nvPicPr>
          <p:cNvPr id="2" name="Picture 1">
            <a:extLst>
              <a:ext uri="{FF2B5EF4-FFF2-40B4-BE49-F238E27FC236}">
                <a16:creationId xmlns:a16="http://schemas.microsoft.com/office/drawing/2014/main" id="{2FBD1E44-CD24-6711-C7D0-4CDE07E65EF7}"/>
              </a:ext>
            </a:extLst>
          </p:cNvPr>
          <p:cNvPicPr>
            <a:picLocks noChangeAspect="1"/>
          </p:cNvPicPr>
          <p:nvPr userDrawn="1"/>
        </p:nvPicPr>
        <p:blipFill>
          <a:blip r:embed="rId6"/>
          <a:stretch>
            <a:fillRect/>
          </a:stretch>
        </p:blipFill>
        <p:spPr>
          <a:xfrm>
            <a:off x="706" y="0"/>
            <a:ext cx="6095294" cy="6858000"/>
          </a:xfrm>
          <a:prstGeom prst="rect">
            <a:avLst/>
          </a:prstGeom>
        </p:spPr>
      </p:pic>
      <p:pic>
        <p:nvPicPr>
          <p:cNvPr id="3" name="Picture 2">
            <a:extLst>
              <a:ext uri="{FF2B5EF4-FFF2-40B4-BE49-F238E27FC236}">
                <a16:creationId xmlns:a16="http://schemas.microsoft.com/office/drawing/2014/main" id="{C133DAC3-88BD-0E52-51AB-F8C369F61349}"/>
              </a:ext>
            </a:extLst>
          </p:cNvPr>
          <p:cNvPicPr>
            <a:picLocks noChangeAspect="1"/>
          </p:cNvPicPr>
          <p:nvPr userDrawn="1"/>
        </p:nvPicPr>
        <p:blipFill>
          <a:blip r:embed="rId7"/>
          <a:stretch>
            <a:fillRect/>
          </a:stretch>
        </p:blipFill>
        <p:spPr>
          <a:xfrm>
            <a:off x="292823" y="6592472"/>
            <a:ext cx="2324100" cy="107950"/>
          </a:xfrm>
          <a:prstGeom prst="rect">
            <a:avLst/>
          </a:prstGeom>
        </p:spPr>
      </p:pic>
      <p:sp>
        <p:nvSpPr>
          <p:cNvPr id="5" name="Title 1">
            <a:extLst>
              <a:ext uri="{FF2B5EF4-FFF2-40B4-BE49-F238E27FC236}">
                <a16:creationId xmlns:a16="http://schemas.microsoft.com/office/drawing/2014/main" id="{8A8CFEBD-25DA-FA23-06CE-4A222A8F513B}"/>
              </a:ext>
            </a:extLst>
          </p:cNvPr>
          <p:cNvSpPr>
            <a:spLocks noGrp="1"/>
          </p:cNvSpPr>
          <p:nvPr>
            <p:ph type="title"/>
          </p:nvPr>
        </p:nvSpPr>
        <p:spPr>
          <a:xfrm>
            <a:off x="282015" y="2142035"/>
            <a:ext cx="5178573" cy="909493"/>
          </a:xfrm>
        </p:spPr>
        <p:txBody>
          <a:bodyPr>
            <a:normAutofit/>
          </a:bodyPr>
          <a:lstStyle>
            <a:lvl1pPr>
              <a:defRPr sz="2800">
                <a:solidFill>
                  <a:schemeClr val="bg1"/>
                </a:solidFill>
                <a:latin typeface="+mj-lt"/>
                <a:ea typeface="+mj-ea"/>
                <a:cs typeface="+mj-cs"/>
              </a:defRPr>
            </a:lvl1pPr>
          </a:lstStyle>
          <a:p>
            <a:endParaRPr lang="en-US"/>
          </a:p>
        </p:txBody>
      </p:sp>
      <p:sp>
        <p:nvSpPr>
          <p:cNvPr id="8" name="Text Placeholder 8">
            <a:extLst>
              <a:ext uri="{FF2B5EF4-FFF2-40B4-BE49-F238E27FC236}">
                <a16:creationId xmlns:a16="http://schemas.microsoft.com/office/drawing/2014/main" id="{4D573E30-C2C0-E163-96D3-C82C6C3076C1}"/>
              </a:ext>
            </a:extLst>
          </p:cNvPr>
          <p:cNvSpPr>
            <a:spLocks noGrp="1"/>
          </p:cNvSpPr>
          <p:nvPr>
            <p:ph type="body" sz="quarter" idx="14" hasCustomPrompt="1"/>
          </p:nvPr>
        </p:nvSpPr>
        <p:spPr>
          <a:xfrm>
            <a:off x="292823" y="3257323"/>
            <a:ext cx="5167766" cy="2662303"/>
          </a:xfrm>
        </p:spPr>
        <p:txBody>
          <a:bodyPr>
            <a:noAutofit/>
          </a:bodyPr>
          <a:lstStyle>
            <a:lvl1pPr marL="0" marR="0" indent="0" algn="l" defTabSz="914400" rtl="0" eaLnBrk="1" fontAlgn="auto" latinLnBrk="0" hangingPunct="1">
              <a:lnSpc>
                <a:spcPct val="100000"/>
              </a:lnSpc>
              <a:spcBef>
                <a:spcPts val="1000"/>
              </a:spcBef>
              <a:spcAft>
                <a:spcPts val="0"/>
              </a:spcAft>
              <a:buClr>
                <a:srgbClr val="1670FF"/>
              </a:buClr>
              <a:buSzTx/>
              <a:buFont typeface="Arial" panose="020B0604020202020204" pitchFamily="34" charset="0"/>
              <a:buNone/>
              <a:tabLst/>
              <a:defRPr lang="en-US" sz="2000" b="0" i="0" u="none" strike="noStrike" smtClean="0">
                <a:solidFill>
                  <a:schemeClr val="bg1"/>
                </a:solidFill>
                <a:effectLst/>
                <a:latin typeface="+mn-lt"/>
                <a:ea typeface="+mn-ea"/>
                <a:cs typeface="+mn-cs"/>
              </a:defRPr>
            </a:lvl1pPr>
          </a:lstStyle>
          <a:p>
            <a:pPr lvl="0"/>
            <a:r>
              <a:rPr lang="en-US"/>
              <a:t>Text</a:t>
            </a:r>
          </a:p>
          <a:p>
            <a:pPr lvl="0"/>
            <a:endParaRPr lang="en-US"/>
          </a:p>
        </p:txBody>
      </p:sp>
      <p:pic>
        <p:nvPicPr>
          <p:cNvPr id="9" name="Picture 8">
            <a:extLst>
              <a:ext uri="{FF2B5EF4-FFF2-40B4-BE49-F238E27FC236}">
                <a16:creationId xmlns:a16="http://schemas.microsoft.com/office/drawing/2014/main" id="{44585851-76BE-E80D-D3A4-292AB62CD115}"/>
              </a:ext>
            </a:extLst>
          </p:cNvPr>
          <p:cNvPicPr>
            <a:picLocks noChangeAspect="1"/>
          </p:cNvPicPr>
          <p:nvPr userDrawn="1"/>
        </p:nvPicPr>
        <p:blipFill>
          <a:blip r:embed="rId8"/>
          <a:stretch>
            <a:fillRect/>
          </a:stretch>
        </p:blipFill>
        <p:spPr>
          <a:xfrm>
            <a:off x="10156038" y="4758612"/>
            <a:ext cx="2035962" cy="2099388"/>
          </a:xfrm>
          <a:prstGeom prst="rect">
            <a:avLst/>
          </a:prstGeom>
        </p:spPr>
      </p:pic>
      <p:sp>
        <p:nvSpPr>
          <p:cNvPr id="6" name="Rectangle 5">
            <a:extLst>
              <a:ext uri="{FF2B5EF4-FFF2-40B4-BE49-F238E27FC236}">
                <a16:creationId xmlns:a16="http://schemas.microsoft.com/office/drawing/2014/main" id="{6DAC4D81-9432-ABA0-BC09-85551DD12F0A}"/>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F3EAA308-EF79-7F6E-9AD1-1473BB17FC1D}"/>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81FC4975-756A-DF2C-7ACE-4A14F71A1D20}"/>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EDC6F51D-D573-6D96-1180-C1F1BD268CD1}"/>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764BE917-472C-93CE-1291-1020A4AA2FA2}"/>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99F78A31-231D-BE48-5E34-B59E1BC0B668}"/>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9CD5A784-1E79-C1F5-14F2-F0C91F2B96AA}"/>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B92CED24-E8EC-1DEE-0D80-23F09898381A}"/>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2EC6CCAB-6698-7C8A-ED1F-C074DE3B3234}"/>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B74FDAF5-C958-9BB4-D919-3F0A28EB9440}"/>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Tree>
    <p:extLst>
      <p:ext uri="{BB962C8B-B14F-4D97-AF65-F5344CB8AC3E}">
        <p14:creationId xmlns:p14="http://schemas.microsoft.com/office/powerpoint/2010/main" val="32650563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Cover_1">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AA36D955-B3A7-C98D-63C4-65BC52F7814E}"/>
              </a:ext>
            </a:extLst>
          </p:cNvPr>
          <p:cNvGraphicFramePr>
            <a:graphicFrameLocks noChangeAspect="1"/>
          </p:cNvGraphicFramePr>
          <p:nvPr userDrawn="1">
            <p:custDataLst>
              <p:tags r:id="rId1"/>
            </p:custDataLst>
            <p:extLst>
              <p:ext uri="{D42A27DB-BD31-4B8C-83A1-F6EECF244321}">
                <p14:modId xmlns:p14="http://schemas.microsoft.com/office/powerpoint/2010/main" val="1352077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2" name="Object 21" hidden="1">
                        <a:extLst>
                          <a:ext uri="{FF2B5EF4-FFF2-40B4-BE49-F238E27FC236}">
                            <a16:creationId xmlns:a16="http://schemas.microsoft.com/office/drawing/2014/main" id="{AA36D955-B3A7-C98D-63C4-65BC52F781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3F9111E3-B6B3-F20D-E234-232A58D77455}"/>
              </a:ext>
            </a:extLst>
          </p:cNvPr>
          <p:cNvPicPr>
            <a:picLocks noChangeAspect="1"/>
          </p:cNvPicPr>
          <p:nvPr userDrawn="1"/>
        </p:nvPicPr>
        <p:blipFill>
          <a:blip r:embed="rId5"/>
          <a:stretch>
            <a:fillRect/>
          </a:stretch>
        </p:blipFill>
        <p:spPr>
          <a:xfrm>
            <a:off x="19504" y="2780"/>
            <a:ext cx="12192000" cy="6855220"/>
          </a:xfrm>
          <a:prstGeom prst="rect">
            <a:avLst/>
          </a:prstGeom>
        </p:spPr>
      </p:pic>
      <p:pic>
        <p:nvPicPr>
          <p:cNvPr id="24" name="Picture 23">
            <a:extLst>
              <a:ext uri="{FF2B5EF4-FFF2-40B4-BE49-F238E27FC236}">
                <a16:creationId xmlns:a16="http://schemas.microsoft.com/office/drawing/2014/main" id="{BA02ACCD-E87B-DD4A-AC08-0F71DCAD472F}"/>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23203" r="13756"/>
          <a:stretch/>
        </p:blipFill>
        <p:spPr>
          <a:xfrm>
            <a:off x="1" y="0"/>
            <a:ext cx="6483963" cy="6858000"/>
          </a:xfrm>
          <a:custGeom>
            <a:avLst/>
            <a:gdLst>
              <a:gd name="connsiteX0" fmla="*/ 0 w 6483963"/>
              <a:gd name="connsiteY0" fmla="*/ 0 h 6858000"/>
              <a:gd name="connsiteX1" fmla="*/ 6483963 w 6483963"/>
              <a:gd name="connsiteY1" fmla="*/ 0 h 6858000"/>
              <a:gd name="connsiteX2" fmla="*/ 6483963 w 6483963"/>
              <a:gd name="connsiteY2" fmla="*/ 6858000 h 6858000"/>
              <a:gd name="connsiteX3" fmla="*/ 0 w 648396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83963" h="6858000">
                <a:moveTo>
                  <a:pt x="0" y="0"/>
                </a:moveTo>
                <a:lnTo>
                  <a:pt x="6483963" y="0"/>
                </a:lnTo>
                <a:lnTo>
                  <a:pt x="6483963" y="6858000"/>
                </a:lnTo>
                <a:lnTo>
                  <a:pt x="0" y="6858000"/>
                </a:lnTo>
                <a:close/>
              </a:path>
            </a:pathLst>
          </a:custGeom>
        </p:spPr>
      </p:pic>
      <p:pic>
        <p:nvPicPr>
          <p:cNvPr id="10" name="Picture 9">
            <a:extLst>
              <a:ext uri="{FF2B5EF4-FFF2-40B4-BE49-F238E27FC236}">
                <a16:creationId xmlns:a16="http://schemas.microsoft.com/office/drawing/2014/main" id="{61359549-5A1F-9411-3B5D-0D48941C24F2}"/>
              </a:ext>
            </a:extLst>
          </p:cNvPr>
          <p:cNvPicPr>
            <a:picLocks noChangeAspect="1"/>
          </p:cNvPicPr>
          <p:nvPr userDrawn="1"/>
        </p:nvPicPr>
        <p:blipFill>
          <a:blip r:embed="rId7"/>
          <a:stretch>
            <a:fillRect/>
          </a:stretch>
        </p:blipFill>
        <p:spPr>
          <a:xfrm>
            <a:off x="6942174" y="5029200"/>
            <a:ext cx="2637118" cy="1418282"/>
          </a:xfrm>
          <a:prstGeom prst="rect">
            <a:avLst/>
          </a:prstGeom>
        </p:spPr>
      </p:pic>
      <p:pic>
        <p:nvPicPr>
          <p:cNvPr id="8" name="Picture 7">
            <a:extLst>
              <a:ext uri="{FF2B5EF4-FFF2-40B4-BE49-F238E27FC236}">
                <a16:creationId xmlns:a16="http://schemas.microsoft.com/office/drawing/2014/main" id="{22402783-288C-2D52-A4BA-8F45BACAE0BD}"/>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0" y="0"/>
            <a:ext cx="5214876" cy="4513432"/>
          </a:xfrm>
          <a:prstGeom prst="rect">
            <a:avLst/>
          </a:prstGeom>
        </p:spPr>
      </p:pic>
      <p:sp>
        <p:nvSpPr>
          <p:cNvPr id="4" name="TextBox 3">
            <a:extLst>
              <a:ext uri="{FF2B5EF4-FFF2-40B4-BE49-F238E27FC236}">
                <a16:creationId xmlns:a16="http://schemas.microsoft.com/office/drawing/2014/main" id="{39C32344-3F64-881D-8597-493E4E19655C}"/>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mn-lt"/>
                <a:ea typeface="+mn-ea"/>
                <a:cs typeface="+mn-cs"/>
              </a:rPr>
              <a:pPr algn="r"/>
              <a:t>‹#›</a:t>
            </a:fld>
            <a:endParaRPr lang="en-US" sz="700" spc="300">
              <a:solidFill>
                <a:schemeClr val="bg1"/>
              </a:solidFill>
              <a:latin typeface="+mn-lt"/>
              <a:ea typeface="+mn-ea"/>
              <a:cs typeface="+mn-cs"/>
            </a:endParaRPr>
          </a:p>
        </p:txBody>
      </p:sp>
      <p:sp>
        <p:nvSpPr>
          <p:cNvPr id="3" name="Rectangle 2">
            <a:extLst>
              <a:ext uri="{FF2B5EF4-FFF2-40B4-BE49-F238E27FC236}">
                <a16:creationId xmlns:a16="http://schemas.microsoft.com/office/drawing/2014/main" id="{A98DFE46-B5E2-F718-94E7-DEF297DF395B}"/>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8E00E491-5360-4420-3643-DDA785916048}"/>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52670FD2-6DEE-3AD9-85AC-45AAB1C3274F}"/>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1ED70F8B-B5D8-3BA6-1B64-F30D81678066}"/>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00714F0B-729E-CAB1-D0E3-5633DF445DB1}"/>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1C1B6030-5708-896E-87F9-D9EB5A92297E}"/>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D2DD69C2-D4FE-4E6E-F4EA-F29654973D31}"/>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BC48FFBE-14CD-15D0-B311-6B84759D8C47}"/>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2A0CD2D3-A28D-3316-27BD-4D7CA492E49B}"/>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8" name="Rectangle 17">
            <a:extLst>
              <a:ext uri="{FF2B5EF4-FFF2-40B4-BE49-F238E27FC236}">
                <a16:creationId xmlns:a16="http://schemas.microsoft.com/office/drawing/2014/main" id="{2798D593-3A07-FA79-0F2D-3BA8F7D72047}"/>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9" name="Text Placeholder 6">
            <a:extLst>
              <a:ext uri="{FF2B5EF4-FFF2-40B4-BE49-F238E27FC236}">
                <a16:creationId xmlns:a16="http://schemas.microsoft.com/office/drawing/2014/main" id="{CCEE4AD4-5673-DC5D-0072-55F8141A6EE8}"/>
              </a:ext>
            </a:extLst>
          </p:cNvPr>
          <p:cNvSpPr>
            <a:spLocks noGrp="1"/>
          </p:cNvSpPr>
          <p:nvPr>
            <p:ph type="body" sz="quarter" idx="15" hasCustomPrompt="1"/>
          </p:nvPr>
        </p:nvSpPr>
        <p:spPr>
          <a:xfrm>
            <a:off x="6916416" y="1953851"/>
            <a:ext cx="4882138" cy="608864"/>
          </a:xfrm>
        </p:spPr>
        <p:txBody>
          <a:bodyPr bIns="0" anchor="b">
            <a:noAutofit/>
          </a:bodyPr>
          <a:lstStyle>
            <a:lvl1pPr marL="0" indent="0">
              <a:buNone/>
              <a:defRPr sz="4000" b="1" i="0">
                <a:solidFill>
                  <a:schemeClr val="bg1"/>
                </a:solidFill>
                <a:latin typeface="+mn-lt"/>
                <a:ea typeface="+mn-ea"/>
                <a:cs typeface="+mn-cs"/>
              </a:defRPr>
            </a:lvl1pPr>
          </a:lstStyle>
          <a:p>
            <a:pPr lvl="0"/>
            <a:r>
              <a:rPr lang="en-US"/>
              <a:t>Title text</a:t>
            </a:r>
          </a:p>
        </p:txBody>
      </p:sp>
      <p:sp>
        <p:nvSpPr>
          <p:cNvPr id="20" name="Text Placeholder 6">
            <a:extLst>
              <a:ext uri="{FF2B5EF4-FFF2-40B4-BE49-F238E27FC236}">
                <a16:creationId xmlns:a16="http://schemas.microsoft.com/office/drawing/2014/main" id="{D7AEF975-7E8E-3FB4-D358-82BE2CB20294}"/>
              </a:ext>
            </a:extLst>
          </p:cNvPr>
          <p:cNvSpPr>
            <a:spLocks noGrp="1"/>
          </p:cNvSpPr>
          <p:nvPr>
            <p:ph type="body" sz="quarter" idx="16" hasCustomPrompt="1"/>
          </p:nvPr>
        </p:nvSpPr>
        <p:spPr>
          <a:xfrm>
            <a:off x="6916416" y="2736147"/>
            <a:ext cx="4882138" cy="608864"/>
          </a:xfrm>
          <a:noFill/>
        </p:spPr>
        <p:txBody>
          <a:bodyPr>
            <a:noAutofit/>
          </a:bodyPr>
          <a:lstStyle>
            <a:lvl1pPr marL="0" indent="0">
              <a:buNone/>
              <a:defRPr sz="2800" b="0" i="0">
                <a:solidFill>
                  <a:schemeClr val="bg1"/>
                </a:solidFill>
                <a:latin typeface="+mn-lt"/>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0"/>
            <a:endParaRPr lang="en-US"/>
          </a:p>
        </p:txBody>
      </p:sp>
      <p:sp>
        <p:nvSpPr>
          <p:cNvPr id="21" name="Text Placeholder 6">
            <a:extLst>
              <a:ext uri="{FF2B5EF4-FFF2-40B4-BE49-F238E27FC236}">
                <a16:creationId xmlns:a16="http://schemas.microsoft.com/office/drawing/2014/main" id="{CDD05584-C1AB-97CD-2E18-F6E51E3A46FE}"/>
              </a:ext>
            </a:extLst>
          </p:cNvPr>
          <p:cNvSpPr>
            <a:spLocks noGrp="1"/>
          </p:cNvSpPr>
          <p:nvPr>
            <p:ph type="body" sz="quarter" idx="18" hasCustomPrompt="1"/>
          </p:nvPr>
        </p:nvSpPr>
        <p:spPr>
          <a:xfrm>
            <a:off x="6942174" y="3959640"/>
            <a:ext cx="4882138" cy="384460"/>
          </a:xfrm>
          <a:noFill/>
        </p:spPr>
        <p:txBody>
          <a:bodyPr>
            <a:noAutofit/>
          </a:bodyPr>
          <a:lstStyle>
            <a:lvl1pPr marL="0" indent="0">
              <a:buNone/>
              <a:defRPr sz="2000" b="0" i="0">
                <a:solidFill>
                  <a:schemeClr val="bg1"/>
                </a:solidFill>
                <a:latin typeface="+mn-lt"/>
                <a:ea typeface="+mn-ea"/>
                <a:cs typeface="+mn-cs"/>
              </a:defRPr>
            </a:lvl1pPr>
          </a:lstStyle>
          <a:p>
            <a:pPr lvl="0"/>
            <a:r>
              <a:rPr lang="en-US"/>
              <a:t>Date </a:t>
            </a:r>
          </a:p>
        </p:txBody>
      </p:sp>
    </p:spTree>
    <p:extLst>
      <p:ext uri="{BB962C8B-B14F-4D97-AF65-F5344CB8AC3E}">
        <p14:creationId xmlns:p14="http://schemas.microsoft.com/office/powerpoint/2010/main" val="4933764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attern_Text_Image3">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E3BFC95A-A0E5-ABE4-A831-605688F889F4}"/>
              </a:ext>
            </a:extLst>
          </p:cNvPr>
          <p:cNvGraphicFramePr>
            <a:graphicFrameLocks noChangeAspect="1"/>
          </p:cNvGraphicFramePr>
          <p:nvPr userDrawn="1">
            <p:custDataLst>
              <p:tags r:id="rId1"/>
            </p:custDataLst>
            <p:extLst>
              <p:ext uri="{D42A27DB-BD31-4B8C-83A1-F6EECF244321}">
                <p14:modId xmlns:p14="http://schemas.microsoft.com/office/powerpoint/2010/main" val="3397969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8" name="think-cell data - do not delete" hidden="1">
                        <a:extLst>
                          <a:ext uri="{FF2B5EF4-FFF2-40B4-BE49-F238E27FC236}">
                            <a16:creationId xmlns:a16="http://schemas.microsoft.com/office/drawing/2014/main" id="{E3BFC95A-A0E5-ABE4-A831-605688F889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Placeholder 7" descr="A picture containing tree, person, outdoor, person&#10;&#10;Description automatically generated">
            <a:extLst>
              <a:ext uri="{FF2B5EF4-FFF2-40B4-BE49-F238E27FC236}">
                <a16:creationId xmlns:a16="http://schemas.microsoft.com/office/drawing/2014/main" id="{B8298057-DE82-FC85-EE1C-F891D59A7D19}"/>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a:xfrm>
            <a:off x="6096000" y="0"/>
            <a:ext cx="6096000" cy="6858000"/>
          </a:xfrm>
          <a:prstGeom prst="rect">
            <a:avLst/>
          </a:prstGeom>
        </p:spPr>
      </p:pic>
      <p:pic>
        <p:nvPicPr>
          <p:cNvPr id="2" name="Picture 1">
            <a:extLst>
              <a:ext uri="{FF2B5EF4-FFF2-40B4-BE49-F238E27FC236}">
                <a16:creationId xmlns:a16="http://schemas.microsoft.com/office/drawing/2014/main" id="{2FBD1E44-CD24-6711-C7D0-4CDE07E65EF7}"/>
              </a:ext>
            </a:extLst>
          </p:cNvPr>
          <p:cNvPicPr>
            <a:picLocks noChangeAspect="1"/>
          </p:cNvPicPr>
          <p:nvPr userDrawn="1"/>
        </p:nvPicPr>
        <p:blipFill>
          <a:blip r:embed="rId6"/>
          <a:stretch>
            <a:fillRect/>
          </a:stretch>
        </p:blipFill>
        <p:spPr>
          <a:xfrm>
            <a:off x="706" y="0"/>
            <a:ext cx="6095294" cy="6858000"/>
          </a:xfrm>
          <a:prstGeom prst="rect">
            <a:avLst/>
          </a:prstGeom>
        </p:spPr>
      </p:pic>
      <p:pic>
        <p:nvPicPr>
          <p:cNvPr id="3" name="Picture 2">
            <a:extLst>
              <a:ext uri="{FF2B5EF4-FFF2-40B4-BE49-F238E27FC236}">
                <a16:creationId xmlns:a16="http://schemas.microsoft.com/office/drawing/2014/main" id="{C133DAC3-88BD-0E52-51AB-F8C369F61349}"/>
              </a:ext>
            </a:extLst>
          </p:cNvPr>
          <p:cNvPicPr>
            <a:picLocks noChangeAspect="1"/>
          </p:cNvPicPr>
          <p:nvPr userDrawn="1"/>
        </p:nvPicPr>
        <p:blipFill>
          <a:blip r:embed="rId7"/>
          <a:stretch>
            <a:fillRect/>
          </a:stretch>
        </p:blipFill>
        <p:spPr>
          <a:xfrm>
            <a:off x="292823" y="6592472"/>
            <a:ext cx="2324100" cy="107950"/>
          </a:xfrm>
          <a:prstGeom prst="rect">
            <a:avLst/>
          </a:prstGeom>
        </p:spPr>
      </p:pic>
      <p:sp>
        <p:nvSpPr>
          <p:cNvPr id="5" name="Title 1">
            <a:extLst>
              <a:ext uri="{FF2B5EF4-FFF2-40B4-BE49-F238E27FC236}">
                <a16:creationId xmlns:a16="http://schemas.microsoft.com/office/drawing/2014/main" id="{8A8CFEBD-25DA-FA23-06CE-4A222A8F513B}"/>
              </a:ext>
            </a:extLst>
          </p:cNvPr>
          <p:cNvSpPr>
            <a:spLocks noGrp="1"/>
          </p:cNvSpPr>
          <p:nvPr>
            <p:ph type="title"/>
          </p:nvPr>
        </p:nvSpPr>
        <p:spPr>
          <a:xfrm>
            <a:off x="282015" y="2142035"/>
            <a:ext cx="5178573" cy="909493"/>
          </a:xfrm>
        </p:spPr>
        <p:txBody>
          <a:bodyPr>
            <a:normAutofit/>
          </a:bodyPr>
          <a:lstStyle>
            <a:lvl1pPr>
              <a:defRPr sz="2800">
                <a:solidFill>
                  <a:schemeClr val="bg1"/>
                </a:solidFill>
                <a:latin typeface="+mj-lt"/>
                <a:ea typeface="+mj-ea"/>
                <a:cs typeface="+mj-cs"/>
              </a:defRPr>
            </a:lvl1pPr>
          </a:lstStyle>
          <a:p>
            <a:endParaRPr lang="en-US"/>
          </a:p>
        </p:txBody>
      </p:sp>
      <p:sp>
        <p:nvSpPr>
          <p:cNvPr id="8" name="Text Placeholder 8">
            <a:extLst>
              <a:ext uri="{FF2B5EF4-FFF2-40B4-BE49-F238E27FC236}">
                <a16:creationId xmlns:a16="http://schemas.microsoft.com/office/drawing/2014/main" id="{4D573E30-C2C0-E163-96D3-C82C6C3076C1}"/>
              </a:ext>
            </a:extLst>
          </p:cNvPr>
          <p:cNvSpPr>
            <a:spLocks noGrp="1"/>
          </p:cNvSpPr>
          <p:nvPr>
            <p:ph type="body" sz="quarter" idx="14" hasCustomPrompt="1"/>
          </p:nvPr>
        </p:nvSpPr>
        <p:spPr>
          <a:xfrm>
            <a:off x="292823" y="3257323"/>
            <a:ext cx="5167766" cy="2662303"/>
          </a:xfrm>
        </p:spPr>
        <p:txBody>
          <a:bodyPr>
            <a:noAutofit/>
          </a:bodyPr>
          <a:lstStyle>
            <a:lvl1pPr marL="0" marR="0" indent="0" algn="l" defTabSz="914400" rtl="0" eaLnBrk="1" fontAlgn="auto" latinLnBrk="0" hangingPunct="1">
              <a:lnSpc>
                <a:spcPct val="100000"/>
              </a:lnSpc>
              <a:spcBef>
                <a:spcPts val="1000"/>
              </a:spcBef>
              <a:spcAft>
                <a:spcPts val="0"/>
              </a:spcAft>
              <a:buClr>
                <a:srgbClr val="1670FF"/>
              </a:buClr>
              <a:buSzTx/>
              <a:buFont typeface="Arial" panose="020B0604020202020204" pitchFamily="34" charset="0"/>
              <a:buNone/>
              <a:tabLst/>
              <a:defRPr lang="en-US" sz="2000" b="0" i="0" u="none" strike="noStrike" smtClean="0">
                <a:solidFill>
                  <a:schemeClr val="bg1"/>
                </a:solidFill>
                <a:effectLst/>
                <a:latin typeface="+mn-lt"/>
                <a:ea typeface="+mn-ea"/>
                <a:cs typeface="+mn-cs"/>
              </a:defRPr>
            </a:lvl1pPr>
          </a:lstStyle>
          <a:p>
            <a:pPr lvl="0"/>
            <a:r>
              <a:rPr lang="en-US"/>
              <a:t>Text</a:t>
            </a:r>
          </a:p>
        </p:txBody>
      </p:sp>
      <p:pic>
        <p:nvPicPr>
          <p:cNvPr id="9" name="Picture 8">
            <a:extLst>
              <a:ext uri="{FF2B5EF4-FFF2-40B4-BE49-F238E27FC236}">
                <a16:creationId xmlns:a16="http://schemas.microsoft.com/office/drawing/2014/main" id="{44585851-76BE-E80D-D3A4-292AB62CD115}"/>
              </a:ext>
            </a:extLst>
          </p:cNvPr>
          <p:cNvPicPr>
            <a:picLocks noChangeAspect="1"/>
          </p:cNvPicPr>
          <p:nvPr userDrawn="1"/>
        </p:nvPicPr>
        <p:blipFill>
          <a:blip r:embed="rId8"/>
          <a:stretch>
            <a:fillRect/>
          </a:stretch>
        </p:blipFill>
        <p:spPr>
          <a:xfrm>
            <a:off x="10156038" y="4758612"/>
            <a:ext cx="2035962" cy="2099388"/>
          </a:xfrm>
          <a:prstGeom prst="rect">
            <a:avLst/>
          </a:prstGeom>
        </p:spPr>
      </p:pic>
      <p:sp>
        <p:nvSpPr>
          <p:cNvPr id="4" name="Rectangle 3">
            <a:extLst>
              <a:ext uri="{FF2B5EF4-FFF2-40B4-BE49-F238E27FC236}">
                <a16:creationId xmlns:a16="http://schemas.microsoft.com/office/drawing/2014/main" id="{21980BA0-F4CC-2F4D-9FC7-D12504A215CC}"/>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5061C82A-F62E-F146-D5D2-22F8373BE707}"/>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402CECD6-04D8-8F0D-1556-5ECC323860C1}"/>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08FA47EB-7533-F0EB-7E7B-25F157C2E085}"/>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6DC52836-20AD-3E5E-104F-5E6DCE1E8BDD}"/>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B4F5504C-E0B3-64A5-4096-159AA94FBACF}"/>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CADBE7A4-D068-5592-193B-774DB45899D7}"/>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8F2727F2-FC5D-78C0-F1B9-F39B017CBA4B}"/>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EF5DB757-F9B2-AA75-7D61-74C43CC93D7D}"/>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42B75CBD-A5DF-53AE-547F-B08FE23E449F}"/>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Tree>
    <p:extLst>
      <p:ext uri="{BB962C8B-B14F-4D97-AF65-F5344CB8AC3E}">
        <p14:creationId xmlns:p14="http://schemas.microsoft.com/office/powerpoint/2010/main" val="7596197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Pattern_Text_Image3">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56A3944-0A05-1716-7C6D-A1E7D71B014E}"/>
              </a:ext>
            </a:extLst>
          </p:cNvPr>
          <p:cNvGraphicFramePr>
            <a:graphicFrameLocks noChangeAspect="1"/>
          </p:cNvGraphicFramePr>
          <p:nvPr userDrawn="1">
            <p:custDataLst>
              <p:tags r:id="rId1"/>
            </p:custDataLst>
            <p:extLst>
              <p:ext uri="{D42A27DB-BD31-4B8C-83A1-F6EECF244321}">
                <p14:modId xmlns:p14="http://schemas.microsoft.com/office/powerpoint/2010/main" val="2362815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think-cell data - do not delete" hidden="1">
                        <a:extLst>
                          <a:ext uri="{FF2B5EF4-FFF2-40B4-BE49-F238E27FC236}">
                            <a16:creationId xmlns:a16="http://schemas.microsoft.com/office/drawing/2014/main" id="{F56A3944-0A05-1716-7C6D-A1E7D71B01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2" name="Picture 21" descr="A room with a table and chairs&#10;&#10;Description automatically generated with medium confidence">
            <a:extLst>
              <a:ext uri="{FF2B5EF4-FFF2-40B4-BE49-F238E27FC236}">
                <a16:creationId xmlns:a16="http://schemas.microsoft.com/office/drawing/2014/main" id="{913A3D69-1DE2-BA52-BBE3-044E327638F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b="-278"/>
          <a:stretch/>
        </p:blipFill>
        <p:spPr>
          <a:xfrm>
            <a:off x="5704449" y="0"/>
            <a:ext cx="6486846" cy="6881750"/>
          </a:xfrm>
          <a:prstGeom prst="rect">
            <a:avLst/>
          </a:prstGeom>
        </p:spPr>
      </p:pic>
      <p:pic>
        <p:nvPicPr>
          <p:cNvPr id="2" name="Picture 1">
            <a:extLst>
              <a:ext uri="{FF2B5EF4-FFF2-40B4-BE49-F238E27FC236}">
                <a16:creationId xmlns:a16="http://schemas.microsoft.com/office/drawing/2014/main" id="{2FBD1E44-CD24-6711-C7D0-4CDE07E65EF7}"/>
              </a:ext>
            </a:extLst>
          </p:cNvPr>
          <p:cNvPicPr>
            <a:picLocks noChangeAspect="1"/>
          </p:cNvPicPr>
          <p:nvPr userDrawn="1"/>
        </p:nvPicPr>
        <p:blipFill>
          <a:blip r:embed="rId6"/>
          <a:stretch>
            <a:fillRect/>
          </a:stretch>
        </p:blipFill>
        <p:spPr>
          <a:xfrm>
            <a:off x="706" y="0"/>
            <a:ext cx="6095294" cy="6858000"/>
          </a:xfrm>
          <a:prstGeom prst="rect">
            <a:avLst/>
          </a:prstGeom>
        </p:spPr>
      </p:pic>
      <p:pic>
        <p:nvPicPr>
          <p:cNvPr id="3" name="Picture 2">
            <a:extLst>
              <a:ext uri="{FF2B5EF4-FFF2-40B4-BE49-F238E27FC236}">
                <a16:creationId xmlns:a16="http://schemas.microsoft.com/office/drawing/2014/main" id="{C133DAC3-88BD-0E52-51AB-F8C369F61349}"/>
              </a:ext>
            </a:extLst>
          </p:cNvPr>
          <p:cNvPicPr>
            <a:picLocks noChangeAspect="1"/>
          </p:cNvPicPr>
          <p:nvPr userDrawn="1"/>
        </p:nvPicPr>
        <p:blipFill>
          <a:blip r:embed="rId7"/>
          <a:stretch>
            <a:fillRect/>
          </a:stretch>
        </p:blipFill>
        <p:spPr>
          <a:xfrm>
            <a:off x="292823" y="6592472"/>
            <a:ext cx="2324100" cy="107950"/>
          </a:xfrm>
          <a:prstGeom prst="rect">
            <a:avLst/>
          </a:prstGeom>
        </p:spPr>
      </p:pic>
      <p:sp>
        <p:nvSpPr>
          <p:cNvPr id="5" name="Title 1">
            <a:extLst>
              <a:ext uri="{FF2B5EF4-FFF2-40B4-BE49-F238E27FC236}">
                <a16:creationId xmlns:a16="http://schemas.microsoft.com/office/drawing/2014/main" id="{8A8CFEBD-25DA-FA23-06CE-4A222A8F513B}"/>
              </a:ext>
            </a:extLst>
          </p:cNvPr>
          <p:cNvSpPr>
            <a:spLocks noGrp="1"/>
          </p:cNvSpPr>
          <p:nvPr>
            <p:ph type="title"/>
          </p:nvPr>
        </p:nvSpPr>
        <p:spPr>
          <a:xfrm>
            <a:off x="282015" y="2142035"/>
            <a:ext cx="5178573" cy="909493"/>
          </a:xfrm>
        </p:spPr>
        <p:txBody>
          <a:bodyPr>
            <a:normAutofit/>
          </a:bodyPr>
          <a:lstStyle>
            <a:lvl1pPr>
              <a:defRPr sz="2800">
                <a:solidFill>
                  <a:schemeClr val="bg1"/>
                </a:solidFill>
                <a:latin typeface="+mj-lt"/>
                <a:ea typeface="+mj-ea"/>
                <a:cs typeface="+mj-cs"/>
              </a:defRPr>
            </a:lvl1pPr>
          </a:lstStyle>
          <a:p>
            <a:endParaRPr lang="en-US"/>
          </a:p>
        </p:txBody>
      </p:sp>
      <p:sp>
        <p:nvSpPr>
          <p:cNvPr id="8" name="Text Placeholder 8">
            <a:extLst>
              <a:ext uri="{FF2B5EF4-FFF2-40B4-BE49-F238E27FC236}">
                <a16:creationId xmlns:a16="http://schemas.microsoft.com/office/drawing/2014/main" id="{4D573E30-C2C0-E163-96D3-C82C6C3076C1}"/>
              </a:ext>
            </a:extLst>
          </p:cNvPr>
          <p:cNvSpPr>
            <a:spLocks noGrp="1"/>
          </p:cNvSpPr>
          <p:nvPr>
            <p:ph type="body" sz="quarter" idx="14" hasCustomPrompt="1"/>
          </p:nvPr>
        </p:nvSpPr>
        <p:spPr>
          <a:xfrm>
            <a:off x="292823" y="3257323"/>
            <a:ext cx="5167766" cy="2662303"/>
          </a:xfrm>
        </p:spPr>
        <p:txBody>
          <a:bodyPr>
            <a:noAutofit/>
          </a:bodyPr>
          <a:lstStyle>
            <a:lvl1pPr marL="0" marR="0" indent="0" algn="l" defTabSz="914400" rtl="0" eaLnBrk="1" fontAlgn="auto" latinLnBrk="0" hangingPunct="1">
              <a:lnSpc>
                <a:spcPct val="100000"/>
              </a:lnSpc>
              <a:spcBef>
                <a:spcPts val="1000"/>
              </a:spcBef>
              <a:spcAft>
                <a:spcPts val="0"/>
              </a:spcAft>
              <a:buClr>
                <a:srgbClr val="1670FF"/>
              </a:buClr>
              <a:buSzTx/>
              <a:buFont typeface="Arial" panose="020B0604020202020204" pitchFamily="34" charset="0"/>
              <a:buNone/>
              <a:tabLst/>
              <a:defRPr lang="en-US" sz="2000" b="0" i="0" u="none" strike="noStrike" smtClean="0">
                <a:solidFill>
                  <a:schemeClr val="bg1"/>
                </a:solidFill>
                <a:effectLst/>
                <a:latin typeface="+mn-lt"/>
                <a:ea typeface="+mn-ea"/>
                <a:cs typeface="+mn-cs"/>
              </a:defRPr>
            </a:lvl1pPr>
          </a:lstStyle>
          <a:p>
            <a:pPr lvl="0"/>
            <a:r>
              <a:rPr lang="en-US"/>
              <a:t>Text</a:t>
            </a:r>
          </a:p>
        </p:txBody>
      </p:sp>
      <p:pic>
        <p:nvPicPr>
          <p:cNvPr id="9" name="Picture 8">
            <a:extLst>
              <a:ext uri="{FF2B5EF4-FFF2-40B4-BE49-F238E27FC236}">
                <a16:creationId xmlns:a16="http://schemas.microsoft.com/office/drawing/2014/main" id="{44585851-76BE-E80D-D3A4-292AB62CD115}"/>
              </a:ext>
            </a:extLst>
          </p:cNvPr>
          <p:cNvPicPr>
            <a:picLocks noChangeAspect="1"/>
          </p:cNvPicPr>
          <p:nvPr userDrawn="1"/>
        </p:nvPicPr>
        <p:blipFill>
          <a:blip r:embed="rId8"/>
          <a:stretch>
            <a:fillRect/>
          </a:stretch>
        </p:blipFill>
        <p:spPr>
          <a:xfrm>
            <a:off x="10156038" y="4758612"/>
            <a:ext cx="2035962" cy="2099388"/>
          </a:xfrm>
          <a:prstGeom prst="rect">
            <a:avLst/>
          </a:prstGeom>
        </p:spPr>
      </p:pic>
      <p:sp>
        <p:nvSpPr>
          <p:cNvPr id="4" name="Rectangle 3">
            <a:extLst>
              <a:ext uri="{FF2B5EF4-FFF2-40B4-BE49-F238E27FC236}">
                <a16:creationId xmlns:a16="http://schemas.microsoft.com/office/drawing/2014/main" id="{21980BA0-F4CC-2F4D-9FC7-D12504A215CC}"/>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5061C82A-F62E-F146-D5D2-22F8373BE707}"/>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402CECD6-04D8-8F0D-1556-5ECC323860C1}"/>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08FA47EB-7533-F0EB-7E7B-25F157C2E085}"/>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6DC52836-20AD-3E5E-104F-5E6DCE1E8BDD}"/>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B4F5504C-E0B3-64A5-4096-159AA94FBACF}"/>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CADBE7A4-D068-5592-193B-774DB45899D7}"/>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8F2727F2-FC5D-78C0-F1B9-F39B017CBA4B}"/>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EF5DB757-F9B2-AA75-7D61-74C43CC93D7D}"/>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42B75CBD-A5DF-53AE-547F-B08FE23E449F}"/>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Tree>
    <p:extLst>
      <p:ext uri="{BB962C8B-B14F-4D97-AF65-F5344CB8AC3E}">
        <p14:creationId xmlns:p14="http://schemas.microsoft.com/office/powerpoint/2010/main" val="123802783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attern_Text_Image4">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EB7C344F-D031-7265-A0C3-D4C3C73FBA7D}"/>
              </a:ext>
            </a:extLst>
          </p:cNvPr>
          <p:cNvGraphicFramePr>
            <a:graphicFrameLocks noChangeAspect="1"/>
          </p:cNvGraphicFramePr>
          <p:nvPr userDrawn="1">
            <p:custDataLst>
              <p:tags r:id="rId1"/>
            </p:custDataLst>
            <p:extLst>
              <p:ext uri="{D42A27DB-BD31-4B8C-83A1-F6EECF244321}">
                <p14:modId xmlns:p14="http://schemas.microsoft.com/office/powerpoint/2010/main" val="1502495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8" name="think-cell data - do not delete" hidden="1">
                        <a:extLst>
                          <a:ext uri="{FF2B5EF4-FFF2-40B4-BE49-F238E27FC236}">
                            <a16:creationId xmlns:a16="http://schemas.microsoft.com/office/drawing/2014/main" id="{EB7C344F-D031-7265-A0C3-D4C3C73FBA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Placeholder 7" descr="A picture containing person, outdoor, solar cell, outdoor object&#10;&#10;Description automatically generated">
            <a:extLst>
              <a:ext uri="{FF2B5EF4-FFF2-40B4-BE49-F238E27FC236}">
                <a16:creationId xmlns:a16="http://schemas.microsoft.com/office/drawing/2014/main" id="{259430CB-4F3C-D247-F49C-2B37E33F23CC}"/>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6096000" y="0"/>
            <a:ext cx="6096000" cy="6858000"/>
          </a:xfrm>
          <a:prstGeom prst="rect">
            <a:avLst/>
          </a:prstGeom>
        </p:spPr>
      </p:pic>
      <p:pic>
        <p:nvPicPr>
          <p:cNvPr id="2" name="Picture 1">
            <a:extLst>
              <a:ext uri="{FF2B5EF4-FFF2-40B4-BE49-F238E27FC236}">
                <a16:creationId xmlns:a16="http://schemas.microsoft.com/office/drawing/2014/main" id="{2FBD1E44-CD24-6711-C7D0-4CDE07E65EF7}"/>
              </a:ext>
            </a:extLst>
          </p:cNvPr>
          <p:cNvPicPr>
            <a:picLocks noChangeAspect="1"/>
          </p:cNvPicPr>
          <p:nvPr userDrawn="1"/>
        </p:nvPicPr>
        <p:blipFill>
          <a:blip r:embed="rId6"/>
          <a:stretch>
            <a:fillRect/>
          </a:stretch>
        </p:blipFill>
        <p:spPr>
          <a:xfrm>
            <a:off x="706" y="0"/>
            <a:ext cx="6095294" cy="6858000"/>
          </a:xfrm>
          <a:prstGeom prst="rect">
            <a:avLst/>
          </a:prstGeom>
        </p:spPr>
      </p:pic>
      <p:pic>
        <p:nvPicPr>
          <p:cNvPr id="3" name="Picture 2">
            <a:extLst>
              <a:ext uri="{FF2B5EF4-FFF2-40B4-BE49-F238E27FC236}">
                <a16:creationId xmlns:a16="http://schemas.microsoft.com/office/drawing/2014/main" id="{C133DAC3-88BD-0E52-51AB-F8C369F61349}"/>
              </a:ext>
            </a:extLst>
          </p:cNvPr>
          <p:cNvPicPr>
            <a:picLocks noChangeAspect="1"/>
          </p:cNvPicPr>
          <p:nvPr userDrawn="1"/>
        </p:nvPicPr>
        <p:blipFill>
          <a:blip r:embed="rId7"/>
          <a:stretch>
            <a:fillRect/>
          </a:stretch>
        </p:blipFill>
        <p:spPr>
          <a:xfrm>
            <a:off x="292823" y="6592472"/>
            <a:ext cx="2324100" cy="107950"/>
          </a:xfrm>
          <a:prstGeom prst="rect">
            <a:avLst/>
          </a:prstGeom>
        </p:spPr>
      </p:pic>
      <p:sp>
        <p:nvSpPr>
          <p:cNvPr id="5" name="Title 1">
            <a:extLst>
              <a:ext uri="{FF2B5EF4-FFF2-40B4-BE49-F238E27FC236}">
                <a16:creationId xmlns:a16="http://schemas.microsoft.com/office/drawing/2014/main" id="{8A8CFEBD-25DA-FA23-06CE-4A222A8F513B}"/>
              </a:ext>
            </a:extLst>
          </p:cNvPr>
          <p:cNvSpPr>
            <a:spLocks noGrp="1"/>
          </p:cNvSpPr>
          <p:nvPr>
            <p:ph type="title"/>
          </p:nvPr>
        </p:nvSpPr>
        <p:spPr>
          <a:xfrm>
            <a:off x="282015" y="2142035"/>
            <a:ext cx="5178573" cy="909493"/>
          </a:xfrm>
        </p:spPr>
        <p:txBody>
          <a:bodyPr>
            <a:normAutofit/>
          </a:bodyPr>
          <a:lstStyle>
            <a:lvl1pPr>
              <a:defRPr sz="2800">
                <a:solidFill>
                  <a:schemeClr val="bg1"/>
                </a:solidFill>
                <a:latin typeface="+mj-lt"/>
                <a:ea typeface="+mj-ea"/>
                <a:cs typeface="+mj-cs"/>
              </a:defRPr>
            </a:lvl1pPr>
          </a:lstStyle>
          <a:p>
            <a:endParaRPr lang="en-US"/>
          </a:p>
        </p:txBody>
      </p:sp>
      <p:sp>
        <p:nvSpPr>
          <p:cNvPr id="8" name="Text Placeholder 8">
            <a:extLst>
              <a:ext uri="{FF2B5EF4-FFF2-40B4-BE49-F238E27FC236}">
                <a16:creationId xmlns:a16="http://schemas.microsoft.com/office/drawing/2014/main" id="{4D573E30-C2C0-E163-96D3-C82C6C3076C1}"/>
              </a:ext>
            </a:extLst>
          </p:cNvPr>
          <p:cNvSpPr>
            <a:spLocks noGrp="1"/>
          </p:cNvSpPr>
          <p:nvPr>
            <p:ph type="body" sz="quarter" idx="14" hasCustomPrompt="1"/>
          </p:nvPr>
        </p:nvSpPr>
        <p:spPr>
          <a:xfrm>
            <a:off x="292823" y="3257323"/>
            <a:ext cx="5167766" cy="2662303"/>
          </a:xfrm>
        </p:spPr>
        <p:txBody>
          <a:bodyPr>
            <a:noAutofit/>
          </a:bodyPr>
          <a:lstStyle>
            <a:lvl1pPr marL="0" marR="0" indent="0" algn="l" defTabSz="914400" rtl="0" eaLnBrk="1" fontAlgn="auto" latinLnBrk="0" hangingPunct="1">
              <a:lnSpc>
                <a:spcPct val="100000"/>
              </a:lnSpc>
              <a:spcBef>
                <a:spcPts val="1000"/>
              </a:spcBef>
              <a:spcAft>
                <a:spcPts val="0"/>
              </a:spcAft>
              <a:buClr>
                <a:srgbClr val="1670FF"/>
              </a:buClr>
              <a:buSzTx/>
              <a:buFont typeface="Arial" panose="020B0604020202020204" pitchFamily="34" charset="0"/>
              <a:buNone/>
              <a:tabLst/>
              <a:defRPr lang="en-US" sz="2000" b="0" i="0" u="none" strike="noStrike" smtClean="0">
                <a:solidFill>
                  <a:schemeClr val="bg1"/>
                </a:solidFill>
                <a:effectLst/>
                <a:latin typeface="+mn-lt"/>
                <a:ea typeface="+mn-ea"/>
                <a:cs typeface="+mn-cs"/>
              </a:defRPr>
            </a:lvl1pPr>
          </a:lstStyle>
          <a:p>
            <a:pPr lvl="0"/>
            <a:r>
              <a:rPr lang="en-US"/>
              <a:t>Text</a:t>
            </a:r>
          </a:p>
        </p:txBody>
      </p:sp>
      <p:pic>
        <p:nvPicPr>
          <p:cNvPr id="9" name="Picture 8">
            <a:extLst>
              <a:ext uri="{FF2B5EF4-FFF2-40B4-BE49-F238E27FC236}">
                <a16:creationId xmlns:a16="http://schemas.microsoft.com/office/drawing/2014/main" id="{44585851-76BE-E80D-D3A4-292AB62CD115}"/>
              </a:ext>
            </a:extLst>
          </p:cNvPr>
          <p:cNvPicPr>
            <a:picLocks noChangeAspect="1"/>
          </p:cNvPicPr>
          <p:nvPr userDrawn="1"/>
        </p:nvPicPr>
        <p:blipFill>
          <a:blip r:embed="rId8"/>
          <a:stretch>
            <a:fillRect/>
          </a:stretch>
        </p:blipFill>
        <p:spPr>
          <a:xfrm>
            <a:off x="10156038" y="4758612"/>
            <a:ext cx="2035962" cy="2099388"/>
          </a:xfrm>
          <a:prstGeom prst="rect">
            <a:avLst/>
          </a:prstGeom>
        </p:spPr>
      </p:pic>
      <p:sp>
        <p:nvSpPr>
          <p:cNvPr id="6" name="Rectangle 5">
            <a:extLst>
              <a:ext uri="{FF2B5EF4-FFF2-40B4-BE49-F238E27FC236}">
                <a16:creationId xmlns:a16="http://schemas.microsoft.com/office/drawing/2014/main" id="{B37F6E36-F8F8-F843-063A-84931F7773EA}"/>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A18E3AA9-5962-9473-7645-7BEB013433D9}"/>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E6D84388-3F4F-25B2-B3D5-0AA8ADF6A569}"/>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472C1296-DA13-AC2A-93EE-3F368B43D38C}"/>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DE0388D2-CBFA-F6A8-B106-372FC3B8456B}"/>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CDB3F081-0AF3-4167-C39E-3C5050EB49D3}"/>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F13CF6FA-E1AD-C5BD-66CF-5A71C390229C}"/>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894D1C81-92AE-E36C-6449-60C6AFBB33E0}"/>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D54BFDCE-0ACB-5474-D1E7-49CAA437041F}"/>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C931D424-3371-E659-3557-02D7DFC15D1A}"/>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Tree>
    <p:extLst>
      <p:ext uri="{BB962C8B-B14F-4D97-AF65-F5344CB8AC3E}">
        <p14:creationId xmlns:p14="http://schemas.microsoft.com/office/powerpoint/2010/main" val="336729756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attern_Text_Image5">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1B3AAF2D-CC91-B5B1-1BB3-83B988FBA943}"/>
              </a:ext>
            </a:extLst>
          </p:cNvPr>
          <p:cNvGraphicFramePr>
            <a:graphicFrameLocks noChangeAspect="1"/>
          </p:cNvGraphicFramePr>
          <p:nvPr userDrawn="1">
            <p:custDataLst>
              <p:tags r:id="rId1"/>
            </p:custDataLst>
            <p:extLst>
              <p:ext uri="{D42A27DB-BD31-4B8C-83A1-F6EECF244321}">
                <p14:modId xmlns:p14="http://schemas.microsoft.com/office/powerpoint/2010/main" val="2512886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8" name="think-cell data - do not delete" hidden="1">
                        <a:extLst>
                          <a:ext uri="{FF2B5EF4-FFF2-40B4-BE49-F238E27FC236}">
                            <a16:creationId xmlns:a16="http://schemas.microsoft.com/office/drawing/2014/main" id="{1B3AAF2D-CC91-B5B1-1BB3-83B988FBA9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Placeholder 8" descr="A person holding a banana&#10;&#10;Description automatically generated with medium confidence">
            <a:extLst>
              <a:ext uri="{FF2B5EF4-FFF2-40B4-BE49-F238E27FC236}">
                <a16:creationId xmlns:a16="http://schemas.microsoft.com/office/drawing/2014/main" id="{EA9A6640-C84F-5A74-8412-924D1500A6CF}"/>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a:xfrm>
            <a:off x="6096000" y="0"/>
            <a:ext cx="6096000" cy="6858000"/>
          </a:xfrm>
          <a:prstGeom prst="rect">
            <a:avLst/>
          </a:prstGeom>
        </p:spPr>
      </p:pic>
      <p:pic>
        <p:nvPicPr>
          <p:cNvPr id="2" name="Picture 1">
            <a:extLst>
              <a:ext uri="{FF2B5EF4-FFF2-40B4-BE49-F238E27FC236}">
                <a16:creationId xmlns:a16="http://schemas.microsoft.com/office/drawing/2014/main" id="{2FBD1E44-CD24-6711-C7D0-4CDE07E65EF7}"/>
              </a:ext>
            </a:extLst>
          </p:cNvPr>
          <p:cNvPicPr>
            <a:picLocks noChangeAspect="1"/>
          </p:cNvPicPr>
          <p:nvPr userDrawn="1"/>
        </p:nvPicPr>
        <p:blipFill>
          <a:blip r:embed="rId6"/>
          <a:stretch>
            <a:fillRect/>
          </a:stretch>
        </p:blipFill>
        <p:spPr>
          <a:xfrm>
            <a:off x="706" y="0"/>
            <a:ext cx="6095294" cy="6858000"/>
          </a:xfrm>
          <a:prstGeom prst="rect">
            <a:avLst/>
          </a:prstGeom>
        </p:spPr>
      </p:pic>
      <p:pic>
        <p:nvPicPr>
          <p:cNvPr id="3" name="Picture 2">
            <a:extLst>
              <a:ext uri="{FF2B5EF4-FFF2-40B4-BE49-F238E27FC236}">
                <a16:creationId xmlns:a16="http://schemas.microsoft.com/office/drawing/2014/main" id="{C133DAC3-88BD-0E52-51AB-F8C369F61349}"/>
              </a:ext>
            </a:extLst>
          </p:cNvPr>
          <p:cNvPicPr>
            <a:picLocks noChangeAspect="1"/>
          </p:cNvPicPr>
          <p:nvPr userDrawn="1"/>
        </p:nvPicPr>
        <p:blipFill>
          <a:blip r:embed="rId7"/>
          <a:stretch>
            <a:fillRect/>
          </a:stretch>
        </p:blipFill>
        <p:spPr>
          <a:xfrm>
            <a:off x="292823" y="6592472"/>
            <a:ext cx="2324100" cy="107950"/>
          </a:xfrm>
          <a:prstGeom prst="rect">
            <a:avLst/>
          </a:prstGeom>
        </p:spPr>
      </p:pic>
      <p:sp>
        <p:nvSpPr>
          <p:cNvPr id="5" name="Title 1">
            <a:extLst>
              <a:ext uri="{FF2B5EF4-FFF2-40B4-BE49-F238E27FC236}">
                <a16:creationId xmlns:a16="http://schemas.microsoft.com/office/drawing/2014/main" id="{8A8CFEBD-25DA-FA23-06CE-4A222A8F513B}"/>
              </a:ext>
            </a:extLst>
          </p:cNvPr>
          <p:cNvSpPr>
            <a:spLocks noGrp="1"/>
          </p:cNvSpPr>
          <p:nvPr>
            <p:ph type="title"/>
          </p:nvPr>
        </p:nvSpPr>
        <p:spPr>
          <a:xfrm>
            <a:off x="282016" y="2142035"/>
            <a:ext cx="5167766" cy="909493"/>
          </a:xfrm>
        </p:spPr>
        <p:txBody>
          <a:bodyPr>
            <a:normAutofit/>
          </a:bodyPr>
          <a:lstStyle>
            <a:lvl1pPr>
              <a:defRPr sz="2800">
                <a:solidFill>
                  <a:schemeClr val="bg1"/>
                </a:solidFill>
                <a:latin typeface="+mj-lt"/>
                <a:ea typeface="+mj-ea"/>
                <a:cs typeface="+mj-cs"/>
              </a:defRPr>
            </a:lvl1pPr>
          </a:lstStyle>
          <a:p>
            <a:endParaRPr lang="en-US"/>
          </a:p>
        </p:txBody>
      </p:sp>
      <p:sp>
        <p:nvSpPr>
          <p:cNvPr id="8" name="Text Placeholder 8">
            <a:extLst>
              <a:ext uri="{FF2B5EF4-FFF2-40B4-BE49-F238E27FC236}">
                <a16:creationId xmlns:a16="http://schemas.microsoft.com/office/drawing/2014/main" id="{4D573E30-C2C0-E163-96D3-C82C6C3076C1}"/>
              </a:ext>
            </a:extLst>
          </p:cNvPr>
          <p:cNvSpPr>
            <a:spLocks noGrp="1"/>
          </p:cNvSpPr>
          <p:nvPr>
            <p:ph type="body" sz="quarter" idx="14" hasCustomPrompt="1"/>
          </p:nvPr>
        </p:nvSpPr>
        <p:spPr>
          <a:xfrm>
            <a:off x="292823" y="3257323"/>
            <a:ext cx="5167766" cy="2662303"/>
          </a:xfrm>
        </p:spPr>
        <p:txBody>
          <a:bodyPr>
            <a:noAutofit/>
          </a:bodyPr>
          <a:lstStyle>
            <a:lvl1pPr marL="0" marR="0" indent="0" algn="l" defTabSz="914400" rtl="0" eaLnBrk="1" fontAlgn="auto" latinLnBrk="0" hangingPunct="1">
              <a:lnSpc>
                <a:spcPct val="100000"/>
              </a:lnSpc>
              <a:spcBef>
                <a:spcPts val="1000"/>
              </a:spcBef>
              <a:spcAft>
                <a:spcPts val="0"/>
              </a:spcAft>
              <a:buClr>
                <a:srgbClr val="1670FF"/>
              </a:buClr>
              <a:buSzTx/>
              <a:buFont typeface="Arial" panose="020B0604020202020204" pitchFamily="34" charset="0"/>
              <a:buNone/>
              <a:tabLst/>
              <a:defRPr lang="en-US" sz="2000" b="0" i="0" u="none" strike="noStrike" smtClean="0">
                <a:solidFill>
                  <a:schemeClr val="bg1"/>
                </a:solidFill>
                <a:effectLst/>
                <a:latin typeface="+mn-lt"/>
                <a:ea typeface="+mn-ea"/>
                <a:cs typeface="+mn-cs"/>
              </a:defRPr>
            </a:lvl1pPr>
          </a:lstStyle>
          <a:p>
            <a:pPr lvl="0"/>
            <a:r>
              <a:rPr lang="en-US"/>
              <a:t>Text</a:t>
            </a:r>
          </a:p>
        </p:txBody>
      </p:sp>
      <p:pic>
        <p:nvPicPr>
          <p:cNvPr id="9" name="Picture 8">
            <a:extLst>
              <a:ext uri="{FF2B5EF4-FFF2-40B4-BE49-F238E27FC236}">
                <a16:creationId xmlns:a16="http://schemas.microsoft.com/office/drawing/2014/main" id="{44585851-76BE-E80D-D3A4-292AB62CD115}"/>
              </a:ext>
            </a:extLst>
          </p:cNvPr>
          <p:cNvPicPr>
            <a:picLocks noChangeAspect="1"/>
          </p:cNvPicPr>
          <p:nvPr userDrawn="1"/>
        </p:nvPicPr>
        <p:blipFill>
          <a:blip r:embed="rId8"/>
          <a:stretch>
            <a:fillRect/>
          </a:stretch>
        </p:blipFill>
        <p:spPr>
          <a:xfrm>
            <a:off x="10156038" y="4758612"/>
            <a:ext cx="2035962" cy="2099388"/>
          </a:xfrm>
          <a:prstGeom prst="rect">
            <a:avLst/>
          </a:prstGeom>
        </p:spPr>
      </p:pic>
      <p:sp>
        <p:nvSpPr>
          <p:cNvPr id="4" name="Rectangle 3">
            <a:extLst>
              <a:ext uri="{FF2B5EF4-FFF2-40B4-BE49-F238E27FC236}">
                <a16:creationId xmlns:a16="http://schemas.microsoft.com/office/drawing/2014/main" id="{9F0F0048-6C8D-7881-DD03-E710C514FFB3}"/>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663BD74D-7F42-7AAA-5B4C-4731849485E5}"/>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6406D6D6-7BAB-8220-615B-73C7F2AF476C}"/>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8980DEAA-5409-40EA-89DB-D10D724909A8}"/>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0F63B611-096C-A87C-763C-E1923CBF09E0}"/>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4AE05D23-A50C-3444-D19B-11803776FD4D}"/>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5FAE1BC7-A4BE-0803-80F9-3F7568DE51D9}"/>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1593A00E-259E-2BE5-795D-29BA529EC01E}"/>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92485D10-AE20-415F-7066-FDB91E1C2FE4}"/>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25998055-DFDD-BE62-910C-EAD84A796DF5}"/>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Tree>
    <p:extLst>
      <p:ext uri="{BB962C8B-B14F-4D97-AF65-F5344CB8AC3E}">
        <p14:creationId xmlns:p14="http://schemas.microsoft.com/office/powerpoint/2010/main" val="39787257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_White">
    <p:bg>
      <p:bgPr>
        <a:solidFill>
          <a:schemeClr val="bg1"/>
        </a:solidFill>
        <a:effectLst/>
      </p:bgPr>
    </p:bg>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F7E7D7AC-AFE8-1B8D-B55F-8DEC7E115C26}"/>
              </a:ext>
            </a:extLst>
          </p:cNvPr>
          <p:cNvGraphicFramePr>
            <a:graphicFrameLocks noChangeAspect="1"/>
          </p:cNvGraphicFramePr>
          <p:nvPr userDrawn="1">
            <p:custDataLst>
              <p:tags r:id="rId1"/>
            </p:custDataLst>
            <p:extLst>
              <p:ext uri="{D42A27DB-BD31-4B8C-83A1-F6EECF244321}">
                <p14:modId xmlns:p14="http://schemas.microsoft.com/office/powerpoint/2010/main" val="3240372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7" name="think-cell data - do not delete" hidden="1">
                        <a:extLst>
                          <a:ext uri="{FF2B5EF4-FFF2-40B4-BE49-F238E27FC236}">
                            <a16:creationId xmlns:a16="http://schemas.microsoft.com/office/drawing/2014/main" id="{F7E7D7AC-AFE8-1B8D-B55F-8DEC7E115C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65A8E4F6-1894-77A0-2CE3-95A94C1F372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908966" y="5485931"/>
            <a:ext cx="4283034" cy="1616164"/>
          </a:xfrm>
          <a:prstGeom prst="rect">
            <a:avLst/>
          </a:prstGeom>
        </p:spPr>
      </p:pic>
      <p:pic>
        <p:nvPicPr>
          <p:cNvPr id="11" name="Picture 10">
            <a:extLst>
              <a:ext uri="{FF2B5EF4-FFF2-40B4-BE49-F238E27FC236}">
                <a16:creationId xmlns:a16="http://schemas.microsoft.com/office/drawing/2014/main" id="{78D175BA-52D5-4F17-0EE7-784CFB789AE4}"/>
              </a:ext>
            </a:extLst>
          </p:cNvPr>
          <p:cNvPicPr>
            <a:picLocks noChangeAspect="1"/>
          </p:cNvPicPr>
          <p:nvPr userDrawn="1"/>
        </p:nvPicPr>
        <p:blipFill>
          <a:blip r:embed="rId6"/>
          <a:stretch>
            <a:fillRect/>
          </a:stretch>
        </p:blipFill>
        <p:spPr>
          <a:xfrm>
            <a:off x="295737" y="6584987"/>
            <a:ext cx="2324100" cy="107950"/>
          </a:xfrm>
          <a:prstGeom prst="rect">
            <a:avLst/>
          </a:prstGeom>
        </p:spPr>
      </p:pic>
      <p:sp>
        <p:nvSpPr>
          <p:cNvPr id="12" name="Title 1">
            <a:extLst>
              <a:ext uri="{FF2B5EF4-FFF2-40B4-BE49-F238E27FC236}">
                <a16:creationId xmlns:a16="http://schemas.microsoft.com/office/drawing/2014/main" id="{C82FF431-011F-065B-7635-3B0775D7689B}"/>
              </a:ext>
            </a:extLst>
          </p:cNvPr>
          <p:cNvSpPr>
            <a:spLocks noGrp="1"/>
          </p:cNvSpPr>
          <p:nvPr>
            <p:ph type="title" hasCustomPrompt="1"/>
          </p:nvPr>
        </p:nvSpPr>
        <p:spPr>
          <a:xfrm>
            <a:off x="295737" y="382660"/>
            <a:ext cx="9053536" cy="909493"/>
          </a:xfrm>
        </p:spPr>
        <p:txBody>
          <a:bodyPr vert="horz">
            <a:normAutofit/>
          </a:bodyPr>
          <a:lstStyle>
            <a:lvl1pPr>
              <a:defRPr sz="4000">
                <a:solidFill>
                  <a:srgbClr val="143DCF"/>
                </a:solidFill>
                <a:latin typeface="+mj-lt"/>
                <a:ea typeface="+mj-ea"/>
                <a:cs typeface="+mj-cs"/>
              </a:defRPr>
            </a:lvl1pPr>
          </a:lstStyle>
          <a:p>
            <a:r>
              <a:rPr lang="en-US"/>
              <a:t>Your Title</a:t>
            </a:r>
          </a:p>
        </p:txBody>
      </p:sp>
      <p:sp>
        <p:nvSpPr>
          <p:cNvPr id="13" name="Text Placeholder 14">
            <a:extLst>
              <a:ext uri="{FF2B5EF4-FFF2-40B4-BE49-F238E27FC236}">
                <a16:creationId xmlns:a16="http://schemas.microsoft.com/office/drawing/2014/main" id="{24CF03F9-CCF4-96AE-8B45-2355FC415BC8}"/>
              </a:ext>
            </a:extLst>
          </p:cNvPr>
          <p:cNvSpPr>
            <a:spLocks noGrp="1"/>
          </p:cNvSpPr>
          <p:nvPr>
            <p:ph type="body" sz="quarter" idx="10" hasCustomPrompt="1"/>
          </p:nvPr>
        </p:nvSpPr>
        <p:spPr>
          <a:xfrm>
            <a:off x="295737" y="1470453"/>
            <a:ext cx="9053536" cy="698500"/>
          </a:xfrm>
        </p:spPr>
        <p:txBody>
          <a:bodyPr>
            <a:normAutofit/>
          </a:bodyPr>
          <a:lstStyle>
            <a:lvl1pPr marL="0" indent="0">
              <a:buNone/>
              <a:defRPr sz="2800" b="0" i="0">
                <a:solidFill>
                  <a:srgbClr val="143DCF"/>
                </a:solidFill>
                <a:latin typeface="+mn-lt"/>
                <a:ea typeface="+mn-ea"/>
                <a:cs typeface="+mn-cs"/>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a:t>Subtitle</a:t>
            </a:r>
          </a:p>
          <a:p>
            <a:pPr lvl="0"/>
            <a:endParaRPr lang="en-US"/>
          </a:p>
        </p:txBody>
      </p:sp>
      <p:sp>
        <p:nvSpPr>
          <p:cNvPr id="2" name="Rectangle 1">
            <a:extLst>
              <a:ext uri="{FF2B5EF4-FFF2-40B4-BE49-F238E27FC236}">
                <a16:creationId xmlns:a16="http://schemas.microsoft.com/office/drawing/2014/main" id="{44D9D17C-9524-6BEF-CF6C-A919225A046A}"/>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4" name="Rectangle 3">
            <a:extLst>
              <a:ext uri="{FF2B5EF4-FFF2-40B4-BE49-F238E27FC236}">
                <a16:creationId xmlns:a16="http://schemas.microsoft.com/office/drawing/2014/main" id="{43D83AB3-9AA2-719C-C570-5EE9D851A47F}"/>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6" name="Rectangle 5">
            <a:extLst>
              <a:ext uri="{FF2B5EF4-FFF2-40B4-BE49-F238E27FC236}">
                <a16:creationId xmlns:a16="http://schemas.microsoft.com/office/drawing/2014/main" id="{7E7EBA05-7D13-4F9E-288A-885510462A4A}"/>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BEAFBA32-3C18-8B2C-D7A5-0D90858D5882}"/>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8" name="Rectangle 7">
            <a:extLst>
              <a:ext uri="{FF2B5EF4-FFF2-40B4-BE49-F238E27FC236}">
                <a16:creationId xmlns:a16="http://schemas.microsoft.com/office/drawing/2014/main" id="{B0602411-09B0-77D6-A104-890436EF9355}"/>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0E3A570A-65CD-F75D-6902-90515431D59E}"/>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15475AFB-9996-B4B5-CD29-64048A6DCE5C}"/>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B8B8F73E-803E-DCCC-5754-C5E8685FE885}"/>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BD51C619-AFD1-BE75-3F5D-7C54EB750DDB}"/>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7BBE4D7D-F752-1FE1-4383-11EEBB02B314}"/>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pic>
        <p:nvPicPr>
          <p:cNvPr id="18" name="Picture 17" descr="A screenshot of a video game&#10;&#10;Description automatically generated with medium confidence">
            <a:extLst>
              <a:ext uri="{FF2B5EF4-FFF2-40B4-BE49-F238E27FC236}">
                <a16:creationId xmlns:a16="http://schemas.microsoft.com/office/drawing/2014/main" id="{81C28E8A-BDB9-EAFD-A709-096057EC9BC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135485" y="115210"/>
            <a:ext cx="3086332" cy="1266093"/>
          </a:xfrm>
          <a:prstGeom prst="rect">
            <a:avLst/>
          </a:prstGeom>
        </p:spPr>
      </p:pic>
    </p:spTree>
    <p:extLst>
      <p:ext uri="{BB962C8B-B14F-4D97-AF65-F5344CB8AC3E}">
        <p14:creationId xmlns:p14="http://schemas.microsoft.com/office/powerpoint/2010/main" val="3651331872"/>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Green_Image01">
    <p:bg>
      <p:bgPr>
        <a:solidFill>
          <a:schemeClr val="bg1"/>
        </a:solidFill>
        <a:effectLst/>
      </p:bgPr>
    </p:bg>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531E96C5-D9AD-571B-51C2-15F680B38AD8}"/>
              </a:ext>
            </a:extLst>
          </p:cNvPr>
          <p:cNvGraphicFramePr>
            <a:graphicFrameLocks noChangeAspect="1"/>
          </p:cNvGraphicFramePr>
          <p:nvPr userDrawn="1">
            <p:custDataLst>
              <p:tags r:id="rId1"/>
            </p:custDataLst>
            <p:extLst>
              <p:ext uri="{D42A27DB-BD31-4B8C-83A1-F6EECF244321}">
                <p14:modId xmlns:p14="http://schemas.microsoft.com/office/powerpoint/2010/main" val="24327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0" name="think-cell data - do not delete" hidden="1">
                        <a:extLst>
                          <a:ext uri="{FF2B5EF4-FFF2-40B4-BE49-F238E27FC236}">
                            <a16:creationId xmlns:a16="http://schemas.microsoft.com/office/drawing/2014/main" id="{531E96C5-D9AD-571B-51C2-15F680B38A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69597D7B-4F79-F2FE-A00F-275A81C10F96}"/>
              </a:ext>
            </a:extLst>
          </p:cNvPr>
          <p:cNvPicPr>
            <a:picLocks noChangeAspect="1"/>
          </p:cNvPicPr>
          <p:nvPr userDrawn="1"/>
        </p:nvPicPr>
        <p:blipFill>
          <a:blip r:embed="rId5"/>
          <a:stretch>
            <a:fillRect/>
          </a:stretch>
        </p:blipFill>
        <p:spPr>
          <a:xfrm>
            <a:off x="0" y="0"/>
            <a:ext cx="12203364" cy="6858000"/>
          </a:xfrm>
          <a:prstGeom prst="rect">
            <a:avLst/>
          </a:prstGeom>
        </p:spPr>
      </p:pic>
      <p:pic>
        <p:nvPicPr>
          <p:cNvPr id="3" name="Picture 2" descr="A hand holding a bottle of water&#10;&#10;Description automatically generated with medium confidence">
            <a:extLst>
              <a:ext uri="{FF2B5EF4-FFF2-40B4-BE49-F238E27FC236}">
                <a16:creationId xmlns:a16="http://schemas.microsoft.com/office/drawing/2014/main" id="{BE597E7F-AA54-B8B8-06DB-4C82A26BA647}"/>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t="-226"/>
          <a:stretch/>
        </p:blipFill>
        <p:spPr>
          <a:xfrm>
            <a:off x="-18492" y="-5642"/>
            <a:ext cx="6483963" cy="6858000"/>
          </a:xfrm>
          <a:prstGeom prst="rect">
            <a:avLst/>
          </a:prstGeom>
        </p:spPr>
      </p:pic>
      <p:sp>
        <p:nvSpPr>
          <p:cNvPr id="12" name="Text Placeholder 8">
            <a:extLst>
              <a:ext uri="{FF2B5EF4-FFF2-40B4-BE49-F238E27FC236}">
                <a16:creationId xmlns:a16="http://schemas.microsoft.com/office/drawing/2014/main" id="{7379A544-2454-C20E-7DF8-B7CE112ACBED}"/>
              </a:ext>
            </a:extLst>
          </p:cNvPr>
          <p:cNvSpPr>
            <a:spLocks noGrp="1"/>
          </p:cNvSpPr>
          <p:nvPr>
            <p:ph type="body" sz="quarter" idx="14" hasCustomPrompt="1"/>
          </p:nvPr>
        </p:nvSpPr>
        <p:spPr>
          <a:xfrm>
            <a:off x="7182354" y="2902454"/>
            <a:ext cx="4335319" cy="3400910"/>
          </a:xfrm>
        </p:spPr>
        <p:txBody>
          <a:bodyPr>
            <a:normAutofit/>
          </a:bodyPr>
          <a:lstStyle>
            <a:lvl1pPr marL="0" marR="0" indent="0" algn="l" defTabSz="914400" rtl="0" eaLnBrk="1" fontAlgn="auto" latinLnBrk="0" hangingPunct="1">
              <a:lnSpc>
                <a:spcPct val="100000"/>
              </a:lnSpc>
              <a:spcBef>
                <a:spcPts val="1000"/>
              </a:spcBef>
              <a:spcAft>
                <a:spcPts val="0"/>
              </a:spcAft>
              <a:buClr>
                <a:srgbClr val="1670FF"/>
              </a:buClr>
              <a:buSzTx/>
              <a:buFont typeface="Arial" panose="020B0604020202020204" pitchFamily="34" charset="0"/>
              <a:buNone/>
              <a:tabLst/>
              <a:defRPr lang="en-US" sz="1800" b="0" i="0" u="none" strike="noStrike" smtClean="0">
                <a:solidFill>
                  <a:srgbClr val="153DCF"/>
                </a:solidFill>
                <a:effectLst/>
                <a:latin typeface="+mn-lt"/>
                <a:ea typeface="+mn-ea"/>
                <a:cs typeface="+mn-cs"/>
              </a:defRPr>
            </a:lvl1pPr>
          </a:lstStyle>
          <a:p>
            <a:pPr lvl="0"/>
            <a:r>
              <a:rPr lang="en-US"/>
              <a:t>Text</a:t>
            </a:r>
          </a:p>
          <a:p>
            <a:pPr lvl="0"/>
            <a:endParaRPr lang="en-US"/>
          </a:p>
        </p:txBody>
      </p:sp>
      <p:sp>
        <p:nvSpPr>
          <p:cNvPr id="13" name="Text Placeholder 6">
            <a:extLst>
              <a:ext uri="{FF2B5EF4-FFF2-40B4-BE49-F238E27FC236}">
                <a16:creationId xmlns:a16="http://schemas.microsoft.com/office/drawing/2014/main" id="{1DBC28C7-68DA-93C2-B578-345AA178468D}"/>
              </a:ext>
            </a:extLst>
          </p:cNvPr>
          <p:cNvSpPr>
            <a:spLocks noGrp="1"/>
          </p:cNvSpPr>
          <p:nvPr>
            <p:ph type="body" sz="quarter" idx="13" hasCustomPrompt="1"/>
          </p:nvPr>
        </p:nvSpPr>
        <p:spPr>
          <a:xfrm>
            <a:off x="7182354" y="986379"/>
            <a:ext cx="4335319" cy="734982"/>
          </a:xfrm>
        </p:spPr>
        <p:txBody>
          <a:bodyPr>
            <a:noAutofit/>
          </a:bodyPr>
          <a:lstStyle>
            <a:lvl1pPr marL="0" indent="0">
              <a:buNone/>
              <a:defRPr sz="3600" b="1" i="0">
                <a:solidFill>
                  <a:srgbClr val="153DCF"/>
                </a:solidFill>
                <a:latin typeface="+mn-lt"/>
                <a:ea typeface="+mn-ea"/>
                <a:cs typeface="+mn-cs"/>
              </a:defRPr>
            </a:lvl1pPr>
          </a:lstStyle>
          <a:p>
            <a:pPr lvl="0"/>
            <a:r>
              <a:rPr lang="en-US"/>
              <a:t>Project name</a:t>
            </a:r>
          </a:p>
        </p:txBody>
      </p:sp>
      <p:sp>
        <p:nvSpPr>
          <p:cNvPr id="14" name="Text Placeholder 6">
            <a:extLst>
              <a:ext uri="{FF2B5EF4-FFF2-40B4-BE49-F238E27FC236}">
                <a16:creationId xmlns:a16="http://schemas.microsoft.com/office/drawing/2014/main" id="{A2256A95-FE52-0DE0-0B03-10A7B28EB54B}"/>
              </a:ext>
            </a:extLst>
          </p:cNvPr>
          <p:cNvSpPr>
            <a:spLocks noGrp="1"/>
          </p:cNvSpPr>
          <p:nvPr>
            <p:ph type="body" sz="quarter" idx="15" hasCustomPrompt="1"/>
          </p:nvPr>
        </p:nvSpPr>
        <p:spPr>
          <a:xfrm>
            <a:off x="7182354" y="1612836"/>
            <a:ext cx="4335319" cy="734982"/>
          </a:xfrm>
        </p:spPr>
        <p:txBody>
          <a:bodyPr>
            <a:noAutofit/>
          </a:bodyPr>
          <a:lstStyle>
            <a:lvl1pPr marL="0" indent="0">
              <a:buNone/>
              <a:defRPr sz="3200" b="0" i="0">
                <a:solidFill>
                  <a:schemeClr val="bg1"/>
                </a:solidFill>
                <a:latin typeface="+mn-lt"/>
                <a:ea typeface="+mn-ea"/>
                <a:cs typeface="+mn-cs"/>
              </a:defRPr>
            </a:lvl1pPr>
          </a:lstStyle>
          <a:p>
            <a:pPr lvl="0"/>
            <a:r>
              <a:rPr lang="en-US"/>
              <a:t>Subtitle </a:t>
            </a:r>
          </a:p>
        </p:txBody>
      </p:sp>
      <p:pic>
        <p:nvPicPr>
          <p:cNvPr id="16" name="Picture 15">
            <a:extLst>
              <a:ext uri="{FF2B5EF4-FFF2-40B4-BE49-F238E27FC236}">
                <a16:creationId xmlns:a16="http://schemas.microsoft.com/office/drawing/2014/main" id="{42A69CF0-4402-BE32-A874-3CD7EF17F94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8492" y="2081462"/>
            <a:ext cx="4776537" cy="4776537"/>
          </a:xfrm>
          <a:prstGeom prst="rect">
            <a:avLst/>
          </a:prstGeom>
        </p:spPr>
      </p:pic>
      <p:pic>
        <p:nvPicPr>
          <p:cNvPr id="4" name="Picture 3">
            <a:extLst>
              <a:ext uri="{FF2B5EF4-FFF2-40B4-BE49-F238E27FC236}">
                <a16:creationId xmlns:a16="http://schemas.microsoft.com/office/drawing/2014/main" id="{A8963B79-4ED0-E8B7-4BDE-994AA662AF2A}"/>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515600" y="0"/>
            <a:ext cx="1680634" cy="1218978"/>
          </a:xfrm>
          <a:prstGeom prst="rect">
            <a:avLst/>
          </a:prstGeom>
        </p:spPr>
      </p:pic>
      <p:sp>
        <p:nvSpPr>
          <p:cNvPr id="6" name="TextBox 5">
            <a:extLst>
              <a:ext uri="{FF2B5EF4-FFF2-40B4-BE49-F238E27FC236}">
                <a16:creationId xmlns:a16="http://schemas.microsoft.com/office/drawing/2014/main" id="{0918738C-0866-70C9-A425-B3D16DBBB117}"/>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mn-lt"/>
                <a:ea typeface="+mn-ea"/>
                <a:cs typeface="+mn-cs"/>
              </a:rPr>
              <a:pPr algn="r"/>
              <a:t>‹#›</a:t>
            </a:fld>
            <a:endParaRPr lang="en-US" sz="700" spc="300">
              <a:solidFill>
                <a:schemeClr val="bg1"/>
              </a:solidFill>
              <a:latin typeface="+mn-lt"/>
              <a:ea typeface="+mn-ea"/>
              <a:cs typeface="+mn-cs"/>
            </a:endParaRPr>
          </a:p>
        </p:txBody>
      </p:sp>
      <p:sp>
        <p:nvSpPr>
          <p:cNvPr id="5" name="Rectangle 4">
            <a:extLst>
              <a:ext uri="{FF2B5EF4-FFF2-40B4-BE49-F238E27FC236}">
                <a16:creationId xmlns:a16="http://schemas.microsoft.com/office/drawing/2014/main" id="{FFF4A8BB-23B4-0E60-2AE4-0311F04F49E8}"/>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14466485-941E-37BB-C00E-F591177E4588}"/>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8" name="Rectangle 7">
            <a:extLst>
              <a:ext uri="{FF2B5EF4-FFF2-40B4-BE49-F238E27FC236}">
                <a16:creationId xmlns:a16="http://schemas.microsoft.com/office/drawing/2014/main" id="{6BAD85D5-2F1E-2411-A352-A2DB424AF7D6}"/>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AF683FF1-71D0-C05C-CCF2-C1AE7C91D434}"/>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EA64E530-99BD-7008-8BD8-B1AD053D154E}"/>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20FA1415-C381-0079-6795-E5233A4859CF}"/>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DB526404-6F99-F9E8-B86D-1F2EB76C59F8}"/>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ED5C9550-AC32-4219-D43D-89E9E9631488}"/>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8" name="Rectangle 17">
            <a:extLst>
              <a:ext uri="{FF2B5EF4-FFF2-40B4-BE49-F238E27FC236}">
                <a16:creationId xmlns:a16="http://schemas.microsoft.com/office/drawing/2014/main" id="{CB07EC87-B9A7-22A6-C11F-794789EC9B1C}"/>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9" name="Rectangle 18">
            <a:extLst>
              <a:ext uri="{FF2B5EF4-FFF2-40B4-BE49-F238E27FC236}">
                <a16:creationId xmlns:a16="http://schemas.microsoft.com/office/drawing/2014/main" id="{4994F5A0-762B-71F2-E4DC-A65933A906E7}"/>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Tree>
    <p:extLst>
      <p:ext uri="{BB962C8B-B14F-4D97-AF65-F5344CB8AC3E}">
        <p14:creationId xmlns:p14="http://schemas.microsoft.com/office/powerpoint/2010/main" val="3615152510"/>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Green_Image02">
    <p:bg>
      <p:bgPr>
        <a:solidFill>
          <a:schemeClr val="bg1"/>
        </a:solidFill>
        <a:effectLst/>
      </p:bgPr>
    </p:bg>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FF2CE06B-8085-250F-2C6F-370D539F527A}"/>
              </a:ext>
            </a:extLst>
          </p:cNvPr>
          <p:cNvGraphicFramePr>
            <a:graphicFrameLocks noChangeAspect="1"/>
          </p:cNvGraphicFramePr>
          <p:nvPr userDrawn="1">
            <p:custDataLst>
              <p:tags r:id="rId1"/>
            </p:custDataLst>
            <p:extLst>
              <p:ext uri="{D42A27DB-BD31-4B8C-83A1-F6EECF244321}">
                <p14:modId xmlns:p14="http://schemas.microsoft.com/office/powerpoint/2010/main" val="1003805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0" name="think-cell data - do not delete" hidden="1">
                        <a:extLst>
                          <a:ext uri="{FF2B5EF4-FFF2-40B4-BE49-F238E27FC236}">
                            <a16:creationId xmlns:a16="http://schemas.microsoft.com/office/drawing/2014/main" id="{FF2CE06B-8085-250F-2C6F-370D539F52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69597D7B-4F79-F2FE-A00F-275A81C10F96}"/>
              </a:ext>
            </a:extLst>
          </p:cNvPr>
          <p:cNvPicPr>
            <a:picLocks noChangeAspect="1"/>
          </p:cNvPicPr>
          <p:nvPr userDrawn="1"/>
        </p:nvPicPr>
        <p:blipFill>
          <a:blip r:embed="rId5"/>
          <a:stretch>
            <a:fillRect/>
          </a:stretch>
        </p:blipFill>
        <p:spPr>
          <a:xfrm>
            <a:off x="0" y="0"/>
            <a:ext cx="12203364" cy="6858000"/>
          </a:xfrm>
          <a:prstGeom prst="rect">
            <a:avLst/>
          </a:prstGeom>
        </p:spPr>
      </p:pic>
      <p:pic>
        <p:nvPicPr>
          <p:cNvPr id="5" name="Picture Placeholder 7" descr="A person wearing glasses&#10;&#10;Description automatically generated with medium confidence">
            <a:extLst>
              <a:ext uri="{FF2B5EF4-FFF2-40B4-BE49-F238E27FC236}">
                <a16:creationId xmlns:a16="http://schemas.microsoft.com/office/drawing/2014/main" id="{03576E69-16F4-B92B-7B54-9BEE75F24B90}"/>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a:fillRect/>
          </a:stretch>
        </p:blipFill>
        <p:spPr>
          <a:xfrm>
            <a:off x="12699" y="-11875"/>
            <a:ext cx="6483963" cy="6858000"/>
          </a:xfrm>
          <a:prstGeom prst="rect">
            <a:avLst/>
          </a:prstGeom>
        </p:spPr>
      </p:pic>
      <p:sp>
        <p:nvSpPr>
          <p:cNvPr id="12" name="Text Placeholder 8">
            <a:extLst>
              <a:ext uri="{FF2B5EF4-FFF2-40B4-BE49-F238E27FC236}">
                <a16:creationId xmlns:a16="http://schemas.microsoft.com/office/drawing/2014/main" id="{7379A544-2454-C20E-7DF8-B7CE112ACBED}"/>
              </a:ext>
            </a:extLst>
          </p:cNvPr>
          <p:cNvSpPr>
            <a:spLocks noGrp="1"/>
          </p:cNvSpPr>
          <p:nvPr>
            <p:ph type="body" sz="quarter" idx="14" hasCustomPrompt="1"/>
          </p:nvPr>
        </p:nvSpPr>
        <p:spPr>
          <a:xfrm>
            <a:off x="7182354" y="2902454"/>
            <a:ext cx="4335319" cy="3400910"/>
          </a:xfrm>
        </p:spPr>
        <p:txBody>
          <a:bodyPr>
            <a:normAutofit/>
          </a:bodyPr>
          <a:lstStyle>
            <a:lvl1pPr marL="0" marR="0" indent="0" algn="l" defTabSz="914400" rtl="0" eaLnBrk="1" fontAlgn="auto" latinLnBrk="0" hangingPunct="1">
              <a:lnSpc>
                <a:spcPct val="100000"/>
              </a:lnSpc>
              <a:spcBef>
                <a:spcPts val="1000"/>
              </a:spcBef>
              <a:spcAft>
                <a:spcPts val="0"/>
              </a:spcAft>
              <a:buClr>
                <a:srgbClr val="1670FF"/>
              </a:buClr>
              <a:buSzTx/>
              <a:buFont typeface="Arial" panose="020B0604020202020204" pitchFamily="34" charset="0"/>
              <a:buNone/>
              <a:tabLst/>
              <a:defRPr lang="en-US" sz="1800" b="0" i="0" u="none" strike="noStrike" smtClean="0">
                <a:solidFill>
                  <a:srgbClr val="153DCF"/>
                </a:solidFill>
                <a:effectLst/>
                <a:latin typeface="+mn-lt"/>
                <a:ea typeface="+mn-ea"/>
                <a:cs typeface="+mn-cs"/>
              </a:defRPr>
            </a:lvl1pPr>
          </a:lstStyle>
          <a:p>
            <a:pPr lvl="0"/>
            <a:r>
              <a:rPr lang="en-US"/>
              <a:t>Text</a:t>
            </a:r>
          </a:p>
        </p:txBody>
      </p:sp>
      <p:sp>
        <p:nvSpPr>
          <p:cNvPr id="13" name="Text Placeholder 6">
            <a:extLst>
              <a:ext uri="{FF2B5EF4-FFF2-40B4-BE49-F238E27FC236}">
                <a16:creationId xmlns:a16="http://schemas.microsoft.com/office/drawing/2014/main" id="{1DBC28C7-68DA-93C2-B578-345AA178468D}"/>
              </a:ext>
            </a:extLst>
          </p:cNvPr>
          <p:cNvSpPr>
            <a:spLocks noGrp="1"/>
          </p:cNvSpPr>
          <p:nvPr>
            <p:ph type="body" sz="quarter" idx="13" hasCustomPrompt="1"/>
          </p:nvPr>
        </p:nvSpPr>
        <p:spPr>
          <a:xfrm>
            <a:off x="7182354" y="986379"/>
            <a:ext cx="4335319" cy="734982"/>
          </a:xfrm>
        </p:spPr>
        <p:txBody>
          <a:bodyPr>
            <a:noAutofit/>
          </a:bodyPr>
          <a:lstStyle>
            <a:lvl1pPr marL="0" indent="0">
              <a:buNone/>
              <a:defRPr sz="3600" b="1" i="0">
                <a:solidFill>
                  <a:srgbClr val="153DCF"/>
                </a:solidFill>
                <a:latin typeface="+mn-lt"/>
                <a:ea typeface="+mn-ea"/>
                <a:cs typeface="+mn-cs"/>
              </a:defRPr>
            </a:lvl1pPr>
          </a:lstStyle>
          <a:p>
            <a:pPr lvl="0"/>
            <a:r>
              <a:rPr lang="en-US"/>
              <a:t>Project name</a:t>
            </a:r>
          </a:p>
        </p:txBody>
      </p:sp>
      <p:sp>
        <p:nvSpPr>
          <p:cNvPr id="14" name="Text Placeholder 6">
            <a:extLst>
              <a:ext uri="{FF2B5EF4-FFF2-40B4-BE49-F238E27FC236}">
                <a16:creationId xmlns:a16="http://schemas.microsoft.com/office/drawing/2014/main" id="{A2256A95-FE52-0DE0-0B03-10A7B28EB54B}"/>
              </a:ext>
            </a:extLst>
          </p:cNvPr>
          <p:cNvSpPr>
            <a:spLocks noGrp="1"/>
          </p:cNvSpPr>
          <p:nvPr>
            <p:ph type="body" sz="quarter" idx="15" hasCustomPrompt="1"/>
          </p:nvPr>
        </p:nvSpPr>
        <p:spPr>
          <a:xfrm>
            <a:off x="7182354" y="1612836"/>
            <a:ext cx="4335319" cy="734982"/>
          </a:xfrm>
        </p:spPr>
        <p:txBody>
          <a:bodyPr>
            <a:noAutofit/>
          </a:bodyPr>
          <a:lstStyle>
            <a:lvl1pPr marL="0" indent="0">
              <a:buNone/>
              <a:defRPr sz="3200" b="0" i="0">
                <a:solidFill>
                  <a:schemeClr val="bg1"/>
                </a:solidFill>
                <a:latin typeface="+mn-lt"/>
                <a:ea typeface="+mn-ea"/>
                <a:cs typeface="+mn-cs"/>
              </a:defRPr>
            </a:lvl1pPr>
          </a:lstStyle>
          <a:p>
            <a:pPr lvl="0"/>
            <a:r>
              <a:rPr lang="en-US"/>
              <a:t>Subtitle </a:t>
            </a:r>
          </a:p>
        </p:txBody>
      </p:sp>
      <p:pic>
        <p:nvPicPr>
          <p:cNvPr id="16" name="Picture 15">
            <a:extLst>
              <a:ext uri="{FF2B5EF4-FFF2-40B4-BE49-F238E27FC236}">
                <a16:creationId xmlns:a16="http://schemas.microsoft.com/office/drawing/2014/main" id="{42A69CF0-4402-BE32-A874-3CD7EF17F94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8492" y="2081462"/>
            <a:ext cx="4776537" cy="4776537"/>
          </a:xfrm>
          <a:prstGeom prst="rect">
            <a:avLst/>
          </a:prstGeom>
        </p:spPr>
      </p:pic>
      <p:pic>
        <p:nvPicPr>
          <p:cNvPr id="4" name="Picture 3">
            <a:extLst>
              <a:ext uri="{FF2B5EF4-FFF2-40B4-BE49-F238E27FC236}">
                <a16:creationId xmlns:a16="http://schemas.microsoft.com/office/drawing/2014/main" id="{A8963B79-4ED0-E8B7-4BDE-994AA662AF2A}"/>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515600" y="0"/>
            <a:ext cx="1680634" cy="1218978"/>
          </a:xfrm>
          <a:prstGeom prst="rect">
            <a:avLst/>
          </a:prstGeom>
        </p:spPr>
      </p:pic>
      <p:sp>
        <p:nvSpPr>
          <p:cNvPr id="6" name="TextBox 5">
            <a:extLst>
              <a:ext uri="{FF2B5EF4-FFF2-40B4-BE49-F238E27FC236}">
                <a16:creationId xmlns:a16="http://schemas.microsoft.com/office/drawing/2014/main" id="{D83ACBA6-ED65-A075-044C-157A3988DD07}"/>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mn-lt"/>
                <a:ea typeface="+mn-ea"/>
                <a:cs typeface="+mn-cs"/>
              </a:rPr>
              <a:pPr algn="r"/>
              <a:t>‹#›</a:t>
            </a:fld>
            <a:endParaRPr lang="en-US" sz="700" spc="300">
              <a:solidFill>
                <a:schemeClr val="bg1"/>
              </a:solidFill>
              <a:latin typeface="+mn-lt"/>
              <a:ea typeface="+mn-ea"/>
              <a:cs typeface="+mn-cs"/>
            </a:endParaRPr>
          </a:p>
        </p:txBody>
      </p:sp>
      <p:sp>
        <p:nvSpPr>
          <p:cNvPr id="3" name="Rectangle 2">
            <a:extLst>
              <a:ext uri="{FF2B5EF4-FFF2-40B4-BE49-F238E27FC236}">
                <a16:creationId xmlns:a16="http://schemas.microsoft.com/office/drawing/2014/main" id="{9AE46624-2FA3-56AA-9BD0-FF8CB5E4BD2D}"/>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F6C3C414-B487-C8A2-4445-41D6D9D0D375}"/>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8" name="Rectangle 7">
            <a:extLst>
              <a:ext uri="{FF2B5EF4-FFF2-40B4-BE49-F238E27FC236}">
                <a16:creationId xmlns:a16="http://schemas.microsoft.com/office/drawing/2014/main" id="{3ED39112-F0E7-0B91-7929-FE00D63CAE96}"/>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FB9E8579-48C2-2E27-D8CD-3FD603AF3E9B}"/>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E8F0CAF1-9EE9-7F5E-78E5-A28ABA0327AB}"/>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D6626093-BE99-B01B-62CE-8F1A9236329A}"/>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BB609DAE-21F9-FF37-AD1B-731C36FEEFD7}"/>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DAFEA3C0-D3BB-9334-6ECB-2098DCC534E5}"/>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8" name="Rectangle 17">
            <a:extLst>
              <a:ext uri="{FF2B5EF4-FFF2-40B4-BE49-F238E27FC236}">
                <a16:creationId xmlns:a16="http://schemas.microsoft.com/office/drawing/2014/main" id="{C0C08860-FC6F-13D4-FCEB-22578524D5C0}"/>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9" name="Rectangle 18">
            <a:extLst>
              <a:ext uri="{FF2B5EF4-FFF2-40B4-BE49-F238E27FC236}">
                <a16:creationId xmlns:a16="http://schemas.microsoft.com/office/drawing/2014/main" id="{DCB61DE1-B8DE-A1D8-F6B9-266715364BD7}"/>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Tree>
    <p:extLst>
      <p:ext uri="{BB962C8B-B14F-4D97-AF65-F5344CB8AC3E}">
        <p14:creationId xmlns:p14="http://schemas.microsoft.com/office/powerpoint/2010/main" val="2062809309"/>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Green_Image03">
    <p:bg>
      <p:bgPr>
        <a:solidFill>
          <a:schemeClr val="bg1"/>
        </a:solidFill>
        <a:effectLst/>
      </p:bgPr>
    </p:bg>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B5908F89-533E-9111-5B5C-3698E981E220}"/>
              </a:ext>
            </a:extLst>
          </p:cNvPr>
          <p:cNvGraphicFramePr>
            <a:graphicFrameLocks noChangeAspect="1"/>
          </p:cNvGraphicFramePr>
          <p:nvPr userDrawn="1">
            <p:custDataLst>
              <p:tags r:id="rId1"/>
            </p:custDataLst>
            <p:extLst>
              <p:ext uri="{D42A27DB-BD31-4B8C-83A1-F6EECF244321}">
                <p14:modId xmlns:p14="http://schemas.microsoft.com/office/powerpoint/2010/main" val="4225154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0" name="think-cell data - do not delete" hidden="1">
                        <a:extLst>
                          <a:ext uri="{FF2B5EF4-FFF2-40B4-BE49-F238E27FC236}">
                            <a16:creationId xmlns:a16="http://schemas.microsoft.com/office/drawing/2014/main" id="{B5908F89-533E-9111-5B5C-3698E981E2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69597D7B-4F79-F2FE-A00F-275A81C10F96}"/>
              </a:ext>
            </a:extLst>
          </p:cNvPr>
          <p:cNvPicPr>
            <a:picLocks noChangeAspect="1"/>
          </p:cNvPicPr>
          <p:nvPr userDrawn="1"/>
        </p:nvPicPr>
        <p:blipFill>
          <a:blip r:embed="rId5"/>
          <a:stretch>
            <a:fillRect/>
          </a:stretch>
        </p:blipFill>
        <p:spPr>
          <a:xfrm>
            <a:off x="0" y="0"/>
            <a:ext cx="12203364" cy="6858000"/>
          </a:xfrm>
          <a:prstGeom prst="rect">
            <a:avLst/>
          </a:prstGeom>
        </p:spPr>
      </p:pic>
      <p:pic>
        <p:nvPicPr>
          <p:cNvPr id="3" name="Picture Placeholder 7" descr="A group of wind turbines&#10;&#10;Description automatically generated with medium confidence">
            <a:extLst>
              <a:ext uri="{FF2B5EF4-FFF2-40B4-BE49-F238E27FC236}">
                <a16:creationId xmlns:a16="http://schemas.microsoft.com/office/drawing/2014/main" id="{C8006515-9A3F-B158-5428-4C2587C01133}"/>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a:fillRect/>
          </a:stretch>
        </p:blipFill>
        <p:spPr>
          <a:xfrm>
            <a:off x="12699" y="0"/>
            <a:ext cx="6483963" cy="6858000"/>
          </a:xfrm>
          <a:prstGeom prst="rect">
            <a:avLst/>
          </a:prstGeom>
        </p:spPr>
      </p:pic>
      <p:sp>
        <p:nvSpPr>
          <p:cNvPr id="12" name="Text Placeholder 8">
            <a:extLst>
              <a:ext uri="{FF2B5EF4-FFF2-40B4-BE49-F238E27FC236}">
                <a16:creationId xmlns:a16="http://schemas.microsoft.com/office/drawing/2014/main" id="{7379A544-2454-C20E-7DF8-B7CE112ACBED}"/>
              </a:ext>
            </a:extLst>
          </p:cNvPr>
          <p:cNvSpPr>
            <a:spLocks noGrp="1"/>
          </p:cNvSpPr>
          <p:nvPr>
            <p:ph type="body" sz="quarter" idx="14" hasCustomPrompt="1"/>
          </p:nvPr>
        </p:nvSpPr>
        <p:spPr>
          <a:xfrm>
            <a:off x="7182354" y="2902454"/>
            <a:ext cx="4335319" cy="3400910"/>
          </a:xfrm>
        </p:spPr>
        <p:txBody>
          <a:bodyPr>
            <a:normAutofit/>
          </a:bodyPr>
          <a:lstStyle>
            <a:lvl1pPr marL="0" marR="0" indent="0" algn="l" defTabSz="914400" rtl="0" eaLnBrk="1" fontAlgn="auto" latinLnBrk="0" hangingPunct="1">
              <a:lnSpc>
                <a:spcPct val="100000"/>
              </a:lnSpc>
              <a:spcBef>
                <a:spcPts val="1000"/>
              </a:spcBef>
              <a:spcAft>
                <a:spcPts val="0"/>
              </a:spcAft>
              <a:buClr>
                <a:srgbClr val="1670FF"/>
              </a:buClr>
              <a:buSzTx/>
              <a:buFont typeface="Arial" panose="020B0604020202020204" pitchFamily="34" charset="0"/>
              <a:buNone/>
              <a:tabLst/>
              <a:defRPr lang="en-US" sz="1800" b="0" i="0" u="none" strike="noStrike" smtClean="0">
                <a:solidFill>
                  <a:srgbClr val="153DCF"/>
                </a:solidFill>
                <a:effectLst/>
                <a:latin typeface="+mn-lt"/>
                <a:ea typeface="+mn-ea"/>
                <a:cs typeface="+mn-cs"/>
              </a:defRPr>
            </a:lvl1pPr>
          </a:lstStyle>
          <a:p>
            <a:pPr lvl="0"/>
            <a:r>
              <a:rPr lang="en-US"/>
              <a:t>Text</a:t>
            </a:r>
          </a:p>
        </p:txBody>
      </p:sp>
      <p:sp>
        <p:nvSpPr>
          <p:cNvPr id="13" name="Text Placeholder 6">
            <a:extLst>
              <a:ext uri="{FF2B5EF4-FFF2-40B4-BE49-F238E27FC236}">
                <a16:creationId xmlns:a16="http://schemas.microsoft.com/office/drawing/2014/main" id="{1DBC28C7-68DA-93C2-B578-345AA178468D}"/>
              </a:ext>
            </a:extLst>
          </p:cNvPr>
          <p:cNvSpPr>
            <a:spLocks noGrp="1"/>
          </p:cNvSpPr>
          <p:nvPr>
            <p:ph type="body" sz="quarter" idx="13" hasCustomPrompt="1"/>
          </p:nvPr>
        </p:nvSpPr>
        <p:spPr>
          <a:xfrm>
            <a:off x="7182354" y="986379"/>
            <a:ext cx="4335319" cy="734982"/>
          </a:xfrm>
        </p:spPr>
        <p:txBody>
          <a:bodyPr>
            <a:noAutofit/>
          </a:bodyPr>
          <a:lstStyle>
            <a:lvl1pPr marL="0" indent="0">
              <a:buNone/>
              <a:defRPr sz="3600" b="1" i="0">
                <a:solidFill>
                  <a:srgbClr val="153DCF"/>
                </a:solidFill>
                <a:latin typeface="+mn-lt"/>
                <a:ea typeface="+mn-ea"/>
                <a:cs typeface="+mn-cs"/>
              </a:defRPr>
            </a:lvl1pPr>
          </a:lstStyle>
          <a:p>
            <a:pPr lvl="0"/>
            <a:r>
              <a:rPr lang="en-US"/>
              <a:t>Project name</a:t>
            </a:r>
          </a:p>
        </p:txBody>
      </p:sp>
      <p:sp>
        <p:nvSpPr>
          <p:cNvPr id="14" name="Text Placeholder 6">
            <a:extLst>
              <a:ext uri="{FF2B5EF4-FFF2-40B4-BE49-F238E27FC236}">
                <a16:creationId xmlns:a16="http://schemas.microsoft.com/office/drawing/2014/main" id="{A2256A95-FE52-0DE0-0B03-10A7B28EB54B}"/>
              </a:ext>
            </a:extLst>
          </p:cNvPr>
          <p:cNvSpPr>
            <a:spLocks noGrp="1"/>
          </p:cNvSpPr>
          <p:nvPr>
            <p:ph type="body" sz="quarter" idx="15" hasCustomPrompt="1"/>
          </p:nvPr>
        </p:nvSpPr>
        <p:spPr>
          <a:xfrm>
            <a:off x="7182354" y="1612836"/>
            <a:ext cx="4335319" cy="734982"/>
          </a:xfrm>
        </p:spPr>
        <p:txBody>
          <a:bodyPr>
            <a:noAutofit/>
          </a:bodyPr>
          <a:lstStyle>
            <a:lvl1pPr marL="0" indent="0">
              <a:buNone/>
              <a:defRPr sz="3200" b="0" i="0">
                <a:solidFill>
                  <a:schemeClr val="bg1"/>
                </a:solidFill>
                <a:latin typeface="+mn-lt"/>
                <a:ea typeface="+mn-ea"/>
                <a:cs typeface="+mn-cs"/>
              </a:defRPr>
            </a:lvl1pPr>
          </a:lstStyle>
          <a:p>
            <a:pPr lvl="0"/>
            <a:r>
              <a:rPr lang="en-US"/>
              <a:t>Subtitle </a:t>
            </a:r>
          </a:p>
        </p:txBody>
      </p:sp>
      <p:pic>
        <p:nvPicPr>
          <p:cNvPr id="16" name="Picture 15">
            <a:extLst>
              <a:ext uri="{FF2B5EF4-FFF2-40B4-BE49-F238E27FC236}">
                <a16:creationId xmlns:a16="http://schemas.microsoft.com/office/drawing/2014/main" id="{42A69CF0-4402-BE32-A874-3CD7EF17F94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8492" y="2081462"/>
            <a:ext cx="4776537" cy="4776537"/>
          </a:xfrm>
          <a:prstGeom prst="rect">
            <a:avLst/>
          </a:prstGeom>
        </p:spPr>
      </p:pic>
      <p:pic>
        <p:nvPicPr>
          <p:cNvPr id="4" name="Picture 3">
            <a:extLst>
              <a:ext uri="{FF2B5EF4-FFF2-40B4-BE49-F238E27FC236}">
                <a16:creationId xmlns:a16="http://schemas.microsoft.com/office/drawing/2014/main" id="{A8963B79-4ED0-E8B7-4BDE-994AA662AF2A}"/>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515600" y="0"/>
            <a:ext cx="1680634" cy="1218978"/>
          </a:xfrm>
          <a:prstGeom prst="rect">
            <a:avLst/>
          </a:prstGeom>
        </p:spPr>
      </p:pic>
      <p:sp>
        <p:nvSpPr>
          <p:cNvPr id="6" name="TextBox 5">
            <a:extLst>
              <a:ext uri="{FF2B5EF4-FFF2-40B4-BE49-F238E27FC236}">
                <a16:creationId xmlns:a16="http://schemas.microsoft.com/office/drawing/2014/main" id="{73D0D38A-6EBD-BF79-3C0C-08D0E4B6262F}"/>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mn-lt"/>
                <a:ea typeface="+mn-ea"/>
                <a:cs typeface="+mn-cs"/>
              </a:rPr>
              <a:pPr algn="r"/>
              <a:t>‹#›</a:t>
            </a:fld>
            <a:endParaRPr lang="en-US" sz="700" spc="300">
              <a:solidFill>
                <a:schemeClr val="bg1"/>
              </a:solidFill>
              <a:latin typeface="+mn-lt"/>
              <a:ea typeface="+mn-ea"/>
              <a:cs typeface="+mn-cs"/>
            </a:endParaRPr>
          </a:p>
        </p:txBody>
      </p:sp>
      <p:sp>
        <p:nvSpPr>
          <p:cNvPr id="5" name="Rectangle 4">
            <a:extLst>
              <a:ext uri="{FF2B5EF4-FFF2-40B4-BE49-F238E27FC236}">
                <a16:creationId xmlns:a16="http://schemas.microsoft.com/office/drawing/2014/main" id="{B1500C7E-3B8D-6452-B8BD-4BFD7805BF80}"/>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F62D7CB1-3CF4-8473-2267-F949407E3E0B}"/>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8" name="Rectangle 7">
            <a:extLst>
              <a:ext uri="{FF2B5EF4-FFF2-40B4-BE49-F238E27FC236}">
                <a16:creationId xmlns:a16="http://schemas.microsoft.com/office/drawing/2014/main" id="{4C7EC090-2587-1BAB-19CA-BC07204050B6}"/>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51C93B9C-487F-6859-AAC3-53673ABFFAF0}"/>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EF6D9581-F37B-491C-F59B-7E5849AEAE20}"/>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4739B8B3-8FB9-029C-F577-8D4DC8F3E0A8}"/>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24E068C2-145E-5214-733F-D4730E748233}"/>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7A8A0F40-88B8-C05F-A59F-DA9E08D557D3}"/>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8" name="Rectangle 17">
            <a:extLst>
              <a:ext uri="{FF2B5EF4-FFF2-40B4-BE49-F238E27FC236}">
                <a16:creationId xmlns:a16="http://schemas.microsoft.com/office/drawing/2014/main" id="{F2184F96-E786-821D-FDDE-B94293C232E8}"/>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9" name="Rectangle 18">
            <a:extLst>
              <a:ext uri="{FF2B5EF4-FFF2-40B4-BE49-F238E27FC236}">
                <a16:creationId xmlns:a16="http://schemas.microsoft.com/office/drawing/2014/main" id="{B1A186D1-D319-272A-392B-2D4BB8363F22}"/>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Tree>
    <p:extLst>
      <p:ext uri="{BB962C8B-B14F-4D97-AF65-F5344CB8AC3E}">
        <p14:creationId xmlns:p14="http://schemas.microsoft.com/office/powerpoint/2010/main" val="804072433"/>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Green_Image04">
    <p:bg>
      <p:bgPr>
        <a:solidFill>
          <a:schemeClr val="bg1"/>
        </a:solidFill>
        <a:effectLst/>
      </p:bgPr>
    </p:bg>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F2DCF232-C5B2-972B-40BD-9FBC30126747}"/>
              </a:ext>
            </a:extLst>
          </p:cNvPr>
          <p:cNvGraphicFramePr>
            <a:graphicFrameLocks noChangeAspect="1"/>
          </p:cNvGraphicFramePr>
          <p:nvPr userDrawn="1">
            <p:custDataLst>
              <p:tags r:id="rId1"/>
            </p:custDataLst>
            <p:extLst>
              <p:ext uri="{D42A27DB-BD31-4B8C-83A1-F6EECF244321}">
                <p14:modId xmlns:p14="http://schemas.microsoft.com/office/powerpoint/2010/main" val="277371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0" name="think-cell data - do not delete" hidden="1">
                        <a:extLst>
                          <a:ext uri="{FF2B5EF4-FFF2-40B4-BE49-F238E27FC236}">
                            <a16:creationId xmlns:a16="http://schemas.microsoft.com/office/drawing/2014/main" id="{F2DCF232-C5B2-972B-40BD-9FBC301267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69597D7B-4F79-F2FE-A00F-275A81C10F96}"/>
              </a:ext>
            </a:extLst>
          </p:cNvPr>
          <p:cNvPicPr>
            <a:picLocks noChangeAspect="1"/>
          </p:cNvPicPr>
          <p:nvPr userDrawn="1"/>
        </p:nvPicPr>
        <p:blipFill>
          <a:blip r:embed="rId5"/>
          <a:stretch>
            <a:fillRect/>
          </a:stretch>
        </p:blipFill>
        <p:spPr>
          <a:xfrm>
            <a:off x="0" y="0"/>
            <a:ext cx="12203364" cy="6858000"/>
          </a:xfrm>
          <a:prstGeom prst="rect">
            <a:avLst/>
          </a:prstGeom>
        </p:spPr>
      </p:pic>
      <p:pic>
        <p:nvPicPr>
          <p:cNvPr id="5" name="Picture Placeholder 6" descr="A picture containing text, person&#10;&#10;Description automatically generated">
            <a:extLst>
              <a:ext uri="{FF2B5EF4-FFF2-40B4-BE49-F238E27FC236}">
                <a16:creationId xmlns:a16="http://schemas.microsoft.com/office/drawing/2014/main" id="{20A3125E-709A-54FF-CDE1-E6ED61823DD7}"/>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a:fillRect/>
          </a:stretch>
        </p:blipFill>
        <p:spPr>
          <a:xfrm flipH="1">
            <a:off x="12699" y="0"/>
            <a:ext cx="6483963" cy="6858000"/>
          </a:xfrm>
          <a:prstGeom prst="rect">
            <a:avLst/>
          </a:prstGeom>
        </p:spPr>
      </p:pic>
      <p:sp>
        <p:nvSpPr>
          <p:cNvPr id="12" name="Text Placeholder 8">
            <a:extLst>
              <a:ext uri="{FF2B5EF4-FFF2-40B4-BE49-F238E27FC236}">
                <a16:creationId xmlns:a16="http://schemas.microsoft.com/office/drawing/2014/main" id="{7379A544-2454-C20E-7DF8-B7CE112ACBED}"/>
              </a:ext>
            </a:extLst>
          </p:cNvPr>
          <p:cNvSpPr>
            <a:spLocks noGrp="1"/>
          </p:cNvSpPr>
          <p:nvPr>
            <p:ph type="body" sz="quarter" idx="14" hasCustomPrompt="1"/>
          </p:nvPr>
        </p:nvSpPr>
        <p:spPr>
          <a:xfrm>
            <a:off x="7182354" y="2902454"/>
            <a:ext cx="4335319" cy="3400910"/>
          </a:xfrm>
        </p:spPr>
        <p:txBody>
          <a:bodyPr>
            <a:normAutofit/>
          </a:bodyPr>
          <a:lstStyle>
            <a:lvl1pPr marL="0" marR="0" indent="0" algn="l" defTabSz="914400" rtl="0" eaLnBrk="1" fontAlgn="auto" latinLnBrk="0" hangingPunct="1">
              <a:lnSpc>
                <a:spcPct val="100000"/>
              </a:lnSpc>
              <a:spcBef>
                <a:spcPts val="1000"/>
              </a:spcBef>
              <a:spcAft>
                <a:spcPts val="0"/>
              </a:spcAft>
              <a:buClr>
                <a:srgbClr val="1670FF"/>
              </a:buClr>
              <a:buSzTx/>
              <a:buFont typeface="Arial" panose="020B0604020202020204" pitchFamily="34" charset="0"/>
              <a:buNone/>
              <a:tabLst/>
              <a:defRPr lang="en-US" sz="1800" b="0" i="0" u="none" strike="noStrike" smtClean="0">
                <a:solidFill>
                  <a:srgbClr val="153DCF"/>
                </a:solidFill>
                <a:effectLst/>
                <a:latin typeface="+mn-lt"/>
                <a:ea typeface="+mn-ea"/>
                <a:cs typeface="+mn-cs"/>
              </a:defRPr>
            </a:lvl1pPr>
          </a:lstStyle>
          <a:p>
            <a:pPr lvl="0"/>
            <a:r>
              <a:rPr lang="en-US"/>
              <a:t>Text</a:t>
            </a:r>
          </a:p>
        </p:txBody>
      </p:sp>
      <p:sp>
        <p:nvSpPr>
          <p:cNvPr id="13" name="Text Placeholder 6">
            <a:extLst>
              <a:ext uri="{FF2B5EF4-FFF2-40B4-BE49-F238E27FC236}">
                <a16:creationId xmlns:a16="http://schemas.microsoft.com/office/drawing/2014/main" id="{1DBC28C7-68DA-93C2-B578-345AA178468D}"/>
              </a:ext>
            </a:extLst>
          </p:cNvPr>
          <p:cNvSpPr>
            <a:spLocks noGrp="1"/>
          </p:cNvSpPr>
          <p:nvPr>
            <p:ph type="body" sz="quarter" idx="13" hasCustomPrompt="1"/>
          </p:nvPr>
        </p:nvSpPr>
        <p:spPr>
          <a:xfrm>
            <a:off x="7182354" y="986379"/>
            <a:ext cx="4335319" cy="734982"/>
          </a:xfrm>
        </p:spPr>
        <p:txBody>
          <a:bodyPr>
            <a:noAutofit/>
          </a:bodyPr>
          <a:lstStyle>
            <a:lvl1pPr marL="0" indent="0">
              <a:buNone/>
              <a:defRPr sz="3600" b="1" i="0">
                <a:solidFill>
                  <a:srgbClr val="153DCF"/>
                </a:solidFill>
                <a:latin typeface="+mn-lt"/>
                <a:ea typeface="+mn-ea"/>
                <a:cs typeface="+mn-cs"/>
              </a:defRPr>
            </a:lvl1pPr>
          </a:lstStyle>
          <a:p>
            <a:pPr lvl="0"/>
            <a:r>
              <a:rPr lang="en-US"/>
              <a:t>Project name</a:t>
            </a:r>
          </a:p>
        </p:txBody>
      </p:sp>
      <p:sp>
        <p:nvSpPr>
          <p:cNvPr id="14" name="Text Placeholder 6">
            <a:extLst>
              <a:ext uri="{FF2B5EF4-FFF2-40B4-BE49-F238E27FC236}">
                <a16:creationId xmlns:a16="http://schemas.microsoft.com/office/drawing/2014/main" id="{A2256A95-FE52-0DE0-0B03-10A7B28EB54B}"/>
              </a:ext>
            </a:extLst>
          </p:cNvPr>
          <p:cNvSpPr>
            <a:spLocks noGrp="1"/>
          </p:cNvSpPr>
          <p:nvPr>
            <p:ph type="body" sz="quarter" idx="15" hasCustomPrompt="1"/>
          </p:nvPr>
        </p:nvSpPr>
        <p:spPr>
          <a:xfrm>
            <a:off x="7182354" y="1612836"/>
            <a:ext cx="4335319" cy="734982"/>
          </a:xfrm>
        </p:spPr>
        <p:txBody>
          <a:bodyPr>
            <a:noAutofit/>
          </a:bodyPr>
          <a:lstStyle>
            <a:lvl1pPr marL="0" indent="0">
              <a:buNone/>
              <a:defRPr sz="3200" b="0" i="0">
                <a:solidFill>
                  <a:schemeClr val="bg1"/>
                </a:solidFill>
                <a:latin typeface="+mn-lt"/>
                <a:ea typeface="+mn-ea"/>
                <a:cs typeface="+mn-cs"/>
              </a:defRPr>
            </a:lvl1pPr>
          </a:lstStyle>
          <a:p>
            <a:pPr lvl="0"/>
            <a:r>
              <a:rPr lang="en-US"/>
              <a:t>Subtitle </a:t>
            </a:r>
          </a:p>
        </p:txBody>
      </p:sp>
      <p:pic>
        <p:nvPicPr>
          <p:cNvPr id="16" name="Picture 15">
            <a:extLst>
              <a:ext uri="{FF2B5EF4-FFF2-40B4-BE49-F238E27FC236}">
                <a16:creationId xmlns:a16="http://schemas.microsoft.com/office/drawing/2014/main" id="{42A69CF0-4402-BE32-A874-3CD7EF17F94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8492" y="2081462"/>
            <a:ext cx="4776537" cy="4776537"/>
          </a:xfrm>
          <a:prstGeom prst="rect">
            <a:avLst/>
          </a:prstGeom>
        </p:spPr>
      </p:pic>
      <p:pic>
        <p:nvPicPr>
          <p:cNvPr id="4" name="Picture 3">
            <a:extLst>
              <a:ext uri="{FF2B5EF4-FFF2-40B4-BE49-F238E27FC236}">
                <a16:creationId xmlns:a16="http://schemas.microsoft.com/office/drawing/2014/main" id="{A8963B79-4ED0-E8B7-4BDE-994AA662AF2A}"/>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515600" y="0"/>
            <a:ext cx="1680634" cy="1218978"/>
          </a:xfrm>
          <a:prstGeom prst="rect">
            <a:avLst/>
          </a:prstGeom>
        </p:spPr>
      </p:pic>
      <p:sp>
        <p:nvSpPr>
          <p:cNvPr id="6" name="TextBox 5">
            <a:extLst>
              <a:ext uri="{FF2B5EF4-FFF2-40B4-BE49-F238E27FC236}">
                <a16:creationId xmlns:a16="http://schemas.microsoft.com/office/drawing/2014/main" id="{2512C78B-4DD2-2DB2-C048-906F06F1D2CA}"/>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mn-lt"/>
                <a:ea typeface="+mn-ea"/>
                <a:cs typeface="+mn-cs"/>
              </a:rPr>
              <a:pPr algn="r"/>
              <a:t>‹#›</a:t>
            </a:fld>
            <a:endParaRPr lang="en-US" sz="700" spc="300">
              <a:solidFill>
                <a:schemeClr val="bg1"/>
              </a:solidFill>
              <a:latin typeface="+mn-lt"/>
              <a:ea typeface="+mn-ea"/>
              <a:cs typeface="+mn-cs"/>
            </a:endParaRPr>
          </a:p>
        </p:txBody>
      </p:sp>
      <p:sp>
        <p:nvSpPr>
          <p:cNvPr id="3" name="Rectangle 2">
            <a:extLst>
              <a:ext uri="{FF2B5EF4-FFF2-40B4-BE49-F238E27FC236}">
                <a16:creationId xmlns:a16="http://schemas.microsoft.com/office/drawing/2014/main" id="{16602411-BC12-709F-5792-1CF5348A4E6D}"/>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9D37D445-B98A-2797-753E-053486510E82}"/>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8" name="Rectangle 7">
            <a:extLst>
              <a:ext uri="{FF2B5EF4-FFF2-40B4-BE49-F238E27FC236}">
                <a16:creationId xmlns:a16="http://schemas.microsoft.com/office/drawing/2014/main" id="{0BC16B31-ACEF-6410-265F-10670599331D}"/>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58B0A1AD-951D-0EA8-3F15-9606E35A32E5}"/>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07FC1457-77F8-0B27-1CF3-04CEE71295CE}"/>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E6FC750D-6868-4EA4-CBD7-2E9F4A64EF24}"/>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B86E62E3-EA46-C6F5-5D6C-5C4F8D726658}"/>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BC1F35D8-E021-1AE9-DD84-41A7B5F1F61B}"/>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8" name="Rectangle 17">
            <a:extLst>
              <a:ext uri="{FF2B5EF4-FFF2-40B4-BE49-F238E27FC236}">
                <a16:creationId xmlns:a16="http://schemas.microsoft.com/office/drawing/2014/main" id="{69103FAE-F5D5-DFA8-8777-C67F9FC1FC6C}"/>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9" name="Rectangle 18">
            <a:extLst>
              <a:ext uri="{FF2B5EF4-FFF2-40B4-BE49-F238E27FC236}">
                <a16:creationId xmlns:a16="http://schemas.microsoft.com/office/drawing/2014/main" id="{BFB1E62C-0A52-B03D-3506-77902CDAC063}"/>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Tree>
    <p:extLst>
      <p:ext uri="{BB962C8B-B14F-4D97-AF65-F5344CB8AC3E}">
        <p14:creationId xmlns:p14="http://schemas.microsoft.com/office/powerpoint/2010/main" val="3825016373"/>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ircle_Image01">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3C4071D4-D543-0738-38C4-2BE7FB318E02}"/>
              </a:ext>
            </a:extLst>
          </p:cNvPr>
          <p:cNvGraphicFramePr>
            <a:graphicFrameLocks noChangeAspect="1"/>
          </p:cNvGraphicFramePr>
          <p:nvPr userDrawn="1">
            <p:custDataLst>
              <p:tags r:id="rId1"/>
            </p:custDataLst>
            <p:extLst>
              <p:ext uri="{D42A27DB-BD31-4B8C-83A1-F6EECF244321}">
                <p14:modId xmlns:p14="http://schemas.microsoft.com/office/powerpoint/2010/main" val="1133587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8" name="think-cell data - do not delete" hidden="1">
                        <a:extLst>
                          <a:ext uri="{FF2B5EF4-FFF2-40B4-BE49-F238E27FC236}">
                            <a16:creationId xmlns:a16="http://schemas.microsoft.com/office/drawing/2014/main" id="{3C4071D4-D543-0738-38C4-2BE7FB318E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67D2CC8C-D086-E69D-76FA-44C11EF05697}"/>
              </a:ext>
            </a:extLst>
          </p:cNvPr>
          <p:cNvPicPr>
            <a:picLocks noChangeAspect="1"/>
          </p:cNvPicPr>
          <p:nvPr userDrawn="1"/>
        </p:nvPicPr>
        <p:blipFill>
          <a:blip r:embed="rId5"/>
          <a:stretch>
            <a:fillRect/>
          </a:stretch>
        </p:blipFill>
        <p:spPr>
          <a:xfrm>
            <a:off x="6350" y="0"/>
            <a:ext cx="12179300" cy="6858000"/>
          </a:xfrm>
          <a:prstGeom prst="rect">
            <a:avLst/>
          </a:prstGeom>
        </p:spPr>
      </p:pic>
      <p:pic>
        <p:nvPicPr>
          <p:cNvPr id="4" name="Picture 3">
            <a:extLst>
              <a:ext uri="{FF2B5EF4-FFF2-40B4-BE49-F238E27FC236}">
                <a16:creationId xmlns:a16="http://schemas.microsoft.com/office/drawing/2014/main" id="{F6DA1A9E-835C-A69B-4927-8B6D1AA2BEAA}"/>
              </a:ext>
            </a:extLst>
          </p:cNvPr>
          <p:cNvPicPr>
            <a:picLocks noChangeAspect="1"/>
          </p:cNvPicPr>
          <p:nvPr userDrawn="1"/>
        </p:nvPicPr>
        <p:blipFill>
          <a:blip r:embed="rId6"/>
          <a:stretch>
            <a:fillRect/>
          </a:stretch>
        </p:blipFill>
        <p:spPr>
          <a:xfrm>
            <a:off x="292823" y="6592472"/>
            <a:ext cx="2324100" cy="107950"/>
          </a:xfrm>
          <a:prstGeom prst="rect">
            <a:avLst/>
          </a:prstGeom>
        </p:spPr>
      </p:pic>
      <p:sp>
        <p:nvSpPr>
          <p:cNvPr id="5" name="Title 1">
            <a:extLst>
              <a:ext uri="{FF2B5EF4-FFF2-40B4-BE49-F238E27FC236}">
                <a16:creationId xmlns:a16="http://schemas.microsoft.com/office/drawing/2014/main" id="{2F18EC8C-7662-B711-CAA5-E1D541524938}"/>
              </a:ext>
            </a:extLst>
          </p:cNvPr>
          <p:cNvSpPr>
            <a:spLocks noGrp="1"/>
          </p:cNvSpPr>
          <p:nvPr>
            <p:ph type="title"/>
          </p:nvPr>
        </p:nvSpPr>
        <p:spPr>
          <a:xfrm>
            <a:off x="292823" y="719168"/>
            <a:ext cx="4335318" cy="909493"/>
          </a:xfrm>
        </p:spPr>
        <p:txBody>
          <a:bodyPr>
            <a:normAutofit/>
          </a:bodyPr>
          <a:lstStyle>
            <a:lvl1pPr>
              <a:defRPr sz="3200">
                <a:solidFill>
                  <a:schemeClr val="bg1"/>
                </a:solidFill>
                <a:latin typeface="+mj-lt"/>
                <a:ea typeface="+mj-ea"/>
                <a:cs typeface="+mj-cs"/>
              </a:defRPr>
            </a:lvl1pPr>
          </a:lstStyle>
          <a:p>
            <a:endParaRPr lang="en-US"/>
          </a:p>
        </p:txBody>
      </p:sp>
      <p:sp>
        <p:nvSpPr>
          <p:cNvPr id="9" name="Text Placeholder 8">
            <a:extLst>
              <a:ext uri="{FF2B5EF4-FFF2-40B4-BE49-F238E27FC236}">
                <a16:creationId xmlns:a16="http://schemas.microsoft.com/office/drawing/2014/main" id="{067382EA-2EA4-B1C3-F91F-FA266352C83E}"/>
              </a:ext>
            </a:extLst>
          </p:cNvPr>
          <p:cNvSpPr>
            <a:spLocks noGrp="1"/>
          </p:cNvSpPr>
          <p:nvPr>
            <p:ph type="body" sz="quarter" idx="14" hasCustomPrompt="1"/>
          </p:nvPr>
        </p:nvSpPr>
        <p:spPr>
          <a:xfrm>
            <a:off x="292824" y="1791479"/>
            <a:ext cx="4421226" cy="4128148"/>
          </a:xfrm>
        </p:spPr>
        <p:txBody>
          <a:bodyPr>
            <a:noAutofit/>
          </a:bodyPr>
          <a:lstStyle>
            <a:lvl1pPr marL="0" marR="0" indent="0" algn="l" defTabSz="914400" rtl="0" eaLnBrk="1" fontAlgn="auto" latinLnBrk="0" hangingPunct="1">
              <a:lnSpc>
                <a:spcPct val="100000"/>
              </a:lnSpc>
              <a:spcBef>
                <a:spcPts val="1000"/>
              </a:spcBef>
              <a:spcAft>
                <a:spcPts val="0"/>
              </a:spcAft>
              <a:buClr>
                <a:srgbClr val="1670FF"/>
              </a:buClr>
              <a:buSzTx/>
              <a:buFont typeface="Arial" panose="020B0604020202020204" pitchFamily="34" charset="0"/>
              <a:buNone/>
              <a:tabLst/>
              <a:defRPr lang="en-US" sz="1800" b="0" i="0" u="none" strike="noStrike" smtClean="0">
                <a:solidFill>
                  <a:schemeClr val="bg1"/>
                </a:solidFill>
                <a:effectLst/>
                <a:latin typeface="+mn-lt"/>
                <a:ea typeface="+mn-ea"/>
                <a:cs typeface="+mn-cs"/>
              </a:defRPr>
            </a:lvl1pPr>
          </a:lstStyle>
          <a:p>
            <a:pPr lvl="0"/>
            <a:r>
              <a:rPr lang="en-US"/>
              <a:t>Text</a:t>
            </a:r>
          </a:p>
        </p:txBody>
      </p:sp>
      <p:pic>
        <p:nvPicPr>
          <p:cNvPr id="15" name="Picture 14">
            <a:extLst>
              <a:ext uri="{FF2B5EF4-FFF2-40B4-BE49-F238E27FC236}">
                <a16:creationId xmlns:a16="http://schemas.microsoft.com/office/drawing/2014/main" id="{ADCFD9D5-3279-1C0B-5E04-A2BBCA0E0395}"/>
              </a:ext>
            </a:extLst>
          </p:cNvPr>
          <p:cNvPicPr>
            <a:picLocks noChangeAspect="1"/>
          </p:cNvPicPr>
          <p:nvPr userDrawn="1"/>
        </p:nvPicPr>
        <p:blipFill>
          <a:blip r:embed="rId7"/>
          <a:stretch>
            <a:fillRect/>
          </a:stretch>
        </p:blipFill>
        <p:spPr>
          <a:xfrm>
            <a:off x="4181214" y="-73753"/>
            <a:ext cx="10449184" cy="6983162"/>
          </a:xfrm>
          <a:prstGeom prst="rect">
            <a:avLst/>
          </a:prstGeom>
        </p:spPr>
      </p:pic>
      <p:pic>
        <p:nvPicPr>
          <p:cNvPr id="16" name="Picture 15">
            <a:extLst>
              <a:ext uri="{FF2B5EF4-FFF2-40B4-BE49-F238E27FC236}">
                <a16:creationId xmlns:a16="http://schemas.microsoft.com/office/drawing/2014/main" id="{B8338DD5-F8E2-54AA-B735-D48D93326218}"/>
              </a:ext>
            </a:extLst>
          </p:cNvPr>
          <p:cNvPicPr>
            <a:picLocks noChangeAspect="1"/>
          </p:cNvPicPr>
          <p:nvPr userDrawn="1"/>
        </p:nvPicPr>
        <p:blipFill>
          <a:blip r:embed="rId8"/>
          <a:stretch>
            <a:fillRect/>
          </a:stretch>
        </p:blipFill>
        <p:spPr>
          <a:xfrm>
            <a:off x="4714050" y="0"/>
            <a:ext cx="4658264" cy="6858000"/>
          </a:xfrm>
          <a:prstGeom prst="rect">
            <a:avLst/>
          </a:prstGeom>
        </p:spPr>
      </p:pic>
      <p:sp>
        <p:nvSpPr>
          <p:cNvPr id="3" name="Rectangle 2">
            <a:extLst>
              <a:ext uri="{FF2B5EF4-FFF2-40B4-BE49-F238E27FC236}">
                <a16:creationId xmlns:a16="http://schemas.microsoft.com/office/drawing/2014/main" id="{7971ACDC-5FDF-95DA-42D4-1B68F7AE6263}"/>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6" name="Rectangle 5">
            <a:extLst>
              <a:ext uri="{FF2B5EF4-FFF2-40B4-BE49-F238E27FC236}">
                <a16:creationId xmlns:a16="http://schemas.microsoft.com/office/drawing/2014/main" id="{BCE3D7FD-266D-09A2-7054-51092402DE76}"/>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EB8C3529-3A0E-5A61-10BE-D5C40257A56F}"/>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8" name="Rectangle 7">
            <a:extLst>
              <a:ext uri="{FF2B5EF4-FFF2-40B4-BE49-F238E27FC236}">
                <a16:creationId xmlns:a16="http://schemas.microsoft.com/office/drawing/2014/main" id="{C8B5AA4D-E42A-CEEE-BA48-EF023D8FFE43}"/>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FF1A2A76-F80F-9C68-9263-78BAC1CD1B89}"/>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571BCB31-A2CB-5406-1D8D-B9D77A112200}"/>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0503EEA1-B4F5-485B-DAB5-756F28DE58FD}"/>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D66365B9-478F-1D2F-909D-FCD4ED8F224D}"/>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83FA46F2-87F6-642E-DCF4-FDD22AF98926}"/>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C945D017-FB52-0351-F7AC-712BD7441629}"/>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Tree>
    <p:extLst>
      <p:ext uri="{BB962C8B-B14F-4D97-AF65-F5344CB8AC3E}">
        <p14:creationId xmlns:p14="http://schemas.microsoft.com/office/powerpoint/2010/main" val="24377820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Cover_1">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AA36D955-B3A7-C98D-63C4-65BC52F7814E}"/>
              </a:ext>
            </a:extLst>
          </p:cNvPr>
          <p:cNvGraphicFramePr>
            <a:graphicFrameLocks noChangeAspect="1"/>
          </p:cNvGraphicFramePr>
          <p:nvPr userDrawn="1">
            <p:custDataLst>
              <p:tags r:id="rId1"/>
            </p:custDataLst>
            <p:extLst>
              <p:ext uri="{D42A27DB-BD31-4B8C-83A1-F6EECF244321}">
                <p14:modId xmlns:p14="http://schemas.microsoft.com/office/powerpoint/2010/main" val="2637795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2" name="Object 21" hidden="1">
                        <a:extLst>
                          <a:ext uri="{FF2B5EF4-FFF2-40B4-BE49-F238E27FC236}">
                            <a16:creationId xmlns:a16="http://schemas.microsoft.com/office/drawing/2014/main" id="{AA36D955-B3A7-C98D-63C4-65BC52F781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3F9111E3-B6B3-F20D-E234-232A58D77455}"/>
              </a:ext>
            </a:extLst>
          </p:cNvPr>
          <p:cNvPicPr>
            <a:picLocks noChangeAspect="1"/>
          </p:cNvPicPr>
          <p:nvPr userDrawn="1"/>
        </p:nvPicPr>
        <p:blipFill>
          <a:blip r:embed="rId5"/>
          <a:stretch>
            <a:fillRect/>
          </a:stretch>
        </p:blipFill>
        <p:spPr>
          <a:xfrm>
            <a:off x="19504" y="2780"/>
            <a:ext cx="12192000" cy="6855220"/>
          </a:xfrm>
          <a:prstGeom prst="rect">
            <a:avLst/>
          </a:prstGeom>
        </p:spPr>
      </p:pic>
      <p:pic>
        <p:nvPicPr>
          <p:cNvPr id="29" name="Picture 28" descr="A factory with smoke coming out of it&#10;&#10;Description automatically generated with low confidence">
            <a:extLst>
              <a:ext uri="{FF2B5EF4-FFF2-40B4-BE49-F238E27FC236}">
                <a16:creationId xmlns:a16="http://schemas.microsoft.com/office/drawing/2014/main" id="{2F135909-D065-DA8C-0640-7D08828C453F}"/>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5508" r="31393"/>
          <a:stretch/>
        </p:blipFill>
        <p:spPr>
          <a:xfrm>
            <a:off x="1" y="0"/>
            <a:ext cx="6483964" cy="6858000"/>
          </a:xfrm>
          <a:custGeom>
            <a:avLst/>
            <a:gdLst>
              <a:gd name="connsiteX0" fmla="*/ 0 w 6483964"/>
              <a:gd name="connsiteY0" fmla="*/ 0 h 6858000"/>
              <a:gd name="connsiteX1" fmla="*/ 6483964 w 6483964"/>
              <a:gd name="connsiteY1" fmla="*/ 0 h 6858000"/>
              <a:gd name="connsiteX2" fmla="*/ 6483964 w 6483964"/>
              <a:gd name="connsiteY2" fmla="*/ 6858000 h 6858000"/>
              <a:gd name="connsiteX3" fmla="*/ 0 w 648396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83964" h="6858000">
                <a:moveTo>
                  <a:pt x="0" y="0"/>
                </a:moveTo>
                <a:lnTo>
                  <a:pt x="6483964" y="0"/>
                </a:lnTo>
                <a:lnTo>
                  <a:pt x="6483964" y="6858000"/>
                </a:lnTo>
                <a:lnTo>
                  <a:pt x="0" y="6858000"/>
                </a:lnTo>
                <a:close/>
              </a:path>
            </a:pathLst>
          </a:custGeom>
        </p:spPr>
      </p:pic>
      <p:pic>
        <p:nvPicPr>
          <p:cNvPr id="10" name="Picture 9">
            <a:extLst>
              <a:ext uri="{FF2B5EF4-FFF2-40B4-BE49-F238E27FC236}">
                <a16:creationId xmlns:a16="http://schemas.microsoft.com/office/drawing/2014/main" id="{61359549-5A1F-9411-3B5D-0D48941C24F2}"/>
              </a:ext>
            </a:extLst>
          </p:cNvPr>
          <p:cNvPicPr>
            <a:picLocks noChangeAspect="1"/>
          </p:cNvPicPr>
          <p:nvPr userDrawn="1"/>
        </p:nvPicPr>
        <p:blipFill>
          <a:blip r:embed="rId7"/>
          <a:stretch>
            <a:fillRect/>
          </a:stretch>
        </p:blipFill>
        <p:spPr>
          <a:xfrm>
            <a:off x="6942174" y="5029200"/>
            <a:ext cx="2637118" cy="1418282"/>
          </a:xfrm>
          <a:prstGeom prst="rect">
            <a:avLst/>
          </a:prstGeom>
        </p:spPr>
      </p:pic>
      <p:pic>
        <p:nvPicPr>
          <p:cNvPr id="8" name="Picture 7">
            <a:extLst>
              <a:ext uri="{FF2B5EF4-FFF2-40B4-BE49-F238E27FC236}">
                <a16:creationId xmlns:a16="http://schemas.microsoft.com/office/drawing/2014/main" id="{22402783-288C-2D52-A4BA-8F45BACAE0BD}"/>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0" y="0"/>
            <a:ext cx="5214876" cy="4513432"/>
          </a:xfrm>
          <a:prstGeom prst="rect">
            <a:avLst/>
          </a:prstGeom>
        </p:spPr>
      </p:pic>
      <p:sp>
        <p:nvSpPr>
          <p:cNvPr id="4" name="TextBox 3">
            <a:extLst>
              <a:ext uri="{FF2B5EF4-FFF2-40B4-BE49-F238E27FC236}">
                <a16:creationId xmlns:a16="http://schemas.microsoft.com/office/drawing/2014/main" id="{39C32344-3F64-881D-8597-493E4E19655C}"/>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mn-lt"/>
                <a:ea typeface="+mn-ea"/>
                <a:cs typeface="+mn-cs"/>
              </a:rPr>
              <a:pPr algn="r"/>
              <a:t>‹#›</a:t>
            </a:fld>
            <a:endParaRPr lang="en-US" sz="700" spc="300">
              <a:solidFill>
                <a:schemeClr val="bg1"/>
              </a:solidFill>
              <a:latin typeface="+mn-lt"/>
              <a:ea typeface="+mn-ea"/>
              <a:cs typeface="+mn-cs"/>
            </a:endParaRPr>
          </a:p>
        </p:txBody>
      </p:sp>
      <p:sp>
        <p:nvSpPr>
          <p:cNvPr id="3" name="Rectangle 2">
            <a:extLst>
              <a:ext uri="{FF2B5EF4-FFF2-40B4-BE49-F238E27FC236}">
                <a16:creationId xmlns:a16="http://schemas.microsoft.com/office/drawing/2014/main" id="{A98DFE46-B5E2-F718-94E7-DEF297DF395B}"/>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8E00E491-5360-4420-3643-DDA785916048}"/>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52670FD2-6DEE-3AD9-85AC-45AAB1C3274F}"/>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1ED70F8B-B5D8-3BA6-1B64-F30D81678066}"/>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00714F0B-729E-CAB1-D0E3-5633DF445DB1}"/>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1C1B6030-5708-896E-87F9-D9EB5A92297E}"/>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D2DD69C2-D4FE-4E6E-F4EA-F29654973D31}"/>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BC48FFBE-14CD-15D0-B311-6B84759D8C47}"/>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2A0CD2D3-A28D-3316-27BD-4D7CA492E49B}"/>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8" name="Rectangle 17">
            <a:extLst>
              <a:ext uri="{FF2B5EF4-FFF2-40B4-BE49-F238E27FC236}">
                <a16:creationId xmlns:a16="http://schemas.microsoft.com/office/drawing/2014/main" id="{2798D593-3A07-FA79-0F2D-3BA8F7D72047}"/>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9" name="Text Placeholder 6">
            <a:extLst>
              <a:ext uri="{FF2B5EF4-FFF2-40B4-BE49-F238E27FC236}">
                <a16:creationId xmlns:a16="http://schemas.microsoft.com/office/drawing/2014/main" id="{CCEE4AD4-5673-DC5D-0072-55F8141A6EE8}"/>
              </a:ext>
            </a:extLst>
          </p:cNvPr>
          <p:cNvSpPr>
            <a:spLocks noGrp="1"/>
          </p:cNvSpPr>
          <p:nvPr>
            <p:ph type="body" sz="quarter" idx="15" hasCustomPrompt="1"/>
          </p:nvPr>
        </p:nvSpPr>
        <p:spPr>
          <a:xfrm>
            <a:off x="6916416" y="1953851"/>
            <a:ext cx="4882138" cy="608864"/>
          </a:xfrm>
        </p:spPr>
        <p:txBody>
          <a:bodyPr bIns="0" anchor="b">
            <a:noAutofit/>
          </a:bodyPr>
          <a:lstStyle>
            <a:lvl1pPr marL="0" indent="0">
              <a:buNone/>
              <a:defRPr sz="4000" b="1" i="0">
                <a:solidFill>
                  <a:schemeClr val="bg1"/>
                </a:solidFill>
                <a:latin typeface="+mn-lt"/>
                <a:ea typeface="+mn-ea"/>
                <a:cs typeface="+mn-cs"/>
              </a:defRPr>
            </a:lvl1pPr>
          </a:lstStyle>
          <a:p>
            <a:pPr lvl="0"/>
            <a:r>
              <a:rPr lang="en-US"/>
              <a:t>Title text</a:t>
            </a:r>
          </a:p>
        </p:txBody>
      </p:sp>
      <p:sp>
        <p:nvSpPr>
          <p:cNvPr id="20" name="Text Placeholder 6">
            <a:extLst>
              <a:ext uri="{FF2B5EF4-FFF2-40B4-BE49-F238E27FC236}">
                <a16:creationId xmlns:a16="http://schemas.microsoft.com/office/drawing/2014/main" id="{D7AEF975-7E8E-3FB4-D358-82BE2CB20294}"/>
              </a:ext>
            </a:extLst>
          </p:cNvPr>
          <p:cNvSpPr>
            <a:spLocks noGrp="1"/>
          </p:cNvSpPr>
          <p:nvPr>
            <p:ph type="body" sz="quarter" idx="16" hasCustomPrompt="1"/>
          </p:nvPr>
        </p:nvSpPr>
        <p:spPr>
          <a:xfrm>
            <a:off x="6916416" y="2736147"/>
            <a:ext cx="4882138" cy="608864"/>
          </a:xfrm>
          <a:noFill/>
        </p:spPr>
        <p:txBody>
          <a:bodyPr>
            <a:noAutofit/>
          </a:bodyPr>
          <a:lstStyle>
            <a:lvl1pPr marL="0" indent="0">
              <a:buNone/>
              <a:defRPr sz="2800" b="0" i="0">
                <a:solidFill>
                  <a:schemeClr val="bg1"/>
                </a:solidFill>
                <a:latin typeface="+mn-lt"/>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0"/>
            <a:endParaRPr lang="en-US"/>
          </a:p>
        </p:txBody>
      </p:sp>
      <p:sp>
        <p:nvSpPr>
          <p:cNvPr id="21" name="Text Placeholder 6">
            <a:extLst>
              <a:ext uri="{FF2B5EF4-FFF2-40B4-BE49-F238E27FC236}">
                <a16:creationId xmlns:a16="http://schemas.microsoft.com/office/drawing/2014/main" id="{CDD05584-C1AB-97CD-2E18-F6E51E3A46FE}"/>
              </a:ext>
            </a:extLst>
          </p:cNvPr>
          <p:cNvSpPr>
            <a:spLocks noGrp="1"/>
          </p:cNvSpPr>
          <p:nvPr>
            <p:ph type="body" sz="quarter" idx="18" hasCustomPrompt="1"/>
          </p:nvPr>
        </p:nvSpPr>
        <p:spPr>
          <a:xfrm>
            <a:off x="6942174" y="3959640"/>
            <a:ext cx="4882138" cy="384460"/>
          </a:xfrm>
          <a:noFill/>
        </p:spPr>
        <p:txBody>
          <a:bodyPr>
            <a:noAutofit/>
          </a:bodyPr>
          <a:lstStyle>
            <a:lvl1pPr marL="0" indent="0">
              <a:buNone/>
              <a:defRPr sz="2000" b="0" i="0">
                <a:solidFill>
                  <a:schemeClr val="bg1"/>
                </a:solidFill>
                <a:latin typeface="+mn-lt"/>
                <a:ea typeface="+mn-ea"/>
                <a:cs typeface="+mn-cs"/>
              </a:defRPr>
            </a:lvl1pPr>
          </a:lstStyle>
          <a:p>
            <a:pPr lvl="0"/>
            <a:r>
              <a:rPr lang="en-US"/>
              <a:t>Date </a:t>
            </a:r>
          </a:p>
        </p:txBody>
      </p:sp>
    </p:spTree>
    <p:extLst>
      <p:ext uri="{BB962C8B-B14F-4D97-AF65-F5344CB8AC3E}">
        <p14:creationId xmlns:p14="http://schemas.microsoft.com/office/powerpoint/2010/main" val="400209109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ircle_Image02">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818612A1-0BDE-ADF5-F3D7-AB150AEEF865}"/>
              </a:ext>
            </a:extLst>
          </p:cNvPr>
          <p:cNvGraphicFramePr>
            <a:graphicFrameLocks noChangeAspect="1"/>
          </p:cNvGraphicFramePr>
          <p:nvPr userDrawn="1">
            <p:custDataLst>
              <p:tags r:id="rId1"/>
            </p:custDataLst>
            <p:extLst>
              <p:ext uri="{D42A27DB-BD31-4B8C-83A1-F6EECF244321}">
                <p14:modId xmlns:p14="http://schemas.microsoft.com/office/powerpoint/2010/main" val="2521649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8" name="think-cell data - do not delete" hidden="1">
                        <a:extLst>
                          <a:ext uri="{FF2B5EF4-FFF2-40B4-BE49-F238E27FC236}">
                            <a16:creationId xmlns:a16="http://schemas.microsoft.com/office/drawing/2014/main" id="{818612A1-0BDE-ADF5-F3D7-AB150AEEF8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67D2CC8C-D086-E69D-76FA-44C11EF05697}"/>
              </a:ext>
            </a:extLst>
          </p:cNvPr>
          <p:cNvPicPr>
            <a:picLocks noChangeAspect="1"/>
          </p:cNvPicPr>
          <p:nvPr userDrawn="1"/>
        </p:nvPicPr>
        <p:blipFill>
          <a:blip r:embed="rId5"/>
          <a:stretch>
            <a:fillRect/>
          </a:stretch>
        </p:blipFill>
        <p:spPr>
          <a:xfrm>
            <a:off x="6350" y="0"/>
            <a:ext cx="12179300" cy="6858000"/>
          </a:xfrm>
          <a:prstGeom prst="rect">
            <a:avLst/>
          </a:prstGeom>
        </p:spPr>
      </p:pic>
      <p:pic>
        <p:nvPicPr>
          <p:cNvPr id="3" name="Picture 2">
            <a:extLst>
              <a:ext uri="{FF2B5EF4-FFF2-40B4-BE49-F238E27FC236}">
                <a16:creationId xmlns:a16="http://schemas.microsoft.com/office/drawing/2014/main" id="{125F814B-27CF-808E-CCB6-2EB1B0274DED}"/>
              </a:ext>
            </a:extLst>
          </p:cNvPr>
          <p:cNvPicPr>
            <a:picLocks noChangeAspect="1"/>
          </p:cNvPicPr>
          <p:nvPr userDrawn="1"/>
        </p:nvPicPr>
        <p:blipFill>
          <a:blip r:embed="rId6"/>
          <a:stretch>
            <a:fillRect/>
          </a:stretch>
        </p:blipFill>
        <p:spPr>
          <a:xfrm>
            <a:off x="4835603" y="-320633"/>
            <a:ext cx="11751512" cy="7832224"/>
          </a:xfrm>
          <a:prstGeom prst="rect">
            <a:avLst/>
          </a:prstGeom>
        </p:spPr>
      </p:pic>
      <p:pic>
        <p:nvPicPr>
          <p:cNvPr id="4" name="Picture 3">
            <a:extLst>
              <a:ext uri="{FF2B5EF4-FFF2-40B4-BE49-F238E27FC236}">
                <a16:creationId xmlns:a16="http://schemas.microsoft.com/office/drawing/2014/main" id="{F6DA1A9E-835C-A69B-4927-8B6D1AA2BEAA}"/>
              </a:ext>
            </a:extLst>
          </p:cNvPr>
          <p:cNvPicPr>
            <a:picLocks noChangeAspect="1"/>
          </p:cNvPicPr>
          <p:nvPr userDrawn="1"/>
        </p:nvPicPr>
        <p:blipFill>
          <a:blip r:embed="rId7"/>
          <a:stretch>
            <a:fillRect/>
          </a:stretch>
        </p:blipFill>
        <p:spPr>
          <a:xfrm>
            <a:off x="292823" y="6592472"/>
            <a:ext cx="2324100" cy="107950"/>
          </a:xfrm>
          <a:prstGeom prst="rect">
            <a:avLst/>
          </a:prstGeom>
        </p:spPr>
      </p:pic>
      <p:sp>
        <p:nvSpPr>
          <p:cNvPr id="5" name="Title 1">
            <a:extLst>
              <a:ext uri="{FF2B5EF4-FFF2-40B4-BE49-F238E27FC236}">
                <a16:creationId xmlns:a16="http://schemas.microsoft.com/office/drawing/2014/main" id="{2F18EC8C-7662-B711-CAA5-E1D541524938}"/>
              </a:ext>
            </a:extLst>
          </p:cNvPr>
          <p:cNvSpPr>
            <a:spLocks noGrp="1"/>
          </p:cNvSpPr>
          <p:nvPr>
            <p:ph type="title"/>
          </p:nvPr>
        </p:nvSpPr>
        <p:spPr>
          <a:xfrm>
            <a:off x="292823" y="719168"/>
            <a:ext cx="4335318" cy="909493"/>
          </a:xfrm>
        </p:spPr>
        <p:txBody>
          <a:bodyPr>
            <a:normAutofit/>
          </a:bodyPr>
          <a:lstStyle>
            <a:lvl1pPr>
              <a:defRPr sz="3200">
                <a:solidFill>
                  <a:schemeClr val="bg1"/>
                </a:solidFill>
                <a:latin typeface="+mj-lt"/>
                <a:ea typeface="+mj-ea"/>
                <a:cs typeface="+mj-cs"/>
              </a:defRPr>
            </a:lvl1pPr>
          </a:lstStyle>
          <a:p>
            <a:endParaRPr lang="en-US"/>
          </a:p>
        </p:txBody>
      </p:sp>
      <p:sp>
        <p:nvSpPr>
          <p:cNvPr id="9" name="Text Placeholder 8">
            <a:extLst>
              <a:ext uri="{FF2B5EF4-FFF2-40B4-BE49-F238E27FC236}">
                <a16:creationId xmlns:a16="http://schemas.microsoft.com/office/drawing/2014/main" id="{067382EA-2EA4-B1C3-F91F-FA266352C83E}"/>
              </a:ext>
            </a:extLst>
          </p:cNvPr>
          <p:cNvSpPr>
            <a:spLocks noGrp="1"/>
          </p:cNvSpPr>
          <p:nvPr>
            <p:ph type="body" sz="quarter" idx="14" hasCustomPrompt="1"/>
          </p:nvPr>
        </p:nvSpPr>
        <p:spPr>
          <a:xfrm>
            <a:off x="292824" y="1791479"/>
            <a:ext cx="4421226" cy="4128148"/>
          </a:xfrm>
        </p:spPr>
        <p:txBody>
          <a:bodyPr>
            <a:noAutofit/>
          </a:bodyPr>
          <a:lstStyle>
            <a:lvl1pPr marL="0" marR="0" indent="0" algn="l" defTabSz="914400" rtl="0" eaLnBrk="1" fontAlgn="auto" latinLnBrk="0" hangingPunct="1">
              <a:lnSpc>
                <a:spcPct val="100000"/>
              </a:lnSpc>
              <a:spcBef>
                <a:spcPts val="1000"/>
              </a:spcBef>
              <a:spcAft>
                <a:spcPts val="0"/>
              </a:spcAft>
              <a:buClr>
                <a:srgbClr val="1670FF"/>
              </a:buClr>
              <a:buSzTx/>
              <a:buFont typeface="Arial" panose="020B0604020202020204" pitchFamily="34" charset="0"/>
              <a:buNone/>
              <a:tabLst/>
              <a:defRPr lang="en-US" sz="1800" b="0" i="0" u="none" strike="noStrike" smtClean="0">
                <a:solidFill>
                  <a:schemeClr val="bg1"/>
                </a:solidFill>
                <a:effectLst/>
                <a:latin typeface="+mn-lt"/>
                <a:ea typeface="+mn-ea"/>
                <a:cs typeface="+mn-cs"/>
              </a:defRPr>
            </a:lvl1pPr>
          </a:lstStyle>
          <a:p>
            <a:pPr lvl="0"/>
            <a:r>
              <a:rPr lang="en-US"/>
              <a:t>Text</a:t>
            </a:r>
          </a:p>
        </p:txBody>
      </p:sp>
      <p:pic>
        <p:nvPicPr>
          <p:cNvPr id="16" name="Picture 15">
            <a:extLst>
              <a:ext uri="{FF2B5EF4-FFF2-40B4-BE49-F238E27FC236}">
                <a16:creationId xmlns:a16="http://schemas.microsoft.com/office/drawing/2014/main" id="{B8338DD5-F8E2-54AA-B735-D48D93326218}"/>
              </a:ext>
            </a:extLst>
          </p:cNvPr>
          <p:cNvPicPr>
            <a:picLocks noChangeAspect="1"/>
          </p:cNvPicPr>
          <p:nvPr userDrawn="1"/>
        </p:nvPicPr>
        <p:blipFill>
          <a:blip r:embed="rId8"/>
          <a:stretch>
            <a:fillRect/>
          </a:stretch>
        </p:blipFill>
        <p:spPr>
          <a:xfrm>
            <a:off x="4714050" y="0"/>
            <a:ext cx="4658264" cy="6858000"/>
          </a:xfrm>
          <a:prstGeom prst="rect">
            <a:avLst/>
          </a:prstGeom>
        </p:spPr>
      </p:pic>
      <p:sp>
        <p:nvSpPr>
          <p:cNvPr id="6" name="Rectangle 5">
            <a:extLst>
              <a:ext uri="{FF2B5EF4-FFF2-40B4-BE49-F238E27FC236}">
                <a16:creationId xmlns:a16="http://schemas.microsoft.com/office/drawing/2014/main" id="{7BCD5E67-0949-70E2-4EE3-A020D7DA6C43}"/>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9BC36EA9-C765-4B3F-FA81-EE9D8F92C8BA}"/>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8" name="Rectangle 7">
            <a:extLst>
              <a:ext uri="{FF2B5EF4-FFF2-40B4-BE49-F238E27FC236}">
                <a16:creationId xmlns:a16="http://schemas.microsoft.com/office/drawing/2014/main" id="{5A165CC4-E468-124A-EC3E-17459D93E846}"/>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3F897FF5-4834-1D9E-B64F-04F20B18F519}"/>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5534DFB0-995D-AAC8-38B7-E7E87F655FB2}"/>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878B708A-2170-2E29-89C3-EA1F491C986A}"/>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7A4D5C75-5F88-B5FC-88B5-05C040E08A94}"/>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FEDB02D0-710D-891F-72D7-0780CD882887}"/>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1BA7D715-197C-A667-4CA6-59FFE6D7BAB5}"/>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14810EB9-08A0-9995-CD9F-9E329244DF3D}"/>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Tree>
    <p:extLst>
      <p:ext uri="{BB962C8B-B14F-4D97-AF65-F5344CB8AC3E}">
        <p14:creationId xmlns:p14="http://schemas.microsoft.com/office/powerpoint/2010/main" val="294279304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ircle_Image03">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4977751D-82DF-7339-D063-8864CE2C7041}"/>
              </a:ext>
            </a:extLst>
          </p:cNvPr>
          <p:cNvGraphicFramePr>
            <a:graphicFrameLocks noChangeAspect="1"/>
          </p:cNvGraphicFramePr>
          <p:nvPr userDrawn="1">
            <p:custDataLst>
              <p:tags r:id="rId1"/>
            </p:custDataLst>
            <p:extLst>
              <p:ext uri="{D42A27DB-BD31-4B8C-83A1-F6EECF244321}">
                <p14:modId xmlns:p14="http://schemas.microsoft.com/office/powerpoint/2010/main" val="1791688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8" name="think-cell data - do not delete" hidden="1">
                        <a:extLst>
                          <a:ext uri="{FF2B5EF4-FFF2-40B4-BE49-F238E27FC236}">
                            <a16:creationId xmlns:a16="http://schemas.microsoft.com/office/drawing/2014/main" id="{4977751D-82DF-7339-D063-8864CE2C70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67D2CC8C-D086-E69D-76FA-44C11EF05697}"/>
              </a:ext>
            </a:extLst>
          </p:cNvPr>
          <p:cNvPicPr>
            <a:picLocks noChangeAspect="1"/>
          </p:cNvPicPr>
          <p:nvPr userDrawn="1"/>
        </p:nvPicPr>
        <p:blipFill>
          <a:blip r:embed="rId5"/>
          <a:stretch>
            <a:fillRect/>
          </a:stretch>
        </p:blipFill>
        <p:spPr>
          <a:xfrm>
            <a:off x="6350" y="0"/>
            <a:ext cx="12179300" cy="6858000"/>
          </a:xfrm>
          <a:prstGeom prst="rect">
            <a:avLst/>
          </a:prstGeom>
        </p:spPr>
      </p:pic>
      <p:pic>
        <p:nvPicPr>
          <p:cNvPr id="4" name="Picture 3">
            <a:extLst>
              <a:ext uri="{FF2B5EF4-FFF2-40B4-BE49-F238E27FC236}">
                <a16:creationId xmlns:a16="http://schemas.microsoft.com/office/drawing/2014/main" id="{F6DA1A9E-835C-A69B-4927-8B6D1AA2BEAA}"/>
              </a:ext>
            </a:extLst>
          </p:cNvPr>
          <p:cNvPicPr>
            <a:picLocks noChangeAspect="1"/>
          </p:cNvPicPr>
          <p:nvPr userDrawn="1"/>
        </p:nvPicPr>
        <p:blipFill>
          <a:blip r:embed="rId6"/>
          <a:stretch>
            <a:fillRect/>
          </a:stretch>
        </p:blipFill>
        <p:spPr>
          <a:xfrm>
            <a:off x="292823" y="6592472"/>
            <a:ext cx="2324100" cy="107950"/>
          </a:xfrm>
          <a:prstGeom prst="rect">
            <a:avLst/>
          </a:prstGeom>
        </p:spPr>
      </p:pic>
      <p:sp>
        <p:nvSpPr>
          <p:cNvPr id="5" name="Title 1">
            <a:extLst>
              <a:ext uri="{FF2B5EF4-FFF2-40B4-BE49-F238E27FC236}">
                <a16:creationId xmlns:a16="http://schemas.microsoft.com/office/drawing/2014/main" id="{2F18EC8C-7662-B711-CAA5-E1D541524938}"/>
              </a:ext>
            </a:extLst>
          </p:cNvPr>
          <p:cNvSpPr>
            <a:spLocks noGrp="1"/>
          </p:cNvSpPr>
          <p:nvPr>
            <p:ph type="title"/>
          </p:nvPr>
        </p:nvSpPr>
        <p:spPr>
          <a:xfrm>
            <a:off x="292823" y="719168"/>
            <a:ext cx="4335318" cy="909493"/>
          </a:xfrm>
        </p:spPr>
        <p:txBody>
          <a:bodyPr>
            <a:normAutofit/>
          </a:bodyPr>
          <a:lstStyle>
            <a:lvl1pPr>
              <a:defRPr sz="3200">
                <a:solidFill>
                  <a:schemeClr val="bg1"/>
                </a:solidFill>
                <a:latin typeface="+mj-lt"/>
                <a:ea typeface="+mj-ea"/>
                <a:cs typeface="+mj-cs"/>
              </a:defRPr>
            </a:lvl1pPr>
          </a:lstStyle>
          <a:p>
            <a:endParaRPr lang="en-US"/>
          </a:p>
        </p:txBody>
      </p:sp>
      <p:sp>
        <p:nvSpPr>
          <p:cNvPr id="9" name="Text Placeholder 8">
            <a:extLst>
              <a:ext uri="{FF2B5EF4-FFF2-40B4-BE49-F238E27FC236}">
                <a16:creationId xmlns:a16="http://schemas.microsoft.com/office/drawing/2014/main" id="{067382EA-2EA4-B1C3-F91F-FA266352C83E}"/>
              </a:ext>
            </a:extLst>
          </p:cNvPr>
          <p:cNvSpPr>
            <a:spLocks noGrp="1"/>
          </p:cNvSpPr>
          <p:nvPr>
            <p:ph type="body" sz="quarter" idx="14" hasCustomPrompt="1"/>
          </p:nvPr>
        </p:nvSpPr>
        <p:spPr>
          <a:xfrm>
            <a:off x="292824" y="1791479"/>
            <a:ext cx="4421226" cy="4128148"/>
          </a:xfrm>
        </p:spPr>
        <p:txBody>
          <a:bodyPr>
            <a:noAutofit/>
          </a:bodyPr>
          <a:lstStyle>
            <a:lvl1pPr marL="0" marR="0" indent="0" algn="l" defTabSz="914400" rtl="0" eaLnBrk="1" fontAlgn="auto" latinLnBrk="0" hangingPunct="1">
              <a:lnSpc>
                <a:spcPct val="100000"/>
              </a:lnSpc>
              <a:spcBef>
                <a:spcPts val="1000"/>
              </a:spcBef>
              <a:spcAft>
                <a:spcPts val="0"/>
              </a:spcAft>
              <a:buClr>
                <a:srgbClr val="1670FF"/>
              </a:buClr>
              <a:buSzTx/>
              <a:buFont typeface="Arial" panose="020B0604020202020204" pitchFamily="34" charset="0"/>
              <a:buNone/>
              <a:tabLst/>
              <a:defRPr lang="en-US" sz="1800" b="0" i="0" u="none" strike="noStrike" smtClean="0">
                <a:solidFill>
                  <a:schemeClr val="bg1"/>
                </a:solidFill>
                <a:effectLst/>
                <a:latin typeface="+mn-lt"/>
                <a:ea typeface="+mn-ea"/>
                <a:cs typeface="+mn-cs"/>
              </a:defRPr>
            </a:lvl1pPr>
          </a:lstStyle>
          <a:p>
            <a:pPr lvl="0"/>
            <a:r>
              <a:rPr lang="en-US"/>
              <a:t>Text</a:t>
            </a:r>
          </a:p>
        </p:txBody>
      </p:sp>
      <p:pic>
        <p:nvPicPr>
          <p:cNvPr id="6" name="Picture 5">
            <a:extLst>
              <a:ext uri="{FF2B5EF4-FFF2-40B4-BE49-F238E27FC236}">
                <a16:creationId xmlns:a16="http://schemas.microsoft.com/office/drawing/2014/main" id="{3FF7FB10-D837-4EF2-424B-6077A7E8B154}"/>
              </a:ext>
            </a:extLst>
          </p:cNvPr>
          <p:cNvPicPr>
            <a:picLocks noChangeAspect="1"/>
          </p:cNvPicPr>
          <p:nvPr userDrawn="1"/>
        </p:nvPicPr>
        <p:blipFill>
          <a:blip r:embed="rId7"/>
          <a:stretch>
            <a:fillRect/>
          </a:stretch>
        </p:blipFill>
        <p:spPr>
          <a:xfrm>
            <a:off x="5199621" y="-364696"/>
            <a:ext cx="11046469" cy="7377076"/>
          </a:xfrm>
          <a:prstGeom prst="rect">
            <a:avLst/>
          </a:prstGeom>
        </p:spPr>
      </p:pic>
      <p:pic>
        <p:nvPicPr>
          <p:cNvPr id="16" name="Picture 15">
            <a:extLst>
              <a:ext uri="{FF2B5EF4-FFF2-40B4-BE49-F238E27FC236}">
                <a16:creationId xmlns:a16="http://schemas.microsoft.com/office/drawing/2014/main" id="{B8338DD5-F8E2-54AA-B735-D48D93326218}"/>
              </a:ext>
            </a:extLst>
          </p:cNvPr>
          <p:cNvPicPr>
            <a:picLocks noChangeAspect="1"/>
          </p:cNvPicPr>
          <p:nvPr userDrawn="1"/>
        </p:nvPicPr>
        <p:blipFill>
          <a:blip r:embed="rId8"/>
          <a:stretch>
            <a:fillRect/>
          </a:stretch>
        </p:blipFill>
        <p:spPr>
          <a:xfrm>
            <a:off x="4714050" y="0"/>
            <a:ext cx="4658264" cy="6858000"/>
          </a:xfrm>
          <a:prstGeom prst="rect">
            <a:avLst/>
          </a:prstGeom>
        </p:spPr>
      </p:pic>
      <p:sp>
        <p:nvSpPr>
          <p:cNvPr id="3" name="Rectangle 2">
            <a:extLst>
              <a:ext uri="{FF2B5EF4-FFF2-40B4-BE49-F238E27FC236}">
                <a16:creationId xmlns:a16="http://schemas.microsoft.com/office/drawing/2014/main" id="{E45B158E-D345-CA93-3C0B-E40CF6D72872}"/>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26994A80-8B9D-AA51-DD05-4943F7503F93}"/>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8" name="Rectangle 7">
            <a:extLst>
              <a:ext uri="{FF2B5EF4-FFF2-40B4-BE49-F238E27FC236}">
                <a16:creationId xmlns:a16="http://schemas.microsoft.com/office/drawing/2014/main" id="{7B1B00C5-0B1A-A28F-329A-185D4984EF02}"/>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7BFF20F5-6A0A-A83E-F488-B396E016A5D4}"/>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FBBC471A-2A6D-446A-306B-8D59BB0B3F08}"/>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C6CFF13D-1CAA-A1D4-735D-EADE3F4C8E55}"/>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DEE7CDA1-7D12-2F04-2592-AD4FACA553A9}"/>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851AE982-8F47-7F52-D388-07E6F58DE65B}"/>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F8C5EC51-037B-9973-795F-05D5653ECF8C}"/>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C34406F4-4B8B-2B42-D980-B8AE7ACBC2A3}"/>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Tree>
    <p:extLst>
      <p:ext uri="{BB962C8B-B14F-4D97-AF65-F5344CB8AC3E}">
        <p14:creationId xmlns:p14="http://schemas.microsoft.com/office/powerpoint/2010/main" val="129002271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Goodbye">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F5B959CB-255C-AC28-CE4E-CD5EAC183C33}"/>
              </a:ext>
            </a:extLst>
          </p:cNvPr>
          <p:cNvGraphicFramePr>
            <a:graphicFrameLocks noChangeAspect="1"/>
          </p:cNvGraphicFramePr>
          <p:nvPr userDrawn="1">
            <p:custDataLst>
              <p:tags r:id="rId1"/>
            </p:custDataLst>
            <p:extLst>
              <p:ext uri="{D42A27DB-BD31-4B8C-83A1-F6EECF244321}">
                <p14:modId xmlns:p14="http://schemas.microsoft.com/office/powerpoint/2010/main" val="1240180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9" name="think-cell data - do not delete" hidden="1">
                        <a:extLst>
                          <a:ext uri="{FF2B5EF4-FFF2-40B4-BE49-F238E27FC236}">
                            <a16:creationId xmlns:a16="http://schemas.microsoft.com/office/drawing/2014/main" id="{F5B959CB-255C-AC28-CE4E-CD5EAC183C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mn-lt"/>
                <a:ea typeface="+mn-ea"/>
                <a:cs typeface="+mn-cs"/>
              </a:rPr>
              <a:t> </a:t>
            </a:r>
            <a:endParaRPr lang="en-US">
              <a:latin typeface="+mn-lt"/>
              <a:ea typeface="+mn-ea"/>
              <a:cs typeface="+mn-cs"/>
            </a:endParaRPr>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mn-lt"/>
                <a:ea typeface="+mn-ea"/>
                <a:cs typeface="+mn-cs"/>
              </a:rPr>
              <a:t> </a:t>
            </a:r>
            <a:endParaRPr lang="en-US">
              <a:latin typeface="+mn-lt"/>
              <a:ea typeface="+mn-ea"/>
              <a:cs typeface="+mn-cs"/>
            </a:endParaRPr>
          </a:p>
        </p:txBody>
      </p:sp>
      <p:pic>
        <p:nvPicPr>
          <p:cNvPr id="3" name="Picture 2">
            <a:extLst>
              <a:ext uri="{FF2B5EF4-FFF2-40B4-BE49-F238E27FC236}">
                <a16:creationId xmlns:a16="http://schemas.microsoft.com/office/drawing/2014/main" id="{DE618064-0F66-BAAA-B4E0-0AC4C5D4754E}"/>
              </a:ext>
            </a:extLst>
          </p:cNvPr>
          <p:cNvPicPr>
            <a:picLocks noChangeAspect="1"/>
          </p:cNvPicPr>
          <p:nvPr userDrawn="1"/>
        </p:nvPicPr>
        <p:blipFill>
          <a:blip r:embed="rId5"/>
          <a:stretch>
            <a:fillRect/>
          </a:stretch>
        </p:blipFill>
        <p:spPr>
          <a:xfrm>
            <a:off x="0" y="1390"/>
            <a:ext cx="12192000" cy="6855220"/>
          </a:xfrm>
          <a:prstGeom prst="rect">
            <a:avLst/>
          </a:prstGeom>
        </p:spPr>
      </p:pic>
      <p:sp>
        <p:nvSpPr>
          <p:cNvPr id="8" name="Text Placeholder 6">
            <a:extLst>
              <a:ext uri="{FF2B5EF4-FFF2-40B4-BE49-F238E27FC236}">
                <a16:creationId xmlns:a16="http://schemas.microsoft.com/office/drawing/2014/main" id="{C61D3EAD-6CD0-91BC-3B78-754BB6A067F5}"/>
              </a:ext>
            </a:extLst>
          </p:cNvPr>
          <p:cNvSpPr>
            <a:spLocks noGrp="1"/>
          </p:cNvSpPr>
          <p:nvPr>
            <p:ph type="body" sz="quarter" idx="15" hasCustomPrompt="1"/>
          </p:nvPr>
        </p:nvSpPr>
        <p:spPr>
          <a:xfrm>
            <a:off x="383679" y="3552134"/>
            <a:ext cx="8550255" cy="608864"/>
          </a:xfrm>
        </p:spPr>
        <p:txBody>
          <a:bodyPr>
            <a:noAutofit/>
          </a:bodyPr>
          <a:lstStyle>
            <a:lvl1pPr marL="0" indent="0">
              <a:buNone/>
              <a:defRPr sz="4400" b="1" i="0">
                <a:solidFill>
                  <a:schemeClr val="bg1"/>
                </a:solidFill>
                <a:latin typeface="+mn-lt"/>
                <a:ea typeface="+mn-ea"/>
                <a:cs typeface="+mn-cs"/>
              </a:defRPr>
            </a:lvl1pPr>
          </a:lstStyle>
          <a:p>
            <a:pPr lvl="0"/>
            <a:r>
              <a:rPr lang="en-US"/>
              <a:t>Title text</a:t>
            </a:r>
          </a:p>
        </p:txBody>
      </p:sp>
      <p:sp>
        <p:nvSpPr>
          <p:cNvPr id="12" name="Text Placeholder 6">
            <a:extLst>
              <a:ext uri="{FF2B5EF4-FFF2-40B4-BE49-F238E27FC236}">
                <a16:creationId xmlns:a16="http://schemas.microsoft.com/office/drawing/2014/main" id="{277EEE86-88B9-8808-CCE5-9E257901E6E5}"/>
              </a:ext>
            </a:extLst>
          </p:cNvPr>
          <p:cNvSpPr>
            <a:spLocks noGrp="1"/>
          </p:cNvSpPr>
          <p:nvPr>
            <p:ph type="body" sz="quarter" idx="16" hasCustomPrompt="1"/>
          </p:nvPr>
        </p:nvSpPr>
        <p:spPr>
          <a:xfrm>
            <a:off x="383679" y="4209738"/>
            <a:ext cx="8550255" cy="608864"/>
          </a:xfrm>
          <a:noFill/>
        </p:spPr>
        <p:txBody>
          <a:bodyPr>
            <a:noAutofit/>
          </a:bodyPr>
          <a:lstStyle>
            <a:lvl1pPr marL="0" indent="0">
              <a:buNone/>
              <a:defRPr sz="2800" b="0" i="0">
                <a:solidFill>
                  <a:schemeClr val="bg1"/>
                </a:solidFill>
                <a:latin typeface="+mn-lt"/>
                <a:ea typeface="+mn-ea"/>
                <a:cs typeface="+mn-cs"/>
              </a:defRPr>
            </a:lvl1pPr>
          </a:lstStyle>
          <a:p>
            <a:pPr lvl="0"/>
            <a:r>
              <a:rPr lang="en-US" err="1"/>
              <a:t>Subtile</a:t>
            </a:r>
            <a:endParaRPr lang="en-US"/>
          </a:p>
        </p:txBody>
      </p:sp>
      <p:pic>
        <p:nvPicPr>
          <p:cNvPr id="13" name="Picture 12">
            <a:extLst>
              <a:ext uri="{FF2B5EF4-FFF2-40B4-BE49-F238E27FC236}">
                <a16:creationId xmlns:a16="http://schemas.microsoft.com/office/drawing/2014/main" id="{20B9D558-03B9-1ABA-0F94-47A7A65092E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309863" y="2615623"/>
            <a:ext cx="4882137" cy="4242377"/>
          </a:xfrm>
          <a:prstGeom prst="rect">
            <a:avLst/>
          </a:prstGeom>
        </p:spPr>
      </p:pic>
      <p:pic>
        <p:nvPicPr>
          <p:cNvPr id="14" name="Picture 13">
            <a:extLst>
              <a:ext uri="{FF2B5EF4-FFF2-40B4-BE49-F238E27FC236}">
                <a16:creationId xmlns:a16="http://schemas.microsoft.com/office/drawing/2014/main" id="{1A5D16CC-EF58-27CF-BFEF-0C27AFAC5D82}"/>
              </a:ext>
            </a:extLst>
          </p:cNvPr>
          <p:cNvPicPr>
            <a:picLocks noChangeAspect="1"/>
          </p:cNvPicPr>
          <p:nvPr userDrawn="1"/>
        </p:nvPicPr>
        <p:blipFill>
          <a:blip r:embed="rId7"/>
          <a:stretch>
            <a:fillRect/>
          </a:stretch>
        </p:blipFill>
        <p:spPr>
          <a:xfrm>
            <a:off x="292823" y="6592472"/>
            <a:ext cx="2324100" cy="107950"/>
          </a:xfrm>
          <a:prstGeom prst="rect">
            <a:avLst/>
          </a:prstGeom>
        </p:spPr>
      </p:pic>
      <p:sp>
        <p:nvSpPr>
          <p:cNvPr id="2" name="Rectangle 1">
            <a:extLst>
              <a:ext uri="{FF2B5EF4-FFF2-40B4-BE49-F238E27FC236}">
                <a16:creationId xmlns:a16="http://schemas.microsoft.com/office/drawing/2014/main" id="{CBB2E3CA-7552-A012-1870-4397459C7C8C}"/>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4" name="Rectangle 3">
            <a:extLst>
              <a:ext uri="{FF2B5EF4-FFF2-40B4-BE49-F238E27FC236}">
                <a16:creationId xmlns:a16="http://schemas.microsoft.com/office/drawing/2014/main" id="{4F10D44A-EB7C-7973-36FA-F975B7324E42}"/>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5" name="Rectangle 4">
            <a:extLst>
              <a:ext uri="{FF2B5EF4-FFF2-40B4-BE49-F238E27FC236}">
                <a16:creationId xmlns:a16="http://schemas.microsoft.com/office/drawing/2014/main" id="{BD670526-1979-579A-A409-95484C4875B3}"/>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54C72DFD-D886-24BD-6230-886F82DE16A6}"/>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C4E99B4D-21B0-8531-F323-F63E0C2EB473}"/>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7A44CC03-7A96-8CAB-310A-886735E9B79C}"/>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1F7A176D-195A-FEE7-B890-611A264398CF}"/>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AE56D298-0D65-C9D0-AB7A-EADBAC2AB668}"/>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64E678CD-DFE7-E032-BDCB-09624B153D80}"/>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8" name="Rectangle 17">
            <a:extLst>
              <a:ext uri="{FF2B5EF4-FFF2-40B4-BE49-F238E27FC236}">
                <a16:creationId xmlns:a16="http://schemas.microsoft.com/office/drawing/2014/main" id="{8984EAAC-F7C7-EE92-59FC-32F6C27CDB5C}"/>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pic>
        <p:nvPicPr>
          <p:cNvPr id="21" name="Picture 20" descr="Logo&#10;&#10;Description automatically generated">
            <a:extLst>
              <a:ext uri="{FF2B5EF4-FFF2-40B4-BE49-F238E27FC236}">
                <a16:creationId xmlns:a16="http://schemas.microsoft.com/office/drawing/2014/main" id="{FC7A50D9-B630-28EB-D082-1D57B9D15680}"/>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0" y="138320"/>
            <a:ext cx="3353777" cy="1375806"/>
          </a:xfrm>
          <a:prstGeom prst="rect">
            <a:avLst/>
          </a:prstGeom>
        </p:spPr>
      </p:pic>
    </p:spTree>
    <p:extLst>
      <p:ext uri="{BB962C8B-B14F-4D97-AF65-F5344CB8AC3E}">
        <p14:creationId xmlns:p14="http://schemas.microsoft.com/office/powerpoint/2010/main" val="282588856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Logos 3 Colors">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EF5C1D8-4420-1BE1-F914-52E43C5A3CC6}"/>
              </a:ext>
            </a:extLst>
          </p:cNvPr>
          <p:cNvGraphicFramePr>
            <a:graphicFrameLocks noChangeAspect="1"/>
          </p:cNvGraphicFramePr>
          <p:nvPr userDrawn="1">
            <p:custDataLst>
              <p:tags r:id="rId1"/>
            </p:custDataLst>
            <p:extLst>
              <p:ext uri="{D42A27DB-BD31-4B8C-83A1-F6EECF244321}">
                <p14:modId xmlns:p14="http://schemas.microsoft.com/office/powerpoint/2010/main" val="169241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3EF5C1D8-4420-1BE1-F914-52E43C5A3C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object 2">
            <a:extLst>
              <a:ext uri="{FF2B5EF4-FFF2-40B4-BE49-F238E27FC236}">
                <a16:creationId xmlns:a16="http://schemas.microsoft.com/office/drawing/2014/main" id="{9BF6C6E8-B7A4-924C-9E6C-3C4CC13FD576}"/>
              </a:ext>
            </a:extLst>
          </p:cNvPr>
          <p:cNvSpPr/>
          <p:nvPr userDrawn="1"/>
        </p:nvSpPr>
        <p:spPr>
          <a:xfrm>
            <a:off x="8109647" y="0"/>
            <a:ext cx="4082352"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3"/>
          </a:solidFill>
        </p:spPr>
        <p:txBody>
          <a:bodyPr wrap="square" lIns="0" tIns="0" rIns="0" bIns="0" rtlCol="0"/>
          <a:lstStyle/>
          <a:p>
            <a:pPr algn="ctr"/>
            <a:endParaRPr>
              <a:solidFill>
                <a:schemeClr val="accent3"/>
              </a:solidFill>
              <a:latin typeface="+mn-lt"/>
              <a:ea typeface="+mn-ea"/>
              <a:cs typeface="+mn-cs"/>
            </a:endParaRPr>
          </a:p>
        </p:txBody>
      </p:sp>
      <p:sp>
        <p:nvSpPr>
          <p:cNvPr id="8" name="object 2">
            <a:extLst>
              <a:ext uri="{FF2B5EF4-FFF2-40B4-BE49-F238E27FC236}">
                <a16:creationId xmlns:a16="http://schemas.microsoft.com/office/drawing/2014/main" id="{F8D48D0B-58D4-874E-A7BB-FCE1D81EA330}"/>
              </a:ext>
            </a:extLst>
          </p:cNvPr>
          <p:cNvSpPr/>
          <p:nvPr userDrawn="1"/>
        </p:nvSpPr>
        <p:spPr>
          <a:xfrm>
            <a:off x="4027296" y="0"/>
            <a:ext cx="4082352" cy="6858000"/>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5"/>
          </a:solidFill>
        </p:spPr>
        <p:txBody>
          <a:bodyPr wrap="square" lIns="0" tIns="0" rIns="0" bIns="0" rtlCol="0"/>
          <a:lstStyle/>
          <a:p>
            <a:pPr algn="ctr"/>
            <a:endParaRPr>
              <a:latin typeface="+mn-lt"/>
              <a:ea typeface="+mn-ea"/>
              <a:cs typeface="+mn-cs"/>
            </a:endParaRP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mn-lt"/>
                <a:ea typeface="+mn-ea"/>
                <a:cs typeface="+mn-cs"/>
              </a:rPr>
              <a:t> </a:t>
            </a:r>
            <a:endParaRPr lang="en-US">
              <a:latin typeface="+mn-lt"/>
              <a:ea typeface="+mn-ea"/>
              <a:cs typeface="+mn-cs"/>
            </a:endParaRPr>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mn-lt"/>
                <a:ea typeface="+mn-ea"/>
                <a:cs typeface="+mn-cs"/>
              </a:rPr>
              <a:t> </a:t>
            </a:r>
            <a:endParaRPr lang="en-US">
              <a:latin typeface="+mn-lt"/>
              <a:ea typeface="+mn-ea"/>
              <a:cs typeface="+mn-cs"/>
            </a:endParaRPr>
          </a:p>
        </p:txBody>
      </p:sp>
      <p:sp>
        <p:nvSpPr>
          <p:cNvPr id="2" name="Rectangle 1">
            <a:extLst>
              <a:ext uri="{FF2B5EF4-FFF2-40B4-BE49-F238E27FC236}">
                <a16:creationId xmlns:a16="http://schemas.microsoft.com/office/drawing/2014/main" id="{F8A25AA2-46CF-1D75-674A-2F5F6448A0B0}"/>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3" name="Rectangle 2">
            <a:extLst>
              <a:ext uri="{FF2B5EF4-FFF2-40B4-BE49-F238E27FC236}">
                <a16:creationId xmlns:a16="http://schemas.microsoft.com/office/drawing/2014/main" id="{0CF34C85-87CB-CC6F-A2C8-9F0BD60AF9CA}"/>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5" name="Rectangle 4">
            <a:extLst>
              <a:ext uri="{FF2B5EF4-FFF2-40B4-BE49-F238E27FC236}">
                <a16:creationId xmlns:a16="http://schemas.microsoft.com/office/drawing/2014/main" id="{403A80E6-B572-07A1-C8A9-5F1450819E64}"/>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748BB134-C9BE-5C29-71BB-48F045B520ED}"/>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D970F6F6-6A6F-AD07-4335-7BA30C1FDC11}"/>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29D7B21A-979E-2673-E16C-0A3F276A67D4}"/>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D08D8BB2-685E-A5F6-90C0-616C798CD65F}"/>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1C3169A2-8799-ED03-DCD7-6B5C54FF48B2}"/>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BF27A52F-08BE-2F13-F71D-1082D7F1488D}"/>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8" name="Rectangle 17">
            <a:extLst>
              <a:ext uri="{FF2B5EF4-FFF2-40B4-BE49-F238E27FC236}">
                <a16:creationId xmlns:a16="http://schemas.microsoft.com/office/drawing/2014/main" id="{4166267B-380A-3666-2BE9-A3CB5CB16889}"/>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pic>
        <p:nvPicPr>
          <p:cNvPr id="28" name="Picture 27" descr="A screenshot of a video game&#10;&#10;Description automatically generated with medium confidence">
            <a:extLst>
              <a:ext uri="{FF2B5EF4-FFF2-40B4-BE49-F238E27FC236}">
                <a16:creationId xmlns:a16="http://schemas.microsoft.com/office/drawing/2014/main" id="{5D99359B-1DA2-ACA9-FCFC-709C715B5A5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53829" y="2607275"/>
            <a:ext cx="4383762" cy="1798332"/>
          </a:xfrm>
          <a:prstGeom prst="rect">
            <a:avLst/>
          </a:prstGeom>
        </p:spPr>
      </p:pic>
      <p:pic>
        <p:nvPicPr>
          <p:cNvPr id="30" name="Picture 29" descr="Logo&#10;&#10;Description automatically generated">
            <a:extLst>
              <a:ext uri="{FF2B5EF4-FFF2-40B4-BE49-F238E27FC236}">
                <a16:creationId xmlns:a16="http://schemas.microsoft.com/office/drawing/2014/main" id="{E0FCB790-63CC-0661-06AA-3C1D8D2A0C6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28524" y="2597710"/>
            <a:ext cx="4383762" cy="1798332"/>
          </a:xfrm>
          <a:prstGeom prst="rect">
            <a:avLst/>
          </a:prstGeom>
        </p:spPr>
      </p:pic>
      <p:pic>
        <p:nvPicPr>
          <p:cNvPr id="32" name="Picture 31" descr="A picture containing text, aircraft&#10;&#10;Description automatically generated">
            <a:extLst>
              <a:ext uri="{FF2B5EF4-FFF2-40B4-BE49-F238E27FC236}">
                <a16:creationId xmlns:a16="http://schemas.microsoft.com/office/drawing/2014/main" id="{24A1C81E-CBB8-4BC4-25D7-668625CC425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910877" y="2607275"/>
            <a:ext cx="4383762" cy="1798332"/>
          </a:xfrm>
          <a:prstGeom prst="rect">
            <a:avLst/>
          </a:prstGeom>
        </p:spPr>
      </p:pic>
    </p:spTree>
    <p:extLst>
      <p:ext uri="{BB962C8B-B14F-4D97-AF65-F5344CB8AC3E}">
        <p14:creationId xmlns:p14="http://schemas.microsoft.com/office/powerpoint/2010/main" val="236614014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Logos 3 Colors">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D65EB4BC-39AE-BF8A-30E2-E3F2B99AF923}"/>
              </a:ext>
            </a:extLst>
          </p:cNvPr>
          <p:cNvGraphicFramePr>
            <a:graphicFrameLocks noChangeAspect="1"/>
          </p:cNvGraphicFramePr>
          <p:nvPr userDrawn="1">
            <p:custDataLst>
              <p:tags r:id="rId1"/>
            </p:custDataLst>
            <p:extLst>
              <p:ext uri="{D42A27DB-BD31-4B8C-83A1-F6EECF244321}">
                <p14:modId xmlns:p14="http://schemas.microsoft.com/office/powerpoint/2010/main" val="2806889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9" name="think-cell data - do not delete" hidden="1">
                        <a:extLst>
                          <a:ext uri="{FF2B5EF4-FFF2-40B4-BE49-F238E27FC236}">
                            <a16:creationId xmlns:a16="http://schemas.microsoft.com/office/drawing/2014/main" id="{D65EB4BC-39AE-BF8A-30E2-E3F2B99AF9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object 2">
            <a:extLst>
              <a:ext uri="{FF2B5EF4-FFF2-40B4-BE49-F238E27FC236}">
                <a16:creationId xmlns:a16="http://schemas.microsoft.com/office/drawing/2014/main" id="{9BF6C6E8-B7A4-924C-9E6C-3C4CC13FD576}"/>
              </a:ext>
            </a:extLst>
          </p:cNvPr>
          <p:cNvSpPr/>
          <p:nvPr userDrawn="1"/>
        </p:nvSpPr>
        <p:spPr>
          <a:xfrm>
            <a:off x="8109647" y="0"/>
            <a:ext cx="4082352"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3"/>
          </a:solidFill>
        </p:spPr>
        <p:txBody>
          <a:bodyPr wrap="square" lIns="0" tIns="0" rIns="0" bIns="0" rtlCol="0"/>
          <a:lstStyle/>
          <a:p>
            <a:pPr algn="ctr"/>
            <a:endParaRPr>
              <a:solidFill>
                <a:schemeClr val="accent3"/>
              </a:solidFill>
              <a:latin typeface="+mn-lt"/>
              <a:ea typeface="+mn-ea"/>
              <a:cs typeface="+mn-cs"/>
            </a:endParaRPr>
          </a:p>
        </p:txBody>
      </p:sp>
      <p:sp>
        <p:nvSpPr>
          <p:cNvPr id="8" name="object 2">
            <a:extLst>
              <a:ext uri="{FF2B5EF4-FFF2-40B4-BE49-F238E27FC236}">
                <a16:creationId xmlns:a16="http://schemas.microsoft.com/office/drawing/2014/main" id="{F8D48D0B-58D4-874E-A7BB-FCE1D81EA330}"/>
              </a:ext>
            </a:extLst>
          </p:cNvPr>
          <p:cNvSpPr/>
          <p:nvPr userDrawn="1"/>
        </p:nvSpPr>
        <p:spPr>
          <a:xfrm>
            <a:off x="4027296" y="0"/>
            <a:ext cx="4082352" cy="6858000"/>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5"/>
          </a:solidFill>
        </p:spPr>
        <p:txBody>
          <a:bodyPr wrap="square" lIns="0" tIns="0" rIns="0" bIns="0" rtlCol="0"/>
          <a:lstStyle/>
          <a:p>
            <a:pPr algn="ctr"/>
            <a:endParaRPr>
              <a:latin typeface="+mn-lt"/>
              <a:ea typeface="+mn-ea"/>
              <a:cs typeface="+mn-cs"/>
            </a:endParaRPr>
          </a:p>
        </p:txBody>
      </p:sp>
      <p:sp>
        <p:nvSpPr>
          <p:cNvPr id="26" name="object 2">
            <a:extLst>
              <a:ext uri="{FF2B5EF4-FFF2-40B4-BE49-F238E27FC236}">
                <a16:creationId xmlns:a16="http://schemas.microsoft.com/office/drawing/2014/main" id="{126C8BFA-8CF8-DD4D-A574-D97E28367D5B}"/>
              </a:ext>
            </a:extLst>
          </p:cNvPr>
          <p:cNvSpPr/>
          <p:nvPr userDrawn="1"/>
        </p:nvSpPr>
        <p:spPr>
          <a:xfrm>
            <a:off x="-9939" y="0"/>
            <a:ext cx="4082353"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bg1"/>
          </a:solidFill>
          <a:ln>
            <a:noFill/>
          </a:ln>
        </p:spPr>
        <p:txBody>
          <a:bodyPr wrap="square" lIns="0" tIns="0" rIns="0" bIns="0" rtlCol="0"/>
          <a:lstStyle/>
          <a:p>
            <a:pPr algn="ctr"/>
            <a:endParaRPr>
              <a:solidFill>
                <a:schemeClr val="accent3"/>
              </a:solidFill>
              <a:latin typeface="+mn-lt"/>
              <a:ea typeface="+mn-ea"/>
              <a:cs typeface="+mn-cs"/>
            </a:endParaRP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mn-lt"/>
                <a:ea typeface="+mn-ea"/>
                <a:cs typeface="+mn-cs"/>
              </a:rPr>
              <a:t> </a:t>
            </a:r>
            <a:endParaRPr lang="en-US">
              <a:latin typeface="+mn-lt"/>
              <a:ea typeface="+mn-ea"/>
              <a:cs typeface="+mn-cs"/>
            </a:endParaRPr>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mn-lt"/>
                <a:ea typeface="+mn-ea"/>
                <a:cs typeface="+mn-cs"/>
              </a:rPr>
              <a:t> </a:t>
            </a:r>
            <a:endParaRPr lang="en-US">
              <a:latin typeface="+mn-lt"/>
              <a:ea typeface="+mn-ea"/>
              <a:cs typeface="+mn-cs"/>
            </a:endParaRPr>
          </a:p>
        </p:txBody>
      </p:sp>
      <p:pic>
        <p:nvPicPr>
          <p:cNvPr id="4" name="Picture 3" descr="Logo&#10;&#10;Description automatically generated">
            <a:extLst>
              <a:ext uri="{FF2B5EF4-FFF2-40B4-BE49-F238E27FC236}">
                <a16:creationId xmlns:a16="http://schemas.microsoft.com/office/drawing/2014/main" id="{61019D1A-7232-164B-BB34-6BBBA1B1C36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178649" y="2544620"/>
            <a:ext cx="3779646" cy="1768759"/>
          </a:xfrm>
          <a:prstGeom prst="rect">
            <a:avLst/>
          </a:prstGeom>
        </p:spPr>
      </p:pic>
      <p:pic>
        <p:nvPicPr>
          <p:cNvPr id="9" name="Picture 8" descr="Logo&#10;&#10;Description automatically generated">
            <a:extLst>
              <a:ext uri="{FF2B5EF4-FFF2-40B4-BE49-F238E27FC236}">
                <a16:creationId xmlns:a16="http://schemas.microsoft.com/office/drawing/2014/main" id="{AF8A2D02-8425-9D45-945B-87B48D4D26F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261000" y="2544619"/>
            <a:ext cx="3779646" cy="1768760"/>
          </a:xfrm>
          <a:prstGeom prst="rect">
            <a:avLst/>
          </a:prstGeom>
        </p:spPr>
      </p:pic>
      <p:pic>
        <p:nvPicPr>
          <p:cNvPr id="11" name="Picture 10" descr="A picture containing text, transport, aircraft&#10;&#10;Description automatically generated">
            <a:extLst>
              <a:ext uri="{FF2B5EF4-FFF2-40B4-BE49-F238E27FC236}">
                <a16:creationId xmlns:a16="http://schemas.microsoft.com/office/drawing/2014/main" id="{9FB004AB-393C-CA4E-8BB3-CC7B126DE796}"/>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1415" y="2544619"/>
            <a:ext cx="3779646" cy="1768759"/>
          </a:xfrm>
          <a:prstGeom prst="rect">
            <a:avLst/>
          </a:prstGeom>
        </p:spPr>
      </p:pic>
      <p:sp>
        <p:nvSpPr>
          <p:cNvPr id="2" name="Rectangle 1">
            <a:extLst>
              <a:ext uri="{FF2B5EF4-FFF2-40B4-BE49-F238E27FC236}">
                <a16:creationId xmlns:a16="http://schemas.microsoft.com/office/drawing/2014/main" id="{F8A25AA2-46CF-1D75-674A-2F5F6448A0B0}"/>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3" name="Rectangle 2">
            <a:extLst>
              <a:ext uri="{FF2B5EF4-FFF2-40B4-BE49-F238E27FC236}">
                <a16:creationId xmlns:a16="http://schemas.microsoft.com/office/drawing/2014/main" id="{0CF34C85-87CB-CC6F-A2C8-9F0BD60AF9CA}"/>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5" name="Rectangle 4">
            <a:extLst>
              <a:ext uri="{FF2B5EF4-FFF2-40B4-BE49-F238E27FC236}">
                <a16:creationId xmlns:a16="http://schemas.microsoft.com/office/drawing/2014/main" id="{403A80E6-B572-07A1-C8A9-5F1450819E64}"/>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748BB134-C9BE-5C29-71BB-48F045B520ED}"/>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D970F6F6-6A6F-AD07-4335-7BA30C1FDC11}"/>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29D7B21A-979E-2673-E16C-0A3F276A67D4}"/>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D08D8BB2-685E-A5F6-90C0-616C798CD65F}"/>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1C3169A2-8799-ED03-DCD7-6B5C54FF48B2}"/>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BF27A52F-08BE-2F13-F71D-1082D7F1488D}"/>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8" name="Rectangle 17">
            <a:extLst>
              <a:ext uri="{FF2B5EF4-FFF2-40B4-BE49-F238E27FC236}">
                <a16:creationId xmlns:a16="http://schemas.microsoft.com/office/drawing/2014/main" id="{4166267B-380A-3666-2BE9-A3CB5CB16889}"/>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Tree>
    <p:extLst>
      <p:ext uri="{BB962C8B-B14F-4D97-AF65-F5344CB8AC3E}">
        <p14:creationId xmlns:p14="http://schemas.microsoft.com/office/powerpoint/2010/main" val="281362059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A556D0FD-26B3-CA9A-DC69-D7DB706D9715}"/>
              </a:ext>
            </a:extLst>
          </p:cNvPr>
          <p:cNvGraphicFramePr>
            <a:graphicFrameLocks noChangeAspect="1"/>
          </p:cNvGraphicFramePr>
          <p:nvPr userDrawn="1">
            <p:custDataLst>
              <p:tags r:id="rId1"/>
            </p:custDataLst>
            <p:extLst>
              <p:ext uri="{D42A27DB-BD31-4B8C-83A1-F6EECF244321}">
                <p14:modId xmlns:p14="http://schemas.microsoft.com/office/powerpoint/2010/main" val="2868973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5" name="think-cell data - do not delete" hidden="1">
                        <a:extLst>
                          <a:ext uri="{FF2B5EF4-FFF2-40B4-BE49-F238E27FC236}">
                            <a16:creationId xmlns:a16="http://schemas.microsoft.com/office/drawing/2014/main" id="{A556D0FD-26B3-CA9A-DC69-D7DB706D97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descr="Logo&#10;&#10;Description automatically generated">
            <a:extLst>
              <a:ext uri="{FF2B5EF4-FFF2-40B4-BE49-F238E27FC236}">
                <a16:creationId xmlns:a16="http://schemas.microsoft.com/office/drawing/2014/main" id="{89FC93A2-116A-4043-A08A-70DACBFC980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24931" y="1668026"/>
            <a:ext cx="3240594" cy="3240594"/>
          </a:xfrm>
          <a:prstGeom prst="rect">
            <a:avLst/>
          </a:prstGeom>
        </p:spPr>
      </p:pic>
      <p:pic>
        <p:nvPicPr>
          <p:cNvPr id="7" name="Picture 6" descr="Logo&#10;&#10;Description automatically generated">
            <a:extLst>
              <a:ext uri="{FF2B5EF4-FFF2-40B4-BE49-F238E27FC236}">
                <a16:creationId xmlns:a16="http://schemas.microsoft.com/office/drawing/2014/main" id="{E793A380-0825-AA49-9D61-F2A67DD1230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926475" y="1668026"/>
            <a:ext cx="3240594" cy="3240594"/>
          </a:xfrm>
          <a:prstGeom prst="rect">
            <a:avLst/>
          </a:prstGeom>
        </p:spPr>
      </p:pic>
      <p:pic>
        <p:nvPicPr>
          <p:cNvPr id="9" name="Picture 8" descr="Logo&#10;&#10;Description automatically generated">
            <a:extLst>
              <a:ext uri="{FF2B5EF4-FFF2-40B4-BE49-F238E27FC236}">
                <a16:creationId xmlns:a16="http://schemas.microsoft.com/office/drawing/2014/main" id="{197DB6B1-D1BE-FB4A-ACF1-76FB8564F44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475703" y="1668026"/>
            <a:ext cx="3240594" cy="3240594"/>
          </a:xfrm>
          <a:prstGeom prst="rect">
            <a:avLst/>
          </a:prstGeom>
        </p:spPr>
      </p:pic>
      <p:sp>
        <p:nvSpPr>
          <p:cNvPr id="2" name="Rectangle 1">
            <a:extLst>
              <a:ext uri="{FF2B5EF4-FFF2-40B4-BE49-F238E27FC236}">
                <a16:creationId xmlns:a16="http://schemas.microsoft.com/office/drawing/2014/main" id="{38283F43-D135-1B03-81D0-DA32CCF40D0C}"/>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3" name="Rectangle 2">
            <a:extLst>
              <a:ext uri="{FF2B5EF4-FFF2-40B4-BE49-F238E27FC236}">
                <a16:creationId xmlns:a16="http://schemas.microsoft.com/office/drawing/2014/main" id="{3996EFFF-1352-22DB-27D9-B66196031021}"/>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5" name="Rectangle 4">
            <a:extLst>
              <a:ext uri="{FF2B5EF4-FFF2-40B4-BE49-F238E27FC236}">
                <a16:creationId xmlns:a16="http://schemas.microsoft.com/office/drawing/2014/main" id="{E510D126-9184-8D21-08CC-C89F3FA3285E}"/>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6" name="Rectangle 5">
            <a:extLst>
              <a:ext uri="{FF2B5EF4-FFF2-40B4-BE49-F238E27FC236}">
                <a16:creationId xmlns:a16="http://schemas.microsoft.com/office/drawing/2014/main" id="{0E18CF8A-77CC-50E0-07B5-204A0F2057C1}"/>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8" name="Rectangle 7">
            <a:extLst>
              <a:ext uri="{FF2B5EF4-FFF2-40B4-BE49-F238E27FC236}">
                <a16:creationId xmlns:a16="http://schemas.microsoft.com/office/drawing/2014/main" id="{6C1DD3F9-9717-B911-5E3B-C8C86ACADE95}"/>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0" name="Rectangle 9">
            <a:extLst>
              <a:ext uri="{FF2B5EF4-FFF2-40B4-BE49-F238E27FC236}">
                <a16:creationId xmlns:a16="http://schemas.microsoft.com/office/drawing/2014/main" id="{74E5D102-6EFE-D768-920B-E34375052A3B}"/>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1" name="Rectangle 10">
            <a:extLst>
              <a:ext uri="{FF2B5EF4-FFF2-40B4-BE49-F238E27FC236}">
                <a16:creationId xmlns:a16="http://schemas.microsoft.com/office/drawing/2014/main" id="{43BA59CE-6FEB-84D8-75D1-13A2112C4C81}"/>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02209B78-0B65-3383-65A2-47D1FD8F0AFF}"/>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82F88EB9-07AB-0619-B2F1-4E85DA67C61C}"/>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B7D2A894-8743-B412-41F7-6510C125B041}"/>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Tree>
    <p:extLst>
      <p:ext uri="{BB962C8B-B14F-4D97-AF65-F5344CB8AC3E}">
        <p14:creationId xmlns:p14="http://schemas.microsoft.com/office/powerpoint/2010/main" val="37637592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cSld name="Blank layou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384FDD-0A43-EEB7-01FB-CAF9A69D58F2}"/>
              </a:ext>
            </a:extLst>
          </p:cNvPr>
          <p:cNvGraphicFramePr>
            <a:graphicFrameLocks noChangeAspect="1"/>
          </p:cNvGraphicFramePr>
          <p:nvPr userDrawn="1">
            <p:custDataLst>
              <p:tags r:id="rId1"/>
            </p:custDataLst>
            <p:extLst>
              <p:ext uri="{D42A27DB-BD31-4B8C-83A1-F6EECF244321}">
                <p14:modId xmlns:p14="http://schemas.microsoft.com/office/powerpoint/2010/main" val="471745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1B384FDD-0A43-EEB7-01FB-CAF9A69D58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B1E9B4D0-B29D-84B4-88A6-499A9C7C5160}"/>
              </a:ext>
            </a:extLst>
          </p:cNvPr>
          <p:cNvSpPr>
            <a:spLocks noGrp="1"/>
          </p:cNvSpPr>
          <p:nvPr>
            <p:ph type="dt" sz="half" idx="10"/>
          </p:nvPr>
        </p:nvSpPr>
        <p:spPr/>
        <p:txBody>
          <a:bodyPr/>
          <a:lstStyle>
            <a:lvl1pPr>
              <a:defRPr>
                <a:latin typeface="+mn-lt"/>
                <a:ea typeface="+mn-ea"/>
                <a:cs typeface="+mn-cs"/>
              </a:defRPr>
            </a:lvl1pPr>
          </a:lstStyle>
          <a:p>
            <a:endParaRPr lang="en-IN"/>
          </a:p>
        </p:txBody>
      </p:sp>
      <p:sp>
        <p:nvSpPr>
          <p:cNvPr id="3" name="Footer Placeholder 2">
            <a:extLst>
              <a:ext uri="{FF2B5EF4-FFF2-40B4-BE49-F238E27FC236}">
                <a16:creationId xmlns:a16="http://schemas.microsoft.com/office/drawing/2014/main" id="{43FE03E0-73C4-C134-154E-945B990B873E}"/>
              </a:ext>
            </a:extLst>
          </p:cNvPr>
          <p:cNvSpPr>
            <a:spLocks noGrp="1"/>
          </p:cNvSpPr>
          <p:nvPr>
            <p:ph type="ftr" sz="quarter" idx="11"/>
          </p:nvPr>
        </p:nvSpPr>
        <p:spPr/>
        <p:txBody>
          <a:bodyPr/>
          <a:lstStyle>
            <a:lvl1pPr>
              <a:defRPr>
                <a:latin typeface="+mn-lt"/>
                <a:ea typeface="+mn-ea"/>
                <a:cs typeface="+mn-cs"/>
              </a:defRPr>
            </a:lvl1pPr>
          </a:lstStyle>
          <a:p>
            <a:endParaRPr lang="en-IN"/>
          </a:p>
        </p:txBody>
      </p:sp>
      <p:sp>
        <p:nvSpPr>
          <p:cNvPr id="4" name="Slide Number Placeholder 3">
            <a:extLst>
              <a:ext uri="{FF2B5EF4-FFF2-40B4-BE49-F238E27FC236}">
                <a16:creationId xmlns:a16="http://schemas.microsoft.com/office/drawing/2014/main" id="{B66235A4-27A2-A3FE-8347-38B99E865C7C}"/>
              </a:ext>
            </a:extLst>
          </p:cNvPr>
          <p:cNvSpPr>
            <a:spLocks noGrp="1"/>
          </p:cNvSpPr>
          <p:nvPr>
            <p:ph type="sldNum" sz="quarter" idx="12"/>
          </p:nvPr>
        </p:nvSpPr>
        <p:spPr/>
        <p:txBody>
          <a:bodyPr/>
          <a:lstStyle>
            <a:lvl1pPr>
              <a:defRPr>
                <a:latin typeface="+mn-lt"/>
                <a:ea typeface="+mn-ea"/>
                <a:cs typeface="+mn-cs"/>
              </a:defRPr>
            </a:lvl1pPr>
          </a:lstStyle>
          <a:p>
            <a:fld id="{A6154F28-3B2D-4ADA-8E68-4485CBF7EBEF}" type="slidenum">
              <a:rPr lang="en-IN" smtClean="0"/>
              <a:pPr/>
              <a:t>‹#›</a:t>
            </a:fld>
            <a:endParaRPr lang="en-IN"/>
          </a:p>
        </p:txBody>
      </p:sp>
    </p:spTree>
    <p:extLst>
      <p:ext uri="{BB962C8B-B14F-4D97-AF65-F5344CB8AC3E}">
        <p14:creationId xmlns:p14="http://schemas.microsoft.com/office/powerpoint/2010/main" val="224138029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0CDC52A-E02E-4A50-B4CF-180098F98B79}"/>
              </a:ext>
            </a:extLst>
          </p:cNvPr>
          <p:cNvSpPr/>
          <p:nvPr userDrawn="1"/>
        </p:nvSpPr>
        <p:spPr>
          <a:xfrm>
            <a:off x="0" y="-1"/>
            <a:ext cx="12192000" cy="6858001"/>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pic>
        <p:nvPicPr>
          <p:cNvPr id="7" name="Picture 6" descr="Background pattern&#10;&#10;Description automatically generated with medium confidence">
            <a:extLst>
              <a:ext uri="{FF2B5EF4-FFF2-40B4-BE49-F238E27FC236}">
                <a16:creationId xmlns:a16="http://schemas.microsoft.com/office/drawing/2014/main" id="{4922E65C-C383-4B19-A0BC-8495CD0BA9E1}"/>
              </a:ext>
            </a:extLst>
          </p:cNvPr>
          <p:cNvPicPr>
            <a:picLocks noChangeAspect="1"/>
          </p:cNvPicPr>
          <p:nvPr userDrawn="1"/>
        </p:nvPicPr>
        <p:blipFill rotWithShape="1">
          <a:blip r:embed="rId2" cstate="screen">
            <a:alphaModFix amt="70000"/>
            <a:extLst>
              <a:ext uri="{28A0092B-C50C-407E-A947-70E740481C1C}">
                <a14:useLocalDpi xmlns:a14="http://schemas.microsoft.com/office/drawing/2010/main"/>
              </a:ext>
            </a:extLst>
          </a:blip>
          <a:srcRect l="3806" t="9" r="3806"/>
          <a:stretch/>
        </p:blipFill>
        <p:spPr>
          <a:xfrm>
            <a:off x="0" y="0"/>
            <a:ext cx="12192000" cy="6858605"/>
          </a:xfrm>
          <a:prstGeom prst="rect">
            <a:avLst/>
          </a:prstGeom>
        </p:spPr>
      </p:pic>
      <p:pic>
        <p:nvPicPr>
          <p:cNvPr id="8" name="Picture 3">
            <a:extLst>
              <a:ext uri="{FF2B5EF4-FFF2-40B4-BE49-F238E27FC236}">
                <a16:creationId xmlns:a16="http://schemas.microsoft.com/office/drawing/2014/main" id="{8E7D77CC-7D0A-4A73-B78F-C317B9C06D9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21728" b="34815"/>
          <a:stretch/>
        </p:blipFill>
        <p:spPr>
          <a:xfrm>
            <a:off x="4194940" y="127001"/>
            <a:ext cx="3802120" cy="1093018"/>
          </a:xfrm>
          <a:prstGeom prst="rect">
            <a:avLst/>
          </a:prstGeom>
        </p:spPr>
      </p:pic>
      <p:sp>
        <p:nvSpPr>
          <p:cNvPr id="10" name="Text Placeholder 9">
            <a:extLst>
              <a:ext uri="{FF2B5EF4-FFF2-40B4-BE49-F238E27FC236}">
                <a16:creationId xmlns:a16="http://schemas.microsoft.com/office/drawing/2014/main" id="{6D6C41C7-97E5-4EEA-8F2D-741738D24997}"/>
              </a:ext>
            </a:extLst>
          </p:cNvPr>
          <p:cNvSpPr>
            <a:spLocks noGrp="1"/>
          </p:cNvSpPr>
          <p:nvPr>
            <p:ph type="body" sz="quarter" idx="10" hasCustomPrompt="1"/>
          </p:nvPr>
        </p:nvSpPr>
        <p:spPr>
          <a:xfrm>
            <a:off x="1727200" y="1600200"/>
            <a:ext cx="8737600" cy="660400"/>
          </a:xfrm>
          <a:prstGeom prst="rect">
            <a:avLst/>
          </a:prstGeom>
        </p:spPr>
        <p:txBody>
          <a:bodyPr lIns="0" tIns="0" rIns="0" bIns="0" anchor="ctr"/>
          <a:lstStyle>
            <a:lvl1pPr marL="0" indent="0" algn="ctr">
              <a:buNone/>
              <a:defRPr sz="3600" spc="200">
                <a:solidFill>
                  <a:schemeClr val="accent2"/>
                </a:solidFill>
                <a:latin typeface="+mj-lt"/>
              </a:defRPr>
            </a:lvl1pPr>
          </a:lstStyle>
          <a:p>
            <a:pPr lvl="0"/>
            <a:r>
              <a:rPr lang="en-US"/>
              <a:t>ADD YOUR TEXT HERE</a:t>
            </a:r>
            <a:endParaRPr lang="en-IN"/>
          </a:p>
        </p:txBody>
      </p:sp>
      <p:sp>
        <p:nvSpPr>
          <p:cNvPr id="11" name="Text Placeholder 9">
            <a:extLst>
              <a:ext uri="{FF2B5EF4-FFF2-40B4-BE49-F238E27FC236}">
                <a16:creationId xmlns:a16="http://schemas.microsoft.com/office/drawing/2014/main" id="{4DAC29FD-7DFF-4A79-98A3-E7B0B00F5920}"/>
              </a:ext>
            </a:extLst>
          </p:cNvPr>
          <p:cNvSpPr>
            <a:spLocks noGrp="1"/>
          </p:cNvSpPr>
          <p:nvPr>
            <p:ph type="body" sz="quarter" idx="11" hasCustomPrompt="1"/>
          </p:nvPr>
        </p:nvSpPr>
        <p:spPr>
          <a:xfrm>
            <a:off x="1727200" y="2323363"/>
            <a:ext cx="8737600" cy="660400"/>
          </a:xfrm>
          <a:prstGeom prst="rect">
            <a:avLst/>
          </a:prstGeom>
        </p:spPr>
        <p:txBody>
          <a:bodyPr lIns="0" tIns="0" rIns="0" bIns="0" anchor="ctr"/>
          <a:lstStyle>
            <a:lvl1pPr marL="0" indent="0" algn="ctr">
              <a:buNone/>
              <a:defRPr sz="1333" b="1">
                <a:solidFill>
                  <a:schemeClr val="accent2"/>
                </a:solidFill>
                <a:latin typeface="+mn-lt"/>
              </a:defRPr>
            </a:lvl1pPr>
          </a:lstStyle>
          <a:p>
            <a:pPr lvl="0"/>
            <a:r>
              <a:rPr lang="en-US"/>
              <a:t>Your Subtext Goes here</a:t>
            </a:r>
            <a:endParaRPr lang="en-IN"/>
          </a:p>
        </p:txBody>
      </p:sp>
      <p:pic>
        <p:nvPicPr>
          <p:cNvPr id="12" name="Picture 11" descr="A picture containing text, kitchen appliance&#10;&#10;Description automatically generated">
            <a:extLst>
              <a:ext uri="{FF2B5EF4-FFF2-40B4-BE49-F238E27FC236}">
                <a16:creationId xmlns:a16="http://schemas.microsoft.com/office/drawing/2014/main" id="{7817C22B-CBE0-48D5-B9AE-063418AE9BF0}"/>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b="27329"/>
          <a:stretch/>
        </p:blipFill>
        <p:spPr>
          <a:xfrm>
            <a:off x="4452880" y="2953284"/>
            <a:ext cx="3286240" cy="3904717"/>
          </a:xfrm>
          <a:prstGeom prst="rect">
            <a:avLst/>
          </a:prstGeom>
        </p:spPr>
      </p:pic>
      <p:sp>
        <p:nvSpPr>
          <p:cNvPr id="14" name="TextBox 17">
            <a:extLst>
              <a:ext uri="{FF2B5EF4-FFF2-40B4-BE49-F238E27FC236}">
                <a16:creationId xmlns:a16="http://schemas.microsoft.com/office/drawing/2014/main" id="{B529597E-75DB-4B49-BD8C-50F4003B907A}"/>
              </a:ext>
            </a:extLst>
          </p:cNvPr>
          <p:cNvSpPr txBox="1"/>
          <p:nvPr userDrawn="1"/>
        </p:nvSpPr>
        <p:spPr>
          <a:xfrm>
            <a:off x="260047" y="6597683"/>
            <a:ext cx="964623" cy="117725"/>
          </a:xfrm>
          <a:prstGeom prst="rect">
            <a:avLst/>
          </a:prstGeom>
        </p:spPr>
        <p:txBody>
          <a:bodyPr lIns="0" tIns="0" rIns="0" bIns="0" rtlCol="0" anchor="ctr">
            <a:spAutoFit/>
          </a:bodyPr>
          <a:lstStyle/>
          <a:p>
            <a:pPr algn="ctr">
              <a:lnSpc>
                <a:spcPts val="1040"/>
              </a:lnSpc>
            </a:pPr>
            <a:r>
              <a:rPr lang="en-US" sz="800" spc="200">
                <a:solidFill>
                  <a:srgbClr val="808285"/>
                </a:solidFill>
                <a:latin typeface="Helvetica Neue"/>
              </a:rPr>
              <a:t>CONFIDENTIAL</a:t>
            </a:r>
          </a:p>
        </p:txBody>
      </p:sp>
      <p:cxnSp>
        <p:nvCxnSpPr>
          <p:cNvPr id="15" name="Straight Connector 14">
            <a:extLst>
              <a:ext uri="{FF2B5EF4-FFF2-40B4-BE49-F238E27FC236}">
                <a16:creationId xmlns:a16="http://schemas.microsoft.com/office/drawing/2014/main" id="{E420E3F1-D203-449B-B4CE-FD1432C6EF66}"/>
              </a:ext>
            </a:extLst>
          </p:cNvPr>
          <p:cNvCxnSpPr>
            <a:cxnSpLocks/>
          </p:cNvCxnSpPr>
          <p:nvPr userDrawn="1"/>
        </p:nvCxnSpPr>
        <p:spPr>
          <a:xfrm>
            <a:off x="1066800" y="2297963"/>
            <a:ext cx="10058401" cy="0"/>
          </a:xfrm>
          <a:prstGeom prst="line">
            <a:avLst/>
          </a:prstGeom>
          <a:ln w="28575">
            <a:solidFill>
              <a:schemeClr val="accent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479420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0CDC52A-E02E-4A50-B4CF-180098F98B79}"/>
              </a:ext>
            </a:extLst>
          </p:cNvPr>
          <p:cNvSpPr/>
          <p:nvPr userDrawn="1"/>
        </p:nvSpPr>
        <p:spPr>
          <a:xfrm>
            <a:off x="0" y="-1"/>
            <a:ext cx="12192000" cy="6858001"/>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pic>
        <p:nvPicPr>
          <p:cNvPr id="7" name="Picture 6" descr="Background pattern&#10;&#10;Description automatically generated with medium confidence">
            <a:extLst>
              <a:ext uri="{FF2B5EF4-FFF2-40B4-BE49-F238E27FC236}">
                <a16:creationId xmlns:a16="http://schemas.microsoft.com/office/drawing/2014/main" id="{4922E65C-C383-4B19-A0BC-8495CD0BA9E1}"/>
              </a:ext>
            </a:extLst>
          </p:cNvPr>
          <p:cNvPicPr>
            <a:picLocks noChangeAspect="1"/>
          </p:cNvPicPr>
          <p:nvPr userDrawn="1"/>
        </p:nvPicPr>
        <p:blipFill rotWithShape="1">
          <a:blip r:embed="rId2" cstate="screen">
            <a:alphaModFix amt="70000"/>
            <a:extLst>
              <a:ext uri="{28A0092B-C50C-407E-A947-70E740481C1C}">
                <a14:useLocalDpi xmlns:a14="http://schemas.microsoft.com/office/drawing/2010/main"/>
              </a:ext>
            </a:extLst>
          </a:blip>
          <a:srcRect l="3806" t="9" r="3806"/>
          <a:stretch/>
        </p:blipFill>
        <p:spPr>
          <a:xfrm>
            <a:off x="0" y="0"/>
            <a:ext cx="12192000" cy="6858605"/>
          </a:xfrm>
          <a:prstGeom prst="rect">
            <a:avLst/>
          </a:prstGeom>
        </p:spPr>
      </p:pic>
      <p:pic>
        <p:nvPicPr>
          <p:cNvPr id="8" name="Picture 3">
            <a:extLst>
              <a:ext uri="{FF2B5EF4-FFF2-40B4-BE49-F238E27FC236}">
                <a16:creationId xmlns:a16="http://schemas.microsoft.com/office/drawing/2014/main" id="{8E7D77CC-7D0A-4A73-B78F-C317B9C06D9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21728" b="34815"/>
          <a:stretch/>
        </p:blipFill>
        <p:spPr>
          <a:xfrm>
            <a:off x="4560452" y="130067"/>
            <a:ext cx="3071095" cy="882866"/>
          </a:xfrm>
          <a:prstGeom prst="rect">
            <a:avLst/>
          </a:prstGeom>
        </p:spPr>
      </p:pic>
      <p:sp>
        <p:nvSpPr>
          <p:cNvPr id="14" name="TextBox 17">
            <a:extLst>
              <a:ext uri="{FF2B5EF4-FFF2-40B4-BE49-F238E27FC236}">
                <a16:creationId xmlns:a16="http://schemas.microsoft.com/office/drawing/2014/main" id="{B529597E-75DB-4B49-BD8C-50F4003B907A}"/>
              </a:ext>
            </a:extLst>
          </p:cNvPr>
          <p:cNvSpPr txBox="1"/>
          <p:nvPr userDrawn="1"/>
        </p:nvSpPr>
        <p:spPr>
          <a:xfrm>
            <a:off x="260047" y="6596786"/>
            <a:ext cx="1216328" cy="119520"/>
          </a:xfrm>
          <a:prstGeom prst="rect">
            <a:avLst/>
          </a:prstGeom>
        </p:spPr>
        <p:txBody>
          <a:bodyPr wrap="square" lIns="0" tIns="0" rIns="0" bIns="0" rtlCol="0" anchor="ctr">
            <a:spAutoFit/>
          </a:bodyPr>
          <a:lstStyle/>
          <a:p>
            <a:pPr algn="ctr">
              <a:lnSpc>
                <a:spcPts val="1040"/>
              </a:lnSpc>
            </a:pPr>
            <a:r>
              <a:rPr lang="en-US" sz="800" spc="200">
                <a:solidFill>
                  <a:srgbClr val="808285"/>
                </a:solidFill>
                <a:latin typeface="Helvetica Neue"/>
              </a:rPr>
              <a:t>CONFIDENTIAL</a:t>
            </a:r>
          </a:p>
        </p:txBody>
      </p:sp>
    </p:spTree>
    <p:extLst>
      <p:ext uri="{BB962C8B-B14F-4D97-AF65-F5344CB8AC3E}">
        <p14:creationId xmlns:p14="http://schemas.microsoft.com/office/powerpoint/2010/main" val="129871350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Title Slide- 1">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0CDC52A-E02E-4A50-B4CF-180098F98B79}"/>
              </a:ext>
            </a:extLst>
          </p:cNvPr>
          <p:cNvSpPr/>
          <p:nvPr userDrawn="1"/>
        </p:nvSpPr>
        <p:spPr>
          <a:xfrm>
            <a:off x="0" y="-1"/>
            <a:ext cx="12192000" cy="6858001"/>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pic>
        <p:nvPicPr>
          <p:cNvPr id="7" name="Picture 6" descr="Background pattern&#10;&#10;Description automatically generated with medium confidence">
            <a:extLst>
              <a:ext uri="{FF2B5EF4-FFF2-40B4-BE49-F238E27FC236}">
                <a16:creationId xmlns:a16="http://schemas.microsoft.com/office/drawing/2014/main" id="{4922E65C-C383-4B19-A0BC-8495CD0BA9E1}"/>
              </a:ext>
            </a:extLst>
          </p:cNvPr>
          <p:cNvPicPr>
            <a:picLocks noChangeAspect="1"/>
          </p:cNvPicPr>
          <p:nvPr userDrawn="1"/>
        </p:nvPicPr>
        <p:blipFill rotWithShape="1">
          <a:blip r:embed="rId2" cstate="screen">
            <a:alphaModFix amt="70000"/>
            <a:extLst>
              <a:ext uri="{28A0092B-C50C-407E-A947-70E740481C1C}">
                <a14:useLocalDpi xmlns:a14="http://schemas.microsoft.com/office/drawing/2010/main"/>
              </a:ext>
            </a:extLst>
          </a:blip>
          <a:srcRect l="3806" t="9" r="3806"/>
          <a:stretch/>
        </p:blipFill>
        <p:spPr>
          <a:xfrm>
            <a:off x="0" y="-605"/>
            <a:ext cx="12192000" cy="6858605"/>
          </a:xfrm>
          <a:prstGeom prst="rect">
            <a:avLst/>
          </a:prstGeom>
        </p:spPr>
      </p:pic>
      <p:pic>
        <p:nvPicPr>
          <p:cNvPr id="8" name="Picture 3">
            <a:extLst>
              <a:ext uri="{FF2B5EF4-FFF2-40B4-BE49-F238E27FC236}">
                <a16:creationId xmlns:a16="http://schemas.microsoft.com/office/drawing/2014/main" id="{8E7D77CC-7D0A-4A73-B78F-C317B9C06D9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21728" b="34815"/>
          <a:stretch/>
        </p:blipFill>
        <p:spPr>
          <a:xfrm>
            <a:off x="10358257" y="142875"/>
            <a:ext cx="1833743" cy="527157"/>
          </a:xfrm>
          <a:prstGeom prst="rect">
            <a:avLst/>
          </a:prstGeom>
        </p:spPr>
      </p:pic>
      <p:sp>
        <p:nvSpPr>
          <p:cNvPr id="14" name="TextBox 17">
            <a:extLst>
              <a:ext uri="{FF2B5EF4-FFF2-40B4-BE49-F238E27FC236}">
                <a16:creationId xmlns:a16="http://schemas.microsoft.com/office/drawing/2014/main" id="{B529597E-75DB-4B49-BD8C-50F4003B907A}"/>
              </a:ext>
            </a:extLst>
          </p:cNvPr>
          <p:cNvSpPr txBox="1"/>
          <p:nvPr userDrawn="1"/>
        </p:nvSpPr>
        <p:spPr>
          <a:xfrm>
            <a:off x="260047" y="6596786"/>
            <a:ext cx="1216328" cy="119520"/>
          </a:xfrm>
          <a:prstGeom prst="rect">
            <a:avLst/>
          </a:prstGeom>
        </p:spPr>
        <p:txBody>
          <a:bodyPr wrap="square" lIns="0" tIns="0" rIns="0" bIns="0" rtlCol="0" anchor="ctr">
            <a:spAutoFit/>
          </a:bodyPr>
          <a:lstStyle/>
          <a:p>
            <a:pPr algn="ctr">
              <a:lnSpc>
                <a:spcPts val="1040"/>
              </a:lnSpc>
            </a:pPr>
            <a:r>
              <a:rPr lang="en-US" sz="800" spc="200">
                <a:solidFill>
                  <a:srgbClr val="808285"/>
                </a:solidFill>
                <a:latin typeface="Helvetica Neue"/>
              </a:rPr>
              <a:t>CONFIDENTIAL</a:t>
            </a:r>
          </a:p>
        </p:txBody>
      </p:sp>
    </p:spTree>
    <p:extLst>
      <p:ext uri="{BB962C8B-B14F-4D97-AF65-F5344CB8AC3E}">
        <p14:creationId xmlns:p14="http://schemas.microsoft.com/office/powerpoint/2010/main" val="12638864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Cover_1">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AA36D955-B3A7-C98D-63C4-65BC52F7814E}"/>
              </a:ext>
            </a:extLst>
          </p:cNvPr>
          <p:cNvGraphicFramePr>
            <a:graphicFrameLocks noChangeAspect="1"/>
          </p:cNvGraphicFramePr>
          <p:nvPr userDrawn="1">
            <p:custDataLst>
              <p:tags r:id="rId1"/>
            </p:custDataLst>
            <p:extLst>
              <p:ext uri="{D42A27DB-BD31-4B8C-83A1-F6EECF244321}">
                <p14:modId xmlns:p14="http://schemas.microsoft.com/office/powerpoint/2010/main" val="3497156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2" name="Object 21" hidden="1">
                        <a:extLst>
                          <a:ext uri="{FF2B5EF4-FFF2-40B4-BE49-F238E27FC236}">
                            <a16:creationId xmlns:a16="http://schemas.microsoft.com/office/drawing/2014/main" id="{AA36D955-B3A7-C98D-63C4-65BC52F781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3F9111E3-B6B3-F20D-E234-232A58D77455}"/>
              </a:ext>
            </a:extLst>
          </p:cNvPr>
          <p:cNvPicPr>
            <a:picLocks noChangeAspect="1"/>
          </p:cNvPicPr>
          <p:nvPr userDrawn="1"/>
        </p:nvPicPr>
        <p:blipFill>
          <a:blip r:embed="rId5"/>
          <a:stretch>
            <a:fillRect/>
          </a:stretch>
        </p:blipFill>
        <p:spPr>
          <a:xfrm>
            <a:off x="19504" y="2780"/>
            <a:ext cx="12192000" cy="6855220"/>
          </a:xfrm>
          <a:prstGeom prst="rect">
            <a:avLst/>
          </a:prstGeom>
        </p:spPr>
      </p:pic>
      <p:pic>
        <p:nvPicPr>
          <p:cNvPr id="10" name="Picture 9">
            <a:extLst>
              <a:ext uri="{FF2B5EF4-FFF2-40B4-BE49-F238E27FC236}">
                <a16:creationId xmlns:a16="http://schemas.microsoft.com/office/drawing/2014/main" id="{61359549-5A1F-9411-3B5D-0D48941C24F2}"/>
              </a:ext>
            </a:extLst>
          </p:cNvPr>
          <p:cNvPicPr>
            <a:picLocks noChangeAspect="1"/>
          </p:cNvPicPr>
          <p:nvPr userDrawn="1"/>
        </p:nvPicPr>
        <p:blipFill>
          <a:blip r:embed="rId6"/>
          <a:stretch>
            <a:fillRect/>
          </a:stretch>
        </p:blipFill>
        <p:spPr>
          <a:xfrm>
            <a:off x="6942174" y="5029200"/>
            <a:ext cx="2637118" cy="1418282"/>
          </a:xfrm>
          <a:prstGeom prst="rect">
            <a:avLst/>
          </a:prstGeom>
        </p:spPr>
      </p:pic>
      <p:sp>
        <p:nvSpPr>
          <p:cNvPr id="4" name="TextBox 3">
            <a:extLst>
              <a:ext uri="{FF2B5EF4-FFF2-40B4-BE49-F238E27FC236}">
                <a16:creationId xmlns:a16="http://schemas.microsoft.com/office/drawing/2014/main" id="{39C32344-3F64-881D-8597-493E4E19655C}"/>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mn-lt"/>
                <a:ea typeface="+mn-ea"/>
                <a:cs typeface="+mn-cs"/>
              </a:rPr>
              <a:pPr algn="r"/>
              <a:t>‹#›</a:t>
            </a:fld>
            <a:endParaRPr lang="en-US" sz="700" spc="300">
              <a:solidFill>
                <a:schemeClr val="bg1"/>
              </a:solidFill>
              <a:latin typeface="+mn-lt"/>
              <a:ea typeface="+mn-ea"/>
              <a:cs typeface="+mn-cs"/>
            </a:endParaRPr>
          </a:p>
        </p:txBody>
      </p:sp>
      <p:sp>
        <p:nvSpPr>
          <p:cNvPr id="3" name="Rectangle 2">
            <a:extLst>
              <a:ext uri="{FF2B5EF4-FFF2-40B4-BE49-F238E27FC236}">
                <a16:creationId xmlns:a16="http://schemas.microsoft.com/office/drawing/2014/main" id="{A98DFE46-B5E2-F718-94E7-DEF297DF395B}"/>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8E00E491-5360-4420-3643-DDA785916048}"/>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52670FD2-6DEE-3AD9-85AC-45AAB1C3274F}"/>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1ED70F8B-B5D8-3BA6-1B64-F30D81678066}"/>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00714F0B-729E-CAB1-D0E3-5633DF445DB1}"/>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1C1B6030-5708-896E-87F9-D9EB5A92297E}"/>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D2DD69C2-D4FE-4E6E-F4EA-F29654973D31}"/>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BC48FFBE-14CD-15D0-B311-6B84759D8C47}"/>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2A0CD2D3-A28D-3316-27BD-4D7CA492E49B}"/>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8" name="Rectangle 17">
            <a:extLst>
              <a:ext uri="{FF2B5EF4-FFF2-40B4-BE49-F238E27FC236}">
                <a16:creationId xmlns:a16="http://schemas.microsoft.com/office/drawing/2014/main" id="{2798D593-3A07-FA79-0F2D-3BA8F7D72047}"/>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9" name="Text Placeholder 6">
            <a:extLst>
              <a:ext uri="{FF2B5EF4-FFF2-40B4-BE49-F238E27FC236}">
                <a16:creationId xmlns:a16="http://schemas.microsoft.com/office/drawing/2014/main" id="{CCEE4AD4-5673-DC5D-0072-55F8141A6EE8}"/>
              </a:ext>
            </a:extLst>
          </p:cNvPr>
          <p:cNvSpPr>
            <a:spLocks noGrp="1"/>
          </p:cNvSpPr>
          <p:nvPr>
            <p:ph type="body" sz="quarter" idx="15" hasCustomPrompt="1"/>
          </p:nvPr>
        </p:nvSpPr>
        <p:spPr>
          <a:xfrm>
            <a:off x="6916416" y="1953851"/>
            <a:ext cx="4882138" cy="608864"/>
          </a:xfrm>
        </p:spPr>
        <p:txBody>
          <a:bodyPr bIns="0" anchor="b">
            <a:noAutofit/>
          </a:bodyPr>
          <a:lstStyle>
            <a:lvl1pPr marL="0" indent="0">
              <a:buNone/>
              <a:defRPr sz="4000" b="1" i="0">
                <a:solidFill>
                  <a:schemeClr val="bg1"/>
                </a:solidFill>
                <a:latin typeface="+mn-lt"/>
                <a:ea typeface="+mn-ea"/>
                <a:cs typeface="+mn-cs"/>
              </a:defRPr>
            </a:lvl1pPr>
          </a:lstStyle>
          <a:p>
            <a:pPr lvl="0"/>
            <a:r>
              <a:rPr lang="en-US"/>
              <a:t>Title text</a:t>
            </a:r>
          </a:p>
        </p:txBody>
      </p:sp>
      <p:sp>
        <p:nvSpPr>
          <p:cNvPr id="20" name="Text Placeholder 6">
            <a:extLst>
              <a:ext uri="{FF2B5EF4-FFF2-40B4-BE49-F238E27FC236}">
                <a16:creationId xmlns:a16="http://schemas.microsoft.com/office/drawing/2014/main" id="{D7AEF975-7E8E-3FB4-D358-82BE2CB20294}"/>
              </a:ext>
            </a:extLst>
          </p:cNvPr>
          <p:cNvSpPr>
            <a:spLocks noGrp="1"/>
          </p:cNvSpPr>
          <p:nvPr>
            <p:ph type="body" sz="quarter" idx="16" hasCustomPrompt="1"/>
          </p:nvPr>
        </p:nvSpPr>
        <p:spPr>
          <a:xfrm>
            <a:off x="6916416" y="2736147"/>
            <a:ext cx="4882138" cy="608864"/>
          </a:xfrm>
          <a:noFill/>
        </p:spPr>
        <p:txBody>
          <a:bodyPr>
            <a:noAutofit/>
          </a:bodyPr>
          <a:lstStyle>
            <a:lvl1pPr marL="0" indent="0">
              <a:buNone/>
              <a:defRPr sz="2800" b="0" i="0">
                <a:solidFill>
                  <a:schemeClr val="bg1"/>
                </a:solidFill>
                <a:latin typeface="+mn-lt"/>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0"/>
            <a:endParaRPr lang="en-US"/>
          </a:p>
        </p:txBody>
      </p:sp>
      <p:sp>
        <p:nvSpPr>
          <p:cNvPr id="21" name="Text Placeholder 6">
            <a:extLst>
              <a:ext uri="{FF2B5EF4-FFF2-40B4-BE49-F238E27FC236}">
                <a16:creationId xmlns:a16="http://schemas.microsoft.com/office/drawing/2014/main" id="{CDD05584-C1AB-97CD-2E18-F6E51E3A46FE}"/>
              </a:ext>
            </a:extLst>
          </p:cNvPr>
          <p:cNvSpPr>
            <a:spLocks noGrp="1"/>
          </p:cNvSpPr>
          <p:nvPr>
            <p:ph type="body" sz="quarter" idx="18" hasCustomPrompt="1"/>
          </p:nvPr>
        </p:nvSpPr>
        <p:spPr>
          <a:xfrm>
            <a:off x="6942174" y="3959640"/>
            <a:ext cx="4882138" cy="384460"/>
          </a:xfrm>
          <a:noFill/>
        </p:spPr>
        <p:txBody>
          <a:bodyPr>
            <a:noAutofit/>
          </a:bodyPr>
          <a:lstStyle>
            <a:lvl1pPr marL="0" indent="0">
              <a:buNone/>
              <a:defRPr sz="2000" b="0" i="0">
                <a:solidFill>
                  <a:schemeClr val="bg1"/>
                </a:solidFill>
                <a:latin typeface="+mn-lt"/>
                <a:ea typeface="+mn-ea"/>
                <a:cs typeface="+mn-cs"/>
              </a:defRPr>
            </a:lvl1pPr>
          </a:lstStyle>
          <a:p>
            <a:pPr lvl="0"/>
            <a:r>
              <a:rPr lang="en-US"/>
              <a:t>Date </a:t>
            </a:r>
          </a:p>
        </p:txBody>
      </p:sp>
      <p:pic>
        <p:nvPicPr>
          <p:cNvPr id="11" name="Picture 10" descr="A picture containing sky, grass, outdoor, windmill&#10;&#10;Description automatically generated">
            <a:extLst>
              <a:ext uri="{FF2B5EF4-FFF2-40B4-BE49-F238E27FC236}">
                <a16:creationId xmlns:a16="http://schemas.microsoft.com/office/drawing/2014/main" id="{9AE9C199-8DD4-BDD3-1546-6409DF2DED32}"/>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3671" r="33298"/>
          <a:stretch/>
        </p:blipFill>
        <p:spPr>
          <a:xfrm>
            <a:off x="1" y="0"/>
            <a:ext cx="6483964" cy="6858000"/>
          </a:xfrm>
          <a:custGeom>
            <a:avLst/>
            <a:gdLst>
              <a:gd name="connsiteX0" fmla="*/ 0 w 6483964"/>
              <a:gd name="connsiteY0" fmla="*/ 0 h 6858000"/>
              <a:gd name="connsiteX1" fmla="*/ 6483964 w 6483964"/>
              <a:gd name="connsiteY1" fmla="*/ 0 h 6858000"/>
              <a:gd name="connsiteX2" fmla="*/ 6483964 w 6483964"/>
              <a:gd name="connsiteY2" fmla="*/ 6858000 h 6858000"/>
              <a:gd name="connsiteX3" fmla="*/ 0 w 648396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83964" h="6858000">
                <a:moveTo>
                  <a:pt x="0" y="0"/>
                </a:moveTo>
                <a:lnTo>
                  <a:pt x="6483964" y="0"/>
                </a:lnTo>
                <a:lnTo>
                  <a:pt x="6483964" y="6858000"/>
                </a:lnTo>
                <a:lnTo>
                  <a:pt x="0" y="6858000"/>
                </a:lnTo>
                <a:close/>
              </a:path>
            </a:pathLst>
          </a:custGeom>
        </p:spPr>
      </p:pic>
      <p:pic>
        <p:nvPicPr>
          <p:cNvPr id="8" name="Picture 7">
            <a:extLst>
              <a:ext uri="{FF2B5EF4-FFF2-40B4-BE49-F238E27FC236}">
                <a16:creationId xmlns:a16="http://schemas.microsoft.com/office/drawing/2014/main" id="{22402783-288C-2D52-A4BA-8F45BACAE0BD}"/>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0" y="0"/>
            <a:ext cx="5214876" cy="4513432"/>
          </a:xfrm>
          <a:prstGeom prst="rect">
            <a:avLst/>
          </a:prstGeom>
        </p:spPr>
      </p:pic>
    </p:spTree>
    <p:extLst>
      <p:ext uri="{BB962C8B-B14F-4D97-AF65-F5344CB8AC3E}">
        <p14:creationId xmlns:p14="http://schemas.microsoft.com/office/powerpoint/2010/main" val="383440133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20F87DA0-F75A-431D-A639-A8712A0A7A81}"/>
              </a:ext>
            </a:extLst>
          </p:cNvPr>
          <p:cNvSpPr/>
          <p:nvPr userDrawn="1"/>
        </p:nvSpPr>
        <p:spPr>
          <a:xfrm>
            <a:off x="31450" y="7962"/>
            <a:ext cx="12192000" cy="6858001"/>
          </a:xfrm>
          <a:prstGeom prst="rect">
            <a:avLst/>
          </a:prstGeom>
          <a:gradFill flip="none" rotWithShape="1">
            <a:gsLst>
              <a:gs pos="0">
                <a:schemeClr val="accent1">
                  <a:lumMod val="5000"/>
                  <a:lumOff val="95000"/>
                </a:schemeClr>
              </a:gs>
              <a:gs pos="76000">
                <a:schemeClr val="bg1"/>
              </a:gs>
              <a:gs pos="100000">
                <a:schemeClr val="accent1">
                  <a:lumMod val="30000"/>
                  <a:lumOff val="70000"/>
                </a:schemeClr>
              </a:gs>
            </a:gsLst>
            <a:lin ang="108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pic>
        <p:nvPicPr>
          <p:cNvPr id="22" name="Picture 21" descr="A picture containing nature, white, night sky&#10;&#10;Description automatically generated">
            <a:extLst>
              <a:ext uri="{FF2B5EF4-FFF2-40B4-BE49-F238E27FC236}">
                <a16:creationId xmlns:a16="http://schemas.microsoft.com/office/drawing/2014/main" id="{D3A35129-DBA0-442C-ABE7-10B4E0B885EF}"/>
              </a:ext>
            </a:extLst>
          </p:cNvPr>
          <p:cNvPicPr>
            <a:picLocks noChangeAspect="1"/>
          </p:cNvPicPr>
          <p:nvPr userDrawn="1"/>
        </p:nvPicPr>
        <p:blipFill>
          <a:blip r:embed="rId2" cstate="screen">
            <a:alphaModFix amt="35000"/>
            <a:extLst>
              <a:ext uri="{28A0092B-C50C-407E-A947-70E740481C1C}">
                <a14:useLocalDpi xmlns:a14="http://schemas.microsoft.com/office/drawing/2010/main"/>
              </a:ext>
            </a:extLst>
          </a:blip>
          <a:stretch>
            <a:fillRect/>
          </a:stretch>
        </p:blipFill>
        <p:spPr>
          <a:xfrm>
            <a:off x="-5287541" y="-3039651"/>
            <a:ext cx="12192000" cy="6731557"/>
          </a:xfrm>
          <a:prstGeom prst="rect">
            <a:avLst/>
          </a:prstGeom>
        </p:spPr>
      </p:pic>
      <p:pic>
        <p:nvPicPr>
          <p:cNvPr id="24" name="Picture 3">
            <a:extLst>
              <a:ext uri="{FF2B5EF4-FFF2-40B4-BE49-F238E27FC236}">
                <a16:creationId xmlns:a16="http://schemas.microsoft.com/office/drawing/2014/main" id="{82B5A569-DBE5-48DF-962A-FC0D2ACE504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21728" b="34815"/>
          <a:stretch/>
        </p:blipFill>
        <p:spPr>
          <a:xfrm>
            <a:off x="279400" y="326128"/>
            <a:ext cx="2311400" cy="664472"/>
          </a:xfrm>
          <a:prstGeom prst="rect">
            <a:avLst/>
          </a:prstGeom>
        </p:spPr>
      </p:pic>
      <p:sp>
        <p:nvSpPr>
          <p:cNvPr id="25" name="Text Placeholder 9">
            <a:extLst>
              <a:ext uri="{FF2B5EF4-FFF2-40B4-BE49-F238E27FC236}">
                <a16:creationId xmlns:a16="http://schemas.microsoft.com/office/drawing/2014/main" id="{0562EC2A-FA8A-4510-94F7-F9EA0832FB46}"/>
              </a:ext>
            </a:extLst>
          </p:cNvPr>
          <p:cNvSpPr>
            <a:spLocks noGrp="1"/>
          </p:cNvSpPr>
          <p:nvPr>
            <p:ph type="body" sz="quarter" idx="10" hasCustomPrompt="1"/>
          </p:nvPr>
        </p:nvSpPr>
        <p:spPr>
          <a:xfrm>
            <a:off x="308380" y="2718949"/>
            <a:ext cx="4979161" cy="1166107"/>
          </a:xfrm>
          <a:prstGeom prst="rect">
            <a:avLst/>
          </a:prstGeom>
        </p:spPr>
        <p:txBody>
          <a:bodyPr lIns="0" rIns="0" anchor="ctr"/>
          <a:lstStyle>
            <a:lvl1pPr marL="0" indent="0" algn="l">
              <a:buNone/>
              <a:defRPr lang="en-IN" sz="2933" b="1" spc="200" dirty="0">
                <a:solidFill>
                  <a:schemeClr val="tx2">
                    <a:lumMod val="75000"/>
                  </a:schemeClr>
                </a:solidFill>
                <a:latin typeface="+mj-lt"/>
              </a:defRPr>
            </a:lvl1pPr>
          </a:lstStyle>
          <a:p>
            <a:pPr lvl="0"/>
            <a:r>
              <a:rPr lang="en-US"/>
              <a:t>ADD YOUR TEXT HERE</a:t>
            </a:r>
            <a:endParaRPr lang="en-IN"/>
          </a:p>
        </p:txBody>
      </p:sp>
      <p:sp>
        <p:nvSpPr>
          <p:cNvPr id="27" name="TextBox 17">
            <a:extLst>
              <a:ext uri="{FF2B5EF4-FFF2-40B4-BE49-F238E27FC236}">
                <a16:creationId xmlns:a16="http://schemas.microsoft.com/office/drawing/2014/main" id="{1E86468C-FC5A-4026-BAA7-53C2686DE492}"/>
              </a:ext>
            </a:extLst>
          </p:cNvPr>
          <p:cNvSpPr txBox="1"/>
          <p:nvPr userDrawn="1"/>
        </p:nvSpPr>
        <p:spPr>
          <a:xfrm>
            <a:off x="304800" y="6617407"/>
            <a:ext cx="1190625" cy="119520"/>
          </a:xfrm>
          <a:prstGeom prst="rect">
            <a:avLst/>
          </a:prstGeom>
        </p:spPr>
        <p:txBody>
          <a:bodyPr wrap="square" lIns="0" tIns="0" rIns="0" bIns="0" rtlCol="0" anchor="ctr">
            <a:spAutoFit/>
          </a:bodyPr>
          <a:lstStyle/>
          <a:p>
            <a:pPr algn="ctr">
              <a:lnSpc>
                <a:spcPts val="1040"/>
              </a:lnSpc>
            </a:pPr>
            <a:r>
              <a:rPr lang="en-US" sz="800" spc="200">
                <a:solidFill>
                  <a:srgbClr val="808285"/>
                </a:solidFill>
                <a:latin typeface="Helvetica Neue"/>
              </a:rPr>
              <a:t>CONFIDENTIAL</a:t>
            </a:r>
          </a:p>
        </p:txBody>
      </p:sp>
      <p:grpSp>
        <p:nvGrpSpPr>
          <p:cNvPr id="3" name="Group 2">
            <a:extLst>
              <a:ext uri="{FF2B5EF4-FFF2-40B4-BE49-F238E27FC236}">
                <a16:creationId xmlns:a16="http://schemas.microsoft.com/office/drawing/2014/main" id="{CA6CA2F5-CF9C-4F92-8F46-EFC73A160007}"/>
              </a:ext>
            </a:extLst>
          </p:cNvPr>
          <p:cNvGrpSpPr/>
          <p:nvPr userDrawn="1"/>
        </p:nvGrpSpPr>
        <p:grpSpPr>
          <a:xfrm>
            <a:off x="8007409" y="649480"/>
            <a:ext cx="3801423" cy="5717137"/>
            <a:chOff x="7785419" y="452462"/>
            <a:chExt cx="4023413" cy="6071901"/>
          </a:xfrm>
        </p:grpSpPr>
        <p:pic>
          <p:nvPicPr>
            <p:cNvPr id="20" name="Picture 19" descr="A picture containing nature, rain&#10;&#10;Description automatically generated">
              <a:extLst>
                <a:ext uri="{FF2B5EF4-FFF2-40B4-BE49-F238E27FC236}">
                  <a16:creationId xmlns:a16="http://schemas.microsoft.com/office/drawing/2014/main" id="{61E12821-F711-44E1-9D54-02CE6A82AA4A}"/>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10489"/>
            <a:stretch/>
          </p:blipFill>
          <p:spPr>
            <a:xfrm>
              <a:off x="7785419" y="1756909"/>
              <a:ext cx="1554413" cy="1391367"/>
            </a:xfrm>
            <a:prstGeom prst="rect">
              <a:avLst/>
            </a:prstGeom>
          </p:spPr>
        </p:pic>
        <p:pic>
          <p:nvPicPr>
            <p:cNvPr id="21" name="Picture 20">
              <a:extLst>
                <a:ext uri="{FF2B5EF4-FFF2-40B4-BE49-F238E27FC236}">
                  <a16:creationId xmlns:a16="http://schemas.microsoft.com/office/drawing/2014/main" id="{FC1A106B-F95E-4286-B179-7F0B47031F6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rot="19421694">
              <a:off x="7819845" y="2805345"/>
              <a:ext cx="1449776" cy="1449776"/>
            </a:xfrm>
            <a:prstGeom prst="rect">
              <a:avLst/>
            </a:prstGeom>
          </p:spPr>
        </p:pic>
        <p:pic>
          <p:nvPicPr>
            <p:cNvPr id="28" name="Picture 27" descr="A picture containing sushi, orange&#10;&#10;Description automatically generated">
              <a:extLst>
                <a:ext uri="{FF2B5EF4-FFF2-40B4-BE49-F238E27FC236}">
                  <a16:creationId xmlns:a16="http://schemas.microsoft.com/office/drawing/2014/main" id="{4485B8CF-99BD-4D8D-BBBE-9446A141CB14}"/>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t="8130"/>
            <a:stretch/>
          </p:blipFill>
          <p:spPr>
            <a:xfrm>
              <a:off x="9217843" y="5192466"/>
              <a:ext cx="1449776" cy="1331897"/>
            </a:xfrm>
            <a:prstGeom prst="rect">
              <a:avLst/>
            </a:prstGeom>
          </p:spPr>
        </p:pic>
        <p:pic>
          <p:nvPicPr>
            <p:cNvPr id="12" name="Picture 11" descr="A plate of lemons&#10;&#10;Description automatically generated with low confidence">
              <a:extLst>
                <a:ext uri="{FF2B5EF4-FFF2-40B4-BE49-F238E27FC236}">
                  <a16:creationId xmlns:a16="http://schemas.microsoft.com/office/drawing/2014/main" id="{CA33B51E-A3B6-4674-8B19-7A3F32868E56}"/>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rot="20028790">
              <a:off x="10364663" y="2497988"/>
              <a:ext cx="1386717" cy="1386717"/>
            </a:xfrm>
            <a:prstGeom prst="rect">
              <a:avLst/>
            </a:prstGeom>
          </p:spPr>
        </p:pic>
        <p:pic>
          <p:nvPicPr>
            <p:cNvPr id="30" name="Picture 29" descr="A plate of lemons&#10;&#10;Description automatically generated with low confidence">
              <a:extLst>
                <a:ext uri="{FF2B5EF4-FFF2-40B4-BE49-F238E27FC236}">
                  <a16:creationId xmlns:a16="http://schemas.microsoft.com/office/drawing/2014/main" id="{08DF0ADB-6DD8-4DB1-BCFE-065EFA88B9F6}"/>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rot="20028790">
              <a:off x="7802800" y="3975665"/>
              <a:ext cx="1386717" cy="1386717"/>
            </a:xfrm>
            <a:prstGeom prst="rect">
              <a:avLst/>
            </a:prstGeom>
          </p:spPr>
        </p:pic>
        <p:pic>
          <p:nvPicPr>
            <p:cNvPr id="31" name="Picture 30">
              <a:extLst>
                <a:ext uri="{FF2B5EF4-FFF2-40B4-BE49-F238E27FC236}">
                  <a16:creationId xmlns:a16="http://schemas.microsoft.com/office/drawing/2014/main" id="{C0D7EFEF-EED9-4819-B062-86DB654E6197}"/>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8330311" y="4887404"/>
              <a:ext cx="1565789" cy="1565789"/>
            </a:xfrm>
            <a:prstGeom prst="rect">
              <a:avLst/>
            </a:prstGeom>
          </p:spPr>
        </p:pic>
        <p:pic>
          <p:nvPicPr>
            <p:cNvPr id="32" name="Picture 31" descr="A picture containing nature, rain&#10;&#10;Description automatically generated">
              <a:extLst>
                <a:ext uri="{FF2B5EF4-FFF2-40B4-BE49-F238E27FC236}">
                  <a16:creationId xmlns:a16="http://schemas.microsoft.com/office/drawing/2014/main" id="{9189A3A1-272F-41AE-B941-AE019BF7FC0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10489"/>
            <a:stretch/>
          </p:blipFill>
          <p:spPr>
            <a:xfrm>
              <a:off x="10129850" y="4887404"/>
              <a:ext cx="1554413" cy="1391367"/>
            </a:xfrm>
            <a:prstGeom prst="rect">
              <a:avLst/>
            </a:prstGeom>
          </p:spPr>
        </p:pic>
        <p:pic>
          <p:nvPicPr>
            <p:cNvPr id="33" name="Picture 32">
              <a:extLst>
                <a:ext uri="{FF2B5EF4-FFF2-40B4-BE49-F238E27FC236}">
                  <a16:creationId xmlns:a16="http://schemas.microsoft.com/office/drawing/2014/main" id="{63CEDDB8-068A-4D1C-BEF4-489C9F371D0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rot="19421694">
              <a:off x="10359056" y="3625584"/>
              <a:ext cx="1449776" cy="1449776"/>
            </a:xfrm>
            <a:prstGeom prst="rect">
              <a:avLst/>
            </a:prstGeom>
          </p:spPr>
        </p:pic>
        <p:pic>
          <p:nvPicPr>
            <p:cNvPr id="35" name="Picture 34">
              <a:extLst>
                <a:ext uri="{FF2B5EF4-FFF2-40B4-BE49-F238E27FC236}">
                  <a16:creationId xmlns:a16="http://schemas.microsoft.com/office/drawing/2014/main" id="{3CA38693-C617-4CB8-8285-FD6472A2F873}"/>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rot="19758262">
              <a:off x="9892780" y="539205"/>
              <a:ext cx="1565789" cy="1565789"/>
            </a:xfrm>
            <a:prstGeom prst="rect">
              <a:avLst/>
            </a:prstGeom>
          </p:spPr>
        </p:pic>
        <p:pic>
          <p:nvPicPr>
            <p:cNvPr id="36" name="Picture 35" descr="A plate of lemons&#10;&#10;Description automatically generated with low confidence">
              <a:extLst>
                <a:ext uri="{FF2B5EF4-FFF2-40B4-BE49-F238E27FC236}">
                  <a16:creationId xmlns:a16="http://schemas.microsoft.com/office/drawing/2014/main" id="{CBD95879-EAAE-477A-80ED-4EE6885094F2}"/>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rot="3627908">
              <a:off x="8277893" y="635673"/>
              <a:ext cx="1386717" cy="1386717"/>
            </a:xfrm>
            <a:prstGeom prst="rect">
              <a:avLst/>
            </a:prstGeom>
          </p:spPr>
        </p:pic>
        <p:pic>
          <p:nvPicPr>
            <p:cNvPr id="37" name="Picture 36">
              <a:extLst>
                <a:ext uri="{FF2B5EF4-FFF2-40B4-BE49-F238E27FC236}">
                  <a16:creationId xmlns:a16="http://schemas.microsoft.com/office/drawing/2014/main" id="{B56A3E6F-E2A0-4077-AC00-60212BFECCF4}"/>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rot="17338035">
              <a:off x="9118189" y="452462"/>
              <a:ext cx="1449776" cy="1449776"/>
            </a:xfrm>
            <a:prstGeom prst="rect">
              <a:avLst/>
            </a:prstGeom>
          </p:spPr>
        </p:pic>
        <p:pic>
          <p:nvPicPr>
            <p:cNvPr id="34" name="Picture 33" descr="A picture containing sushi, orange&#10;&#10;Description automatically generated">
              <a:extLst>
                <a:ext uri="{FF2B5EF4-FFF2-40B4-BE49-F238E27FC236}">
                  <a16:creationId xmlns:a16="http://schemas.microsoft.com/office/drawing/2014/main" id="{4804CB5B-1C95-487C-ADA7-B4E0B97B73B3}"/>
                </a:ext>
              </a:extLst>
            </p:cNvPr>
            <p:cNvPicPr>
              <a:picLocks noChangeAspect="1"/>
            </p:cNvPicPr>
            <p:nvPr userDrawn="1"/>
          </p:nvPicPr>
          <p:blipFill rotWithShape="1">
            <a:blip r:embed="rId11" cstate="screen">
              <a:extLst>
                <a:ext uri="{28A0092B-C50C-407E-A947-70E740481C1C}">
                  <a14:useLocalDpi xmlns:a14="http://schemas.microsoft.com/office/drawing/2010/main"/>
                </a:ext>
              </a:extLst>
            </a:blip>
            <a:srcRect t="8130"/>
            <a:stretch/>
          </p:blipFill>
          <p:spPr>
            <a:xfrm>
              <a:off x="10434997" y="1551373"/>
              <a:ext cx="1313719" cy="1206903"/>
            </a:xfrm>
            <a:prstGeom prst="rect">
              <a:avLst/>
            </a:prstGeom>
          </p:spPr>
        </p:pic>
      </p:grpSp>
      <p:pic>
        <p:nvPicPr>
          <p:cNvPr id="19" name="Picture 15">
            <a:extLst>
              <a:ext uri="{FF2B5EF4-FFF2-40B4-BE49-F238E27FC236}">
                <a16:creationId xmlns:a16="http://schemas.microsoft.com/office/drawing/2014/main" id="{C32C2A12-C0EA-4ECB-8A85-0C3C9DD4ECB1}"/>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auto">
          <a:xfrm>
            <a:off x="9278375" y="1879313"/>
            <a:ext cx="1354522" cy="31162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257489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slide- 1">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7CADFD20-6533-498C-B60C-998B79CE8197}"/>
              </a:ext>
            </a:extLst>
          </p:cNvPr>
          <p:cNvSpPr/>
          <p:nvPr userDrawn="1"/>
        </p:nvSpPr>
        <p:spPr>
          <a:xfrm>
            <a:off x="0" y="-1"/>
            <a:ext cx="12192000" cy="6858001"/>
          </a:xfrm>
          <a:prstGeom prst="rect">
            <a:avLst/>
          </a:prstGeom>
          <a:gradFill flip="none" rotWithShape="1">
            <a:gsLst>
              <a:gs pos="0">
                <a:srgbClr val="EBE6E2"/>
              </a:gs>
              <a:gs pos="47000">
                <a:srgbClr val="F8F6F5"/>
              </a:gs>
              <a:gs pos="81000">
                <a:srgbClr val="F9F7F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3" name="Rectangle 2">
            <a:extLst>
              <a:ext uri="{FF2B5EF4-FFF2-40B4-BE49-F238E27FC236}">
                <a16:creationId xmlns:a16="http://schemas.microsoft.com/office/drawing/2014/main" id="{1F0105E8-40EF-482C-80FE-BF73EEDA761C}"/>
              </a:ext>
            </a:extLst>
          </p:cNvPr>
          <p:cNvSpPr/>
          <p:nvPr userDrawn="1"/>
        </p:nvSpPr>
        <p:spPr>
          <a:xfrm>
            <a:off x="0" y="6476653"/>
            <a:ext cx="12192000" cy="3813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25" name="Text Placeholder 9">
            <a:extLst>
              <a:ext uri="{FF2B5EF4-FFF2-40B4-BE49-F238E27FC236}">
                <a16:creationId xmlns:a16="http://schemas.microsoft.com/office/drawing/2014/main" id="{0562EC2A-FA8A-4510-94F7-F9EA0832FB46}"/>
              </a:ext>
            </a:extLst>
          </p:cNvPr>
          <p:cNvSpPr>
            <a:spLocks noGrp="1"/>
          </p:cNvSpPr>
          <p:nvPr>
            <p:ph type="body" sz="quarter" idx="10" hasCustomPrompt="1"/>
          </p:nvPr>
        </p:nvSpPr>
        <p:spPr>
          <a:xfrm>
            <a:off x="355600" y="244952"/>
            <a:ext cx="11480800" cy="730728"/>
          </a:xfrm>
          <a:prstGeom prst="rect">
            <a:avLst/>
          </a:prstGeom>
        </p:spPr>
        <p:txBody>
          <a:bodyPr lIns="0" rIns="0" anchor="ctr"/>
          <a:lstStyle>
            <a:lvl1pPr marL="0" indent="0" algn="ctr">
              <a:buNone/>
              <a:defRPr lang="en-IN" sz="2667" spc="200" dirty="0">
                <a:solidFill>
                  <a:schemeClr val="tx2"/>
                </a:solidFill>
                <a:latin typeface="+mj-lt"/>
              </a:defRPr>
            </a:lvl1pPr>
          </a:lstStyle>
          <a:p>
            <a:pPr lvl="0"/>
            <a:r>
              <a:rPr lang="en-US"/>
              <a:t>ADD YOUR TEXT HERE</a:t>
            </a:r>
          </a:p>
          <a:p>
            <a:pPr lvl="0"/>
            <a:r>
              <a:rPr lang="en-US"/>
              <a:t>Can be used for double lines</a:t>
            </a:r>
            <a:endParaRPr lang="en-IN"/>
          </a:p>
        </p:txBody>
      </p:sp>
      <p:sp>
        <p:nvSpPr>
          <p:cNvPr id="27" name="TextBox 17">
            <a:extLst>
              <a:ext uri="{FF2B5EF4-FFF2-40B4-BE49-F238E27FC236}">
                <a16:creationId xmlns:a16="http://schemas.microsoft.com/office/drawing/2014/main" id="{1E86468C-FC5A-4026-BAA7-53C2686DE492}"/>
              </a:ext>
            </a:extLst>
          </p:cNvPr>
          <p:cNvSpPr txBox="1"/>
          <p:nvPr userDrawn="1"/>
        </p:nvSpPr>
        <p:spPr>
          <a:xfrm>
            <a:off x="304800" y="6597683"/>
            <a:ext cx="964623" cy="117725"/>
          </a:xfrm>
          <a:prstGeom prst="rect">
            <a:avLst/>
          </a:prstGeom>
        </p:spPr>
        <p:txBody>
          <a:bodyPr lIns="0" tIns="0" rIns="0" bIns="0" rtlCol="0" anchor="ctr">
            <a:spAutoFit/>
          </a:bodyPr>
          <a:lstStyle/>
          <a:p>
            <a:pPr algn="ctr">
              <a:lnSpc>
                <a:spcPts val="1040"/>
              </a:lnSpc>
            </a:pPr>
            <a:r>
              <a:rPr lang="en-US" sz="800" spc="200">
                <a:solidFill>
                  <a:schemeClr val="bg1"/>
                </a:solidFill>
                <a:latin typeface="Helvetica Neue"/>
              </a:rPr>
              <a:t>CONFIDENTIAL</a:t>
            </a:r>
          </a:p>
        </p:txBody>
      </p:sp>
      <p:cxnSp>
        <p:nvCxnSpPr>
          <p:cNvPr id="5" name="Straight Connector 4">
            <a:extLst>
              <a:ext uri="{FF2B5EF4-FFF2-40B4-BE49-F238E27FC236}">
                <a16:creationId xmlns:a16="http://schemas.microsoft.com/office/drawing/2014/main" id="{B693222A-C2BA-4051-914E-3F30CF7B2E4A}"/>
              </a:ext>
            </a:extLst>
          </p:cNvPr>
          <p:cNvCxnSpPr>
            <a:cxnSpLocks/>
          </p:cNvCxnSpPr>
          <p:nvPr userDrawn="1"/>
        </p:nvCxnSpPr>
        <p:spPr>
          <a:xfrm>
            <a:off x="355600" y="1041400"/>
            <a:ext cx="11480800" cy="0"/>
          </a:xfrm>
          <a:prstGeom prst="line">
            <a:avLst/>
          </a:prstGeom>
          <a:ln w="28575">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10" name="Slide Number Placeholder 23">
            <a:extLst>
              <a:ext uri="{FF2B5EF4-FFF2-40B4-BE49-F238E27FC236}">
                <a16:creationId xmlns:a16="http://schemas.microsoft.com/office/drawing/2014/main" id="{E2DE98D9-692D-4D5A-B7EE-0941234497C9}"/>
              </a:ext>
            </a:extLst>
          </p:cNvPr>
          <p:cNvSpPr>
            <a:spLocks noGrp="1"/>
          </p:cNvSpPr>
          <p:nvPr>
            <p:ph type="sldNum" sz="quarter" idx="12"/>
          </p:nvPr>
        </p:nvSpPr>
        <p:spPr>
          <a:xfrm>
            <a:off x="10596197" y="6567893"/>
            <a:ext cx="304800" cy="241987"/>
          </a:xfrm>
          <a:prstGeom prst="rect">
            <a:avLst/>
          </a:prstGeom>
        </p:spPr>
        <p:txBody>
          <a:bodyPr anchor="ctr"/>
          <a:lstStyle>
            <a:lvl1pPr algn="ctr">
              <a:defRPr sz="800">
                <a:solidFill>
                  <a:schemeClr val="bg1"/>
                </a:solidFill>
              </a:defRPr>
            </a:lvl1pPr>
          </a:lstStyle>
          <a:p>
            <a:fld id="{D8DA9DAA-006C-4F4B-980E-E3DF019B24E2}" type="slidenum">
              <a:rPr lang="en-US" smtClean="0"/>
              <a:pPr/>
              <a:t>‹#›</a:t>
            </a:fld>
            <a:endParaRPr lang="en-US"/>
          </a:p>
        </p:txBody>
      </p:sp>
      <p:pic>
        <p:nvPicPr>
          <p:cNvPr id="11" name="Picture 3">
            <a:extLst>
              <a:ext uri="{FF2B5EF4-FFF2-40B4-BE49-F238E27FC236}">
                <a16:creationId xmlns:a16="http://schemas.microsoft.com/office/drawing/2014/main" id="{E2DFF185-2E58-4E88-AF12-33A8B26E27BC}"/>
              </a:ext>
            </a:extLst>
          </p:cNvPr>
          <p:cNvPicPr>
            <a:picLocks noChangeAspect="1"/>
          </p:cNvPicPr>
          <p:nvPr userDrawn="1"/>
        </p:nvPicPr>
        <p:blipFill rotWithShape="1">
          <a:blip r:embed="rId2" cstate="screen">
            <a:biLevel thresh="25000"/>
            <a:extLst>
              <a:ext uri="{28A0092B-C50C-407E-A947-70E740481C1C}">
                <a14:useLocalDpi xmlns:a14="http://schemas.microsoft.com/office/drawing/2010/main"/>
              </a:ext>
            </a:extLst>
          </a:blip>
          <a:srcRect t="21728" b="34815"/>
          <a:stretch/>
        </p:blipFill>
        <p:spPr>
          <a:xfrm>
            <a:off x="11013112" y="6503209"/>
            <a:ext cx="1066773" cy="306671"/>
          </a:xfrm>
          <a:prstGeom prst="rect">
            <a:avLst/>
          </a:prstGeom>
        </p:spPr>
      </p:pic>
    </p:spTree>
    <p:extLst>
      <p:ext uri="{BB962C8B-B14F-4D97-AF65-F5344CB8AC3E}">
        <p14:creationId xmlns:p14="http://schemas.microsoft.com/office/powerpoint/2010/main" val="1395312329"/>
      </p:ext>
    </p:extLst>
  </p:cSld>
  <p:clrMapOvr>
    <a:masterClrMapping/>
  </p:clrMapOvr>
  <p:extLst>
    <p:ext uri="{DCECCB84-F9BA-43D5-87BE-67443E8EF086}">
      <p15:sldGuideLst xmlns:p15="http://schemas.microsoft.com/office/powerpoint/2012/main">
        <p15:guide id="1" orient="horz" pos="3240">
          <p15:clr>
            <a:srgbClr val="FBAE40"/>
          </p15:clr>
        </p15:guide>
        <p15:guide id="2" orient="horz" pos="1224">
          <p15:clr>
            <a:srgbClr val="FBAE40"/>
          </p15:clr>
        </p15:guide>
        <p15:guide id="3" orient="horz" pos="1080">
          <p15:clr>
            <a:srgbClr val="FBAE40"/>
          </p15:clr>
        </p15:guide>
        <p15:guide id="4" orient="horz" pos="5976">
          <p15:clr>
            <a:srgbClr val="FBAE40"/>
          </p15:clr>
        </p15:guide>
        <p15:guide id="5" pos="5760">
          <p15:clr>
            <a:srgbClr val="FBAE40"/>
          </p15:clr>
        </p15:guide>
        <p15:guide id="6" pos="11184">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and Content slide- 1">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7CADFD20-6533-498C-B60C-998B79CE8197}"/>
              </a:ext>
            </a:extLst>
          </p:cNvPr>
          <p:cNvSpPr/>
          <p:nvPr userDrawn="1"/>
        </p:nvSpPr>
        <p:spPr>
          <a:xfrm>
            <a:off x="0" y="-1"/>
            <a:ext cx="12192000" cy="6858001"/>
          </a:xfrm>
          <a:prstGeom prst="rect">
            <a:avLst/>
          </a:prstGeom>
          <a:gradFill flip="none" rotWithShape="1">
            <a:gsLst>
              <a:gs pos="0">
                <a:srgbClr val="EBE6E2"/>
              </a:gs>
              <a:gs pos="47000">
                <a:srgbClr val="F8F6F5"/>
              </a:gs>
              <a:gs pos="81000">
                <a:srgbClr val="F9F7F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3" name="Rectangle 2">
            <a:extLst>
              <a:ext uri="{FF2B5EF4-FFF2-40B4-BE49-F238E27FC236}">
                <a16:creationId xmlns:a16="http://schemas.microsoft.com/office/drawing/2014/main" id="{1F0105E8-40EF-482C-80FE-BF73EEDA761C}"/>
              </a:ext>
            </a:extLst>
          </p:cNvPr>
          <p:cNvSpPr/>
          <p:nvPr userDrawn="1"/>
        </p:nvSpPr>
        <p:spPr>
          <a:xfrm>
            <a:off x="0" y="6476653"/>
            <a:ext cx="12192000" cy="3813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27" name="TextBox 17">
            <a:extLst>
              <a:ext uri="{FF2B5EF4-FFF2-40B4-BE49-F238E27FC236}">
                <a16:creationId xmlns:a16="http://schemas.microsoft.com/office/drawing/2014/main" id="{1E86468C-FC5A-4026-BAA7-53C2686DE492}"/>
              </a:ext>
            </a:extLst>
          </p:cNvPr>
          <p:cNvSpPr txBox="1"/>
          <p:nvPr userDrawn="1"/>
        </p:nvSpPr>
        <p:spPr>
          <a:xfrm>
            <a:off x="304800" y="6597683"/>
            <a:ext cx="964623" cy="117725"/>
          </a:xfrm>
          <a:prstGeom prst="rect">
            <a:avLst/>
          </a:prstGeom>
        </p:spPr>
        <p:txBody>
          <a:bodyPr lIns="0" tIns="0" rIns="0" bIns="0" rtlCol="0" anchor="ctr">
            <a:spAutoFit/>
          </a:bodyPr>
          <a:lstStyle/>
          <a:p>
            <a:pPr algn="ctr">
              <a:lnSpc>
                <a:spcPts val="1040"/>
              </a:lnSpc>
            </a:pPr>
            <a:r>
              <a:rPr lang="en-US" sz="800" spc="200">
                <a:solidFill>
                  <a:schemeClr val="bg1"/>
                </a:solidFill>
                <a:latin typeface="Helvetica Neue"/>
              </a:rPr>
              <a:t>CONFIDENTIAL</a:t>
            </a:r>
          </a:p>
        </p:txBody>
      </p:sp>
      <p:sp>
        <p:nvSpPr>
          <p:cNvPr id="10" name="Slide Number Placeholder 23">
            <a:extLst>
              <a:ext uri="{FF2B5EF4-FFF2-40B4-BE49-F238E27FC236}">
                <a16:creationId xmlns:a16="http://schemas.microsoft.com/office/drawing/2014/main" id="{2AC58960-0761-4A7A-8796-B074C0FFB303}"/>
              </a:ext>
            </a:extLst>
          </p:cNvPr>
          <p:cNvSpPr>
            <a:spLocks noGrp="1"/>
          </p:cNvSpPr>
          <p:nvPr>
            <p:ph type="sldNum" sz="quarter" idx="12"/>
          </p:nvPr>
        </p:nvSpPr>
        <p:spPr>
          <a:xfrm>
            <a:off x="10596197" y="6567893"/>
            <a:ext cx="304800" cy="241987"/>
          </a:xfrm>
          <a:prstGeom prst="rect">
            <a:avLst/>
          </a:prstGeom>
        </p:spPr>
        <p:txBody>
          <a:bodyPr anchor="ctr"/>
          <a:lstStyle>
            <a:lvl1pPr algn="ctr">
              <a:defRPr sz="800">
                <a:solidFill>
                  <a:schemeClr val="bg1"/>
                </a:solidFill>
              </a:defRPr>
            </a:lvl1pPr>
          </a:lstStyle>
          <a:p>
            <a:fld id="{D8DA9DAA-006C-4F4B-980E-E3DF019B24E2}" type="slidenum">
              <a:rPr lang="en-US" smtClean="0"/>
              <a:pPr/>
              <a:t>‹#›</a:t>
            </a:fld>
            <a:endParaRPr lang="en-US"/>
          </a:p>
        </p:txBody>
      </p:sp>
      <p:pic>
        <p:nvPicPr>
          <p:cNvPr id="11" name="Picture 3">
            <a:extLst>
              <a:ext uri="{FF2B5EF4-FFF2-40B4-BE49-F238E27FC236}">
                <a16:creationId xmlns:a16="http://schemas.microsoft.com/office/drawing/2014/main" id="{C652C831-46C9-4F25-9DF3-68DD7678E951}"/>
              </a:ext>
            </a:extLst>
          </p:cNvPr>
          <p:cNvPicPr>
            <a:picLocks noChangeAspect="1"/>
          </p:cNvPicPr>
          <p:nvPr userDrawn="1"/>
        </p:nvPicPr>
        <p:blipFill rotWithShape="1">
          <a:blip r:embed="rId2" cstate="screen">
            <a:biLevel thresh="25000"/>
            <a:extLst>
              <a:ext uri="{28A0092B-C50C-407E-A947-70E740481C1C}">
                <a14:useLocalDpi xmlns:a14="http://schemas.microsoft.com/office/drawing/2010/main"/>
              </a:ext>
            </a:extLst>
          </a:blip>
          <a:srcRect t="21728" b="34815"/>
          <a:stretch/>
        </p:blipFill>
        <p:spPr>
          <a:xfrm>
            <a:off x="11013112" y="6503209"/>
            <a:ext cx="1066773" cy="306671"/>
          </a:xfrm>
          <a:prstGeom prst="rect">
            <a:avLst/>
          </a:prstGeom>
        </p:spPr>
      </p:pic>
      <p:sp>
        <p:nvSpPr>
          <p:cNvPr id="12" name="Text Placeholder 3">
            <a:extLst>
              <a:ext uri="{FF2B5EF4-FFF2-40B4-BE49-F238E27FC236}">
                <a16:creationId xmlns:a16="http://schemas.microsoft.com/office/drawing/2014/main" id="{0619420D-D240-4D48-A787-FE65242586B9}"/>
              </a:ext>
            </a:extLst>
          </p:cNvPr>
          <p:cNvSpPr>
            <a:spLocks noGrp="1"/>
          </p:cNvSpPr>
          <p:nvPr>
            <p:ph type="body" sz="quarter" idx="13"/>
          </p:nvPr>
        </p:nvSpPr>
        <p:spPr>
          <a:xfrm>
            <a:off x="0" y="376555"/>
            <a:ext cx="12192000" cy="628650"/>
          </a:xfrm>
          <a:prstGeom prst="rect">
            <a:avLst/>
          </a:prstGeom>
        </p:spPr>
        <p:txBody>
          <a:bodyPr anchor="ctr"/>
          <a:lstStyle>
            <a:lvl1pPr marL="0" indent="0" algn="ctr">
              <a:buNone/>
              <a:defRPr sz="2800" b="1" spc="30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2842633751"/>
      </p:ext>
    </p:extLst>
  </p:cSld>
  <p:clrMapOvr>
    <a:masterClrMapping/>
  </p:clrMapOvr>
  <p:extLst>
    <p:ext uri="{DCECCB84-F9BA-43D5-87BE-67443E8EF086}">
      <p15:sldGuideLst xmlns:p15="http://schemas.microsoft.com/office/powerpoint/2012/main">
        <p15:guide id="1" orient="horz" pos="3240">
          <p15:clr>
            <a:srgbClr val="FBAE40"/>
          </p15:clr>
        </p15:guide>
        <p15:guide id="2" orient="horz" pos="1224">
          <p15:clr>
            <a:srgbClr val="FBAE40"/>
          </p15:clr>
        </p15:guide>
        <p15:guide id="3" orient="horz" pos="1080">
          <p15:clr>
            <a:srgbClr val="FBAE40"/>
          </p15:clr>
        </p15:guide>
        <p15:guide id="4" orient="horz" pos="5976">
          <p15:clr>
            <a:srgbClr val="FBAE40"/>
          </p15:clr>
        </p15:guide>
        <p15:guide id="5" pos="5760">
          <p15:clr>
            <a:srgbClr val="FBAE40"/>
          </p15:clr>
        </p15:guide>
        <p15:guide id="6" pos="11184">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Title and Content slide- 1">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7CADFD20-6533-498C-B60C-998B79CE8197}"/>
              </a:ext>
            </a:extLst>
          </p:cNvPr>
          <p:cNvSpPr/>
          <p:nvPr userDrawn="1"/>
        </p:nvSpPr>
        <p:spPr>
          <a:xfrm>
            <a:off x="0" y="-1"/>
            <a:ext cx="12192000" cy="6858001"/>
          </a:xfrm>
          <a:prstGeom prst="rect">
            <a:avLst/>
          </a:prstGeom>
          <a:gradFill flip="none" rotWithShape="1">
            <a:gsLst>
              <a:gs pos="0">
                <a:srgbClr val="EBE6E2"/>
              </a:gs>
              <a:gs pos="47000">
                <a:srgbClr val="F8F6F5"/>
              </a:gs>
              <a:gs pos="81000">
                <a:srgbClr val="F9F7F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3" name="Rectangle 2">
            <a:extLst>
              <a:ext uri="{FF2B5EF4-FFF2-40B4-BE49-F238E27FC236}">
                <a16:creationId xmlns:a16="http://schemas.microsoft.com/office/drawing/2014/main" id="{1F0105E8-40EF-482C-80FE-BF73EEDA761C}"/>
              </a:ext>
            </a:extLst>
          </p:cNvPr>
          <p:cNvSpPr/>
          <p:nvPr userDrawn="1"/>
        </p:nvSpPr>
        <p:spPr>
          <a:xfrm>
            <a:off x="0" y="6476653"/>
            <a:ext cx="12192000" cy="3813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27" name="TextBox 17">
            <a:extLst>
              <a:ext uri="{FF2B5EF4-FFF2-40B4-BE49-F238E27FC236}">
                <a16:creationId xmlns:a16="http://schemas.microsoft.com/office/drawing/2014/main" id="{1E86468C-FC5A-4026-BAA7-53C2686DE492}"/>
              </a:ext>
            </a:extLst>
          </p:cNvPr>
          <p:cNvSpPr txBox="1"/>
          <p:nvPr userDrawn="1"/>
        </p:nvSpPr>
        <p:spPr>
          <a:xfrm>
            <a:off x="304800" y="6597683"/>
            <a:ext cx="964623" cy="117725"/>
          </a:xfrm>
          <a:prstGeom prst="rect">
            <a:avLst/>
          </a:prstGeom>
        </p:spPr>
        <p:txBody>
          <a:bodyPr lIns="0" tIns="0" rIns="0" bIns="0" rtlCol="0" anchor="ctr">
            <a:spAutoFit/>
          </a:bodyPr>
          <a:lstStyle/>
          <a:p>
            <a:pPr algn="ctr">
              <a:lnSpc>
                <a:spcPts val="1040"/>
              </a:lnSpc>
            </a:pPr>
            <a:r>
              <a:rPr lang="en-US" sz="800" spc="200">
                <a:solidFill>
                  <a:schemeClr val="bg1"/>
                </a:solidFill>
                <a:latin typeface="Helvetica Neue"/>
              </a:rPr>
              <a:t>CONFIDENTIAL</a:t>
            </a:r>
          </a:p>
        </p:txBody>
      </p:sp>
      <p:sp>
        <p:nvSpPr>
          <p:cNvPr id="7" name="Rectangle 6">
            <a:extLst>
              <a:ext uri="{FF2B5EF4-FFF2-40B4-BE49-F238E27FC236}">
                <a16:creationId xmlns:a16="http://schemas.microsoft.com/office/drawing/2014/main" id="{DDB34394-388C-4983-9069-73C25C50D4F6}"/>
              </a:ext>
            </a:extLst>
          </p:cNvPr>
          <p:cNvSpPr/>
          <p:nvPr userDrawn="1"/>
        </p:nvSpPr>
        <p:spPr>
          <a:xfrm>
            <a:off x="0" y="-18571"/>
            <a:ext cx="12192000" cy="3813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8" name="Slide Number Placeholder 23">
            <a:extLst>
              <a:ext uri="{FF2B5EF4-FFF2-40B4-BE49-F238E27FC236}">
                <a16:creationId xmlns:a16="http://schemas.microsoft.com/office/drawing/2014/main" id="{97C14FDE-0172-4447-99CE-0A57E5741A5C}"/>
              </a:ext>
            </a:extLst>
          </p:cNvPr>
          <p:cNvSpPr>
            <a:spLocks noGrp="1"/>
          </p:cNvSpPr>
          <p:nvPr>
            <p:ph type="sldNum" sz="quarter" idx="12"/>
          </p:nvPr>
        </p:nvSpPr>
        <p:spPr>
          <a:xfrm>
            <a:off x="10596197" y="6567893"/>
            <a:ext cx="304800" cy="241987"/>
          </a:xfrm>
          <a:prstGeom prst="rect">
            <a:avLst/>
          </a:prstGeom>
        </p:spPr>
        <p:txBody>
          <a:bodyPr anchor="ctr"/>
          <a:lstStyle>
            <a:lvl1pPr algn="ctr">
              <a:defRPr sz="800">
                <a:solidFill>
                  <a:schemeClr val="bg1"/>
                </a:solidFill>
              </a:defRPr>
            </a:lvl1pPr>
          </a:lstStyle>
          <a:p>
            <a:fld id="{D8DA9DAA-006C-4F4B-980E-E3DF019B24E2}" type="slidenum">
              <a:rPr lang="en-US" smtClean="0"/>
              <a:pPr/>
              <a:t>‹#›</a:t>
            </a:fld>
            <a:endParaRPr lang="en-US"/>
          </a:p>
        </p:txBody>
      </p:sp>
      <p:pic>
        <p:nvPicPr>
          <p:cNvPr id="9" name="Picture 3">
            <a:extLst>
              <a:ext uri="{FF2B5EF4-FFF2-40B4-BE49-F238E27FC236}">
                <a16:creationId xmlns:a16="http://schemas.microsoft.com/office/drawing/2014/main" id="{0D227435-919D-4214-8017-853015C64389}"/>
              </a:ext>
            </a:extLst>
          </p:cNvPr>
          <p:cNvPicPr>
            <a:picLocks noChangeAspect="1"/>
          </p:cNvPicPr>
          <p:nvPr userDrawn="1"/>
        </p:nvPicPr>
        <p:blipFill rotWithShape="1">
          <a:blip r:embed="rId2" cstate="screen">
            <a:biLevel thresh="25000"/>
            <a:extLst>
              <a:ext uri="{28A0092B-C50C-407E-A947-70E740481C1C}">
                <a14:useLocalDpi xmlns:a14="http://schemas.microsoft.com/office/drawing/2010/main"/>
              </a:ext>
            </a:extLst>
          </a:blip>
          <a:srcRect t="21728" b="34815"/>
          <a:stretch/>
        </p:blipFill>
        <p:spPr>
          <a:xfrm>
            <a:off x="11013112" y="6503209"/>
            <a:ext cx="1066773" cy="306671"/>
          </a:xfrm>
          <a:prstGeom prst="rect">
            <a:avLst/>
          </a:prstGeom>
        </p:spPr>
      </p:pic>
      <p:sp>
        <p:nvSpPr>
          <p:cNvPr id="10" name="Text Placeholder 3">
            <a:extLst>
              <a:ext uri="{FF2B5EF4-FFF2-40B4-BE49-F238E27FC236}">
                <a16:creationId xmlns:a16="http://schemas.microsoft.com/office/drawing/2014/main" id="{F0728C0F-1C0B-473B-9953-44DDD1A5ECFE}"/>
              </a:ext>
            </a:extLst>
          </p:cNvPr>
          <p:cNvSpPr>
            <a:spLocks noGrp="1"/>
          </p:cNvSpPr>
          <p:nvPr>
            <p:ph type="body" sz="quarter" idx="13"/>
          </p:nvPr>
        </p:nvSpPr>
        <p:spPr>
          <a:xfrm>
            <a:off x="0" y="376555"/>
            <a:ext cx="12192000" cy="628650"/>
          </a:xfrm>
          <a:prstGeom prst="rect">
            <a:avLst/>
          </a:prstGeom>
        </p:spPr>
        <p:txBody>
          <a:bodyPr anchor="ctr"/>
          <a:lstStyle>
            <a:lvl1pPr marL="0" indent="0" algn="ctr">
              <a:buNone/>
              <a:defRPr sz="2800" b="1" spc="30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3435935512"/>
      </p:ext>
    </p:extLst>
  </p:cSld>
  <p:clrMapOvr>
    <a:masterClrMapping/>
  </p:clrMapOvr>
  <p:extLst>
    <p:ext uri="{DCECCB84-F9BA-43D5-87BE-67443E8EF086}">
      <p15:sldGuideLst xmlns:p15="http://schemas.microsoft.com/office/powerpoint/2012/main">
        <p15:guide id="1" orient="horz" pos="3240">
          <p15:clr>
            <a:srgbClr val="FBAE40"/>
          </p15:clr>
        </p15:guide>
        <p15:guide id="2" orient="horz" pos="1224">
          <p15:clr>
            <a:srgbClr val="FBAE40"/>
          </p15:clr>
        </p15:guide>
        <p15:guide id="3" orient="horz" pos="1080">
          <p15:clr>
            <a:srgbClr val="FBAE40"/>
          </p15:clr>
        </p15:guide>
        <p15:guide id="4" orient="horz" pos="5976">
          <p15:clr>
            <a:srgbClr val="FBAE40"/>
          </p15:clr>
        </p15:guide>
        <p15:guide id="5" pos="5760">
          <p15:clr>
            <a:srgbClr val="FBAE40"/>
          </p15:clr>
        </p15:guide>
        <p15:guide id="6" pos="11184">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Title and Content slide- 1">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7CADFD20-6533-498C-B60C-998B79CE8197}"/>
              </a:ext>
            </a:extLst>
          </p:cNvPr>
          <p:cNvSpPr/>
          <p:nvPr userDrawn="1"/>
        </p:nvSpPr>
        <p:spPr>
          <a:xfrm>
            <a:off x="0" y="-1"/>
            <a:ext cx="12192000" cy="6858001"/>
          </a:xfrm>
          <a:prstGeom prst="rect">
            <a:avLst/>
          </a:prstGeom>
          <a:gradFill flip="none" rotWithShape="1">
            <a:gsLst>
              <a:gs pos="0">
                <a:srgbClr val="EBE6E2"/>
              </a:gs>
              <a:gs pos="47000">
                <a:srgbClr val="F8F6F5"/>
              </a:gs>
              <a:gs pos="81000">
                <a:srgbClr val="F9F7F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3" name="Rectangle 2">
            <a:extLst>
              <a:ext uri="{FF2B5EF4-FFF2-40B4-BE49-F238E27FC236}">
                <a16:creationId xmlns:a16="http://schemas.microsoft.com/office/drawing/2014/main" id="{1F0105E8-40EF-482C-80FE-BF73EEDA761C}"/>
              </a:ext>
            </a:extLst>
          </p:cNvPr>
          <p:cNvSpPr/>
          <p:nvPr userDrawn="1"/>
        </p:nvSpPr>
        <p:spPr>
          <a:xfrm>
            <a:off x="0" y="6476653"/>
            <a:ext cx="12192000" cy="3813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27" name="TextBox 17">
            <a:extLst>
              <a:ext uri="{FF2B5EF4-FFF2-40B4-BE49-F238E27FC236}">
                <a16:creationId xmlns:a16="http://schemas.microsoft.com/office/drawing/2014/main" id="{1E86468C-FC5A-4026-BAA7-53C2686DE492}"/>
              </a:ext>
            </a:extLst>
          </p:cNvPr>
          <p:cNvSpPr txBox="1"/>
          <p:nvPr userDrawn="1"/>
        </p:nvSpPr>
        <p:spPr>
          <a:xfrm>
            <a:off x="304800" y="6597683"/>
            <a:ext cx="964623" cy="117725"/>
          </a:xfrm>
          <a:prstGeom prst="rect">
            <a:avLst/>
          </a:prstGeom>
        </p:spPr>
        <p:txBody>
          <a:bodyPr lIns="0" tIns="0" rIns="0" bIns="0" rtlCol="0" anchor="ctr">
            <a:spAutoFit/>
          </a:bodyPr>
          <a:lstStyle/>
          <a:p>
            <a:pPr algn="ctr">
              <a:lnSpc>
                <a:spcPts val="1040"/>
              </a:lnSpc>
            </a:pPr>
            <a:r>
              <a:rPr lang="en-US" sz="800" spc="200">
                <a:solidFill>
                  <a:schemeClr val="bg1"/>
                </a:solidFill>
                <a:latin typeface="Helvetica Neue"/>
              </a:rPr>
              <a:t>CONFIDENTIAL</a:t>
            </a:r>
          </a:p>
        </p:txBody>
      </p:sp>
      <p:sp>
        <p:nvSpPr>
          <p:cNvPr id="7" name="Rectangle 6">
            <a:extLst>
              <a:ext uri="{FF2B5EF4-FFF2-40B4-BE49-F238E27FC236}">
                <a16:creationId xmlns:a16="http://schemas.microsoft.com/office/drawing/2014/main" id="{DDB34394-388C-4983-9069-73C25C50D4F6}"/>
              </a:ext>
            </a:extLst>
          </p:cNvPr>
          <p:cNvSpPr/>
          <p:nvPr userDrawn="1"/>
        </p:nvSpPr>
        <p:spPr>
          <a:xfrm>
            <a:off x="0" y="-18571"/>
            <a:ext cx="12192000" cy="12181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8" name="Slide Number Placeholder 23">
            <a:extLst>
              <a:ext uri="{FF2B5EF4-FFF2-40B4-BE49-F238E27FC236}">
                <a16:creationId xmlns:a16="http://schemas.microsoft.com/office/drawing/2014/main" id="{E773DDD8-AD5A-4182-AF5B-3C9EFE8E82E9}"/>
              </a:ext>
            </a:extLst>
          </p:cNvPr>
          <p:cNvSpPr>
            <a:spLocks noGrp="1"/>
          </p:cNvSpPr>
          <p:nvPr>
            <p:ph type="sldNum" sz="quarter" idx="12"/>
          </p:nvPr>
        </p:nvSpPr>
        <p:spPr>
          <a:xfrm>
            <a:off x="10596197" y="6567893"/>
            <a:ext cx="304800" cy="241987"/>
          </a:xfrm>
          <a:prstGeom prst="rect">
            <a:avLst/>
          </a:prstGeom>
        </p:spPr>
        <p:txBody>
          <a:bodyPr anchor="ctr"/>
          <a:lstStyle>
            <a:lvl1pPr algn="ctr">
              <a:defRPr sz="800">
                <a:solidFill>
                  <a:schemeClr val="bg1"/>
                </a:solidFill>
              </a:defRPr>
            </a:lvl1pPr>
          </a:lstStyle>
          <a:p>
            <a:fld id="{D8DA9DAA-006C-4F4B-980E-E3DF019B24E2}" type="slidenum">
              <a:rPr lang="en-US" smtClean="0"/>
              <a:pPr/>
              <a:t>‹#›</a:t>
            </a:fld>
            <a:endParaRPr lang="en-US"/>
          </a:p>
        </p:txBody>
      </p:sp>
      <p:pic>
        <p:nvPicPr>
          <p:cNvPr id="9" name="Picture 3">
            <a:extLst>
              <a:ext uri="{FF2B5EF4-FFF2-40B4-BE49-F238E27FC236}">
                <a16:creationId xmlns:a16="http://schemas.microsoft.com/office/drawing/2014/main" id="{62677DCA-9481-4543-A4A8-A1630BEBE0B5}"/>
              </a:ext>
            </a:extLst>
          </p:cNvPr>
          <p:cNvPicPr>
            <a:picLocks noChangeAspect="1"/>
          </p:cNvPicPr>
          <p:nvPr userDrawn="1"/>
        </p:nvPicPr>
        <p:blipFill rotWithShape="1">
          <a:blip r:embed="rId2" cstate="screen">
            <a:biLevel thresh="25000"/>
            <a:extLst>
              <a:ext uri="{28A0092B-C50C-407E-A947-70E740481C1C}">
                <a14:useLocalDpi xmlns:a14="http://schemas.microsoft.com/office/drawing/2010/main"/>
              </a:ext>
            </a:extLst>
          </a:blip>
          <a:srcRect t="21728" b="34815"/>
          <a:stretch/>
        </p:blipFill>
        <p:spPr>
          <a:xfrm>
            <a:off x="11013112" y="6503209"/>
            <a:ext cx="1066773" cy="306671"/>
          </a:xfrm>
          <a:prstGeom prst="rect">
            <a:avLst/>
          </a:prstGeom>
        </p:spPr>
      </p:pic>
      <p:sp>
        <p:nvSpPr>
          <p:cNvPr id="10" name="Text Placeholder 3">
            <a:extLst>
              <a:ext uri="{FF2B5EF4-FFF2-40B4-BE49-F238E27FC236}">
                <a16:creationId xmlns:a16="http://schemas.microsoft.com/office/drawing/2014/main" id="{038D0908-609A-43C5-A417-55F691B26CFD}"/>
              </a:ext>
            </a:extLst>
          </p:cNvPr>
          <p:cNvSpPr>
            <a:spLocks noGrp="1"/>
          </p:cNvSpPr>
          <p:nvPr>
            <p:ph type="body" sz="quarter" idx="13"/>
          </p:nvPr>
        </p:nvSpPr>
        <p:spPr>
          <a:xfrm>
            <a:off x="0" y="142875"/>
            <a:ext cx="12192000" cy="628650"/>
          </a:xfrm>
          <a:prstGeom prst="rect">
            <a:avLst/>
          </a:prstGeom>
        </p:spPr>
        <p:txBody>
          <a:bodyPr anchor="ctr"/>
          <a:lstStyle>
            <a:lvl1pPr marL="0" indent="0" algn="ctr">
              <a:buNone/>
              <a:defRPr sz="2800" b="1" spc="30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1743605644"/>
      </p:ext>
    </p:extLst>
  </p:cSld>
  <p:clrMapOvr>
    <a:masterClrMapping/>
  </p:clrMapOvr>
  <p:extLst>
    <p:ext uri="{DCECCB84-F9BA-43D5-87BE-67443E8EF086}">
      <p15:sldGuideLst xmlns:p15="http://schemas.microsoft.com/office/powerpoint/2012/main">
        <p15:guide id="1" orient="horz" pos="3240">
          <p15:clr>
            <a:srgbClr val="FBAE40"/>
          </p15:clr>
        </p15:guide>
        <p15:guide id="2" orient="horz" pos="1224">
          <p15:clr>
            <a:srgbClr val="FBAE40"/>
          </p15:clr>
        </p15:guide>
        <p15:guide id="3" orient="horz" pos="1080">
          <p15:clr>
            <a:srgbClr val="FBAE40"/>
          </p15:clr>
        </p15:guide>
        <p15:guide id="4" orient="horz" pos="5976">
          <p15:clr>
            <a:srgbClr val="FBAE40"/>
          </p15:clr>
        </p15:guide>
        <p15:guide id="5" pos="5760">
          <p15:clr>
            <a:srgbClr val="FBAE40"/>
          </p15:clr>
        </p15:guide>
        <p15:guide id="6" pos="11184">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_Title and Content slide- 1">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7CADFD20-6533-498C-B60C-998B79CE8197}"/>
              </a:ext>
            </a:extLst>
          </p:cNvPr>
          <p:cNvSpPr/>
          <p:nvPr userDrawn="1"/>
        </p:nvSpPr>
        <p:spPr>
          <a:xfrm>
            <a:off x="0" y="-1"/>
            <a:ext cx="12192000" cy="6858001"/>
          </a:xfrm>
          <a:prstGeom prst="rect">
            <a:avLst/>
          </a:prstGeom>
          <a:gradFill flip="none" rotWithShape="1">
            <a:gsLst>
              <a:gs pos="0">
                <a:srgbClr val="EBE6E2"/>
              </a:gs>
              <a:gs pos="47000">
                <a:srgbClr val="F8F6F5"/>
              </a:gs>
              <a:gs pos="81000">
                <a:srgbClr val="F9F7F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7" name="Rectangle 6">
            <a:extLst>
              <a:ext uri="{FF2B5EF4-FFF2-40B4-BE49-F238E27FC236}">
                <a16:creationId xmlns:a16="http://schemas.microsoft.com/office/drawing/2014/main" id="{DDB34394-388C-4983-9069-73C25C50D4F6}"/>
              </a:ext>
            </a:extLst>
          </p:cNvPr>
          <p:cNvSpPr/>
          <p:nvPr userDrawn="1"/>
        </p:nvSpPr>
        <p:spPr>
          <a:xfrm>
            <a:off x="0" y="-18572"/>
            <a:ext cx="12192000" cy="14895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8" name="Rectangle 7">
            <a:extLst>
              <a:ext uri="{FF2B5EF4-FFF2-40B4-BE49-F238E27FC236}">
                <a16:creationId xmlns:a16="http://schemas.microsoft.com/office/drawing/2014/main" id="{EA41A157-0EA6-47B6-BE48-684AACC88210}"/>
              </a:ext>
            </a:extLst>
          </p:cNvPr>
          <p:cNvSpPr/>
          <p:nvPr userDrawn="1"/>
        </p:nvSpPr>
        <p:spPr>
          <a:xfrm>
            <a:off x="0" y="5368413"/>
            <a:ext cx="12192000" cy="14895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27" name="TextBox 17">
            <a:extLst>
              <a:ext uri="{FF2B5EF4-FFF2-40B4-BE49-F238E27FC236}">
                <a16:creationId xmlns:a16="http://schemas.microsoft.com/office/drawing/2014/main" id="{1E86468C-FC5A-4026-BAA7-53C2686DE492}"/>
              </a:ext>
            </a:extLst>
          </p:cNvPr>
          <p:cNvSpPr txBox="1"/>
          <p:nvPr userDrawn="1"/>
        </p:nvSpPr>
        <p:spPr>
          <a:xfrm>
            <a:off x="304800" y="6597683"/>
            <a:ext cx="964623" cy="117725"/>
          </a:xfrm>
          <a:prstGeom prst="rect">
            <a:avLst/>
          </a:prstGeom>
        </p:spPr>
        <p:txBody>
          <a:bodyPr lIns="0" tIns="0" rIns="0" bIns="0" rtlCol="0" anchor="ctr">
            <a:spAutoFit/>
          </a:bodyPr>
          <a:lstStyle/>
          <a:p>
            <a:pPr algn="ctr">
              <a:lnSpc>
                <a:spcPts val="1040"/>
              </a:lnSpc>
            </a:pPr>
            <a:r>
              <a:rPr lang="en-US" sz="800" spc="200">
                <a:solidFill>
                  <a:schemeClr val="bg1"/>
                </a:solidFill>
                <a:latin typeface="Helvetica Neue"/>
              </a:rPr>
              <a:t>CONFIDENTIAL</a:t>
            </a:r>
          </a:p>
        </p:txBody>
      </p:sp>
      <p:sp>
        <p:nvSpPr>
          <p:cNvPr id="17" name="Slide Number Placeholder 23">
            <a:extLst>
              <a:ext uri="{FF2B5EF4-FFF2-40B4-BE49-F238E27FC236}">
                <a16:creationId xmlns:a16="http://schemas.microsoft.com/office/drawing/2014/main" id="{C7DB4156-10DC-4A46-813F-E4FE77B51E07}"/>
              </a:ext>
            </a:extLst>
          </p:cNvPr>
          <p:cNvSpPr>
            <a:spLocks noGrp="1"/>
          </p:cNvSpPr>
          <p:nvPr>
            <p:ph type="sldNum" sz="quarter" idx="12"/>
          </p:nvPr>
        </p:nvSpPr>
        <p:spPr>
          <a:xfrm>
            <a:off x="10596197" y="6567893"/>
            <a:ext cx="304800" cy="241987"/>
          </a:xfrm>
          <a:prstGeom prst="rect">
            <a:avLst/>
          </a:prstGeom>
        </p:spPr>
        <p:txBody>
          <a:bodyPr anchor="ctr"/>
          <a:lstStyle>
            <a:lvl1pPr algn="ctr">
              <a:defRPr sz="800">
                <a:solidFill>
                  <a:schemeClr val="bg1"/>
                </a:solidFill>
              </a:defRPr>
            </a:lvl1pPr>
          </a:lstStyle>
          <a:p>
            <a:fld id="{D8DA9DAA-006C-4F4B-980E-E3DF019B24E2}" type="slidenum">
              <a:rPr lang="en-US" smtClean="0"/>
              <a:pPr/>
              <a:t>‹#›</a:t>
            </a:fld>
            <a:endParaRPr lang="en-US"/>
          </a:p>
        </p:txBody>
      </p:sp>
      <p:pic>
        <p:nvPicPr>
          <p:cNvPr id="21" name="Picture 3">
            <a:extLst>
              <a:ext uri="{FF2B5EF4-FFF2-40B4-BE49-F238E27FC236}">
                <a16:creationId xmlns:a16="http://schemas.microsoft.com/office/drawing/2014/main" id="{38844CB5-B570-4AC3-A0EC-AA1875798674}"/>
              </a:ext>
            </a:extLst>
          </p:cNvPr>
          <p:cNvPicPr>
            <a:picLocks noChangeAspect="1"/>
          </p:cNvPicPr>
          <p:nvPr userDrawn="1"/>
        </p:nvPicPr>
        <p:blipFill rotWithShape="1">
          <a:blip r:embed="rId2" cstate="screen">
            <a:biLevel thresh="25000"/>
            <a:extLst>
              <a:ext uri="{28A0092B-C50C-407E-A947-70E740481C1C}">
                <a14:useLocalDpi xmlns:a14="http://schemas.microsoft.com/office/drawing/2010/main"/>
              </a:ext>
            </a:extLst>
          </a:blip>
          <a:srcRect t="21728" b="34815"/>
          <a:stretch/>
        </p:blipFill>
        <p:spPr>
          <a:xfrm>
            <a:off x="11013112" y="6503209"/>
            <a:ext cx="1066773" cy="306671"/>
          </a:xfrm>
          <a:prstGeom prst="rect">
            <a:avLst/>
          </a:prstGeom>
        </p:spPr>
      </p:pic>
      <p:sp>
        <p:nvSpPr>
          <p:cNvPr id="4" name="Text Placeholder 3">
            <a:extLst>
              <a:ext uri="{FF2B5EF4-FFF2-40B4-BE49-F238E27FC236}">
                <a16:creationId xmlns:a16="http://schemas.microsoft.com/office/drawing/2014/main" id="{B1E857BA-BC5C-4BDE-ADD1-B5C6F051FDF3}"/>
              </a:ext>
            </a:extLst>
          </p:cNvPr>
          <p:cNvSpPr>
            <a:spLocks noGrp="1"/>
          </p:cNvSpPr>
          <p:nvPr>
            <p:ph type="body" sz="quarter" idx="13"/>
          </p:nvPr>
        </p:nvSpPr>
        <p:spPr>
          <a:xfrm>
            <a:off x="0" y="142875"/>
            <a:ext cx="12192000" cy="628650"/>
          </a:xfrm>
          <a:prstGeom prst="rect">
            <a:avLst/>
          </a:prstGeom>
        </p:spPr>
        <p:txBody>
          <a:bodyPr anchor="ctr"/>
          <a:lstStyle>
            <a:lvl1pPr marL="0" indent="0" algn="ctr">
              <a:buNone/>
              <a:defRPr sz="2800" b="1" spc="30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2377633536"/>
      </p:ext>
    </p:extLst>
  </p:cSld>
  <p:clrMapOvr>
    <a:masterClrMapping/>
  </p:clrMapOvr>
  <p:extLst>
    <p:ext uri="{DCECCB84-F9BA-43D5-87BE-67443E8EF086}">
      <p15:sldGuideLst xmlns:p15="http://schemas.microsoft.com/office/powerpoint/2012/main">
        <p15:guide id="1" orient="horz" pos="3240">
          <p15:clr>
            <a:srgbClr val="FBAE40"/>
          </p15:clr>
        </p15:guide>
        <p15:guide id="2" orient="horz" pos="1224">
          <p15:clr>
            <a:srgbClr val="FBAE40"/>
          </p15:clr>
        </p15:guide>
        <p15:guide id="3" orient="horz" pos="1080">
          <p15:clr>
            <a:srgbClr val="FBAE40"/>
          </p15:clr>
        </p15:guide>
        <p15:guide id="4" orient="horz" pos="5976">
          <p15:clr>
            <a:srgbClr val="FBAE40"/>
          </p15:clr>
        </p15:guide>
        <p15:guide id="5" pos="5760">
          <p15:clr>
            <a:srgbClr val="FBAE40"/>
          </p15:clr>
        </p15:guide>
        <p15:guide id="6" pos="1118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7CADFD20-6533-498C-B60C-998B79CE8197}"/>
              </a:ext>
            </a:extLst>
          </p:cNvPr>
          <p:cNvSpPr/>
          <p:nvPr userDrawn="1"/>
        </p:nvSpPr>
        <p:spPr>
          <a:xfrm>
            <a:off x="0" y="-1"/>
            <a:ext cx="12192000" cy="6858001"/>
          </a:xfrm>
          <a:prstGeom prst="rect">
            <a:avLst/>
          </a:prstGeom>
          <a:gradFill flip="none" rotWithShape="1">
            <a:gsLst>
              <a:gs pos="0">
                <a:srgbClr val="EBE6E2"/>
              </a:gs>
              <a:gs pos="47000">
                <a:srgbClr val="F8F6F5"/>
              </a:gs>
              <a:gs pos="81000">
                <a:srgbClr val="F9F7F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25" name="Text Placeholder 9">
            <a:extLst>
              <a:ext uri="{FF2B5EF4-FFF2-40B4-BE49-F238E27FC236}">
                <a16:creationId xmlns:a16="http://schemas.microsoft.com/office/drawing/2014/main" id="{0562EC2A-FA8A-4510-94F7-F9EA0832FB46}"/>
              </a:ext>
            </a:extLst>
          </p:cNvPr>
          <p:cNvSpPr>
            <a:spLocks noGrp="1"/>
          </p:cNvSpPr>
          <p:nvPr>
            <p:ph type="body" sz="quarter" idx="10" hasCustomPrompt="1"/>
          </p:nvPr>
        </p:nvSpPr>
        <p:spPr>
          <a:xfrm>
            <a:off x="377372" y="2108200"/>
            <a:ext cx="5283200" cy="867289"/>
          </a:xfrm>
          <a:prstGeom prst="rect">
            <a:avLst/>
          </a:prstGeom>
        </p:spPr>
        <p:txBody>
          <a:bodyPr lIns="0" rIns="0" anchor="ctr"/>
          <a:lstStyle>
            <a:lvl1pPr marL="0" indent="0" algn="l">
              <a:buNone/>
              <a:defRPr lang="en-IN" sz="2667" spc="200" dirty="0">
                <a:solidFill>
                  <a:schemeClr val="tx2"/>
                </a:solidFill>
                <a:latin typeface="+mj-lt"/>
              </a:defRPr>
            </a:lvl1pPr>
          </a:lstStyle>
          <a:p>
            <a:pPr lvl="0"/>
            <a:r>
              <a:rPr lang="en-US"/>
              <a:t>ADD YOUR TEXT HERE</a:t>
            </a:r>
          </a:p>
        </p:txBody>
      </p:sp>
      <p:sp>
        <p:nvSpPr>
          <p:cNvPr id="27" name="TextBox 17">
            <a:extLst>
              <a:ext uri="{FF2B5EF4-FFF2-40B4-BE49-F238E27FC236}">
                <a16:creationId xmlns:a16="http://schemas.microsoft.com/office/drawing/2014/main" id="{1E86468C-FC5A-4026-BAA7-53C2686DE492}"/>
              </a:ext>
            </a:extLst>
          </p:cNvPr>
          <p:cNvSpPr txBox="1"/>
          <p:nvPr userDrawn="1"/>
        </p:nvSpPr>
        <p:spPr>
          <a:xfrm>
            <a:off x="304800" y="6607324"/>
            <a:ext cx="1168400" cy="119007"/>
          </a:xfrm>
          <a:prstGeom prst="rect">
            <a:avLst/>
          </a:prstGeom>
        </p:spPr>
        <p:txBody>
          <a:bodyPr wrap="square" lIns="0" tIns="0" rIns="0" bIns="0" rtlCol="0" anchor="ctr">
            <a:spAutoFit/>
          </a:bodyPr>
          <a:lstStyle/>
          <a:p>
            <a:pPr algn="ctr">
              <a:lnSpc>
                <a:spcPts val="1040"/>
              </a:lnSpc>
            </a:pPr>
            <a:r>
              <a:rPr lang="en-US" sz="800" spc="200">
                <a:solidFill>
                  <a:schemeClr val="tx2"/>
                </a:solidFill>
                <a:latin typeface="+mj-lt"/>
              </a:rPr>
              <a:t>CONFIDENTIAL</a:t>
            </a:r>
          </a:p>
        </p:txBody>
      </p:sp>
      <p:sp>
        <p:nvSpPr>
          <p:cNvPr id="17" name="Slide Number Placeholder 23">
            <a:extLst>
              <a:ext uri="{FF2B5EF4-FFF2-40B4-BE49-F238E27FC236}">
                <a16:creationId xmlns:a16="http://schemas.microsoft.com/office/drawing/2014/main" id="{C7DB4156-10DC-4A46-813F-E4FE77B51E07}"/>
              </a:ext>
            </a:extLst>
          </p:cNvPr>
          <p:cNvSpPr>
            <a:spLocks noGrp="1"/>
          </p:cNvSpPr>
          <p:nvPr>
            <p:ph type="sldNum" sz="quarter" idx="12"/>
          </p:nvPr>
        </p:nvSpPr>
        <p:spPr>
          <a:xfrm>
            <a:off x="11833981" y="6546333"/>
            <a:ext cx="304800" cy="241987"/>
          </a:xfrm>
          <a:prstGeom prst="rect">
            <a:avLst/>
          </a:prstGeom>
        </p:spPr>
        <p:txBody>
          <a:bodyPr anchor="ctr"/>
          <a:lstStyle>
            <a:lvl1pPr algn="ctr">
              <a:defRPr sz="800">
                <a:solidFill>
                  <a:schemeClr val="tx2"/>
                </a:solidFill>
                <a:latin typeface="+mj-lt"/>
              </a:defRPr>
            </a:lvl1pPr>
          </a:lstStyle>
          <a:p>
            <a:fld id="{D8DA9DAA-006C-4F4B-980E-E3DF019B24E2}" type="slidenum">
              <a:rPr lang="en-US" smtClean="0"/>
              <a:pPr/>
              <a:t>‹#›</a:t>
            </a:fld>
            <a:endParaRPr lang="en-US"/>
          </a:p>
        </p:txBody>
      </p:sp>
      <p:pic>
        <p:nvPicPr>
          <p:cNvPr id="21" name="Picture 3">
            <a:extLst>
              <a:ext uri="{FF2B5EF4-FFF2-40B4-BE49-F238E27FC236}">
                <a16:creationId xmlns:a16="http://schemas.microsoft.com/office/drawing/2014/main" id="{38844CB5-B570-4AC3-A0EC-AA187579867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1728" b="34815"/>
          <a:stretch/>
        </p:blipFill>
        <p:spPr>
          <a:xfrm>
            <a:off x="304800" y="149691"/>
            <a:ext cx="1609245" cy="462619"/>
          </a:xfrm>
          <a:prstGeom prst="rect">
            <a:avLst/>
          </a:prstGeom>
        </p:spPr>
      </p:pic>
      <p:sp>
        <p:nvSpPr>
          <p:cNvPr id="4" name="Picture Placeholder 3">
            <a:extLst>
              <a:ext uri="{FF2B5EF4-FFF2-40B4-BE49-F238E27FC236}">
                <a16:creationId xmlns:a16="http://schemas.microsoft.com/office/drawing/2014/main" id="{5B8E4B04-9AC1-410C-927F-125B2D12D1B3}"/>
              </a:ext>
            </a:extLst>
          </p:cNvPr>
          <p:cNvSpPr>
            <a:spLocks noGrp="1"/>
          </p:cNvSpPr>
          <p:nvPr>
            <p:ph type="pic" sz="quarter" idx="13"/>
          </p:nvPr>
        </p:nvSpPr>
        <p:spPr>
          <a:xfrm>
            <a:off x="6096000" y="482600"/>
            <a:ext cx="2692400" cy="2743200"/>
          </a:xfrm>
          <a:prstGeom prst="rect">
            <a:avLst/>
          </a:prstGeom>
        </p:spPr>
        <p:txBody>
          <a:bodyPr anchor="ctr"/>
          <a:lstStyle>
            <a:lvl1pPr marL="0" indent="0" algn="ctr">
              <a:buNone/>
              <a:defRPr b="0">
                <a:latin typeface="+mj-lt"/>
              </a:defRPr>
            </a:lvl1pPr>
          </a:lstStyle>
          <a:p>
            <a:endParaRPr lang="en-IN"/>
          </a:p>
        </p:txBody>
      </p:sp>
      <p:sp>
        <p:nvSpPr>
          <p:cNvPr id="12" name="Picture Placeholder 3">
            <a:extLst>
              <a:ext uri="{FF2B5EF4-FFF2-40B4-BE49-F238E27FC236}">
                <a16:creationId xmlns:a16="http://schemas.microsoft.com/office/drawing/2014/main" id="{ED2CD378-3C99-43E2-8607-A398F67A042A}"/>
              </a:ext>
            </a:extLst>
          </p:cNvPr>
          <p:cNvSpPr>
            <a:spLocks noGrp="1"/>
          </p:cNvSpPr>
          <p:nvPr>
            <p:ph type="pic" sz="quarter" idx="14"/>
          </p:nvPr>
        </p:nvSpPr>
        <p:spPr>
          <a:xfrm>
            <a:off x="9141581" y="487680"/>
            <a:ext cx="2692400" cy="5938520"/>
          </a:xfrm>
          <a:prstGeom prst="rect">
            <a:avLst/>
          </a:prstGeom>
        </p:spPr>
        <p:txBody>
          <a:bodyPr anchor="ctr"/>
          <a:lstStyle>
            <a:lvl1pPr marL="0" indent="0" algn="ctr">
              <a:buNone/>
              <a:defRPr b="0">
                <a:latin typeface="+mj-lt"/>
              </a:defRPr>
            </a:lvl1pPr>
          </a:lstStyle>
          <a:p>
            <a:endParaRPr lang="en-IN"/>
          </a:p>
        </p:txBody>
      </p:sp>
      <p:sp>
        <p:nvSpPr>
          <p:cNvPr id="13" name="Picture Placeholder 3">
            <a:extLst>
              <a:ext uri="{FF2B5EF4-FFF2-40B4-BE49-F238E27FC236}">
                <a16:creationId xmlns:a16="http://schemas.microsoft.com/office/drawing/2014/main" id="{18DCF0EA-6193-4516-B5B8-E09AA3DBDA6E}"/>
              </a:ext>
            </a:extLst>
          </p:cNvPr>
          <p:cNvSpPr>
            <a:spLocks noGrp="1"/>
          </p:cNvSpPr>
          <p:nvPr>
            <p:ph type="pic" sz="quarter" idx="15"/>
          </p:nvPr>
        </p:nvSpPr>
        <p:spPr>
          <a:xfrm>
            <a:off x="6096000" y="3530600"/>
            <a:ext cx="2692400" cy="2895600"/>
          </a:xfrm>
          <a:prstGeom prst="rect">
            <a:avLst/>
          </a:prstGeom>
        </p:spPr>
        <p:txBody>
          <a:bodyPr anchor="ctr"/>
          <a:lstStyle>
            <a:lvl1pPr marL="0" indent="0" algn="ctr">
              <a:buNone/>
              <a:defRPr b="0">
                <a:latin typeface="+mj-lt"/>
              </a:defRPr>
            </a:lvl1pPr>
          </a:lstStyle>
          <a:p>
            <a:endParaRPr lang="en-IN"/>
          </a:p>
        </p:txBody>
      </p:sp>
    </p:spTree>
    <p:extLst>
      <p:ext uri="{BB962C8B-B14F-4D97-AF65-F5344CB8AC3E}">
        <p14:creationId xmlns:p14="http://schemas.microsoft.com/office/powerpoint/2010/main" val="3542551864"/>
      </p:ext>
    </p:extLst>
  </p:cSld>
  <p:clrMapOvr>
    <a:masterClrMapping/>
  </p:clrMapOvr>
  <p:extLst>
    <p:ext uri="{DCECCB84-F9BA-43D5-87BE-67443E8EF086}">
      <p15:sldGuideLst xmlns:p15="http://schemas.microsoft.com/office/powerpoint/2012/main">
        <p15:guide id="1" orient="horz" pos="3240">
          <p15:clr>
            <a:srgbClr val="FBAE40"/>
          </p15:clr>
        </p15:guide>
        <p15:guide id="2" orient="horz" pos="1224">
          <p15:clr>
            <a:srgbClr val="FBAE40"/>
          </p15:clr>
        </p15:guide>
        <p15:guide id="3" orient="horz" pos="1080">
          <p15:clr>
            <a:srgbClr val="FBAE40"/>
          </p15:clr>
        </p15:guide>
        <p15:guide id="4" orient="horz" pos="5976">
          <p15:clr>
            <a:srgbClr val="FBAE40"/>
          </p15:clr>
        </p15:guide>
        <p15:guide id="5" pos="5760">
          <p15:clr>
            <a:srgbClr val="FBAE40"/>
          </p15:clr>
        </p15:guide>
        <p15:guide id="6" pos="11184">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ustainable Slide">
    <p:spTree>
      <p:nvGrpSpPr>
        <p:cNvPr id="1" name=""/>
        <p:cNvGrpSpPr/>
        <p:nvPr/>
      </p:nvGrpSpPr>
      <p:grpSpPr>
        <a:xfrm>
          <a:off x="0" y="0"/>
          <a:ext cx="0" cy="0"/>
          <a:chOff x="0" y="0"/>
          <a:chExt cx="0" cy="0"/>
        </a:xfrm>
      </p:grpSpPr>
      <p:pic>
        <p:nvPicPr>
          <p:cNvPr id="3" name="Picture 2" descr="A picture containing tree, plant&#10;&#10;Description automatically generated">
            <a:extLst>
              <a:ext uri="{FF2B5EF4-FFF2-40B4-BE49-F238E27FC236}">
                <a16:creationId xmlns:a16="http://schemas.microsoft.com/office/drawing/2014/main" id="{CA6CA334-2E79-4D6C-93DE-AB825092AF8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3277" r="13277"/>
          <a:stretch/>
        </p:blipFill>
        <p:spPr>
          <a:xfrm>
            <a:off x="0" y="0"/>
            <a:ext cx="12192000" cy="6858000"/>
          </a:xfrm>
          <a:prstGeom prst="rect">
            <a:avLst/>
          </a:prstGeom>
        </p:spPr>
      </p:pic>
      <p:sp>
        <p:nvSpPr>
          <p:cNvPr id="4" name="Rectangle 3">
            <a:extLst>
              <a:ext uri="{FF2B5EF4-FFF2-40B4-BE49-F238E27FC236}">
                <a16:creationId xmlns:a16="http://schemas.microsoft.com/office/drawing/2014/main" id="{B4DED9FD-DED4-44D4-9CED-17EE9E89AB7F}"/>
              </a:ext>
            </a:extLst>
          </p:cNvPr>
          <p:cNvSpPr/>
          <p:nvPr userDrawn="1"/>
        </p:nvSpPr>
        <p:spPr>
          <a:xfrm>
            <a:off x="0" y="0"/>
            <a:ext cx="12192000" cy="6858000"/>
          </a:xfrm>
          <a:prstGeom prst="rect">
            <a:avLst/>
          </a:prstGeom>
          <a:gradFill flip="none" rotWithShape="1">
            <a:gsLst>
              <a:gs pos="52387">
                <a:srgbClr val="E7E6E6">
                  <a:alpha val="60000"/>
                </a:srgbClr>
              </a:gs>
              <a:gs pos="27000">
                <a:schemeClr val="bg2"/>
              </a:gs>
              <a:gs pos="80000">
                <a:schemeClr val="bg2">
                  <a:alpha val="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5" name="Text Placeholder 9">
            <a:extLst>
              <a:ext uri="{FF2B5EF4-FFF2-40B4-BE49-F238E27FC236}">
                <a16:creationId xmlns:a16="http://schemas.microsoft.com/office/drawing/2014/main" id="{D73CDD90-CEDE-44EB-9B6E-EDB1D020EC9E}"/>
              </a:ext>
            </a:extLst>
          </p:cNvPr>
          <p:cNvSpPr>
            <a:spLocks noGrp="1"/>
          </p:cNvSpPr>
          <p:nvPr>
            <p:ph type="body" sz="quarter" idx="10" hasCustomPrompt="1"/>
          </p:nvPr>
        </p:nvSpPr>
        <p:spPr>
          <a:xfrm>
            <a:off x="355600" y="244952"/>
            <a:ext cx="11531601" cy="796449"/>
          </a:xfrm>
          <a:prstGeom prst="rect">
            <a:avLst/>
          </a:prstGeom>
        </p:spPr>
        <p:txBody>
          <a:bodyPr lIns="0" rIns="0" anchor="ctr"/>
          <a:lstStyle>
            <a:lvl1pPr marL="0" indent="0" algn="ctr">
              <a:buNone/>
              <a:defRPr lang="en-IN" sz="2667" spc="200" dirty="0">
                <a:solidFill>
                  <a:schemeClr val="tx2"/>
                </a:solidFill>
                <a:latin typeface="+mj-lt"/>
              </a:defRPr>
            </a:lvl1pPr>
          </a:lstStyle>
          <a:p>
            <a:pPr lvl="0"/>
            <a:r>
              <a:rPr lang="en-US"/>
              <a:t>ADD YOUR TEXT HERE</a:t>
            </a:r>
          </a:p>
          <a:p>
            <a:pPr lvl="0"/>
            <a:r>
              <a:rPr lang="en-US"/>
              <a:t>Can be used for double lines</a:t>
            </a:r>
            <a:endParaRPr lang="en-IN"/>
          </a:p>
        </p:txBody>
      </p:sp>
      <p:pic>
        <p:nvPicPr>
          <p:cNvPr id="7" name="Picture 6" descr="A picture containing text&#10;&#10;Description automatically generated">
            <a:extLst>
              <a:ext uri="{FF2B5EF4-FFF2-40B4-BE49-F238E27FC236}">
                <a16:creationId xmlns:a16="http://schemas.microsoft.com/office/drawing/2014/main" id="{468E02EC-005F-4BE4-B2CC-F2B39493716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20275" y="6324600"/>
            <a:ext cx="1691116" cy="385125"/>
          </a:xfrm>
          <a:prstGeom prst="rect">
            <a:avLst/>
          </a:prstGeom>
        </p:spPr>
      </p:pic>
    </p:spTree>
    <p:extLst>
      <p:ext uri="{BB962C8B-B14F-4D97-AF65-F5344CB8AC3E}">
        <p14:creationId xmlns:p14="http://schemas.microsoft.com/office/powerpoint/2010/main" val="709179607"/>
      </p:ext>
    </p:extLst>
  </p:cSld>
  <p:clrMapOvr>
    <a:masterClrMapping/>
  </p:clrMapOvr>
  <p:extLst>
    <p:ext uri="{DCECCB84-F9BA-43D5-87BE-67443E8EF086}">
      <p15:sldGuideLst xmlns:p15="http://schemas.microsoft.com/office/powerpoint/2012/main">
        <p15:guide id="1" pos="1123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slide- 2">
    <p:spTree>
      <p:nvGrpSpPr>
        <p:cNvPr id="1" name=""/>
        <p:cNvGrpSpPr/>
        <p:nvPr/>
      </p:nvGrpSpPr>
      <p:grpSpPr>
        <a:xfrm>
          <a:off x="0" y="0"/>
          <a:ext cx="0" cy="0"/>
          <a:chOff x="0" y="0"/>
          <a:chExt cx="0" cy="0"/>
        </a:xfrm>
      </p:grpSpPr>
      <p:pic>
        <p:nvPicPr>
          <p:cNvPr id="9" name="Picture 8" descr="A picture containing nature, white, night sky&#10;&#10;Description automatically generated">
            <a:extLst>
              <a:ext uri="{FF2B5EF4-FFF2-40B4-BE49-F238E27FC236}">
                <a16:creationId xmlns:a16="http://schemas.microsoft.com/office/drawing/2014/main" id="{502B50D5-0403-4852-A918-5DEE20B48BB7}"/>
              </a:ext>
            </a:extLst>
          </p:cNvPr>
          <p:cNvPicPr>
            <a:picLocks noChangeAspect="1"/>
          </p:cNvPicPr>
          <p:nvPr userDrawn="1"/>
        </p:nvPicPr>
        <p:blipFill>
          <a:blip r:embed="rId2" cstate="screen">
            <a:alphaModFix amt="35000"/>
            <a:extLst>
              <a:ext uri="{28A0092B-C50C-407E-A947-70E740481C1C}">
                <a14:useLocalDpi xmlns:a14="http://schemas.microsoft.com/office/drawing/2010/main"/>
              </a:ext>
            </a:extLst>
          </a:blip>
          <a:stretch>
            <a:fillRect/>
          </a:stretch>
        </p:blipFill>
        <p:spPr>
          <a:xfrm>
            <a:off x="29152" y="905653"/>
            <a:ext cx="12192000" cy="5930785"/>
          </a:xfrm>
          <a:prstGeom prst="rect">
            <a:avLst/>
          </a:prstGeom>
        </p:spPr>
      </p:pic>
      <p:sp>
        <p:nvSpPr>
          <p:cNvPr id="25" name="Text Placeholder 9">
            <a:extLst>
              <a:ext uri="{FF2B5EF4-FFF2-40B4-BE49-F238E27FC236}">
                <a16:creationId xmlns:a16="http://schemas.microsoft.com/office/drawing/2014/main" id="{0562EC2A-FA8A-4510-94F7-F9EA0832FB46}"/>
              </a:ext>
            </a:extLst>
          </p:cNvPr>
          <p:cNvSpPr>
            <a:spLocks noGrp="1"/>
          </p:cNvSpPr>
          <p:nvPr>
            <p:ph type="body" sz="quarter" idx="10" hasCustomPrompt="1"/>
          </p:nvPr>
        </p:nvSpPr>
        <p:spPr>
          <a:xfrm>
            <a:off x="355600" y="244952"/>
            <a:ext cx="10363201" cy="867289"/>
          </a:xfrm>
          <a:prstGeom prst="rect">
            <a:avLst/>
          </a:prstGeom>
        </p:spPr>
        <p:txBody>
          <a:bodyPr lIns="0" rIns="0" anchor="ctr"/>
          <a:lstStyle>
            <a:lvl1pPr marL="0" indent="0" algn="l">
              <a:buNone/>
              <a:defRPr lang="en-IN" sz="2400" dirty="0">
                <a:solidFill>
                  <a:schemeClr val="tx2"/>
                </a:solidFill>
                <a:latin typeface="+mj-lt"/>
              </a:defRPr>
            </a:lvl1pPr>
          </a:lstStyle>
          <a:p>
            <a:pPr lvl="0"/>
            <a:r>
              <a:rPr lang="en-US"/>
              <a:t>ADD YOUR TEXT HERE</a:t>
            </a:r>
          </a:p>
        </p:txBody>
      </p:sp>
      <p:sp>
        <p:nvSpPr>
          <p:cNvPr id="26" name="Text Placeholder 9">
            <a:extLst>
              <a:ext uri="{FF2B5EF4-FFF2-40B4-BE49-F238E27FC236}">
                <a16:creationId xmlns:a16="http://schemas.microsoft.com/office/drawing/2014/main" id="{86EC46E8-19A8-4634-B6E8-901A9CA13158}"/>
              </a:ext>
            </a:extLst>
          </p:cNvPr>
          <p:cNvSpPr>
            <a:spLocks noGrp="1"/>
          </p:cNvSpPr>
          <p:nvPr>
            <p:ph type="body" sz="quarter" idx="11" hasCustomPrompt="1"/>
          </p:nvPr>
        </p:nvSpPr>
        <p:spPr>
          <a:xfrm>
            <a:off x="355600" y="1310322"/>
            <a:ext cx="10363200" cy="5027863"/>
          </a:xfrm>
          <a:prstGeom prst="rect">
            <a:avLst/>
          </a:prstGeom>
        </p:spPr>
        <p:txBody>
          <a:bodyPr lIns="0" rIns="0" anchor="t"/>
          <a:lstStyle>
            <a:lvl1pPr marL="0" indent="0" algn="l">
              <a:buNone/>
              <a:defRPr lang="en-IN" sz="1200" dirty="0">
                <a:solidFill>
                  <a:schemeClr val="tx2">
                    <a:lumMod val="75000"/>
                  </a:schemeClr>
                </a:solidFill>
                <a:latin typeface="+mn-lt"/>
              </a:defRPr>
            </a:lvl1pPr>
          </a:lstStyle>
          <a:p>
            <a:pPr lvl="0"/>
            <a:r>
              <a:rPr lang="en-US"/>
              <a:t>Your Subtext Goes here</a:t>
            </a:r>
            <a:endParaRPr lang="en-IN"/>
          </a:p>
        </p:txBody>
      </p:sp>
      <p:sp>
        <p:nvSpPr>
          <p:cNvPr id="27" name="TextBox 17">
            <a:extLst>
              <a:ext uri="{FF2B5EF4-FFF2-40B4-BE49-F238E27FC236}">
                <a16:creationId xmlns:a16="http://schemas.microsoft.com/office/drawing/2014/main" id="{1E86468C-FC5A-4026-BAA7-53C2686DE492}"/>
              </a:ext>
            </a:extLst>
          </p:cNvPr>
          <p:cNvSpPr txBox="1"/>
          <p:nvPr userDrawn="1"/>
        </p:nvSpPr>
        <p:spPr>
          <a:xfrm>
            <a:off x="304800" y="6597683"/>
            <a:ext cx="964623" cy="117725"/>
          </a:xfrm>
          <a:prstGeom prst="rect">
            <a:avLst/>
          </a:prstGeom>
        </p:spPr>
        <p:txBody>
          <a:bodyPr lIns="0" tIns="0" rIns="0" bIns="0" rtlCol="0" anchor="ctr">
            <a:spAutoFit/>
          </a:bodyPr>
          <a:lstStyle/>
          <a:p>
            <a:pPr algn="ctr">
              <a:lnSpc>
                <a:spcPts val="1040"/>
              </a:lnSpc>
            </a:pPr>
            <a:r>
              <a:rPr lang="en-US" sz="800" spc="200">
                <a:solidFill>
                  <a:schemeClr val="tx2"/>
                </a:solidFill>
                <a:latin typeface="Helvetica Neue"/>
              </a:rPr>
              <a:t>CONFIDENTIAL</a:t>
            </a:r>
          </a:p>
        </p:txBody>
      </p:sp>
      <p:pic>
        <p:nvPicPr>
          <p:cNvPr id="11" name="Picture 2">
            <a:extLst>
              <a:ext uri="{FF2B5EF4-FFF2-40B4-BE49-F238E27FC236}">
                <a16:creationId xmlns:a16="http://schemas.microsoft.com/office/drawing/2014/main" id="{E1C1E7F5-9465-4377-B3FC-76EFE8879DF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2143"/>
          <a:stretch/>
        </p:blipFill>
        <p:spPr>
          <a:xfrm>
            <a:off x="10678134" y="2992351"/>
            <a:ext cx="1513866" cy="3998872"/>
          </a:xfrm>
          <a:prstGeom prst="rect">
            <a:avLst/>
          </a:prstGeom>
        </p:spPr>
      </p:pic>
      <p:pic>
        <p:nvPicPr>
          <p:cNvPr id="12" name="Picture 3">
            <a:extLst>
              <a:ext uri="{FF2B5EF4-FFF2-40B4-BE49-F238E27FC236}">
                <a16:creationId xmlns:a16="http://schemas.microsoft.com/office/drawing/2014/main" id="{0BF1BF52-2682-4468-80DA-B9FE2F895E8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55085"/>
          <a:stretch/>
        </p:blipFill>
        <p:spPr>
          <a:xfrm>
            <a:off x="10452045" y="-312501"/>
            <a:ext cx="1739955" cy="3873901"/>
          </a:xfrm>
          <a:prstGeom prst="rect">
            <a:avLst/>
          </a:prstGeom>
        </p:spPr>
      </p:pic>
      <p:sp>
        <p:nvSpPr>
          <p:cNvPr id="10" name="Slide Number Placeholder 23">
            <a:extLst>
              <a:ext uri="{FF2B5EF4-FFF2-40B4-BE49-F238E27FC236}">
                <a16:creationId xmlns:a16="http://schemas.microsoft.com/office/drawing/2014/main" id="{27B8243F-85CB-4753-8DD7-BE1E1B2C0D40}"/>
              </a:ext>
            </a:extLst>
          </p:cNvPr>
          <p:cNvSpPr>
            <a:spLocks noGrp="1"/>
          </p:cNvSpPr>
          <p:nvPr>
            <p:ph type="sldNum" sz="quarter" idx="12"/>
          </p:nvPr>
        </p:nvSpPr>
        <p:spPr>
          <a:xfrm>
            <a:off x="10596197" y="6567893"/>
            <a:ext cx="304800" cy="241987"/>
          </a:xfrm>
          <a:prstGeom prst="rect">
            <a:avLst/>
          </a:prstGeom>
        </p:spPr>
        <p:txBody>
          <a:bodyPr anchor="ctr"/>
          <a:lstStyle>
            <a:lvl1pPr algn="ctr">
              <a:defRPr sz="800">
                <a:solidFill>
                  <a:schemeClr val="bg1"/>
                </a:solidFill>
              </a:defRPr>
            </a:lvl1pPr>
          </a:lstStyle>
          <a:p>
            <a:fld id="{D8DA9DAA-006C-4F4B-980E-E3DF019B24E2}" type="slidenum">
              <a:rPr lang="en-US" smtClean="0"/>
              <a:pPr/>
              <a:t>‹#›</a:t>
            </a:fld>
            <a:endParaRPr lang="en-US"/>
          </a:p>
        </p:txBody>
      </p:sp>
      <p:pic>
        <p:nvPicPr>
          <p:cNvPr id="14" name="Picture 3">
            <a:extLst>
              <a:ext uri="{FF2B5EF4-FFF2-40B4-BE49-F238E27FC236}">
                <a16:creationId xmlns:a16="http://schemas.microsoft.com/office/drawing/2014/main" id="{DCE09F1F-DF3C-4749-B694-8F2324E6870F}"/>
              </a:ext>
            </a:extLst>
          </p:cNvPr>
          <p:cNvPicPr>
            <a:picLocks noChangeAspect="1"/>
          </p:cNvPicPr>
          <p:nvPr userDrawn="1"/>
        </p:nvPicPr>
        <p:blipFill rotWithShape="1">
          <a:blip r:embed="rId5" cstate="screen">
            <a:grayscl/>
            <a:extLst>
              <a:ext uri="{28A0092B-C50C-407E-A947-70E740481C1C}">
                <a14:useLocalDpi xmlns:a14="http://schemas.microsoft.com/office/drawing/2010/main"/>
              </a:ext>
            </a:extLst>
          </a:blip>
          <a:srcRect t="21728" b="34815"/>
          <a:stretch/>
        </p:blipFill>
        <p:spPr>
          <a:xfrm>
            <a:off x="11013112" y="6503209"/>
            <a:ext cx="1066773" cy="306671"/>
          </a:xfrm>
          <a:prstGeom prst="rect">
            <a:avLst/>
          </a:prstGeom>
        </p:spPr>
      </p:pic>
    </p:spTree>
    <p:extLst>
      <p:ext uri="{BB962C8B-B14F-4D97-AF65-F5344CB8AC3E}">
        <p14:creationId xmlns:p14="http://schemas.microsoft.com/office/powerpoint/2010/main" val="1508488645"/>
      </p:ext>
    </p:extLst>
  </p:cSld>
  <p:clrMapOvr>
    <a:masterClrMapping/>
  </p:clrMapOvr>
  <p:extLst>
    <p:ext uri="{DCECCB84-F9BA-43D5-87BE-67443E8EF086}">
      <p15:sldGuideLst xmlns:p15="http://schemas.microsoft.com/office/powerpoint/2012/main">
        <p15:guide id="1" orient="horz" pos="3240">
          <p15:clr>
            <a:srgbClr val="FBAE40"/>
          </p15:clr>
        </p15:guide>
        <p15:guide id="2" orient="horz" pos="1224">
          <p15:clr>
            <a:srgbClr val="FBAE40"/>
          </p15:clr>
        </p15:guide>
        <p15:guide id="3" orient="horz" pos="1080">
          <p15:clr>
            <a:srgbClr val="FBAE40"/>
          </p15:clr>
        </p15:guide>
        <p15:guide id="4" orient="horz" pos="5976">
          <p15:clr>
            <a:srgbClr val="FBAE40"/>
          </p15:clr>
        </p15:guide>
        <p15:guide id="5" pos="5760">
          <p15:clr>
            <a:srgbClr val="FBAE40"/>
          </p15:clr>
        </p15:guide>
        <p15:guide id="6" pos="11184">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3F16810-5DD0-4311-8A76-26216C252738}"/>
              </a:ext>
            </a:extLst>
          </p:cNvPr>
          <p:cNvSpPr/>
          <p:nvPr userDrawn="1"/>
        </p:nvSpPr>
        <p:spPr>
          <a:xfrm>
            <a:off x="0" y="-1"/>
            <a:ext cx="12192000" cy="6858001"/>
          </a:xfrm>
          <a:prstGeom prst="rect">
            <a:avLst/>
          </a:prstGeom>
          <a:gradFill flip="none" rotWithShape="1">
            <a:gsLst>
              <a:gs pos="0">
                <a:srgbClr val="EBE6E2"/>
              </a:gs>
              <a:gs pos="47000">
                <a:srgbClr val="F8F6F5"/>
              </a:gs>
              <a:gs pos="81000">
                <a:srgbClr val="F9F7F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pic>
        <p:nvPicPr>
          <p:cNvPr id="3" name="Picture 2">
            <a:extLst>
              <a:ext uri="{FF2B5EF4-FFF2-40B4-BE49-F238E27FC236}">
                <a16:creationId xmlns:a16="http://schemas.microsoft.com/office/drawing/2014/main" id="{34519DE1-6660-44C2-9B8B-16E706858B0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5066"/>
          <a:stretch/>
        </p:blipFill>
        <p:spPr>
          <a:xfrm>
            <a:off x="1371600" y="215976"/>
            <a:ext cx="10820400" cy="6642024"/>
          </a:xfrm>
          <a:prstGeom prst="rect">
            <a:avLst/>
          </a:prstGeom>
        </p:spPr>
      </p:pic>
      <p:sp>
        <p:nvSpPr>
          <p:cNvPr id="5" name="Text Placeholder 9">
            <a:extLst>
              <a:ext uri="{FF2B5EF4-FFF2-40B4-BE49-F238E27FC236}">
                <a16:creationId xmlns:a16="http://schemas.microsoft.com/office/drawing/2014/main" id="{9A2BFD2D-0E6C-436B-889D-E3C3A765BBF6}"/>
              </a:ext>
            </a:extLst>
          </p:cNvPr>
          <p:cNvSpPr>
            <a:spLocks noGrp="1"/>
          </p:cNvSpPr>
          <p:nvPr>
            <p:ph type="body" sz="quarter" idx="10" hasCustomPrompt="1"/>
          </p:nvPr>
        </p:nvSpPr>
        <p:spPr>
          <a:xfrm>
            <a:off x="355600" y="244952"/>
            <a:ext cx="7518401" cy="867289"/>
          </a:xfrm>
          <a:prstGeom prst="rect">
            <a:avLst/>
          </a:prstGeom>
        </p:spPr>
        <p:txBody>
          <a:bodyPr lIns="0" rIns="0" anchor="ctr"/>
          <a:lstStyle>
            <a:lvl1pPr marL="0" indent="0" algn="l">
              <a:buNone/>
              <a:defRPr lang="en-IN" sz="2400" dirty="0">
                <a:solidFill>
                  <a:schemeClr val="accent2"/>
                </a:solidFill>
                <a:latin typeface="+mj-lt"/>
              </a:defRPr>
            </a:lvl1pPr>
          </a:lstStyle>
          <a:p>
            <a:pPr lvl="0"/>
            <a:r>
              <a:rPr lang="en-US"/>
              <a:t>Agenda </a:t>
            </a:r>
          </a:p>
        </p:txBody>
      </p:sp>
      <p:sp>
        <p:nvSpPr>
          <p:cNvPr id="6" name="Text Placeholder 9">
            <a:extLst>
              <a:ext uri="{FF2B5EF4-FFF2-40B4-BE49-F238E27FC236}">
                <a16:creationId xmlns:a16="http://schemas.microsoft.com/office/drawing/2014/main" id="{D3893CE5-719B-42B6-9DD4-BEB10C85B50C}"/>
              </a:ext>
            </a:extLst>
          </p:cNvPr>
          <p:cNvSpPr>
            <a:spLocks noGrp="1"/>
          </p:cNvSpPr>
          <p:nvPr>
            <p:ph type="body" sz="quarter" idx="11" hasCustomPrompt="1"/>
          </p:nvPr>
        </p:nvSpPr>
        <p:spPr>
          <a:xfrm>
            <a:off x="355600" y="1310322"/>
            <a:ext cx="5740400" cy="5027863"/>
          </a:xfrm>
          <a:prstGeom prst="rect">
            <a:avLst/>
          </a:prstGeom>
        </p:spPr>
        <p:txBody>
          <a:bodyPr lIns="0" rIns="0" anchor="t"/>
          <a:lstStyle>
            <a:lvl1pPr marL="0" indent="0" algn="l">
              <a:buNone/>
              <a:defRPr lang="en-IN" sz="1200" dirty="0">
                <a:solidFill>
                  <a:schemeClr val="tx2">
                    <a:lumMod val="75000"/>
                  </a:schemeClr>
                </a:solidFill>
                <a:latin typeface="+mn-lt"/>
              </a:defRPr>
            </a:lvl1pPr>
          </a:lstStyle>
          <a:p>
            <a:pPr lvl="0"/>
            <a:r>
              <a:rPr lang="en-US"/>
              <a:t>Your Subtext Goes here</a:t>
            </a:r>
            <a:endParaRPr lang="en-IN"/>
          </a:p>
        </p:txBody>
      </p:sp>
      <p:pic>
        <p:nvPicPr>
          <p:cNvPr id="7" name="Picture 3">
            <a:extLst>
              <a:ext uri="{FF2B5EF4-FFF2-40B4-BE49-F238E27FC236}">
                <a16:creationId xmlns:a16="http://schemas.microsoft.com/office/drawing/2014/main" id="{C35E95DB-144B-4BC8-B197-A72BF212E35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21728" b="34815"/>
          <a:stretch/>
        </p:blipFill>
        <p:spPr>
          <a:xfrm>
            <a:off x="10498378" y="215976"/>
            <a:ext cx="1609245" cy="462619"/>
          </a:xfrm>
          <a:prstGeom prst="rect">
            <a:avLst/>
          </a:prstGeom>
        </p:spPr>
      </p:pic>
      <p:cxnSp>
        <p:nvCxnSpPr>
          <p:cNvPr id="8" name="Straight Connector 7">
            <a:extLst>
              <a:ext uri="{FF2B5EF4-FFF2-40B4-BE49-F238E27FC236}">
                <a16:creationId xmlns:a16="http://schemas.microsoft.com/office/drawing/2014/main" id="{B4517FA7-3E54-4C21-A98C-C940457C67EF}"/>
              </a:ext>
            </a:extLst>
          </p:cNvPr>
          <p:cNvCxnSpPr>
            <a:cxnSpLocks/>
          </p:cNvCxnSpPr>
          <p:nvPr userDrawn="1"/>
        </p:nvCxnSpPr>
        <p:spPr>
          <a:xfrm flipV="1">
            <a:off x="355600" y="1112240"/>
            <a:ext cx="5740401" cy="30760"/>
          </a:xfrm>
          <a:prstGeom prst="line">
            <a:avLst/>
          </a:prstGeom>
          <a:ln w="28575">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10" name="TextBox 17">
            <a:extLst>
              <a:ext uri="{FF2B5EF4-FFF2-40B4-BE49-F238E27FC236}">
                <a16:creationId xmlns:a16="http://schemas.microsoft.com/office/drawing/2014/main" id="{27CC3CFB-DA52-49EA-97FD-9835223D0820}"/>
              </a:ext>
            </a:extLst>
          </p:cNvPr>
          <p:cNvSpPr txBox="1"/>
          <p:nvPr userDrawn="1"/>
        </p:nvSpPr>
        <p:spPr>
          <a:xfrm>
            <a:off x="304800" y="6597683"/>
            <a:ext cx="964623" cy="117725"/>
          </a:xfrm>
          <a:prstGeom prst="rect">
            <a:avLst/>
          </a:prstGeom>
        </p:spPr>
        <p:txBody>
          <a:bodyPr lIns="0" tIns="0" rIns="0" bIns="0" rtlCol="0" anchor="ctr">
            <a:spAutoFit/>
          </a:bodyPr>
          <a:lstStyle/>
          <a:p>
            <a:pPr algn="ctr">
              <a:lnSpc>
                <a:spcPts val="1040"/>
              </a:lnSpc>
            </a:pPr>
            <a:r>
              <a:rPr lang="en-US" sz="800" spc="200">
                <a:solidFill>
                  <a:schemeClr val="tx2"/>
                </a:solidFill>
                <a:latin typeface="Helvetica Neue"/>
              </a:rPr>
              <a:t>CONFIDENTIAL</a:t>
            </a:r>
          </a:p>
        </p:txBody>
      </p:sp>
    </p:spTree>
    <p:extLst>
      <p:ext uri="{BB962C8B-B14F-4D97-AF65-F5344CB8AC3E}">
        <p14:creationId xmlns:p14="http://schemas.microsoft.com/office/powerpoint/2010/main" val="18593000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Cover_1">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AA36D955-B3A7-C98D-63C4-65BC52F7814E}"/>
              </a:ext>
            </a:extLst>
          </p:cNvPr>
          <p:cNvGraphicFramePr>
            <a:graphicFrameLocks noChangeAspect="1"/>
          </p:cNvGraphicFramePr>
          <p:nvPr userDrawn="1">
            <p:custDataLst>
              <p:tags r:id="rId1"/>
            </p:custDataLst>
            <p:extLst>
              <p:ext uri="{D42A27DB-BD31-4B8C-83A1-F6EECF244321}">
                <p14:modId xmlns:p14="http://schemas.microsoft.com/office/powerpoint/2010/main" val="1325715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2" name="Object 21" hidden="1">
                        <a:extLst>
                          <a:ext uri="{FF2B5EF4-FFF2-40B4-BE49-F238E27FC236}">
                            <a16:creationId xmlns:a16="http://schemas.microsoft.com/office/drawing/2014/main" id="{AA36D955-B3A7-C98D-63C4-65BC52F781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3F9111E3-B6B3-F20D-E234-232A58D77455}"/>
              </a:ext>
            </a:extLst>
          </p:cNvPr>
          <p:cNvPicPr>
            <a:picLocks noChangeAspect="1"/>
          </p:cNvPicPr>
          <p:nvPr userDrawn="1"/>
        </p:nvPicPr>
        <p:blipFill>
          <a:blip r:embed="rId5"/>
          <a:stretch>
            <a:fillRect/>
          </a:stretch>
        </p:blipFill>
        <p:spPr>
          <a:xfrm>
            <a:off x="19504" y="2780"/>
            <a:ext cx="12192000" cy="6855220"/>
          </a:xfrm>
          <a:prstGeom prst="rect">
            <a:avLst/>
          </a:prstGeom>
        </p:spPr>
      </p:pic>
      <p:pic>
        <p:nvPicPr>
          <p:cNvPr id="10" name="Picture 9">
            <a:extLst>
              <a:ext uri="{FF2B5EF4-FFF2-40B4-BE49-F238E27FC236}">
                <a16:creationId xmlns:a16="http://schemas.microsoft.com/office/drawing/2014/main" id="{61359549-5A1F-9411-3B5D-0D48941C24F2}"/>
              </a:ext>
            </a:extLst>
          </p:cNvPr>
          <p:cNvPicPr>
            <a:picLocks noChangeAspect="1"/>
          </p:cNvPicPr>
          <p:nvPr userDrawn="1"/>
        </p:nvPicPr>
        <p:blipFill>
          <a:blip r:embed="rId6"/>
          <a:stretch>
            <a:fillRect/>
          </a:stretch>
        </p:blipFill>
        <p:spPr>
          <a:xfrm>
            <a:off x="6942174" y="5029200"/>
            <a:ext cx="2637118" cy="1418282"/>
          </a:xfrm>
          <a:prstGeom prst="rect">
            <a:avLst/>
          </a:prstGeom>
        </p:spPr>
      </p:pic>
      <p:sp>
        <p:nvSpPr>
          <p:cNvPr id="4" name="TextBox 3">
            <a:extLst>
              <a:ext uri="{FF2B5EF4-FFF2-40B4-BE49-F238E27FC236}">
                <a16:creationId xmlns:a16="http://schemas.microsoft.com/office/drawing/2014/main" id="{39C32344-3F64-881D-8597-493E4E19655C}"/>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mn-lt"/>
                <a:ea typeface="+mn-ea"/>
                <a:cs typeface="+mn-cs"/>
              </a:rPr>
              <a:pPr algn="r"/>
              <a:t>‹#›</a:t>
            </a:fld>
            <a:endParaRPr lang="en-US" sz="700" spc="300">
              <a:solidFill>
                <a:schemeClr val="bg1"/>
              </a:solidFill>
              <a:latin typeface="+mn-lt"/>
              <a:ea typeface="+mn-ea"/>
              <a:cs typeface="+mn-cs"/>
            </a:endParaRPr>
          </a:p>
        </p:txBody>
      </p:sp>
      <p:sp>
        <p:nvSpPr>
          <p:cNvPr id="3" name="Rectangle 2">
            <a:extLst>
              <a:ext uri="{FF2B5EF4-FFF2-40B4-BE49-F238E27FC236}">
                <a16:creationId xmlns:a16="http://schemas.microsoft.com/office/drawing/2014/main" id="{A98DFE46-B5E2-F718-94E7-DEF297DF395B}"/>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8E00E491-5360-4420-3643-DDA785916048}"/>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52670FD2-6DEE-3AD9-85AC-45AAB1C3274F}"/>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1ED70F8B-B5D8-3BA6-1B64-F30D81678066}"/>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00714F0B-729E-CAB1-D0E3-5633DF445DB1}"/>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1C1B6030-5708-896E-87F9-D9EB5A92297E}"/>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D2DD69C2-D4FE-4E6E-F4EA-F29654973D31}"/>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BC48FFBE-14CD-15D0-B311-6B84759D8C47}"/>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2A0CD2D3-A28D-3316-27BD-4D7CA492E49B}"/>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8" name="Rectangle 17">
            <a:extLst>
              <a:ext uri="{FF2B5EF4-FFF2-40B4-BE49-F238E27FC236}">
                <a16:creationId xmlns:a16="http://schemas.microsoft.com/office/drawing/2014/main" id="{2798D593-3A07-FA79-0F2D-3BA8F7D72047}"/>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9" name="Text Placeholder 6">
            <a:extLst>
              <a:ext uri="{FF2B5EF4-FFF2-40B4-BE49-F238E27FC236}">
                <a16:creationId xmlns:a16="http://schemas.microsoft.com/office/drawing/2014/main" id="{CCEE4AD4-5673-DC5D-0072-55F8141A6EE8}"/>
              </a:ext>
            </a:extLst>
          </p:cNvPr>
          <p:cNvSpPr>
            <a:spLocks noGrp="1"/>
          </p:cNvSpPr>
          <p:nvPr>
            <p:ph type="body" sz="quarter" idx="15" hasCustomPrompt="1"/>
          </p:nvPr>
        </p:nvSpPr>
        <p:spPr>
          <a:xfrm>
            <a:off x="6916416" y="1953851"/>
            <a:ext cx="4882138" cy="608864"/>
          </a:xfrm>
        </p:spPr>
        <p:txBody>
          <a:bodyPr bIns="0" anchor="b">
            <a:noAutofit/>
          </a:bodyPr>
          <a:lstStyle>
            <a:lvl1pPr marL="0" indent="0">
              <a:buNone/>
              <a:defRPr sz="4000" b="1" i="0">
                <a:solidFill>
                  <a:schemeClr val="bg1"/>
                </a:solidFill>
                <a:latin typeface="+mn-lt"/>
                <a:ea typeface="+mn-ea"/>
                <a:cs typeface="+mn-cs"/>
              </a:defRPr>
            </a:lvl1pPr>
          </a:lstStyle>
          <a:p>
            <a:pPr lvl="0"/>
            <a:r>
              <a:rPr lang="en-US"/>
              <a:t>Title text</a:t>
            </a:r>
          </a:p>
        </p:txBody>
      </p:sp>
      <p:sp>
        <p:nvSpPr>
          <p:cNvPr id="20" name="Text Placeholder 6">
            <a:extLst>
              <a:ext uri="{FF2B5EF4-FFF2-40B4-BE49-F238E27FC236}">
                <a16:creationId xmlns:a16="http://schemas.microsoft.com/office/drawing/2014/main" id="{D7AEF975-7E8E-3FB4-D358-82BE2CB20294}"/>
              </a:ext>
            </a:extLst>
          </p:cNvPr>
          <p:cNvSpPr>
            <a:spLocks noGrp="1"/>
          </p:cNvSpPr>
          <p:nvPr>
            <p:ph type="body" sz="quarter" idx="16" hasCustomPrompt="1"/>
          </p:nvPr>
        </p:nvSpPr>
        <p:spPr>
          <a:xfrm>
            <a:off x="6916416" y="2736147"/>
            <a:ext cx="4882138" cy="608864"/>
          </a:xfrm>
          <a:noFill/>
        </p:spPr>
        <p:txBody>
          <a:bodyPr>
            <a:noAutofit/>
          </a:bodyPr>
          <a:lstStyle>
            <a:lvl1pPr marL="0" indent="0">
              <a:buNone/>
              <a:defRPr sz="2800" b="0" i="0">
                <a:solidFill>
                  <a:schemeClr val="bg1"/>
                </a:solidFill>
                <a:latin typeface="+mn-lt"/>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0"/>
            <a:endParaRPr lang="en-US"/>
          </a:p>
        </p:txBody>
      </p:sp>
      <p:sp>
        <p:nvSpPr>
          <p:cNvPr id="21" name="Text Placeholder 6">
            <a:extLst>
              <a:ext uri="{FF2B5EF4-FFF2-40B4-BE49-F238E27FC236}">
                <a16:creationId xmlns:a16="http://schemas.microsoft.com/office/drawing/2014/main" id="{CDD05584-C1AB-97CD-2E18-F6E51E3A46FE}"/>
              </a:ext>
            </a:extLst>
          </p:cNvPr>
          <p:cNvSpPr>
            <a:spLocks noGrp="1"/>
          </p:cNvSpPr>
          <p:nvPr>
            <p:ph type="body" sz="quarter" idx="18" hasCustomPrompt="1"/>
          </p:nvPr>
        </p:nvSpPr>
        <p:spPr>
          <a:xfrm>
            <a:off x="6942174" y="3959640"/>
            <a:ext cx="4882138" cy="384460"/>
          </a:xfrm>
          <a:noFill/>
        </p:spPr>
        <p:txBody>
          <a:bodyPr>
            <a:noAutofit/>
          </a:bodyPr>
          <a:lstStyle>
            <a:lvl1pPr marL="0" indent="0">
              <a:buNone/>
              <a:defRPr sz="2000" b="0" i="0">
                <a:solidFill>
                  <a:schemeClr val="bg1"/>
                </a:solidFill>
                <a:latin typeface="+mn-lt"/>
                <a:ea typeface="+mn-ea"/>
                <a:cs typeface="+mn-cs"/>
              </a:defRPr>
            </a:lvl1pPr>
          </a:lstStyle>
          <a:p>
            <a:pPr lvl="0"/>
            <a:r>
              <a:rPr lang="en-US"/>
              <a:t>Date </a:t>
            </a:r>
          </a:p>
        </p:txBody>
      </p:sp>
      <p:pic>
        <p:nvPicPr>
          <p:cNvPr id="6" name="Picture 5">
            <a:extLst>
              <a:ext uri="{FF2B5EF4-FFF2-40B4-BE49-F238E27FC236}">
                <a16:creationId xmlns:a16="http://schemas.microsoft.com/office/drawing/2014/main" id="{E510BA45-F7AE-2CF4-3BE8-49E1D68BAA89}"/>
              </a:ext>
            </a:extLst>
          </p:cNvPr>
          <p:cNvPicPr>
            <a:picLocks noChangeAspect="1"/>
          </p:cNvPicPr>
          <p:nvPr userDrawn="1"/>
        </p:nvPicPr>
        <p:blipFill rotWithShape="1">
          <a:blip r:embed="rId7"/>
          <a:srcRect l="25048" t="8274" r="24218" b="5809"/>
          <a:stretch/>
        </p:blipFill>
        <p:spPr>
          <a:xfrm>
            <a:off x="1" y="0"/>
            <a:ext cx="6483964" cy="6858000"/>
          </a:xfrm>
          <a:custGeom>
            <a:avLst/>
            <a:gdLst>
              <a:gd name="connsiteX0" fmla="*/ 0 w 6483964"/>
              <a:gd name="connsiteY0" fmla="*/ 0 h 6858000"/>
              <a:gd name="connsiteX1" fmla="*/ 6483964 w 6483964"/>
              <a:gd name="connsiteY1" fmla="*/ 0 h 6858000"/>
              <a:gd name="connsiteX2" fmla="*/ 6483964 w 6483964"/>
              <a:gd name="connsiteY2" fmla="*/ 6858000 h 6858000"/>
              <a:gd name="connsiteX3" fmla="*/ 0 w 648396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83964" h="6858000">
                <a:moveTo>
                  <a:pt x="0" y="0"/>
                </a:moveTo>
                <a:lnTo>
                  <a:pt x="6483964" y="0"/>
                </a:lnTo>
                <a:lnTo>
                  <a:pt x="6483964" y="6858000"/>
                </a:lnTo>
                <a:lnTo>
                  <a:pt x="0" y="6858000"/>
                </a:lnTo>
                <a:close/>
              </a:path>
            </a:pathLst>
          </a:custGeom>
        </p:spPr>
      </p:pic>
      <p:pic>
        <p:nvPicPr>
          <p:cNvPr id="8" name="Picture 7">
            <a:extLst>
              <a:ext uri="{FF2B5EF4-FFF2-40B4-BE49-F238E27FC236}">
                <a16:creationId xmlns:a16="http://schemas.microsoft.com/office/drawing/2014/main" id="{22402783-288C-2D52-A4BA-8F45BACAE0BD}"/>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0" y="0"/>
            <a:ext cx="5214876" cy="4513432"/>
          </a:xfrm>
          <a:prstGeom prst="rect">
            <a:avLst/>
          </a:prstGeom>
        </p:spPr>
      </p:pic>
    </p:spTree>
    <p:extLst>
      <p:ext uri="{BB962C8B-B14F-4D97-AF65-F5344CB8AC3E}">
        <p14:creationId xmlns:p14="http://schemas.microsoft.com/office/powerpoint/2010/main" val="44812498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ivider Slide 1">
    <p:spTree>
      <p:nvGrpSpPr>
        <p:cNvPr id="1" name=""/>
        <p:cNvGrpSpPr/>
        <p:nvPr/>
      </p:nvGrpSpPr>
      <p:grpSpPr>
        <a:xfrm>
          <a:off x="0" y="0"/>
          <a:ext cx="0" cy="0"/>
          <a:chOff x="0" y="0"/>
          <a:chExt cx="0" cy="0"/>
        </a:xfrm>
      </p:grpSpPr>
      <p:pic>
        <p:nvPicPr>
          <p:cNvPr id="5" name="Picture 4" descr="A picture containing text, table&#10;&#10;Description automatically generated">
            <a:extLst>
              <a:ext uri="{FF2B5EF4-FFF2-40B4-BE49-F238E27FC236}">
                <a16:creationId xmlns:a16="http://schemas.microsoft.com/office/drawing/2014/main" id="{A6B20D15-DE5D-48C0-B8BE-98565177AB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272" b="10065"/>
          <a:stretch/>
        </p:blipFill>
        <p:spPr>
          <a:xfrm>
            <a:off x="0" y="0"/>
            <a:ext cx="12192000" cy="6858000"/>
          </a:xfrm>
          <a:prstGeom prst="rect">
            <a:avLst/>
          </a:prstGeom>
        </p:spPr>
      </p:pic>
      <p:sp>
        <p:nvSpPr>
          <p:cNvPr id="6" name="Text Placeholder 9">
            <a:extLst>
              <a:ext uri="{FF2B5EF4-FFF2-40B4-BE49-F238E27FC236}">
                <a16:creationId xmlns:a16="http://schemas.microsoft.com/office/drawing/2014/main" id="{A40E5C83-D0EF-41C9-B25A-9036BE3D67B6}"/>
              </a:ext>
            </a:extLst>
          </p:cNvPr>
          <p:cNvSpPr>
            <a:spLocks noGrp="1"/>
          </p:cNvSpPr>
          <p:nvPr>
            <p:ph type="body" sz="quarter" idx="10" hasCustomPrompt="1"/>
          </p:nvPr>
        </p:nvSpPr>
        <p:spPr>
          <a:xfrm>
            <a:off x="4927600" y="5308600"/>
            <a:ext cx="6858000" cy="660400"/>
          </a:xfrm>
          <a:prstGeom prst="rect">
            <a:avLst/>
          </a:prstGeom>
        </p:spPr>
        <p:txBody>
          <a:bodyPr lIns="0" tIns="0" rIns="0" bIns="0" anchor="ctr"/>
          <a:lstStyle>
            <a:lvl1pPr marL="0" indent="0" algn="r">
              <a:buNone/>
              <a:defRPr sz="4000" b="1">
                <a:ln>
                  <a:solidFill>
                    <a:schemeClr val="accent1">
                      <a:shade val="50000"/>
                      <a:alpha val="64000"/>
                    </a:schemeClr>
                  </a:solidFill>
                </a:ln>
                <a:solidFill>
                  <a:schemeClr val="tx2">
                    <a:lumMod val="75000"/>
                  </a:schemeClr>
                </a:solidFill>
                <a:latin typeface="+mj-lt"/>
              </a:defRPr>
            </a:lvl1pPr>
          </a:lstStyle>
          <a:p>
            <a:pPr lvl="0"/>
            <a:r>
              <a:rPr lang="en-US"/>
              <a:t>ADD YOUR TEXT HERE</a:t>
            </a:r>
            <a:endParaRPr lang="en-IN"/>
          </a:p>
        </p:txBody>
      </p:sp>
      <p:sp>
        <p:nvSpPr>
          <p:cNvPr id="7" name="Text Placeholder 9">
            <a:extLst>
              <a:ext uri="{FF2B5EF4-FFF2-40B4-BE49-F238E27FC236}">
                <a16:creationId xmlns:a16="http://schemas.microsoft.com/office/drawing/2014/main" id="{D5CF3250-2101-4ED2-B02A-FF110E99783C}"/>
              </a:ext>
            </a:extLst>
          </p:cNvPr>
          <p:cNvSpPr>
            <a:spLocks noGrp="1"/>
          </p:cNvSpPr>
          <p:nvPr>
            <p:ph type="body" sz="quarter" idx="11" hasCustomPrompt="1"/>
          </p:nvPr>
        </p:nvSpPr>
        <p:spPr>
          <a:xfrm>
            <a:off x="4927600" y="5838092"/>
            <a:ext cx="6858000" cy="660400"/>
          </a:xfrm>
          <a:prstGeom prst="rect">
            <a:avLst/>
          </a:prstGeom>
        </p:spPr>
        <p:txBody>
          <a:bodyPr lIns="0" tIns="0" rIns="0" bIns="0" anchor="ctr"/>
          <a:lstStyle>
            <a:lvl1pPr marL="0" indent="0" algn="r">
              <a:buNone/>
              <a:defRPr sz="1600">
                <a:ln>
                  <a:noFill/>
                </a:ln>
                <a:solidFill>
                  <a:schemeClr val="tx2">
                    <a:lumMod val="75000"/>
                  </a:schemeClr>
                </a:solidFill>
                <a:latin typeface="+mn-lt"/>
              </a:defRPr>
            </a:lvl1pPr>
          </a:lstStyle>
          <a:p>
            <a:pPr lvl="0"/>
            <a:r>
              <a:rPr lang="en-US"/>
              <a:t>Your Subtext Goes here</a:t>
            </a:r>
            <a:endParaRPr lang="en-IN"/>
          </a:p>
        </p:txBody>
      </p:sp>
      <p:sp>
        <p:nvSpPr>
          <p:cNvPr id="10" name="TextBox 17">
            <a:extLst>
              <a:ext uri="{FF2B5EF4-FFF2-40B4-BE49-F238E27FC236}">
                <a16:creationId xmlns:a16="http://schemas.microsoft.com/office/drawing/2014/main" id="{F760C52C-F3B2-4C74-94AC-542F4896CDF1}"/>
              </a:ext>
            </a:extLst>
          </p:cNvPr>
          <p:cNvSpPr txBox="1"/>
          <p:nvPr userDrawn="1"/>
        </p:nvSpPr>
        <p:spPr>
          <a:xfrm>
            <a:off x="304800" y="6597683"/>
            <a:ext cx="964623" cy="117725"/>
          </a:xfrm>
          <a:prstGeom prst="rect">
            <a:avLst/>
          </a:prstGeom>
        </p:spPr>
        <p:txBody>
          <a:bodyPr lIns="0" tIns="0" rIns="0" bIns="0" rtlCol="0" anchor="ctr">
            <a:spAutoFit/>
          </a:bodyPr>
          <a:lstStyle/>
          <a:p>
            <a:pPr algn="ctr">
              <a:lnSpc>
                <a:spcPts val="1040"/>
              </a:lnSpc>
            </a:pPr>
            <a:r>
              <a:rPr lang="en-US" sz="800" spc="200">
                <a:solidFill>
                  <a:schemeClr val="tx2"/>
                </a:solidFill>
                <a:latin typeface="Helvetica Neue"/>
              </a:rPr>
              <a:t>CONFIDENTIAL</a:t>
            </a:r>
          </a:p>
        </p:txBody>
      </p:sp>
    </p:spTree>
    <p:extLst>
      <p:ext uri="{BB962C8B-B14F-4D97-AF65-F5344CB8AC3E}">
        <p14:creationId xmlns:p14="http://schemas.microsoft.com/office/powerpoint/2010/main" val="356119976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6B4904-4373-4149-AEF8-6DF534E9FC0B}"/>
              </a:ext>
            </a:extLst>
          </p:cNvPr>
          <p:cNvSpPr/>
          <p:nvPr userDrawn="1"/>
        </p:nvSpPr>
        <p:spPr>
          <a:xfrm>
            <a:off x="0" y="-1"/>
            <a:ext cx="12192000" cy="6858001"/>
          </a:xfrm>
          <a:prstGeom prst="rect">
            <a:avLst/>
          </a:prstGeom>
          <a:gradFill flip="none" rotWithShape="1">
            <a:gsLst>
              <a:gs pos="0">
                <a:srgbClr val="FDF8D7"/>
              </a:gs>
              <a:gs pos="28000">
                <a:schemeClr val="bg1"/>
              </a:gs>
              <a:gs pos="72000">
                <a:srgbClr val="FDF8D7"/>
              </a:gs>
            </a:gsLst>
            <a:lin ang="108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pic>
        <p:nvPicPr>
          <p:cNvPr id="15" name="Picture 14" descr="A plate of lemons&#10;&#10;Description automatically generated with low confidence">
            <a:extLst>
              <a:ext uri="{FF2B5EF4-FFF2-40B4-BE49-F238E27FC236}">
                <a16:creationId xmlns:a16="http://schemas.microsoft.com/office/drawing/2014/main" id="{305B8EC6-D016-47A1-AD87-C5B278E826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53200" y="698098"/>
            <a:ext cx="4365453" cy="4365453"/>
          </a:xfrm>
          <a:prstGeom prst="rect">
            <a:avLst/>
          </a:prstGeom>
        </p:spPr>
      </p:pic>
      <p:sp>
        <p:nvSpPr>
          <p:cNvPr id="11" name="Text Placeholder 9">
            <a:extLst>
              <a:ext uri="{FF2B5EF4-FFF2-40B4-BE49-F238E27FC236}">
                <a16:creationId xmlns:a16="http://schemas.microsoft.com/office/drawing/2014/main" id="{F5B75F74-CEBA-4D0B-A428-623FD2C94E20}"/>
              </a:ext>
            </a:extLst>
          </p:cNvPr>
          <p:cNvSpPr>
            <a:spLocks noGrp="1"/>
          </p:cNvSpPr>
          <p:nvPr>
            <p:ph type="body" sz="quarter" idx="10" hasCustomPrompt="1"/>
          </p:nvPr>
        </p:nvSpPr>
        <p:spPr>
          <a:xfrm>
            <a:off x="355601" y="2384495"/>
            <a:ext cx="4631267" cy="1166107"/>
          </a:xfrm>
          <a:prstGeom prst="rect">
            <a:avLst/>
          </a:prstGeom>
        </p:spPr>
        <p:txBody>
          <a:bodyPr lIns="0" rIns="0" anchor="ctr"/>
          <a:lstStyle>
            <a:lvl1pPr marL="0" indent="0" algn="l">
              <a:buNone/>
              <a:defRPr lang="en-IN" sz="2933" dirty="0">
                <a:solidFill>
                  <a:schemeClr val="tx2"/>
                </a:solidFill>
                <a:latin typeface="+mj-lt"/>
              </a:defRPr>
            </a:lvl1pPr>
          </a:lstStyle>
          <a:p>
            <a:pPr lvl="0"/>
            <a:r>
              <a:rPr lang="en-US"/>
              <a:t>ADD YOUR TEXT HERE</a:t>
            </a:r>
            <a:endParaRPr lang="en-IN"/>
          </a:p>
        </p:txBody>
      </p:sp>
      <p:sp>
        <p:nvSpPr>
          <p:cNvPr id="12" name="Text Placeholder 9">
            <a:extLst>
              <a:ext uri="{FF2B5EF4-FFF2-40B4-BE49-F238E27FC236}">
                <a16:creationId xmlns:a16="http://schemas.microsoft.com/office/drawing/2014/main" id="{BED4FF79-F2A0-4575-A0C1-486791E28981}"/>
              </a:ext>
            </a:extLst>
          </p:cNvPr>
          <p:cNvSpPr>
            <a:spLocks noGrp="1"/>
          </p:cNvSpPr>
          <p:nvPr>
            <p:ph type="body" sz="quarter" idx="11" hasCustomPrompt="1"/>
          </p:nvPr>
        </p:nvSpPr>
        <p:spPr>
          <a:xfrm>
            <a:off x="355601" y="3537297"/>
            <a:ext cx="4631267" cy="660400"/>
          </a:xfrm>
          <a:prstGeom prst="rect">
            <a:avLst/>
          </a:prstGeom>
        </p:spPr>
        <p:txBody>
          <a:bodyPr lIns="0" rIns="0" anchor="ctr"/>
          <a:lstStyle>
            <a:lvl1pPr marL="0" indent="0" algn="l">
              <a:buNone/>
              <a:defRPr lang="en-IN" dirty="0">
                <a:solidFill>
                  <a:schemeClr val="tx2"/>
                </a:solidFill>
                <a:latin typeface="+mn-lt"/>
              </a:defRPr>
            </a:lvl1pPr>
          </a:lstStyle>
          <a:p>
            <a:pPr lvl="0"/>
            <a:r>
              <a:rPr lang="en-US"/>
              <a:t>Your Subtext Goes here</a:t>
            </a:r>
            <a:endParaRPr lang="en-IN"/>
          </a:p>
        </p:txBody>
      </p:sp>
      <p:pic>
        <p:nvPicPr>
          <p:cNvPr id="13" name="Picture 3">
            <a:extLst>
              <a:ext uri="{FF2B5EF4-FFF2-40B4-BE49-F238E27FC236}">
                <a16:creationId xmlns:a16="http://schemas.microsoft.com/office/drawing/2014/main" id="{1BD4F3EB-CBB7-49A7-A868-C2583600277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21728" b="34815"/>
          <a:stretch/>
        </p:blipFill>
        <p:spPr>
          <a:xfrm>
            <a:off x="10918653" y="181148"/>
            <a:ext cx="1143400" cy="328700"/>
          </a:xfrm>
          <a:prstGeom prst="rect">
            <a:avLst/>
          </a:prstGeom>
        </p:spPr>
      </p:pic>
      <p:sp>
        <p:nvSpPr>
          <p:cNvPr id="18" name="TextBox 17">
            <a:extLst>
              <a:ext uri="{FF2B5EF4-FFF2-40B4-BE49-F238E27FC236}">
                <a16:creationId xmlns:a16="http://schemas.microsoft.com/office/drawing/2014/main" id="{D36A170A-6C4E-4EE9-A434-BE6649BA45EB}"/>
              </a:ext>
            </a:extLst>
          </p:cNvPr>
          <p:cNvSpPr txBox="1"/>
          <p:nvPr userDrawn="1"/>
        </p:nvSpPr>
        <p:spPr>
          <a:xfrm>
            <a:off x="304800" y="6597683"/>
            <a:ext cx="964623" cy="117725"/>
          </a:xfrm>
          <a:prstGeom prst="rect">
            <a:avLst/>
          </a:prstGeom>
        </p:spPr>
        <p:txBody>
          <a:bodyPr lIns="0" tIns="0" rIns="0" bIns="0" rtlCol="0" anchor="ctr">
            <a:spAutoFit/>
          </a:bodyPr>
          <a:lstStyle/>
          <a:p>
            <a:pPr algn="ctr">
              <a:lnSpc>
                <a:spcPts val="1040"/>
              </a:lnSpc>
            </a:pPr>
            <a:r>
              <a:rPr lang="en-US" sz="800" spc="200">
                <a:solidFill>
                  <a:schemeClr val="tx2"/>
                </a:solidFill>
                <a:latin typeface="Helvetica Neue"/>
              </a:rPr>
              <a:t>CONFIDENTIAL</a:t>
            </a:r>
          </a:p>
        </p:txBody>
      </p:sp>
      <p:pic>
        <p:nvPicPr>
          <p:cNvPr id="9" name="Picture 8" descr="A hand holding a bottle of milk&#10;&#10;Description automatically generated with low confidence">
            <a:extLst>
              <a:ext uri="{FF2B5EF4-FFF2-40B4-BE49-F238E27FC236}">
                <a16:creationId xmlns:a16="http://schemas.microsoft.com/office/drawing/2014/main" id="{BA827291-3ECF-461D-B860-37FB9259D10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229524" y="1426676"/>
            <a:ext cx="3962476" cy="5431325"/>
          </a:xfrm>
          <a:prstGeom prst="rect">
            <a:avLst/>
          </a:prstGeom>
        </p:spPr>
      </p:pic>
    </p:spTree>
    <p:extLst>
      <p:ext uri="{BB962C8B-B14F-4D97-AF65-F5344CB8AC3E}">
        <p14:creationId xmlns:p14="http://schemas.microsoft.com/office/powerpoint/2010/main" val="33796829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repeatCount="indefinite" accel="50000" decel="50000" autoRev="1" fill="hold" nodeType="withEffect">
                                  <p:stCondLst>
                                    <p:cond delay="0"/>
                                  </p:stCondLst>
                                  <p:childTnLst>
                                    <p:animMotion origin="layout" path="M -3.05556E-6 -1.7284E-6 L 0.00018 0.06513 " pathEditMode="relative" rAng="0" ptsTypes="AA">
                                      <p:cBhvr>
                                        <p:cTn id="6" dur="5000" fill="hold"/>
                                        <p:tgtEl>
                                          <p:spTgt spid="15"/>
                                        </p:tgtEl>
                                        <p:attrNameLst>
                                          <p:attrName>ppt_x</p:attrName>
                                          <p:attrName>ppt_y</p:attrName>
                                        </p:attrNameLst>
                                      </p:cBhvr>
                                      <p:rCtr x="9" y="325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ivider Sl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6B4904-4373-4149-AEF8-6DF534E9FC0B}"/>
              </a:ext>
            </a:extLst>
          </p:cNvPr>
          <p:cNvSpPr/>
          <p:nvPr userDrawn="1"/>
        </p:nvSpPr>
        <p:spPr>
          <a:xfrm>
            <a:off x="0" y="-1"/>
            <a:ext cx="12192000" cy="6858001"/>
          </a:xfrm>
          <a:prstGeom prst="rect">
            <a:avLst/>
          </a:prstGeom>
          <a:gradFill flip="none" rotWithShape="1">
            <a:gsLst>
              <a:gs pos="0">
                <a:schemeClr val="accent5"/>
              </a:gs>
              <a:gs pos="28000">
                <a:schemeClr val="bg1"/>
              </a:gs>
              <a:gs pos="72000">
                <a:srgbClr val="FCC5AA"/>
              </a:gs>
            </a:gsLst>
            <a:lin ang="108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pic>
        <p:nvPicPr>
          <p:cNvPr id="13" name="Picture 12" descr="A picture containing citrus, fruit, orange, half&#10;&#10;Description automatically generated">
            <a:extLst>
              <a:ext uri="{FF2B5EF4-FFF2-40B4-BE49-F238E27FC236}">
                <a16:creationId xmlns:a16="http://schemas.microsoft.com/office/drawing/2014/main" id="{E6439537-5BDE-4674-9ECC-395CDE1925B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82478" y="633656"/>
            <a:ext cx="4445000" cy="4445000"/>
          </a:xfrm>
          <a:prstGeom prst="rect">
            <a:avLst/>
          </a:prstGeom>
        </p:spPr>
      </p:pic>
      <p:sp>
        <p:nvSpPr>
          <p:cNvPr id="14" name="TextBox 17">
            <a:extLst>
              <a:ext uri="{FF2B5EF4-FFF2-40B4-BE49-F238E27FC236}">
                <a16:creationId xmlns:a16="http://schemas.microsoft.com/office/drawing/2014/main" id="{2E045464-6F97-4EE4-8694-A57A97322163}"/>
              </a:ext>
            </a:extLst>
          </p:cNvPr>
          <p:cNvSpPr txBox="1"/>
          <p:nvPr userDrawn="1"/>
        </p:nvSpPr>
        <p:spPr>
          <a:xfrm>
            <a:off x="304800" y="6597683"/>
            <a:ext cx="964623" cy="117725"/>
          </a:xfrm>
          <a:prstGeom prst="rect">
            <a:avLst/>
          </a:prstGeom>
        </p:spPr>
        <p:txBody>
          <a:bodyPr lIns="0" tIns="0" rIns="0" bIns="0" rtlCol="0" anchor="ctr">
            <a:spAutoFit/>
          </a:bodyPr>
          <a:lstStyle/>
          <a:p>
            <a:pPr algn="ctr">
              <a:lnSpc>
                <a:spcPts val="1040"/>
              </a:lnSpc>
            </a:pPr>
            <a:r>
              <a:rPr lang="en-US" sz="800" spc="200">
                <a:solidFill>
                  <a:srgbClr val="808285"/>
                </a:solidFill>
                <a:latin typeface="Helvetica Neue"/>
              </a:rPr>
              <a:t>CONFIDENTIAL</a:t>
            </a:r>
          </a:p>
        </p:txBody>
      </p:sp>
      <p:sp>
        <p:nvSpPr>
          <p:cNvPr id="9" name="Text Placeholder 9">
            <a:extLst>
              <a:ext uri="{FF2B5EF4-FFF2-40B4-BE49-F238E27FC236}">
                <a16:creationId xmlns:a16="http://schemas.microsoft.com/office/drawing/2014/main" id="{C20EBC86-0DC5-479C-AB19-C8812BF145D7}"/>
              </a:ext>
            </a:extLst>
          </p:cNvPr>
          <p:cNvSpPr>
            <a:spLocks noGrp="1"/>
          </p:cNvSpPr>
          <p:nvPr>
            <p:ph type="body" sz="quarter" idx="10" hasCustomPrompt="1"/>
          </p:nvPr>
        </p:nvSpPr>
        <p:spPr>
          <a:xfrm>
            <a:off x="355601" y="2384495"/>
            <a:ext cx="4631267" cy="1166107"/>
          </a:xfrm>
          <a:prstGeom prst="rect">
            <a:avLst/>
          </a:prstGeom>
        </p:spPr>
        <p:txBody>
          <a:bodyPr lIns="0" rIns="0" anchor="ctr"/>
          <a:lstStyle>
            <a:lvl1pPr marL="0" indent="0" algn="l">
              <a:buNone/>
              <a:defRPr lang="en-IN" sz="2933" dirty="0">
                <a:solidFill>
                  <a:schemeClr val="tx2"/>
                </a:solidFill>
                <a:latin typeface="+mj-lt"/>
              </a:defRPr>
            </a:lvl1pPr>
          </a:lstStyle>
          <a:p>
            <a:pPr lvl="0"/>
            <a:r>
              <a:rPr lang="en-US"/>
              <a:t>ADD YOUR TEXT HERE</a:t>
            </a:r>
            <a:endParaRPr lang="en-IN"/>
          </a:p>
        </p:txBody>
      </p:sp>
      <p:sp>
        <p:nvSpPr>
          <p:cNvPr id="10" name="Text Placeholder 9">
            <a:extLst>
              <a:ext uri="{FF2B5EF4-FFF2-40B4-BE49-F238E27FC236}">
                <a16:creationId xmlns:a16="http://schemas.microsoft.com/office/drawing/2014/main" id="{6BC8666C-E785-4D31-AB5B-6C1A5969BFA8}"/>
              </a:ext>
            </a:extLst>
          </p:cNvPr>
          <p:cNvSpPr>
            <a:spLocks noGrp="1"/>
          </p:cNvSpPr>
          <p:nvPr>
            <p:ph type="body" sz="quarter" idx="11" hasCustomPrompt="1"/>
          </p:nvPr>
        </p:nvSpPr>
        <p:spPr>
          <a:xfrm>
            <a:off x="355601" y="3537297"/>
            <a:ext cx="4631267" cy="660400"/>
          </a:xfrm>
          <a:prstGeom prst="rect">
            <a:avLst/>
          </a:prstGeom>
        </p:spPr>
        <p:txBody>
          <a:bodyPr lIns="0" rIns="0" anchor="ctr"/>
          <a:lstStyle>
            <a:lvl1pPr marL="0" indent="0" algn="l">
              <a:buNone/>
              <a:defRPr lang="en-IN" dirty="0">
                <a:solidFill>
                  <a:schemeClr val="tx2"/>
                </a:solidFill>
                <a:latin typeface="+mn-lt"/>
              </a:defRPr>
            </a:lvl1pPr>
          </a:lstStyle>
          <a:p>
            <a:pPr lvl="0"/>
            <a:r>
              <a:rPr lang="en-US"/>
              <a:t>Your Subtext Goes here</a:t>
            </a:r>
            <a:endParaRPr lang="en-IN"/>
          </a:p>
        </p:txBody>
      </p:sp>
      <p:pic>
        <p:nvPicPr>
          <p:cNvPr id="15" name="Picture 14" descr="A hand holding a bottle of milk&#10;&#10;Description automatically generated with low confidence">
            <a:extLst>
              <a:ext uri="{FF2B5EF4-FFF2-40B4-BE49-F238E27FC236}">
                <a16:creationId xmlns:a16="http://schemas.microsoft.com/office/drawing/2014/main" id="{9C76B0F0-10C7-49B4-A1D1-BB27C21098A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29524" y="1426676"/>
            <a:ext cx="3962476" cy="5431325"/>
          </a:xfrm>
          <a:prstGeom prst="rect">
            <a:avLst/>
          </a:prstGeom>
        </p:spPr>
      </p:pic>
      <p:pic>
        <p:nvPicPr>
          <p:cNvPr id="11" name="Picture 3">
            <a:extLst>
              <a:ext uri="{FF2B5EF4-FFF2-40B4-BE49-F238E27FC236}">
                <a16:creationId xmlns:a16="http://schemas.microsoft.com/office/drawing/2014/main" id="{21D01F89-B501-439D-A25A-6D5717BC355A}"/>
              </a:ext>
            </a:extLst>
          </p:cNvPr>
          <p:cNvPicPr>
            <a:picLocks noChangeAspect="1"/>
          </p:cNvPicPr>
          <p:nvPr userDrawn="1"/>
        </p:nvPicPr>
        <p:blipFill rotWithShape="1">
          <a:blip r:embed="rId4" cstate="screen">
            <a:biLevel thresh="25000"/>
            <a:extLst>
              <a:ext uri="{28A0092B-C50C-407E-A947-70E740481C1C}">
                <a14:useLocalDpi xmlns:a14="http://schemas.microsoft.com/office/drawing/2010/main"/>
              </a:ext>
            </a:extLst>
          </a:blip>
          <a:srcRect t="21728" b="34815"/>
          <a:stretch/>
        </p:blipFill>
        <p:spPr>
          <a:xfrm>
            <a:off x="10918653" y="181148"/>
            <a:ext cx="1143400" cy="328700"/>
          </a:xfrm>
          <a:prstGeom prst="rect">
            <a:avLst/>
          </a:prstGeom>
        </p:spPr>
      </p:pic>
    </p:spTree>
    <p:extLst>
      <p:ext uri="{BB962C8B-B14F-4D97-AF65-F5344CB8AC3E}">
        <p14:creationId xmlns:p14="http://schemas.microsoft.com/office/powerpoint/2010/main" val="900956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repeatCount="indefinite" accel="50000" decel="50000" autoRev="1" fill="hold" nodeType="withEffect">
                                  <p:stCondLst>
                                    <p:cond delay="0"/>
                                  </p:stCondLst>
                                  <p:childTnLst>
                                    <p:animMotion origin="layout" path="M -1.94444E-6 -2.34568E-6 L -0.00121 0.05386 " pathEditMode="relative" rAng="0" ptsTypes="AA">
                                      <p:cBhvr>
                                        <p:cTn id="6" dur="5000" fill="hold"/>
                                        <p:tgtEl>
                                          <p:spTgt spid="13"/>
                                        </p:tgtEl>
                                        <p:attrNameLst>
                                          <p:attrName>ppt_x</p:attrName>
                                          <p:attrName>ppt_y</p:attrName>
                                        </p:attrNameLst>
                                      </p:cBhvr>
                                      <p:rCtr x="-61" y="268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vider Slide 4">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6B4904-4373-4149-AEF8-6DF534E9FC0B}"/>
              </a:ext>
            </a:extLst>
          </p:cNvPr>
          <p:cNvSpPr/>
          <p:nvPr userDrawn="1"/>
        </p:nvSpPr>
        <p:spPr>
          <a:xfrm>
            <a:off x="0" y="-1"/>
            <a:ext cx="12192000" cy="6858001"/>
          </a:xfrm>
          <a:prstGeom prst="rect">
            <a:avLst/>
          </a:prstGeom>
          <a:gradFill flip="none" rotWithShape="1">
            <a:gsLst>
              <a:gs pos="0">
                <a:schemeClr val="accent4"/>
              </a:gs>
              <a:gs pos="28000">
                <a:schemeClr val="bg1"/>
              </a:gs>
              <a:gs pos="72000">
                <a:srgbClr val="DFE9AD"/>
              </a:gs>
            </a:gsLst>
            <a:lin ang="108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pic>
        <p:nvPicPr>
          <p:cNvPr id="7" name="Picture 6" descr="A picture containing nature, rain&#10;&#10;Description automatically generated">
            <a:extLst>
              <a:ext uri="{FF2B5EF4-FFF2-40B4-BE49-F238E27FC236}">
                <a16:creationId xmlns:a16="http://schemas.microsoft.com/office/drawing/2014/main" id="{FC34D523-E27D-4D5E-8134-83A9763ECE8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16486" y="660400"/>
            <a:ext cx="4546600" cy="4546600"/>
          </a:xfrm>
          <a:prstGeom prst="rect">
            <a:avLst/>
          </a:prstGeom>
        </p:spPr>
      </p:pic>
      <p:sp>
        <p:nvSpPr>
          <p:cNvPr id="13" name="TextBox 17">
            <a:extLst>
              <a:ext uri="{FF2B5EF4-FFF2-40B4-BE49-F238E27FC236}">
                <a16:creationId xmlns:a16="http://schemas.microsoft.com/office/drawing/2014/main" id="{CB9DE1A8-74CD-4EBC-9849-1CCB02EACA68}"/>
              </a:ext>
            </a:extLst>
          </p:cNvPr>
          <p:cNvSpPr txBox="1"/>
          <p:nvPr userDrawn="1"/>
        </p:nvSpPr>
        <p:spPr>
          <a:xfrm>
            <a:off x="304800" y="6597683"/>
            <a:ext cx="964623" cy="117725"/>
          </a:xfrm>
          <a:prstGeom prst="rect">
            <a:avLst/>
          </a:prstGeom>
        </p:spPr>
        <p:txBody>
          <a:bodyPr lIns="0" tIns="0" rIns="0" bIns="0" rtlCol="0" anchor="ctr">
            <a:spAutoFit/>
          </a:bodyPr>
          <a:lstStyle/>
          <a:p>
            <a:pPr algn="ctr">
              <a:lnSpc>
                <a:spcPts val="1040"/>
              </a:lnSpc>
            </a:pPr>
            <a:r>
              <a:rPr lang="en-US" sz="800" spc="200">
                <a:solidFill>
                  <a:srgbClr val="808285"/>
                </a:solidFill>
                <a:latin typeface="Helvetica Neue"/>
              </a:rPr>
              <a:t>CONFIDENTIAL</a:t>
            </a:r>
          </a:p>
        </p:txBody>
      </p:sp>
      <p:sp>
        <p:nvSpPr>
          <p:cNvPr id="10" name="Text Placeholder 9">
            <a:extLst>
              <a:ext uri="{FF2B5EF4-FFF2-40B4-BE49-F238E27FC236}">
                <a16:creationId xmlns:a16="http://schemas.microsoft.com/office/drawing/2014/main" id="{DA308AB1-D206-4CAC-9316-5FA54E985A31}"/>
              </a:ext>
            </a:extLst>
          </p:cNvPr>
          <p:cNvSpPr>
            <a:spLocks noGrp="1"/>
          </p:cNvSpPr>
          <p:nvPr>
            <p:ph type="body" sz="quarter" idx="10" hasCustomPrompt="1"/>
          </p:nvPr>
        </p:nvSpPr>
        <p:spPr>
          <a:xfrm>
            <a:off x="355601" y="2384495"/>
            <a:ext cx="4631267" cy="1166107"/>
          </a:xfrm>
          <a:prstGeom prst="rect">
            <a:avLst/>
          </a:prstGeom>
        </p:spPr>
        <p:txBody>
          <a:bodyPr lIns="0" rIns="0" anchor="ctr"/>
          <a:lstStyle>
            <a:lvl1pPr marL="0" indent="0" algn="l">
              <a:buNone/>
              <a:defRPr lang="en-IN" sz="2933" dirty="0">
                <a:solidFill>
                  <a:schemeClr val="tx2"/>
                </a:solidFill>
                <a:latin typeface="+mj-lt"/>
              </a:defRPr>
            </a:lvl1pPr>
          </a:lstStyle>
          <a:p>
            <a:pPr lvl="0"/>
            <a:r>
              <a:rPr lang="en-US"/>
              <a:t>ADD YOUR TEXT HERE</a:t>
            </a:r>
            <a:endParaRPr lang="en-IN"/>
          </a:p>
        </p:txBody>
      </p:sp>
      <p:sp>
        <p:nvSpPr>
          <p:cNvPr id="14" name="Text Placeholder 9">
            <a:extLst>
              <a:ext uri="{FF2B5EF4-FFF2-40B4-BE49-F238E27FC236}">
                <a16:creationId xmlns:a16="http://schemas.microsoft.com/office/drawing/2014/main" id="{A3FA3692-5CFD-4C3F-AE42-969D372B3496}"/>
              </a:ext>
            </a:extLst>
          </p:cNvPr>
          <p:cNvSpPr>
            <a:spLocks noGrp="1"/>
          </p:cNvSpPr>
          <p:nvPr>
            <p:ph type="body" sz="quarter" idx="11" hasCustomPrompt="1"/>
          </p:nvPr>
        </p:nvSpPr>
        <p:spPr>
          <a:xfrm>
            <a:off x="355601" y="3537297"/>
            <a:ext cx="4631267" cy="660400"/>
          </a:xfrm>
          <a:prstGeom prst="rect">
            <a:avLst/>
          </a:prstGeom>
        </p:spPr>
        <p:txBody>
          <a:bodyPr lIns="0" rIns="0" anchor="ctr"/>
          <a:lstStyle>
            <a:lvl1pPr marL="0" indent="0" algn="l">
              <a:buNone/>
              <a:defRPr lang="en-IN" dirty="0">
                <a:solidFill>
                  <a:schemeClr val="tx2"/>
                </a:solidFill>
                <a:latin typeface="+mn-lt"/>
              </a:defRPr>
            </a:lvl1pPr>
          </a:lstStyle>
          <a:p>
            <a:pPr lvl="0"/>
            <a:r>
              <a:rPr lang="en-US"/>
              <a:t>Your Subtext Goes here</a:t>
            </a:r>
            <a:endParaRPr lang="en-IN"/>
          </a:p>
        </p:txBody>
      </p:sp>
      <p:pic>
        <p:nvPicPr>
          <p:cNvPr id="15" name="Picture 14" descr="A hand holding a bottle of milk&#10;&#10;Description automatically generated with low confidence">
            <a:extLst>
              <a:ext uri="{FF2B5EF4-FFF2-40B4-BE49-F238E27FC236}">
                <a16:creationId xmlns:a16="http://schemas.microsoft.com/office/drawing/2014/main" id="{CC837DAF-A6F5-4156-94EE-F9D8523EE68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29524" y="1426676"/>
            <a:ext cx="3962476" cy="5431325"/>
          </a:xfrm>
          <a:prstGeom prst="rect">
            <a:avLst/>
          </a:prstGeom>
        </p:spPr>
      </p:pic>
      <p:pic>
        <p:nvPicPr>
          <p:cNvPr id="11" name="Picture 3">
            <a:extLst>
              <a:ext uri="{FF2B5EF4-FFF2-40B4-BE49-F238E27FC236}">
                <a16:creationId xmlns:a16="http://schemas.microsoft.com/office/drawing/2014/main" id="{84A9C1DF-EA15-468F-923D-39BDA4D69D0A}"/>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21728" b="34815"/>
          <a:stretch/>
        </p:blipFill>
        <p:spPr>
          <a:xfrm>
            <a:off x="10918653" y="181148"/>
            <a:ext cx="1143400" cy="328700"/>
          </a:xfrm>
          <a:prstGeom prst="rect">
            <a:avLst/>
          </a:prstGeom>
        </p:spPr>
      </p:pic>
    </p:spTree>
    <p:extLst>
      <p:ext uri="{BB962C8B-B14F-4D97-AF65-F5344CB8AC3E}">
        <p14:creationId xmlns:p14="http://schemas.microsoft.com/office/powerpoint/2010/main" val="15569048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repeatCount="indefinite" accel="50000" decel="50000" autoRev="1" fill="hold" nodeType="withEffect">
                                  <p:stCondLst>
                                    <p:cond delay="0"/>
                                  </p:stCondLst>
                                  <p:childTnLst>
                                    <p:animMotion origin="layout" path="M -4.16667E-7 2.22222E-6 L -0.00026 0.04259 " pathEditMode="relative" rAng="0" ptsTypes="AA">
                                      <p:cBhvr>
                                        <p:cTn id="6" dur="5000" fill="hold"/>
                                        <p:tgtEl>
                                          <p:spTgt spid="7"/>
                                        </p:tgtEl>
                                        <p:attrNameLst>
                                          <p:attrName>ppt_x</p:attrName>
                                          <p:attrName>ppt_y</p:attrName>
                                        </p:attrNameLst>
                                      </p:cBhvr>
                                      <p:rCtr x="-17" y="213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ivider Slide 5">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6B4904-4373-4149-AEF8-6DF534E9FC0B}"/>
              </a:ext>
            </a:extLst>
          </p:cNvPr>
          <p:cNvSpPr/>
          <p:nvPr userDrawn="1"/>
        </p:nvSpPr>
        <p:spPr>
          <a:xfrm>
            <a:off x="0" y="-1"/>
            <a:ext cx="12192000" cy="6858001"/>
          </a:xfrm>
          <a:prstGeom prst="rect">
            <a:avLst/>
          </a:prstGeom>
          <a:gradFill flip="none" rotWithShape="1">
            <a:gsLst>
              <a:gs pos="0">
                <a:schemeClr val="accent6"/>
              </a:gs>
              <a:gs pos="28000">
                <a:srgbClr val="F4A2AA"/>
              </a:gs>
              <a:gs pos="72000">
                <a:schemeClr val="accent6"/>
              </a:gs>
            </a:gsLst>
            <a:lin ang="108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pic>
        <p:nvPicPr>
          <p:cNvPr id="3" name="Picture 2">
            <a:extLst>
              <a:ext uri="{FF2B5EF4-FFF2-40B4-BE49-F238E27FC236}">
                <a16:creationId xmlns:a16="http://schemas.microsoft.com/office/drawing/2014/main" id="{B6B344A8-F42D-4A90-9BC4-754143BDAAB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53200" y="718417"/>
            <a:ext cx="4140200" cy="4140200"/>
          </a:xfrm>
          <a:prstGeom prst="rect">
            <a:avLst/>
          </a:prstGeom>
        </p:spPr>
      </p:pic>
      <p:pic>
        <p:nvPicPr>
          <p:cNvPr id="6" name="Picture 5" descr="A hand holding a bottle of milk&#10;&#10;Description automatically generated with low confidence">
            <a:extLst>
              <a:ext uri="{FF2B5EF4-FFF2-40B4-BE49-F238E27FC236}">
                <a16:creationId xmlns:a16="http://schemas.microsoft.com/office/drawing/2014/main" id="{6224FCB5-DD79-4B7D-8500-5B5169EF835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29524" y="1426676"/>
            <a:ext cx="3962476" cy="5431325"/>
          </a:xfrm>
          <a:prstGeom prst="rect">
            <a:avLst/>
          </a:prstGeom>
        </p:spPr>
      </p:pic>
      <p:sp>
        <p:nvSpPr>
          <p:cNvPr id="10" name="TextBox 17">
            <a:extLst>
              <a:ext uri="{FF2B5EF4-FFF2-40B4-BE49-F238E27FC236}">
                <a16:creationId xmlns:a16="http://schemas.microsoft.com/office/drawing/2014/main" id="{F623FEA3-6A4A-40E5-8F70-09B35126B155}"/>
              </a:ext>
            </a:extLst>
          </p:cNvPr>
          <p:cNvSpPr txBox="1"/>
          <p:nvPr userDrawn="1"/>
        </p:nvSpPr>
        <p:spPr>
          <a:xfrm>
            <a:off x="304800" y="6597683"/>
            <a:ext cx="964623" cy="117725"/>
          </a:xfrm>
          <a:prstGeom prst="rect">
            <a:avLst/>
          </a:prstGeom>
        </p:spPr>
        <p:txBody>
          <a:bodyPr lIns="0" tIns="0" rIns="0" bIns="0" rtlCol="0" anchor="ctr">
            <a:spAutoFit/>
          </a:bodyPr>
          <a:lstStyle/>
          <a:p>
            <a:pPr algn="ctr">
              <a:lnSpc>
                <a:spcPts val="1040"/>
              </a:lnSpc>
            </a:pPr>
            <a:r>
              <a:rPr lang="en-US" sz="800" spc="200">
                <a:solidFill>
                  <a:schemeClr val="bg1"/>
                </a:solidFill>
                <a:latin typeface="Helvetica Neue"/>
              </a:rPr>
              <a:t>CONFIDENTIAL</a:t>
            </a:r>
          </a:p>
        </p:txBody>
      </p:sp>
      <p:sp>
        <p:nvSpPr>
          <p:cNvPr id="9" name="Text Placeholder 9">
            <a:extLst>
              <a:ext uri="{FF2B5EF4-FFF2-40B4-BE49-F238E27FC236}">
                <a16:creationId xmlns:a16="http://schemas.microsoft.com/office/drawing/2014/main" id="{68E42F84-B82B-4939-9B75-218CFA9A0A20}"/>
              </a:ext>
            </a:extLst>
          </p:cNvPr>
          <p:cNvSpPr>
            <a:spLocks noGrp="1"/>
          </p:cNvSpPr>
          <p:nvPr>
            <p:ph type="body" sz="quarter" idx="10" hasCustomPrompt="1"/>
          </p:nvPr>
        </p:nvSpPr>
        <p:spPr>
          <a:xfrm>
            <a:off x="355601" y="2384495"/>
            <a:ext cx="4631267" cy="1166107"/>
          </a:xfrm>
          <a:prstGeom prst="rect">
            <a:avLst/>
          </a:prstGeom>
        </p:spPr>
        <p:txBody>
          <a:bodyPr lIns="0" rIns="0" anchor="ctr"/>
          <a:lstStyle>
            <a:lvl1pPr marL="0" indent="0" algn="l">
              <a:buNone/>
              <a:defRPr lang="en-IN" sz="2933" dirty="0">
                <a:solidFill>
                  <a:schemeClr val="bg1"/>
                </a:solidFill>
                <a:latin typeface="+mj-lt"/>
              </a:defRPr>
            </a:lvl1pPr>
          </a:lstStyle>
          <a:p>
            <a:pPr lvl="0"/>
            <a:r>
              <a:rPr lang="en-US"/>
              <a:t>ADD YOUR TEXT HERE</a:t>
            </a:r>
            <a:endParaRPr lang="en-IN"/>
          </a:p>
        </p:txBody>
      </p:sp>
      <p:sp>
        <p:nvSpPr>
          <p:cNvPr id="14" name="Text Placeholder 9">
            <a:extLst>
              <a:ext uri="{FF2B5EF4-FFF2-40B4-BE49-F238E27FC236}">
                <a16:creationId xmlns:a16="http://schemas.microsoft.com/office/drawing/2014/main" id="{A88F974B-CD6C-47A8-A81A-77A2F78D5B41}"/>
              </a:ext>
            </a:extLst>
          </p:cNvPr>
          <p:cNvSpPr>
            <a:spLocks noGrp="1"/>
          </p:cNvSpPr>
          <p:nvPr>
            <p:ph type="body" sz="quarter" idx="11" hasCustomPrompt="1"/>
          </p:nvPr>
        </p:nvSpPr>
        <p:spPr>
          <a:xfrm>
            <a:off x="355601" y="3537297"/>
            <a:ext cx="4631267" cy="660400"/>
          </a:xfrm>
          <a:prstGeom prst="rect">
            <a:avLst/>
          </a:prstGeom>
        </p:spPr>
        <p:txBody>
          <a:bodyPr lIns="0" rIns="0" anchor="ctr"/>
          <a:lstStyle>
            <a:lvl1pPr marL="0" indent="0" algn="l">
              <a:buNone/>
              <a:defRPr lang="en-IN" dirty="0">
                <a:solidFill>
                  <a:schemeClr val="bg1"/>
                </a:solidFill>
                <a:latin typeface="+mn-lt"/>
              </a:defRPr>
            </a:lvl1pPr>
          </a:lstStyle>
          <a:p>
            <a:pPr lvl="0"/>
            <a:r>
              <a:rPr lang="en-US"/>
              <a:t>Your Subtext Goes here</a:t>
            </a:r>
            <a:endParaRPr lang="en-IN"/>
          </a:p>
        </p:txBody>
      </p:sp>
      <p:pic>
        <p:nvPicPr>
          <p:cNvPr id="11" name="Picture 3">
            <a:extLst>
              <a:ext uri="{FF2B5EF4-FFF2-40B4-BE49-F238E27FC236}">
                <a16:creationId xmlns:a16="http://schemas.microsoft.com/office/drawing/2014/main" id="{5E2BEB36-9DD5-4895-A4C1-9FC0E97E748F}"/>
              </a:ext>
            </a:extLst>
          </p:cNvPr>
          <p:cNvPicPr>
            <a:picLocks noChangeAspect="1"/>
          </p:cNvPicPr>
          <p:nvPr userDrawn="1"/>
        </p:nvPicPr>
        <p:blipFill rotWithShape="1">
          <a:blip r:embed="rId4" cstate="screen">
            <a:biLevel thresh="25000"/>
            <a:extLst>
              <a:ext uri="{28A0092B-C50C-407E-A947-70E740481C1C}">
                <a14:useLocalDpi xmlns:a14="http://schemas.microsoft.com/office/drawing/2010/main"/>
              </a:ext>
            </a:extLst>
          </a:blip>
          <a:srcRect t="21728" b="34815"/>
          <a:stretch/>
        </p:blipFill>
        <p:spPr>
          <a:xfrm>
            <a:off x="10918653" y="181148"/>
            <a:ext cx="1143400" cy="328700"/>
          </a:xfrm>
          <a:prstGeom prst="rect">
            <a:avLst/>
          </a:prstGeom>
        </p:spPr>
      </p:pic>
    </p:spTree>
    <p:extLst>
      <p:ext uri="{BB962C8B-B14F-4D97-AF65-F5344CB8AC3E}">
        <p14:creationId xmlns:p14="http://schemas.microsoft.com/office/powerpoint/2010/main" val="15686726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repeatCount="indefinite" accel="50000" autoRev="1" fill="hold" nodeType="withEffect">
                                  <p:stCondLst>
                                    <p:cond delay="0"/>
                                  </p:stCondLst>
                                  <p:childTnLst>
                                    <p:animMotion origin="layout" path="M -0.00312 0.07855 L -0.00312 0.1304 " pathEditMode="relative" rAng="0" ptsTypes="AA">
                                      <p:cBhvr>
                                        <p:cTn id="6" dur="5000" fill="hold"/>
                                        <p:tgtEl>
                                          <p:spTgt spid="3"/>
                                        </p:tgtEl>
                                        <p:attrNameLst>
                                          <p:attrName>ppt_x</p:attrName>
                                          <p:attrName>ppt_y</p:attrName>
                                        </p:attrNameLst>
                                      </p:cBhvr>
                                      <p:rCtr x="0" y="259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ustom Layout ">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314025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0-Cover">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306A473-E852-43C8-8FFD-BB83C54C89B6}"/>
              </a:ext>
            </a:extLst>
          </p:cNvPr>
          <p:cNvGraphicFramePr>
            <a:graphicFrameLocks noChangeAspect="1"/>
          </p:cNvGraphicFramePr>
          <p:nvPr userDrawn="1">
            <p:custDataLst>
              <p:tags r:id="rId1"/>
            </p:custDataLst>
            <p:extLst>
              <p:ext uri="{D42A27DB-BD31-4B8C-83A1-F6EECF244321}">
                <p14:modId xmlns:p14="http://schemas.microsoft.com/office/powerpoint/2010/main" val="2635050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2306A473-E852-43C8-8FFD-BB83C54C8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ext Placeholder 3">
            <a:extLst>
              <a:ext uri="{FF2B5EF4-FFF2-40B4-BE49-F238E27FC236}">
                <a16:creationId xmlns:a16="http://schemas.microsoft.com/office/drawing/2014/main" id="{E1DB7FFB-0514-4ED8-B320-3C5958DF4B7F}"/>
              </a:ext>
            </a:extLst>
          </p:cNvPr>
          <p:cNvSpPr>
            <a:spLocks noGrp="1"/>
          </p:cNvSpPr>
          <p:nvPr>
            <p:ph type="body" sz="quarter" idx="15" hasCustomPrompt="1"/>
          </p:nvPr>
        </p:nvSpPr>
        <p:spPr>
          <a:xfrm>
            <a:off x="3657600" y="2539904"/>
            <a:ext cx="4876800" cy="1218795"/>
          </a:xfrm>
          <a:prstGeom prst="rect">
            <a:avLst/>
          </a:prstGeom>
        </p:spPr>
        <p:txBody>
          <a:bodyPr lIns="0" tIns="0" rIns="0" bIns="0">
            <a:spAutoFit/>
          </a:bodyPr>
          <a:lstStyle>
            <a:lvl1pPr marL="7938" indent="-7938" algn="ctr" rtl="0">
              <a:spcBef>
                <a:spcPts val="0"/>
              </a:spcBef>
              <a:buNone/>
              <a:tabLst/>
              <a:defRPr sz="4400" b="1" i="0">
                <a:solidFill>
                  <a:schemeClr val="bg1"/>
                </a:solidFill>
                <a:latin typeface="Leelawadee" panose="020B0502040204020203" pitchFamily="34" charset="-34"/>
                <a:cs typeface="Leelawadee" panose="020B0502040204020203" pitchFamily="34" charset="-34"/>
              </a:defRPr>
            </a:lvl1pPr>
          </a:lstStyle>
          <a:p>
            <a:pPr lvl="0"/>
            <a:r>
              <a:rPr lang="en-US" noProof="0"/>
              <a:t>PepsiCo Positive</a:t>
            </a:r>
          </a:p>
          <a:p>
            <a:pPr lvl="0"/>
            <a:r>
              <a:rPr lang="en-US" noProof="0"/>
              <a:t>Template</a:t>
            </a:r>
          </a:p>
        </p:txBody>
      </p:sp>
      <p:pic>
        <p:nvPicPr>
          <p:cNvPr id="12" name="Picture 11" descr="Logo&#10;&#10;Description automatically generated">
            <a:extLst>
              <a:ext uri="{FF2B5EF4-FFF2-40B4-BE49-F238E27FC236}">
                <a16:creationId xmlns:a16="http://schemas.microsoft.com/office/drawing/2014/main" id="{FF61DBF5-B6A6-46F1-B618-2D00C743E24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064837" y="4082711"/>
            <a:ext cx="2062327" cy="966297"/>
          </a:xfrm>
          <a:prstGeom prst="rect">
            <a:avLst/>
          </a:prstGeom>
        </p:spPr>
      </p:pic>
    </p:spTree>
    <p:extLst>
      <p:ext uri="{BB962C8B-B14F-4D97-AF65-F5344CB8AC3E}">
        <p14:creationId xmlns:p14="http://schemas.microsoft.com/office/powerpoint/2010/main" val="125295810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0-Base-PeP+">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BEE2250-657D-4F69-894E-9C87094AE811}"/>
              </a:ext>
            </a:extLst>
          </p:cNvPr>
          <p:cNvGraphicFramePr>
            <a:graphicFrameLocks noChangeAspect="1"/>
          </p:cNvGraphicFramePr>
          <p:nvPr userDrawn="1">
            <p:custDataLst>
              <p:tags r:id="rId1"/>
            </p:custDataLst>
            <p:extLst>
              <p:ext uri="{D42A27DB-BD31-4B8C-83A1-F6EECF244321}">
                <p14:modId xmlns:p14="http://schemas.microsoft.com/office/powerpoint/2010/main" val="259963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1" name="Object 10" hidden="1">
                        <a:extLst>
                          <a:ext uri="{FF2B5EF4-FFF2-40B4-BE49-F238E27FC236}">
                            <a16:creationId xmlns:a16="http://schemas.microsoft.com/office/drawing/2014/main" id="{5BEE2250-657D-4F69-894E-9C87094AE8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6" name="Rectangle 75">
            <a:extLst>
              <a:ext uri="{FF2B5EF4-FFF2-40B4-BE49-F238E27FC236}">
                <a16:creationId xmlns:a16="http://schemas.microsoft.com/office/drawing/2014/main" id="{8CF62913-298D-4A3A-895A-E4D7FE557420}"/>
              </a:ext>
            </a:extLst>
          </p:cNvPr>
          <p:cNvSpPr/>
          <p:nvPr userDrawn="1"/>
        </p:nvSpPr>
        <p:spPr>
          <a:xfrm>
            <a:off x="0" y="6570000"/>
            <a:ext cx="12192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100" noProof="0"/>
          </a:p>
        </p:txBody>
      </p:sp>
      <p:cxnSp>
        <p:nvCxnSpPr>
          <p:cNvPr id="81" name="Straight Connector 80">
            <a:extLst>
              <a:ext uri="{FF2B5EF4-FFF2-40B4-BE49-F238E27FC236}">
                <a16:creationId xmlns:a16="http://schemas.microsoft.com/office/drawing/2014/main" id="{EB672B73-403A-432D-BFC7-AE9B433332D4}"/>
              </a:ext>
            </a:extLst>
          </p:cNvPr>
          <p:cNvCxnSpPr/>
          <p:nvPr userDrawn="1"/>
        </p:nvCxnSpPr>
        <p:spPr>
          <a:xfrm>
            <a:off x="634587" y="6570000"/>
            <a:ext cx="0" cy="288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E40EDA1A-1770-4988-9A3E-57325F8B11FC}"/>
              </a:ext>
            </a:extLst>
          </p:cNvPr>
          <p:cNvSpPr txBox="1"/>
          <p:nvPr userDrawn="1"/>
        </p:nvSpPr>
        <p:spPr>
          <a:xfrm>
            <a:off x="806034" y="6650942"/>
            <a:ext cx="3896596" cy="123111"/>
          </a:xfrm>
          <a:prstGeom prst="rect">
            <a:avLst/>
          </a:prstGeom>
          <a:noFill/>
        </p:spPr>
        <p:txBody>
          <a:bodyPr wrap="square" lIns="0" tIns="0" rIns="0" bIns="0" rtlCol="0">
            <a:spAutoFit/>
          </a:bodyPr>
          <a:lstStyle/>
          <a:p>
            <a:pPr rtl="0"/>
            <a:r>
              <a:rPr lang="en-US" sz="800" spc="300" baseline="0" noProof="0">
                <a:solidFill>
                  <a:schemeClr val="bg1"/>
                </a:solidFill>
                <a:latin typeface="Leelawadee" panose="020B0502040204020203" pitchFamily="34" charset="-34"/>
                <a:cs typeface="Leelawadee" panose="020B0502040204020203" pitchFamily="34" charset="-34"/>
              </a:rPr>
              <a:t>CONFIDENTIAL &amp; PROPRIETARY</a:t>
            </a:r>
          </a:p>
        </p:txBody>
      </p:sp>
      <p:sp>
        <p:nvSpPr>
          <p:cNvPr id="86" name="Rectangle 85">
            <a:hlinkClick r:id="" action="ppaction://noaction"/>
            <a:extLst>
              <a:ext uri="{FF2B5EF4-FFF2-40B4-BE49-F238E27FC236}">
                <a16:creationId xmlns:a16="http://schemas.microsoft.com/office/drawing/2014/main" id="{939A9B91-04AD-4E05-8A47-D1A7C8452C6B}"/>
              </a:ext>
            </a:extLst>
          </p:cNvPr>
          <p:cNvSpPr/>
          <p:nvPr userDrawn="1"/>
        </p:nvSpPr>
        <p:spPr>
          <a:xfrm>
            <a:off x="5214721" y="6579908"/>
            <a:ext cx="1147937"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lnSpc>
                <a:spcPct val="90000"/>
              </a:lnSpc>
            </a:pPr>
            <a:endParaRPr lang="en-GB" sz="800" b="0">
              <a:solidFill>
                <a:schemeClr val="bg1">
                  <a:alpha val="50000"/>
                </a:schemeClr>
              </a:solidFill>
              <a:latin typeface="Leelawadee" panose="020B0502040204020203" pitchFamily="34" charset="-34"/>
              <a:cs typeface="Leelawadee" panose="020B0502040204020203" pitchFamily="34" charset="-34"/>
            </a:endParaRPr>
          </a:p>
        </p:txBody>
      </p:sp>
      <p:sp>
        <p:nvSpPr>
          <p:cNvPr id="87" name="Rectangle 86">
            <a:hlinkClick r:id="rId5" action="ppaction://hlinksldjump"/>
            <a:extLst>
              <a:ext uri="{FF2B5EF4-FFF2-40B4-BE49-F238E27FC236}">
                <a16:creationId xmlns:a16="http://schemas.microsoft.com/office/drawing/2014/main" id="{A0F5AC8F-3CF6-4E2B-B0CD-C48EEF10E2D5}"/>
              </a:ext>
            </a:extLst>
          </p:cNvPr>
          <p:cNvSpPr/>
          <p:nvPr userDrawn="1"/>
        </p:nvSpPr>
        <p:spPr>
          <a:xfrm>
            <a:off x="6367021" y="6579908"/>
            <a:ext cx="1126055"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endParaRPr lang="en-US" sz="800" b="0" noProof="0">
              <a:solidFill>
                <a:schemeClr val="bg1">
                  <a:alpha val="50000"/>
                </a:schemeClr>
              </a:solidFill>
              <a:latin typeface="Leelawadee" panose="020B0502040204020203" pitchFamily="34" charset="-34"/>
              <a:cs typeface="Leelawadee" panose="020B0502040204020203" pitchFamily="34" charset="-34"/>
            </a:endParaRPr>
          </a:p>
        </p:txBody>
      </p:sp>
      <p:sp>
        <p:nvSpPr>
          <p:cNvPr id="88" name="Rectangle 87">
            <a:hlinkClick r:id="" action="ppaction://noaction"/>
            <a:extLst>
              <a:ext uri="{FF2B5EF4-FFF2-40B4-BE49-F238E27FC236}">
                <a16:creationId xmlns:a16="http://schemas.microsoft.com/office/drawing/2014/main" id="{73696A33-7E5D-4F31-8FFC-6DD76ECB2A87}"/>
              </a:ext>
            </a:extLst>
          </p:cNvPr>
          <p:cNvSpPr/>
          <p:nvPr userDrawn="1"/>
        </p:nvSpPr>
        <p:spPr>
          <a:xfrm>
            <a:off x="7510981" y="6579908"/>
            <a:ext cx="967705"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endParaRPr lang="en-US" sz="800" b="0" noProof="0">
              <a:solidFill>
                <a:schemeClr val="bg1">
                  <a:alpha val="50000"/>
                </a:schemeClr>
              </a:solidFill>
              <a:latin typeface="Leelawadee" panose="020B0502040204020203" pitchFamily="34" charset="-34"/>
              <a:cs typeface="Leelawadee" panose="020B0502040204020203" pitchFamily="34" charset="-34"/>
            </a:endParaRPr>
          </a:p>
        </p:txBody>
      </p:sp>
      <p:sp>
        <p:nvSpPr>
          <p:cNvPr id="89" name="Rectangle 88">
            <a:hlinkClick r:id="" action="ppaction://noaction"/>
            <a:hlinkHover r:id="" action="ppaction://noaction" highlightClick="1"/>
            <a:extLst>
              <a:ext uri="{FF2B5EF4-FFF2-40B4-BE49-F238E27FC236}">
                <a16:creationId xmlns:a16="http://schemas.microsoft.com/office/drawing/2014/main" id="{BE4274D9-295C-4257-85A3-CCE74A83C527}"/>
              </a:ext>
            </a:extLst>
          </p:cNvPr>
          <p:cNvSpPr/>
          <p:nvPr userDrawn="1"/>
        </p:nvSpPr>
        <p:spPr>
          <a:xfrm>
            <a:off x="8544692" y="6579908"/>
            <a:ext cx="994577"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endParaRPr lang="en-GB" sz="800" b="0" noProof="0">
              <a:solidFill>
                <a:schemeClr val="bg1">
                  <a:alpha val="50000"/>
                </a:schemeClr>
              </a:solidFill>
              <a:latin typeface="Leelawadee" panose="020B0502040204020203" pitchFamily="34" charset="-34"/>
              <a:cs typeface="Leelawadee" panose="020B0502040204020203" pitchFamily="34" charset="-34"/>
            </a:endParaRPr>
          </a:p>
        </p:txBody>
      </p:sp>
      <p:cxnSp>
        <p:nvCxnSpPr>
          <p:cNvPr id="90" name="Straight Connector 89">
            <a:extLst>
              <a:ext uri="{FF2B5EF4-FFF2-40B4-BE49-F238E27FC236}">
                <a16:creationId xmlns:a16="http://schemas.microsoft.com/office/drawing/2014/main" id="{4CE33E81-AAA9-49D0-AFF3-00995E309745}"/>
              </a:ext>
            </a:extLst>
          </p:cNvPr>
          <p:cNvCxnSpPr/>
          <p:nvPr userDrawn="1"/>
        </p:nvCxnSpPr>
        <p:spPr>
          <a:xfrm>
            <a:off x="9539270"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0B79AA2F-7511-4B5D-BF3D-23BE51776746}"/>
              </a:ext>
            </a:extLst>
          </p:cNvPr>
          <p:cNvCxnSpPr/>
          <p:nvPr userDrawn="1"/>
        </p:nvCxnSpPr>
        <p:spPr>
          <a:xfrm>
            <a:off x="848143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6F437D9E-7B16-4865-891E-506A9F36DB9C}"/>
              </a:ext>
            </a:extLst>
          </p:cNvPr>
          <p:cNvCxnSpPr/>
          <p:nvPr userDrawn="1"/>
        </p:nvCxnSpPr>
        <p:spPr>
          <a:xfrm>
            <a:off x="7493596"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348AAAB-CDC2-4EE8-BFCE-AD29B4B83C8E}"/>
              </a:ext>
            </a:extLst>
          </p:cNvPr>
          <p:cNvCxnSpPr/>
          <p:nvPr userDrawn="1"/>
        </p:nvCxnSpPr>
        <p:spPr>
          <a:xfrm>
            <a:off x="636702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B0B46C1B-37C4-4E96-A89C-628666F643DE}"/>
              </a:ext>
            </a:extLst>
          </p:cNvPr>
          <p:cNvCxnSpPr/>
          <p:nvPr userDrawn="1"/>
        </p:nvCxnSpPr>
        <p:spPr>
          <a:xfrm>
            <a:off x="11186336"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6F6ED942-05F7-43B4-BC92-3BFD53192058}"/>
              </a:ext>
            </a:extLst>
          </p:cNvPr>
          <p:cNvGrpSpPr/>
          <p:nvPr userDrawn="1"/>
        </p:nvGrpSpPr>
        <p:grpSpPr>
          <a:xfrm>
            <a:off x="11393217" y="6628477"/>
            <a:ext cx="473369" cy="183554"/>
            <a:chOff x="11393217" y="6628477"/>
            <a:chExt cx="473369" cy="183554"/>
          </a:xfrm>
        </p:grpSpPr>
        <p:sp>
          <p:nvSpPr>
            <p:cNvPr id="104" name="Freeform: Shape 103">
              <a:extLst>
                <a:ext uri="{FF2B5EF4-FFF2-40B4-BE49-F238E27FC236}">
                  <a16:creationId xmlns:a16="http://schemas.microsoft.com/office/drawing/2014/main" id="{69DFAEA4-E5F6-49B2-8610-E5815CBDA667}"/>
                </a:ext>
              </a:extLst>
            </p:cNvPr>
            <p:cNvSpPr/>
            <p:nvPr/>
          </p:nvSpPr>
          <p:spPr>
            <a:xfrm>
              <a:off x="11432435" y="6628477"/>
              <a:ext cx="90651" cy="18332"/>
            </a:xfrm>
            <a:custGeom>
              <a:avLst/>
              <a:gdLst>
                <a:gd name="connsiteX0" fmla="*/ 11746 w 160635"/>
                <a:gd name="connsiteY0" fmla="*/ 19438 h 32484"/>
                <a:gd name="connsiteX1" fmla="*/ 53842 w 160635"/>
                <a:gd name="connsiteY1" fmla="*/ 32138 h 32484"/>
                <a:gd name="connsiteX2" fmla="*/ 96443 w 160635"/>
                <a:gd name="connsiteY2" fmla="*/ 19438 h 32484"/>
                <a:gd name="connsiteX3" fmla="*/ 138646 w 160635"/>
                <a:gd name="connsiteY3" fmla="*/ 32138 h 32484"/>
                <a:gd name="connsiteX4" fmla="*/ 161624 w 160635"/>
                <a:gd name="connsiteY4" fmla="*/ 25721 h 32484"/>
                <a:gd name="connsiteX5" fmla="*/ 78205 w 160635"/>
                <a:gd name="connsiteY5" fmla="*/ -345 h 32484"/>
                <a:gd name="connsiteX6" fmla="*/ 989 w 160635"/>
                <a:gd name="connsiteY6" fmla="*/ 21648 h 32484"/>
                <a:gd name="connsiteX7" fmla="*/ 11879 w 160635"/>
                <a:gd name="connsiteY7" fmla="*/ 19438 h 3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635" h="32484">
                  <a:moveTo>
                    <a:pt x="11746" y="19438"/>
                  </a:moveTo>
                  <a:cubicBezTo>
                    <a:pt x="29798" y="19438"/>
                    <a:pt x="34671" y="32138"/>
                    <a:pt x="53842" y="32138"/>
                  </a:cubicBezTo>
                  <a:cubicBezTo>
                    <a:pt x="73012" y="32138"/>
                    <a:pt x="77645" y="19438"/>
                    <a:pt x="96443" y="19438"/>
                  </a:cubicBezTo>
                  <a:cubicBezTo>
                    <a:pt x="113644" y="19438"/>
                    <a:pt x="120700" y="32138"/>
                    <a:pt x="138646" y="32138"/>
                  </a:cubicBezTo>
                  <a:cubicBezTo>
                    <a:pt x="146732" y="32029"/>
                    <a:pt x="154651" y="29819"/>
                    <a:pt x="161624" y="25721"/>
                  </a:cubicBezTo>
                  <a:cubicBezTo>
                    <a:pt x="137136" y="8707"/>
                    <a:pt x="108023" y="-388"/>
                    <a:pt x="78205" y="-345"/>
                  </a:cubicBezTo>
                  <a:cubicBezTo>
                    <a:pt x="50915" y="-377"/>
                    <a:pt x="24164" y="7240"/>
                    <a:pt x="989" y="21648"/>
                  </a:cubicBezTo>
                  <a:cubicBezTo>
                    <a:pt x="4440" y="20210"/>
                    <a:pt x="8140" y="19459"/>
                    <a:pt x="11879" y="19438"/>
                  </a:cubicBezTo>
                </a:path>
              </a:pathLst>
            </a:custGeom>
            <a:solidFill>
              <a:srgbClr val="4FE3F2"/>
            </a:solidFill>
            <a:ln w="2661" cap="flat">
              <a:noFill/>
              <a:prstDash val="solid"/>
              <a:miter/>
            </a:ln>
          </p:spPr>
          <p:txBody>
            <a:bodyPr rtlCol="0" anchor="ctr"/>
            <a:lstStyle/>
            <a:p>
              <a:endParaRPr lang="pl-PL"/>
            </a:p>
          </p:txBody>
        </p:sp>
        <p:sp>
          <p:nvSpPr>
            <p:cNvPr id="105" name="Freeform: Shape 104">
              <a:extLst>
                <a:ext uri="{FF2B5EF4-FFF2-40B4-BE49-F238E27FC236}">
                  <a16:creationId xmlns:a16="http://schemas.microsoft.com/office/drawing/2014/main" id="{2BE639AC-5476-4FD0-9F45-775EF51FDDAA}"/>
                </a:ext>
              </a:extLst>
            </p:cNvPr>
            <p:cNvSpPr/>
            <p:nvPr/>
          </p:nvSpPr>
          <p:spPr>
            <a:xfrm>
              <a:off x="11432374" y="6628522"/>
              <a:ext cx="90726" cy="18332"/>
            </a:xfrm>
            <a:custGeom>
              <a:avLst/>
              <a:gdLst>
                <a:gd name="connsiteX0" fmla="*/ 78205 w 160768"/>
                <a:gd name="connsiteY0" fmla="*/ -345 h 32484"/>
                <a:gd name="connsiteX1" fmla="*/ 989 w 160768"/>
                <a:gd name="connsiteY1" fmla="*/ 21648 h 32484"/>
                <a:gd name="connsiteX2" fmla="*/ 11879 w 160768"/>
                <a:gd name="connsiteY2" fmla="*/ 19438 h 32484"/>
                <a:gd name="connsiteX3" fmla="*/ 53975 w 160768"/>
                <a:gd name="connsiteY3" fmla="*/ 32138 h 32484"/>
                <a:gd name="connsiteX4" fmla="*/ 96577 w 160768"/>
                <a:gd name="connsiteY4" fmla="*/ 19438 h 32484"/>
                <a:gd name="connsiteX5" fmla="*/ 138806 w 160768"/>
                <a:gd name="connsiteY5" fmla="*/ 32138 h 32484"/>
                <a:gd name="connsiteX6" fmla="*/ 161757 w 160768"/>
                <a:gd name="connsiteY6" fmla="*/ 25722 h 32484"/>
                <a:gd name="connsiteX7" fmla="*/ 78338 w 160768"/>
                <a:gd name="connsiteY7" fmla="*/ -345 h 3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8" h="32484">
                  <a:moveTo>
                    <a:pt x="78205" y="-345"/>
                  </a:moveTo>
                  <a:cubicBezTo>
                    <a:pt x="50915" y="-377"/>
                    <a:pt x="24164" y="7240"/>
                    <a:pt x="989" y="21648"/>
                  </a:cubicBezTo>
                  <a:cubicBezTo>
                    <a:pt x="4439" y="20210"/>
                    <a:pt x="8140" y="19459"/>
                    <a:pt x="11879" y="19438"/>
                  </a:cubicBezTo>
                  <a:cubicBezTo>
                    <a:pt x="29931" y="19438"/>
                    <a:pt x="34804" y="32138"/>
                    <a:pt x="53975" y="32138"/>
                  </a:cubicBezTo>
                  <a:cubicBezTo>
                    <a:pt x="73146" y="32138"/>
                    <a:pt x="77778" y="19438"/>
                    <a:pt x="96577" y="19438"/>
                  </a:cubicBezTo>
                  <a:cubicBezTo>
                    <a:pt x="113777" y="19438"/>
                    <a:pt x="120833" y="32138"/>
                    <a:pt x="138806" y="32138"/>
                  </a:cubicBezTo>
                  <a:cubicBezTo>
                    <a:pt x="146884" y="32027"/>
                    <a:pt x="154792" y="29814"/>
                    <a:pt x="161757" y="25722"/>
                  </a:cubicBezTo>
                  <a:cubicBezTo>
                    <a:pt x="137269" y="8707"/>
                    <a:pt x="108156" y="-388"/>
                    <a:pt x="78338" y="-345"/>
                  </a:cubicBezTo>
                </a:path>
              </a:pathLst>
            </a:custGeom>
            <a:solidFill>
              <a:srgbClr val="BAF2FA"/>
            </a:solidFill>
            <a:ln w="2661" cap="flat">
              <a:noFill/>
              <a:prstDash val="solid"/>
              <a:miter/>
            </a:ln>
          </p:spPr>
          <p:txBody>
            <a:bodyPr rtlCol="0" anchor="ctr"/>
            <a:lstStyle/>
            <a:p>
              <a:endParaRPr lang="pl-PL"/>
            </a:p>
          </p:txBody>
        </p:sp>
        <p:sp>
          <p:nvSpPr>
            <p:cNvPr id="106" name="Freeform: Shape 105">
              <a:extLst>
                <a:ext uri="{FF2B5EF4-FFF2-40B4-BE49-F238E27FC236}">
                  <a16:creationId xmlns:a16="http://schemas.microsoft.com/office/drawing/2014/main" id="{A9252995-26E5-476F-A977-6D9FA77EC977}"/>
                </a:ext>
              </a:extLst>
            </p:cNvPr>
            <p:cNvSpPr/>
            <p:nvPr/>
          </p:nvSpPr>
          <p:spPr>
            <a:xfrm>
              <a:off x="11427415" y="6639597"/>
              <a:ext cx="108562" cy="21802"/>
            </a:xfrm>
            <a:custGeom>
              <a:avLst/>
              <a:gdLst>
                <a:gd name="connsiteX0" fmla="*/ 105230 w 192373"/>
                <a:gd name="connsiteY0" fmla="*/ -266 h 38634"/>
                <a:gd name="connsiteX1" fmla="*/ 62628 w 192373"/>
                <a:gd name="connsiteY1" fmla="*/ 12435 h 38634"/>
                <a:gd name="connsiteX2" fmla="*/ 20532 w 192373"/>
                <a:gd name="connsiteY2" fmla="*/ -266 h 38634"/>
                <a:gd name="connsiteX3" fmla="*/ 9642 w 192373"/>
                <a:gd name="connsiteY3" fmla="*/ 1944 h 38634"/>
                <a:gd name="connsiteX4" fmla="*/ 989 w 192373"/>
                <a:gd name="connsiteY4" fmla="*/ 7775 h 38634"/>
                <a:gd name="connsiteX5" fmla="*/ 21171 w 192373"/>
                <a:gd name="connsiteY5" fmla="*/ 25615 h 38634"/>
                <a:gd name="connsiteX6" fmla="*/ 62628 w 192373"/>
                <a:gd name="connsiteY6" fmla="*/ 38289 h 38634"/>
                <a:gd name="connsiteX7" fmla="*/ 105230 w 192373"/>
                <a:gd name="connsiteY7" fmla="*/ 25588 h 38634"/>
                <a:gd name="connsiteX8" fmla="*/ 147459 w 192373"/>
                <a:gd name="connsiteY8" fmla="*/ 38289 h 38634"/>
                <a:gd name="connsiteX9" fmla="*/ 190700 w 192373"/>
                <a:gd name="connsiteY9" fmla="*/ 25588 h 38634"/>
                <a:gd name="connsiteX10" fmla="*/ 193363 w 192373"/>
                <a:gd name="connsiteY10" fmla="*/ 25588 h 38634"/>
                <a:gd name="connsiteX11" fmla="*/ 170438 w 192373"/>
                <a:gd name="connsiteY11" fmla="*/ 5938 h 38634"/>
                <a:gd name="connsiteX12" fmla="*/ 147486 w 192373"/>
                <a:gd name="connsiteY12" fmla="*/ 12355 h 38634"/>
                <a:gd name="connsiteX13" fmla="*/ 105257 w 192373"/>
                <a:gd name="connsiteY13" fmla="*/ -346 h 38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2373" h="38634">
                  <a:moveTo>
                    <a:pt x="105230" y="-266"/>
                  </a:moveTo>
                  <a:cubicBezTo>
                    <a:pt x="86592" y="-266"/>
                    <a:pt x="81799" y="12435"/>
                    <a:pt x="62628" y="12435"/>
                  </a:cubicBezTo>
                  <a:cubicBezTo>
                    <a:pt x="43457" y="12435"/>
                    <a:pt x="38665" y="-266"/>
                    <a:pt x="20532" y="-266"/>
                  </a:cubicBezTo>
                  <a:cubicBezTo>
                    <a:pt x="16794" y="-244"/>
                    <a:pt x="13093" y="506"/>
                    <a:pt x="9642" y="1944"/>
                  </a:cubicBezTo>
                  <a:cubicBezTo>
                    <a:pt x="6687" y="3781"/>
                    <a:pt x="3785" y="5725"/>
                    <a:pt x="989" y="7775"/>
                  </a:cubicBezTo>
                  <a:cubicBezTo>
                    <a:pt x="8031" y="13356"/>
                    <a:pt x="14768" y="19312"/>
                    <a:pt x="21171" y="25615"/>
                  </a:cubicBezTo>
                  <a:cubicBezTo>
                    <a:pt x="38691" y="25908"/>
                    <a:pt x="43697" y="38289"/>
                    <a:pt x="62628" y="38289"/>
                  </a:cubicBezTo>
                  <a:cubicBezTo>
                    <a:pt x="81559" y="38289"/>
                    <a:pt x="86432" y="25588"/>
                    <a:pt x="105230" y="25588"/>
                  </a:cubicBezTo>
                  <a:cubicBezTo>
                    <a:pt x="122431" y="25588"/>
                    <a:pt x="129487" y="38289"/>
                    <a:pt x="147459" y="38289"/>
                  </a:cubicBezTo>
                  <a:cubicBezTo>
                    <a:pt x="167456" y="38289"/>
                    <a:pt x="173872" y="25588"/>
                    <a:pt x="190700" y="25588"/>
                  </a:cubicBezTo>
                  <a:cubicBezTo>
                    <a:pt x="191632" y="25588"/>
                    <a:pt x="192484" y="25588"/>
                    <a:pt x="193363" y="25588"/>
                  </a:cubicBezTo>
                  <a:cubicBezTo>
                    <a:pt x="186416" y="18269"/>
                    <a:pt x="178734" y="11684"/>
                    <a:pt x="170438" y="5938"/>
                  </a:cubicBezTo>
                  <a:cubicBezTo>
                    <a:pt x="163472" y="10031"/>
                    <a:pt x="155564" y="12243"/>
                    <a:pt x="147486" y="12355"/>
                  </a:cubicBezTo>
                  <a:cubicBezTo>
                    <a:pt x="129513" y="12355"/>
                    <a:pt x="122457" y="-346"/>
                    <a:pt x="105257" y="-346"/>
                  </a:cubicBezTo>
                </a:path>
              </a:pathLst>
            </a:custGeom>
            <a:solidFill>
              <a:srgbClr val="4FE3F2"/>
            </a:solidFill>
            <a:ln w="2661" cap="flat">
              <a:noFill/>
              <a:prstDash val="solid"/>
              <a:miter/>
            </a:ln>
          </p:spPr>
          <p:txBody>
            <a:bodyPr rtlCol="0" anchor="ctr"/>
            <a:lstStyle/>
            <a:p>
              <a:endParaRPr lang="pl-PL"/>
            </a:p>
          </p:txBody>
        </p:sp>
        <p:sp>
          <p:nvSpPr>
            <p:cNvPr id="107" name="Freeform: Shape 106">
              <a:extLst>
                <a:ext uri="{FF2B5EF4-FFF2-40B4-BE49-F238E27FC236}">
                  <a16:creationId xmlns:a16="http://schemas.microsoft.com/office/drawing/2014/main" id="{BA13A009-8F57-47B4-B6F2-DAD5D52ACC34}"/>
                </a:ext>
              </a:extLst>
            </p:cNvPr>
            <p:cNvSpPr/>
            <p:nvPr/>
          </p:nvSpPr>
          <p:spPr>
            <a:xfrm>
              <a:off x="11438745" y="6654277"/>
              <a:ext cx="111537" cy="22389"/>
            </a:xfrm>
            <a:custGeom>
              <a:avLst/>
              <a:gdLst>
                <a:gd name="connsiteX0" fmla="*/ 127250 w 197645"/>
                <a:gd name="connsiteY0" fmla="*/ 12355 h 39673"/>
                <a:gd name="connsiteX1" fmla="*/ 85048 w 197645"/>
                <a:gd name="connsiteY1" fmla="*/ -346 h 39673"/>
                <a:gd name="connsiteX2" fmla="*/ 42446 w 197645"/>
                <a:gd name="connsiteY2" fmla="*/ 12355 h 39673"/>
                <a:gd name="connsiteX3" fmla="*/ 989 w 197645"/>
                <a:gd name="connsiteY3" fmla="*/ -319 h 39673"/>
                <a:gd name="connsiteX4" fmla="*/ 24233 w 197645"/>
                <a:gd name="connsiteY4" fmla="*/ 25881 h 39673"/>
                <a:gd name="connsiteX5" fmla="*/ 33100 w 197645"/>
                <a:gd name="connsiteY5" fmla="*/ 38209 h 39673"/>
                <a:gd name="connsiteX6" fmla="*/ 42446 w 197645"/>
                <a:gd name="connsiteY6" fmla="*/ 39327 h 39673"/>
                <a:gd name="connsiteX7" fmla="*/ 85048 w 197645"/>
                <a:gd name="connsiteY7" fmla="*/ 26627 h 39673"/>
                <a:gd name="connsiteX8" fmla="*/ 127250 w 197645"/>
                <a:gd name="connsiteY8" fmla="*/ 39327 h 39673"/>
                <a:gd name="connsiteX9" fmla="*/ 170517 w 197645"/>
                <a:gd name="connsiteY9" fmla="*/ 26627 h 39673"/>
                <a:gd name="connsiteX10" fmla="*/ 198635 w 197645"/>
                <a:gd name="connsiteY10" fmla="*/ 36478 h 39673"/>
                <a:gd name="connsiteX11" fmla="*/ 173153 w 197645"/>
                <a:gd name="connsiteY11" fmla="*/ -266 h 39673"/>
                <a:gd name="connsiteX12" fmla="*/ 170491 w 197645"/>
                <a:gd name="connsiteY12" fmla="*/ -266 h 39673"/>
                <a:gd name="connsiteX13" fmla="*/ 127223 w 197645"/>
                <a:gd name="connsiteY13" fmla="*/ 12435 h 39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7645" h="39673">
                  <a:moveTo>
                    <a:pt x="127250" y="12355"/>
                  </a:moveTo>
                  <a:cubicBezTo>
                    <a:pt x="109304" y="12355"/>
                    <a:pt x="102248" y="-346"/>
                    <a:pt x="85048" y="-346"/>
                  </a:cubicBezTo>
                  <a:cubicBezTo>
                    <a:pt x="66409" y="-346"/>
                    <a:pt x="61616" y="12355"/>
                    <a:pt x="42446" y="12355"/>
                  </a:cubicBezTo>
                  <a:cubicBezTo>
                    <a:pt x="23275" y="12355"/>
                    <a:pt x="18482" y="-26"/>
                    <a:pt x="989" y="-319"/>
                  </a:cubicBezTo>
                  <a:cubicBezTo>
                    <a:pt x="9333" y="7866"/>
                    <a:pt x="17100" y="16621"/>
                    <a:pt x="24233" y="25881"/>
                  </a:cubicBezTo>
                  <a:cubicBezTo>
                    <a:pt x="27295" y="29902"/>
                    <a:pt x="30277" y="34002"/>
                    <a:pt x="33100" y="38209"/>
                  </a:cubicBezTo>
                  <a:cubicBezTo>
                    <a:pt x="36157" y="38971"/>
                    <a:pt x="39296" y="39346"/>
                    <a:pt x="42446" y="39327"/>
                  </a:cubicBezTo>
                  <a:cubicBezTo>
                    <a:pt x="61510" y="39327"/>
                    <a:pt x="66249" y="26627"/>
                    <a:pt x="85048" y="26627"/>
                  </a:cubicBezTo>
                  <a:cubicBezTo>
                    <a:pt x="102248" y="26627"/>
                    <a:pt x="109304" y="39327"/>
                    <a:pt x="127250" y="39327"/>
                  </a:cubicBezTo>
                  <a:cubicBezTo>
                    <a:pt x="147273" y="39327"/>
                    <a:pt x="153690" y="26627"/>
                    <a:pt x="170517" y="26627"/>
                  </a:cubicBezTo>
                  <a:cubicBezTo>
                    <a:pt x="184283" y="26627"/>
                    <a:pt x="189635" y="32245"/>
                    <a:pt x="198635" y="36478"/>
                  </a:cubicBezTo>
                  <a:cubicBezTo>
                    <a:pt x="192063" y="23003"/>
                    <a:pt x="183471" y="10611"/>
                    <a:pt x="173153" y="-266"/>
                  </a:cubicBezTo>
                  <a:cubicBezTo>
                    <a:pt x="172301" y="-266"/>
                    <a:pt x="171449" y="-266"/>
                    <a:pt x="170491" y="-266"/>
                  </a:cubicBezTo>
                  <a:cubicBezTo>
                    <a:pt x="153663" y="-266"/>
                    <a:pt x="147246" y="12435"/>
                    <a:pt x="127223" y="12435"/>
                  </a:cubicBezTo>
                </a:path>
              </a:pathLst>
            </a:custGeom>
            <a:solidFill>
              <a:srgbClr val="0066E5"/>
            </a:solidFill>
            <a:ln w="2661" cap="flat">
              <a:noFill/>
              <a:prstDash val="solid"/>
              <a:miter/>
            </a:ln>
          </p:spPr>
          <p:txBody>
            <a:bodyPr rtlCol="0" anchor="ctr"/>
            <a:lstStyle/>
            <a:p>
              <a:endParaRPr lang="pl-PL"/>
            </a:p>
          </p:txBody>
        </p:sp>
        <p:sp>
          <p:nvSpPr>
            <p:cNvPr id="108" name="Freeform: Shape 107">
              <a:extLst>
                <a:ext uri="{FF2B5EF4-FFF2-40B4-BE49-F238E27FC236}">
                  <a16:creationId xmlns:a16="http://schemas.microsoft.com/office/drawing/2014/main" id="{47638F60-A68F-4741-9026-78AD112F30A1}"/>
                </a:ext>
              </a:extLst>
            </p:cNvPr>
            <p:cNvSpPr/>
            <p:nvPr/>
          </p:nvSpPr>
          <p:spPr>
            <a:xfrm>
              <a:off x="11456867" y="6669498"/>
              <a:ext cx="99186" cy="29390"/>
            </a:xfrm>
            <a:custGeom>
              <a:avLst/>
              <a:gdLst>
                <a:gd name="connsiteX0" fmla="*/ 95139 w 175759"/>
                <a:gd name="connsiteY0" fmla="*/ 12355 h 52080"/>
                <a:gd name="connsiteX1" fmla="*/ 52936 w 175759"/>
                <a:gd name="connsiteY1" fmla="*/ -346 h 52080"/>
                <a:gd name="connsiteX2" fmla="*/ 10335 w 175759"/>
                <a:gd name="connsiteY2" fmla="*/ 12355 h 52080"/>
                <a:gd name="connsiteX3" fmla="*/ 989 w 175759"/>
                <a:gd name="connsiteY3" fmla="*/ 11210 h 52080"/>
                <a:gd name="connsiteX4" fmla="*/ 23248 w 175759"/>
                <a:gd name="connsiteY4" fmla="*/ 51735 h 52080"/>
                <a:gd name="connsiteX5" fmla="*/ 22929 w 175759"/>
                <a:gd name="connsiteY5" fmla="*/ 50963 h 52080"/>
                <a:gd name="connsiteX6" fmla="*/ 110183 w 175759"/>
                <a:gd name="connsiteY6" fmla="*/ 22633 h 52080"/>
                <a:gd name="connsiteX7" fmla="*/ 176748 w 175759"/>
                <a:gd name="connsiteY7" fmla="*/ 38262 h 52080"/>
                <a:gd name="connsiteX8" fmla="*/ 166310 w 175759"/>
                <a:gd name="connsiteY8" fmla="*/ 9506 h 52080"/>
                <a:gd name="connsiteX9" fmla="*/ 138193 w 175759"/>
                <a:gd name="connsiteY9" fmla="*/ -346 h 52080"/>
                <a:gd name="connsiteX10" fmla="*/ 94926 w 175759"/>
                <a:gd name="connsiteY10" fmla="*/ 12355 h 52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5759" h="52080">
                  <a:moveTo>
                    <a:pt x="95139" y="12355"/>
                  </a:moveTo>
                  <a:cubicBezTo>
                    <a:pt x="77193" y="12355"/>
                    <a:pt x="70137" y="-346"/>
                    <a:pt x="52936" y="-346"/>
                  </a:cubicBezTo>
                  <a:cubicBezTo>
                    <a:pt x="34298" y="-346"/>
                    <a:pt x="29505" y="12355"/>
                    <a:pt x="10335" y="12355"/>
                  </a:cubicBezTo>
                  <a:cubicBezTo>
                    <a:pt x="7182" y="12379"/>
                    <a:pt x="4043" y="11993"/>
                    <a:pt x="989" y="11210"/>
                  </a:cubicBezTo>
                  <a:cubicBezTo>
                    <a:pt x="9634" y="24007"/>
                    <a:pt x="17087" y="37573"/>
                    <a:pt x="23248" y="51735"/>
                  </a:cubicBezTo>
                  <a:lnTo>
                    <a:pt x="22929" y="50963"/>
                  </a:lnTo>
                  <a:cubicBezTo>
                    <a:pt x="48205" y="32375"/>
                    <a:pt x="78806" y="22438"/>
                    <a:pt x="110183" y="22633"/>
                  </a:cubicBezTo>
                  <a:cubicBezTo>
                    <a:pt x="133286" y="22574"/>
                    <a:pt x="156083" y="27926"/>
                    <a:pt x="176748" y="38262"/>
                  </a:cubicBezTo>
                  <a:cubicBezTo>
                    <a:pt x="174298" y="28333"/>
                    <a:pt x="170800" y="18695"/>
                    <a:pt x="166310" y="9506"/>
                  </a:cubicBezTo>
                  <a:cubicBezTo>
                    <a:pt x="157311" y="5273"/>
                    <a:pt x="151959" y="-346"/>
                    <a:pt x="138193" y="-346"/>
                  </a:cubicBezTo>
                  <a:cubicBezTo>
                    <a:pt x="121365" y="-346"/>
                    <a:pt x="114949" y="12355"/>
                    <a:pt x="94926" y="12355"/>
                  </a:cubicBezTo>
                </a:path>
              </a:pathLst>
            </a:custGeom>
            <a:solidFill>
              <a:srgbClr val="143DCF"/>
            </a:solidFill>
            <a:ln w="2661" cap="flat">
              <a:noFill/>
              <a:prstDash val="solid"/>
              <a:miter/>
            </a:ln>
          </p:spPr>
          <p:txBody>
            <a:bodyPr rtlCol="0" anchor="ctr"/>
            <a:lstStyle/>
            <a:p>
              <a:endParaRPr lang="pl-PL"/>
            </a:p>
          </p:txBody>
        </p:sp>
        <p:sp>
          <p:nvSpPr>
            <p:cNvPr id="109" name="Freeform: Shape 108">
              <a:extLst>
                <a:ext uri="{FF2B5EF4-FFF2-40B4-BE49-F238E27FC236}">
                  <a16:creationId xmlns:a16="http://schemas.microsoft.com/office/drawing/2014/main" id="{47086162-B4BF-4AC1-B29A-B2575E3F8FA5}"/>
                </a:ext>
              </a:extLst>
            </p:cNvPr>
            <p:cNvSpPr/>
            <p:nvPr/>
          </p:nvSpPr>
          <p:spPr>
            <a:xfrm>
              <a:off x="11469428" y="6682464"/>
              <a:ext cx="88352" cy="28821"/>
            </a:xfrm>
            <a:custGeom>
              <a:avLst/>
              <a:gdLst>
                <a:gd name="connsiteX0" fmla="*/ 154808 w 156561"/>
                <a:gd name="connsiteY0" fmla="*/ 15287 h 51071"/>
                <a:gd name="connsiteX1" fmla="*/ 88243 w 156561"/>
                <a:gd name="connsiteY1" fmla="*/ -343 h 51071"/>
                <a:gd name="connsiteX2" fmla="*/ 989 w 156561"/>
                <a:gd name="connsiteY2" fmla="*/ 27987 h 51071"/>
                <a:gd name="connsiteX3" fmla="*/ 1308 w 156561"/>
                <a:gd name="connsiteY3" fmla="*/ 28760 h 51071"/>
                <a:gd name="connsiteX4" fmla="*/ 2533 w 156561"/>
                <a:gd name="connsiteY4" fmla="*/ 31635 h 51071"/>
                <a:gd name="connsiteX5" fmla="*/ 3172 w 156561"/>
                <a:gd name="connsiteY5" fmla="*/ 33153 h 51071"/>
                <a:gd name="connsiteX6" fmla="*/ 5568 w 156561"/>
                <a:gd name="connsiteY6" fmla="*/ 39170 h 51071"/>
                <a:gd name="connsiteX7" fmla="*/ 5888 w 156561"/>
                <a:gd name="connsiteY7" fmla="*/ 40049 h 51071"/>
                <a:gd name="connsiteX8" fmla="*/ 6740 w 156561"/>
                <a:gd name="connsiteY8" fmla="*/ 42339 h 51071"/>
                <a:gd name="connsiteX9" fmla="*/ 7619 w 156561"/>
                <a:gd name="connsiteY9" fmla="*/ 44709 h 51071"/>
                <a:gd name="connsiteX10" fmla="*/ 8364 w 156561"/>
                <a:gd name="connsiteY10" fmla="*/ 46892 h 51071"/>
                <a:gd name="connsiteX11" fmla="*/ 9269 w 156561"/>
                <a:gd name="connsiteY11" fmla="*/ 49555 h 51071"/>
                <a:gd name="connsiteX12" fmla="*/ 9669 w 156561"/>
                <a:gd name="connsiteY12" fmla="*/ 50726 h 51071"/>
                <a:gd name="connsiteX13" fmla="*/ 88243 w 156561"/>
                <a:gd name="connsiteY13" fmla="*/ 28360 h 51071"/>
                <a:gd name="connsiteX14" fmla="*/ 109544 w 156561"/>
                <a:gd name="connsiteY14" fmla="*/ 29825 h 51071"/>
                <a:gd name="connsiteX15" fmla="*/ 112606 w 156561"/>
                <a:gd name="connsiteY15" fmla="*/ 30038 h 51071"/>
                <a:gd name="connsiteX16" fmla="*/ 112925 w 156561"/>
                <a:gd name="connsiteY16" fmla="*/ 30038 h 51071"/>
                <a:gd name="connsiteX17" fmla="*/ 113378 w 156561"/>
                <a:gd name="connsiteY17" fmla="*/ 30038 h 51071"/>
                <a:gd name="connsiteX18" fmla="*/ 116040 w 156561"/>
                <a:gd name="connsiteY18" fmla="*/ 30677 h 51071"/>
                <a:gd name="connsiteX19" fmla="*/ 116040 w 156561"/>
                <a:gd name="connsiteY19" fmla="*/ 30677 h 51071"/>
                <a:gd name="connsiteX20" fmla="*/ 123256 w 156561"/>
                <a:gd name="connsiteY20" fmla="*/ 18722 h 51071"/>
                <a:gd name="connsiteX21" fmla="*/ 139232 w 156561"/>
                <a:gd name="connsiteY21" fmla="*/ 15873 h 51071"/>
                <a:gd name="connsiteX22" fmla="*/ 139232 w 156561"/>
                <a:gd name="connsiteY22" fmla="*/ 15873 h 51071"/>
                <a:gd name="connsiteX23" fmla="*/ 140536 w 156561"/>
                <a:gd name="connsiteY23" fmla="*/ 37520 h 51071"/>
                <a:gd name="connsiteX24" fmla="*/ 150015 w 156561"/>
                <a:gd name="connsiteY24" fmla="*/ 29691 h 51071"/>
                <a:gd name="connsiteX25" fmla="*/ 157550 w 156561"/>
                <a:gd name="connsiteY25" fmla="*/ 29212 h 51071"/>
                <a:gd name="connsiteX26" fmla="*/ 154888 w 156561"/>
                <a:gd name="connsiteY26" fmla="*/ 15180 h 5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6561" h="51071">
                  <a:moveTo>
                    <a:pt x="154808" y="15287"/>
                  </a:moveTo>
                  <a:cubicBezTo>
                    <a:pt x="134143" y="4950"/>
                    <a:pt x="111346" y="-401"/>
                    <a:pt x="88243" y="-343"/>
                  </a:cubicBezTo>
                  <a:cubicBezTo>
                    <a:pt x="56866" y="-537"/>
                    <a:pt x="26265" y="9400"/>
                    <a:pt x="989" y="27987"/>
                  </a:cubicBezTo>
                  <a:lnTo>
                    <a:pt x="1308" y="28760"/>
                  </a:lnTo>
                  <a:cubicBezTo>
                    <a:pt x="1734" y="29718"/>
                    <a:pt x="2134" y="30677"/>
                    <a:pt x="2533" y="31635"/>
                  </a:cubicBezTo>
                  <a:lnTo>
                    <a:pt x="3172" y="33153"/>
                  </a:lnTo>
                  <a:cubicBezTo>
                    <a:pt x="3997" y="35150"/>
                    <a:pt x="4796" y="37147"/>
                    <a:pt x="5568" y="39170"/>
                  </a:cubicBezTo>
                  <a:lnTo>
                    <a:pt x="5888" y="40049"/>
                  </a:lnTo>
                  <a:cubicBezTo>
                    <a:pt x="6181" y="40821"/>
                    <a:pt x="6474" y="41593"/>
                    <a:pt x="6740" y="42339"/>
                  </a:cubicBezTo>
                  <a:lnTo>
                    <a:pt x="7619" y="44709"/>
                  </a:lnTo>
                  <a:cubicBezTo>
                    <a:pt x="7858" y="45454"/>
                    <a:pt x="8124" y="46173"/>
                    <a:pt x="8364" y="46892"/>
                  </a:cubicBezTo>
                  <a:cubicBezTo>
                    <a:pt x="8604" y="47611"/>
                    <a:pt x="8977" y="48649"/>
                    <a:pt x="9269" y="49555"/>
                  </a:cubicBezTo>
                  <a:lnTo>
                    <a:pt x="9669" y="50726"/>
                  </a:lnTo>
                  <a:cubicBezTo>
                    <a:pt x="33212" y="35978"/>
                    <a:pt x="60461" y="28222"/>
                    <a:pt x="88243" y="28360"/>
                  </a:cubicBezTo>
                  <a:cubicBezTo>
                    <a:pt x="95368" y="28358"/>
                    <a:pt x="102485" y="28847"/>
                    <a:pt x="109544" y="29825"/>
                  </a:cubicBezTo>
                  <a:cubicBezTo>
                    <a:pt x="110569" y="29835"/>
                    <a:pt x="111591" y="29907"/>
                    <a:pt x="112606" y="30038"/>
                  </a:cubicBezTo>
                  <a:lnTo>
                    <a:pt x="112925" y="30038"/>
                  </a:lnTo>
                  <a:lnTo>
                    <a:pt x="113378" y="30038"/>
                  </a:lnTo>
                  <a:cubicBezTo>
                    <a:pt x="114278" y="30189"/>
                    <a:pt x="115170" y="30402"/>
                    <a:pt x="116040" y="30677"/>
                  </a:cubicBezTo>
                  <a:lnTo>
                    <a:pt x="116040" y="30677"/>
                  </a:lnTo>
                  <a:cubicBezTo>
                    <a:pt x="116123" y="25684"/>
                    <a:pt x="118879" y="21121"/>
                    <a:pt x="123256" y="18722"/>
                  </a:cubicBezTo>
                  <a:cubicBezTo>
                    <a:pt x="129460" y="14994"/>
                    <a:pt x="139232" y="15873"/>
                    <a:pt x="139232" y="15873"/>
                  </a:cubicBezTo>
                  <a:lnTo>
                    <a:pt x="139232" y="15873"/>
                  </a:lnTo>
                  <a:cubicBezTo>
                    <a:pt x="140068" y="23059"/>
                    <a:pt x="140504" y="30285"/>
                    <a:pt x="140536" y="37520"/>
                  </a:cubicBezTo>
                  <a:cubicBezTo>
                    <a:pt x="142291" y="33566"/>
                    <a:pt x="145800" y="30666"/>
                    <a:pt x="150015" y="29691"/>
                  </a:cubicBezTo>
                  <a:cubicBezTo>
                    <a:pt x="152483" y="29124"/>
                    <a:pt x="155029" y="28962"/>
                    <a:pt x="157550" y="29212"/>
                  </a:cubicBezTo>
                  <a:cubicBezTo>
                    <a:pt x="156858" y="24446"/>
                    <a:pt x="155953" y="19787"/>
                    <a:pt x="154888" y="15180"/>
                  </a:cubicBezTo>
                </a:path>
              </a:pathLst>
            </a:custGeom>
            <a:solidFill>
              <a:srgbClr val="00A652"/>
            </a:solidFill>
            <a:ln w="2661" cap="flat">
              <a:noFill/>
              <a:prstDash val="solid"/>
              <a:miter/>
            </a:ln>
          </p:spPr>
          <p:txBody>
            <a:bodyPr rtlCol="0" anchor="ctr"/>
            <a:lstStyle/>
            <a:p>
              <a:endParaRPr lang="pl-PL"/>
            </a:p>
          </p:txBody>
        </p:sp>
        <p:sp>
          <p:nvSpPr>
            <p:cNvPr id="110" name="Freeform: Shape 109">
              <a:extLst>
                <a:ext uri="{FF2B5EF4-FFF2-40B4-BE49-F238E27FC236}">
                  <a16:creationId xmlns:a16="http://schemas.microsoft.com/office/drawing/2014/main" id="{1787D161-5033-4576-A179-169C99392EDE}"/>
                </a:ext>
              </a:extLst>
            </p:cNvPr>
            <p:cNvSpPr/>
            <p:nvPr/>
          </p:nvSpPr>
          <p:spPr>
            <a:xfrm>
              <a:off x="11474267" y="6698648"/>
              <a:ext cx="56271" cy="28174"/>
            </a:xfrm>
            <a:custGeom>
              <a:avLst/>
              <a:gdLst>
                <a:gd name="connsiteX0" fmla="*/ 79563 w 99714"/>
                <a:gd name="connsiteY0" fmla="*/ -344 h 49925"/>
                <a:gd name="connsiteX1" fmla="*/ 989 w 99714"/>
                <a:gd name="connsiteY1" fmla="*/ 22022 h 49925"/>
                <a:gd name="connsiteX2" fmla="*/ 1228 w 99714"/>
                <a:gd name="connsiteY2" fmla="*/ 22821 h 49925"/>
                <a:gd name="connsiteX3" fmla="*/ 2373 w 99714"/>
                <a:gd name="connsiteY3" fmla="*/ 26442 h 49925"/>
                <a:gd name="connsiteX4" fmla="*/ 2773 w 99714"/>
                <a:gd name="connsiteY4" fmla="*/ 27694 h 49925"/>
                <a:gd name="connsiteX5" fmla="*/ 4184 w 99714"/>
                <a:gd name="connsiteY5" fmla="*/ 32540 h 49925"/>
                <a:gd name="connsiteX6" fmla="*/ 4610 w 99714"/>
                <a:gd name="connsiteY6" fmla="*/ 34137 h 49925"/>
                <a:gd name="connsiteX7" fmla="*/ 5515 w 99714"/>
                <a:gd name="connsiteY7" fmla="*/ 37545 h 49925"/>
                <a:gd name="connsiteX8" fmla="*/ 6021 w 99714"/>
                <a:gd name="connsiteY8" fmla="*/ 39542 h 49925"/>
                <a:gd name="connsiteX9" fmla="*/ 6767 w 99714"/>
                <a:gd name="connsiteY9" fmla="*/ 42658 h 49925"/>
                <a:gd name="connsiteX10" fmla="*/ 7246 w 99714"/>
                <a:gd name="connsiteY10" fmla="*/ 44708 h 49925"/>
                <a:gd name="connsiteX11" fmla="*/ 8231 w 99714"/>
                <a:gd name="connsiteY11" fmla="*/ 49128 h 49925"/>
                <a:gd name="connsiteX12" fmla="*/ 8231 w 99714"/>
                <a:gd name="connsiteY12" fmla="*/ 49580 h 49925"/>
                <a:gd name="connsiteX13" fmla="*/ 61936 w 99714"/>
                <a:gd name="connsiteY13" fmla="*/ 32566 h 49925"/>
                <a:gd name="connsiteX14" fmla="*/ 65877 w 99714"/>
                <a:gd name="connsiteY14" fmla="*/ 29904 h 49925"/>
                <a:gd name="connsiteX15" fmla="*/ 78125 w 99714"/>
                <a:gd name="connsiteY15" fmla="*/ 28732 h 49925"/>
                <a:gd name="connsiteX16" fmla="*/ 81373 w 99714"/>
                <a:gd name="connsiteY16" fmla="*/ 29478 h 49925"/>
                <a:gd name="connsiteX17" fmla="*/ 82278 w 99714"/>
                <a:gd name="connsiteY17" fmla="*/ 24339 h 49925"/>
                <a:gd name="connsiteX18" fmla="*/ 88509 w 99714"/>
                <a:gd name="connsiteY18" fmla="*/ 6579 h 49925"/>
                <a:gd name="connsiteX19" fmla="*/ 100704 w 99714"/>
                <a:gd name="connsiteY19" fmla="*/ 1254 h 49925"/>
                <a:gd name="connsiteX20" fmla="*/ 79403 w 99714"/>
                <a:gd name="connsiteY20" fmla="*/ -211 h 49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9714" h="49925">
                  <a:moveTo>
                    <a:pt x="79563" y="-344"/>
                  </a:moveTo>
                  <a:cubicBezTo>
                    <a:pt x="51781" y="-482"/>
                    <a:pt x="24532" y="7274"/>
                    <a:pt x="989" y="22022"/>
                  </a:cubicBezTo>
                  <a:lnTo>
                    <a:pt x="1228" y="22821"/>
                  </a:lnTo>
                  <a:cubicBezTo>
                    <a:pt x="1628" y="24019"/>
                    <a:pt x="2001" y="25244"/>
                    <a:pt x="2373" y="26442"/>
                  </a:cubicBezTo>
                  <a:lnTo>
                    <a:pt x="2773" y="27694"/>
                  </a:lnTo>
                  <a:cubicBezTo>
                    <a:pt x="3252" y="29318"/>
                    <a:pt x="3731" y="30915"/>
                    <a:pt x="4184" y="32540"/>
                  </a:cubicBezTo>
                  <a:cubicBezTo>
                    <a:pt x="4317" y="33072"/>
                    <a:pt x="4450" y="33605"/>
                    <a:pt x="4610" y="34137"/>
                  </a:cubicBezTo>
                  <a:cubicBezTo>
                    <a:pt x="4903" y="35282"/>
                    <a:pt x="5222" y="36400"/>
                    <a:pt x="5515" y="37545"/>
                  </a:cubicBezTo>
                  <a:cubicBezTo>
                    <a:pt x="5675" y="38211"/>
                    <a:pt x="5861" y="38877"/>
                    <a:pt x="6021" y="39542"/>
                  </a:cubicBezTo>
                  <a:cubicBezTo>
                    <a:pt x="6181" y="40208"/>
                    <a:pt x="6527" y="41619"/>
                    <a:pt x="6767" y="42658"/>
                  </a:cubicBezTo>
                  <a:lnTo>
                    <a:pt x="7246" y="44708"/>
                  </a:lnTo>
                  <a:cubicBezTo>
                    <a:pt x="7592" y="46172"/>
                    <a:pt x="7912" y="47663"/>
                    <a:pt x="8231" y="49128"/>
                  </a:cubicBezTo>
                  <a:lnTo>
                    <a:pt x="8231" y="49580"/>
                  </a:lnTo>
                  <a:cubicBezTo>
                    <a:pt x="24862" y="40482"/>
                    <a:pt x="43101" y="34704"/>
                    <a:pt x="61936" y="32566"/>
                  </a:cubicBezTo>
                  <a:cubicBezTo>
                    <a:pt x="63078" y="31451"/>
                    <a:pt x="64415" y="30548"/>
                    <a:pt x="65877" y="29904"/>
                  </a:cubicBezTo>
                  <a:cubicBezTo>
                    <a:pt x="69748" y="28287"/>
                    <a:pt x="74016" y="27880"/>
                    <a:pt x="78125" y="28732"/>
                  </a:cubicBezTo>
                  <a:cubicBezTo>
                    <a:pt x="79227" y="28892"/>
                    <a:pt x="80313" y="29139"/>
                    <a:pt x="81373" y="29478"/>
                  </a:cubicBezTo>
                  <a:cubicBezTo>
                    <a:pt x="81719" y="27773"/>
                    <a:pt x="82012" y="26069"/>
                    <a:pt x="82278" y="24339"/>
                  </a:cubicBezTo>
                  <a:cubicBezTo>
                    <a:pt x="82278" y="24339"/>
                    <a:pt x="84355" y="11558"/>
                    <a:pt x="88509" y="6579"/>
                  </a:cubicBezTo>
                  <a:cubicBezTo>
                    <a:pt x="91555" y="3043"/>
                    <a:pt x="96042" y="1086"/>
                    <a:pt x="100704" y="1254"/>
                  </a:cubicBezTo>
                  <a:cubicBezTo>
                    <a:pt x="93645" y="277"/>
                    <a:pt x="86528" y="-213"/>
                    <a:pt x="79403" y="-211"/>
                  </a:cubicBezTo>
                </a:path>
              </a:pathLst>
            </a:custGeom>
            <a:solidFill>
              <a:srgbClr val="8FD942"/>
            </a:solidFill>
            <a:ln w="2661" cap="flat">
              <a:noFill/>
              <a:prstDash val="solid"/>
              <a:miter/>
            </a:ln>
          </p:spPr>
          <p:txBody>
            <a:bodyPr rtlCol="0" anchor="ctr"/>
            <a:lstStyle/>
            <a:p>
              <a:endParaRPr lang="pl-PL"/>
            </a:p>
          </p:txBody>
        </p:sp>
        <p:sp>
          <p:nvSpPr>
            <p:cNvPr id="111" name="Freeform: Shape 110">
              <a:extLst>
                <a:ext uri="{FF2B5EF4-FFF2-40B4-BE49-F238E27FC236}">
                  <a16:creationId xmlns:a16="http://schemas.microsoft.com/office/drawing/2014/main" id="{4536ED49-8E69-42D8-A061-08D7133CF57F}"/>
                </a:ext>
              </a:extLst>
            </p:cNvPr>
            <p:cNvSpPr/>
            <p:nvPr/>
          </p:nvSpPr>
          <p:spPr>
            <a:xfrm>
              <a:off x="11478444" y="6717190"/>
              <a:ext cx="30172" cy="26310"/>
            </a:xfrm>
            <a:custGeom>
              <a:avLst/>
              <a:gdLst>
                <a:gd name="connsiteX0" fmla="*/ 989 w 53465"/>
                <a:gd name="connsiteY0" fmla="*/ 16669 h 46622"/>
                <a:gd name="connsiteX1" fmla="*/ 1415 w 53465"/>
                <a:gd name="connsiteY1" fmla="*/ 18878 h 46622"/>
                <a:gd name="connsiteX2" fmla="*/ 1921 w 53465"/>
                <a:gd name="connsiteY2" fmla="*/ 21541 h 46622"/>
                <a:gd name="connsiteX3" fmla="*/ 2426 w 53465"/>
                <a:gd name="connsiteY3" fmla="*/ 24337 h 46622"/>
                <a:gd name="connsiteX4" fmla="*/ 2719 w 53465"/>
                <a:gd name="connsiteY4" fmla="*/ 26014 h 46622"/>
                <a:gd name="connsiteX5" fmla="*/ 2719 w 53465"/>
                <a:gd name="connsiteY5" fmla="*/ 26361 h 46622"/>
                <a:gd name="connsiteX6" fmla="*/ 2719 w 53465"/>
                <a:gd name="connsiteY6" fmla="*/ 26573 h 46622"/>
                <a:gd name="connsiteX7" fmla="*/ 3199 w 53465"/>
                <a:gd name="connsiteY7" fmla="*/ 29449 h 46622"/>
                <a:gd name="connsiteX8" fmla="*/ 3651 w 53465"/>
                <a:gd name="connsiteY8" fmla="*/ 32484 h 46622"/>
                <a:gd name="connsiteX9" fmla="*/ 3891 w 53465"/>
                <a:gd name="connsiteY9" fmla="*/ 34268 h 46622"/>
                <a:gd name="connsiteX10" fmla="*/ 4370 w 53465"/>
                <a:gd name="connsiteY10" fmla="*/ 38103 h 46622"/>
                <a:gd name="connsiteX11" fmla="*/ 4743 w 53465"/>
                <a:gd name="connsiteY11" fmla="*/ 41165 h 46622"/>
                <a:gd name="connsiteX12" fmla="*/ 4743 w 53465"/>
                <a:gd name="connsiteY12" fmla="*/ 41324 h 46622"/>
                <a:gd name="connsiteX13" fmla="*/ 4743 w 53465"/>
                <a:gd name="connsiteY13" fmla="*/ 41324 h 46622"/>
                <a:gd name="connsiteX14" fmla="*/ 4743 w 53465"/>
                <a:gd name="connsiteY14" fmla="*/ 41324 h 46622"/>
                <a:gd name="connsiteX15" fmla="*/ 4743 w 53465"/>
                <a:gd name="connsiteY15" fmla="*/ 41671 h 46622"/>
                <a:gd name="connsiteX16" fmla="*/ 4743 w 53465"/>
                <a:gd name="connsiteY16" fmla="*/ 42443 h 46622"/>
                <a:gd name="connsiteX17" fmla="*/ 4743 w 53465"/>
                <a:gd name="connsiteY17" fmla="*/ 42949 h 46622"/>
                <a:gd name="connsiteX18" fmla="*/ 5063 w 53465"/>
                <a:gd name="connsiteY18" fmla="*/ 46277 h 46622"/>
                <a:gd name="connsiteX19" fmla="*/ 5063 w 53465"/>
                <a:gd name="connsiteY19" fmla="*/ 46037 h 46622"/>
                <a:gd name="connsiteX20" fmla="*/ 24313 w 53465"/>
                <a:gd name="connsiteY20" fmla="*/ 38049 h 46622"/>
                <a:gd name="connsiteX21" fmla="*/ 36668 w 53465"/>
                <a:gd name="connsiteY21" fmla="*/ 34481 h 46622"/>
                <a:gd name="connsiteX22" fmla="*/ 44416 w 53465"/>
                <a:gd name="connsiteY22" fmla="*/ 21168 h 46622"/>
                <a:gd name="connsiteX23" fmla="*/ 50460 w 53465"/>
                <a:gd name="connsiteY23" fmla="*/ 6737 h 46622"/>
                <a:gd name="connsiteX24" fmla="*/ 50833 w 53465"/>
                <a:gd name="connsiteY24" fmla="*/ 5592 h 46622"/>
                <a:gd name="connsiteX25" fmla="*/ 54454 w 53465"/>
                <a:gd name="connsiteY25" fmla="*/ -346 h 46622"/>
                <a:gd name="connsiteX26" fmla="*/ 989 w 53465"/>
                <a:gd name="connsiteY26" fmla="*/ 16669 h 4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3465" h="46622">
                  <a:moveTo>
                    <a:pt x="989" y="16669"/>
                  </a:moveTo>
                  <a:cubicBezTo>
                    <a:pt x="1148" y="17414"/>
                    <a:pt x="1282" y="18160"/>
                    <a:pt x="1415" y="18878"/>
                  </a:cubicBezTo>
                  <a:cubicBezTo>
                    <a:pt x="1548" y="19597"/>
                    <a:pt x="1761" y="20609"/>
                    <a:pt x="1921" y="21541"/>
                  </a:cubicBezTo>
                  <a:cubicBezTo>
                    <a:pt x="2080" y="22473"/>
                    <a:pt x="2267" y="23405"/>
                    <a:pt x="2426" y="24337"/>
                  </a:cubicBezTo>
                  <a:cubicBezTo>
                    <a:pt x="2586" y="25269"/>
                    <a:pt x="2613" y="25455"/>
                    <a:pt x="2719" y="26014"/>
                  </a:cubicBezTo>
                  <a:cubicBezTo>
                    <a:pt x="2719" y="26147"/>
                    <a:pt x="2719" y="26254"/>
                    <a:pt x="2719" y="26361"/>
                  </a:cubicBezTo>
                  <a:lnTo>
                    <a:pt x="2719" y="26573"/>
                  </a:lnTo>
                  <a:lnTo>
                    <a:pt x="3199" y="29449"/>
                  </a:lnTo>
                  <a:cubicBezTo>
                    <a:pt x="3358" y="30461"/>
                    <a:pt x="3492" y="31473"/>
                    <a:pt x="3651" y="32484"/>
                  </a:cubicBezTo>
                  <a:lnTo>
                    <a:pt x="3891" y="34268"/>
                  </a:lnTo>
                  <a:cubicBezTo>
                    <a:pt x="4077" y="35546"/>
                    <a:pt x="4211" y="36931"/>
                    <a:pt x="4370" y="38103"/>
                  </a:cubicBezTo>
                  <a:cubicBezTo>
                    <a:pt x="4530" y="39274"/>
                    <a:pt x="4610" y="40153"/>
                    <a:pt x="4743" y="41165"/>
                  </a:cubicBezTo>
                  <a:lnTo>
                    <a:pt x="4743" y="41324"/>
                  </a:lnTo>
                  <a:lnTo>
                    <a:pt x="4743" y="41324"/>
                  </a:lnTo>
                  <a:lnTo>
                    <a:pt x="4743" y="41324"/>
                  </a:lnTo>
                  <a:cubicBezTo>
                    <a:pt x="4743" y="41324"/>
                    <a:pt x="4743" y="41564"/>
                    <a:pt x="4743" y="41671"/>
                  </a:cubicBezTo>
                  <a:lnTo>
                    <a:pt x="4743" y="42443"/>
                  </a:lnTo>
                  <a:cubicBezTo>
                    <a:pt x="4756" y="42610"/>
                    <a:pt x="4756" y="42781"/>
                    <a:pt x="4743" y="42949"/>
                  </a:cubicBezTo>
                  <a:cubicBezTo>
                    <a:pt x="4743" y="44067"/>
                    <a:pt x="4983" y="45185"/>
                    <a:pt x="5063" y="46277"/>
                  </a:cubicBezTo>
                  <a:lnTo>
                    <a:pt x="5063" y="46037"/>
                  </a:lnTo>
                  <a:cubicBezTo>
                    <a:pt x="11274" y="42906"/>
                    <a:pt x="17710" y="40235"/>
                    <a:pt x="24313" y="38049"/>
                  </a:cubicBezTo>
                  <a:cubicBezTo>
                    <a:pt x="28360" y="36691"/>
                    <a:pt x="32487" y="35387"/>
                    <a:pt x="36668" y="34481"/>
                  </a:cubicBezTo>
                  <a:cubicBezTo>
                    <a:pt x="39546" y="30224"/>
                    <a:pt x="42134" y="25775"/>
                    <a:pt x="44416" y="21168"/>
                  </a:cubicBezTo>
                  <a:cubicBezTo>
                    <a:pt x="46735" y="16493"/>
                    <a:pt x="48756" y="11671"/>
                    <a:pt x="50460" y="6737"/>
                  </a:cubicBezTo>
                  <a:cubicBezTo>
                    <a:pt x="50460" y="6338"/>
                    <a:pt x="50700" y="5965"/>
                    <a:pt x="50833" y="5592"/>
                  </a:cubicBezTo>
                  <a:cubicBezTo>
                    <a:pt x="51589" y="3371"/>
                    <a:pt x="52825" y="1343"/>
                    <a:pt x="54454" y="-346"/>
                  </a:cubicBezTo>
                  <a:cubicBezTo>
                    <a:pt x="35701" y="1822"/>
                    <a:pt x="17545" y="7600"/>
                    <a:pt x="989" y="16669"/>
                  </a:cubicBezTo>
                </a:path>
              </a:pathLst>
            </a:custGeom>
            <a:solidFill>
              <a:srgbClr val="00A652"/>
            </a:solidFill>
            <a:ln w="2661" cap="flat">
              <a:noFill/>
              <a:prstDash val="solid"/>
              <a:miter/>
            </a:ln>
          </p:spPr>
          <p:txBody>
            <a:bodyPr rtlCol="0" anchor="ctr"/>
            <a:lstStyle/>
            <a:p>
              <a:endParaRPr lang="pl-PL"/>
            </a:p>
          </p:txBody>
        </p:sp>
        <p:sp>
          <p:nvSpPr>
            <p:cNvPr id="112" name="Freeform: Shape 111">
              <a:extLst>
                <a:ext uri="{FF2B5EF4-FFF2-40B4-BE49-F238E27FC236}">
                  <a16:creationId xmlns:a16="http://schemas.microsoft.com/office/drawing/2014/main" id="{630E1761-B7E4-43F3-9509-2B38081ED3FE}"/>
                </a:ext>
              </a:extLst>
            </p:cNvPr>
            <p:cNvSpPr/>
            <p:nvPr/>
          </p:nvSpPr>
          <p:spPr>
            <a:xfrm>
              <a:off x="11480833" y="6736694"/>
              <a:ext cx="17385" cy="17249"/>
            </a:xfrm>
            <a:custGeom>
              <a:avLst/>
              <a:gdLst>
                <a:gd name="connsiteX0" fmla="*/ 20239 w 30806"/>
                <a:gd name="connsiteY0" fmla="*/ 3409 h 30566"/>
                <a:gd name="connsiteX1" fmla="*/ 989 w 30806"/>
                <a:gd name="connsiteY1" fmla="*/ 11397 h 30566"/>
                <a:gd name="connsiteX2" fmla="*/ 989 w 30806"/>
                <a:gd name="connsiteY2" fmla="*/ 11636 h 30566"/>
                <a:gd name="connsiteX3" fmla="*/ 989 w 30806"/>
                <a:gd name="connsiteY3" fmla="*/ 13154 h 30566"/>
                <a:gd name="connsiteX4" fmla="*/ 989 w 30806"/>
                <a:gd name="connsiteY4" fmla="*/ 13314 h 30566"/>
                <a:gd name="connsiteX5" fmla="*/ 1122 w 30806"/>
                <a:gd name="connsiteY5" fmla="*/ 15550 h 30566"/>
                <a:gd name="connsiteX6" fmla="*/ 1122 w 30806"/>
                <a:gd name="connsiteY6" fmla="*/ 16029 h 30566"/>
                <a:gd name="connsiteX7" fmla="*/ 1122 w 30806"/>
                <a:gd name="connsiteY7" fmla="*/ 16029 h 30566"/>
                <a:gd name="connsiteX8" fmla="*/ 1122 w 30806"/>
                <a:gd name="connsiteY8" fmla="*/ 16269 h 30566"/>
                <a:gd name="connsiteX9" fmla="*/ 1122 w 30806"/>
                <a:gd name="connsiteY9" fmla="*/ 18186 h 30566"/>
                <a:gd name="connsiteX10" fmla="*/ 1122 w 30806"/>
                <a:gd name="connsiteY10" fmla="*/ 19731 h 30566"/>
                <a:gd name="connsiteX11" fmla="*/ 1122 w 30806"/>
                <a:gd name="connsiteY11" fmla="*/ 19917 h 30566"/>
                <a:gd name="connsiteX12" fmla="*/ 1122 w 30806"/>
                <a:gd name="connsiteY12" fmla="*/ 21674 h 30566"/>
                <a:gd name="connsiteX13" fmla="*/ 1122 w 30806"/>
                <a:gd name="connsiteY13" fmla="*/ 23219 h 30566"/>
                <a:gd name="connsiteX14" fmla="*/ 1122 w 30806"/>
                <a:gd name="connsiteY14" fmla="*/ 23538 h 30566"/>
                <a:gd name="connsiteX15" fmla="*/ 1122 w 30806"/>
                <a:gd name="connsiteY15" fmla="*/ 23538 h 30566"/>
                <a:gd name="connsiteX16" fmla="*/ 1122 w 30806"/>
                <a:gd name="connsiteY16" fmla="*/ 24710 h 30566"/>
                <a:gd name="connsiteX17" fmla="*/ 1122 w 30806"/>
                <a:gd name="connsiteY17" fmla="*/ 26174 h 30566"/>
                <a:gd name="connsiteX18" fmla="*/ 1122 w 30806"/>
                <a:gd name="connsiteY18" fmla="*/ 26174 h 30566"/>
                <a:gd name="connsiteX19" fmla="*/ 1122 w 30806"/>
                <a:gd name="connsiteY19" fmla="*/ 26307 h 30566"/>
                <a:gd name="connsiteX20" fmla="*/ 1122 w 30806"/>
                <a:gd name="connsiteY20" fmla="*/ 27266 h 30566"/>
                <a:gd name="connsiteX21" fmla="*/ 1122 w 30806"/>
                <a:gd name="connsiteY21" fmla="*/ 29023 h 30566"/>
                <a:gd name="connsiteX22" fmla="*/ 1122 w 30806"/>
                <a:gd name="connsiteY22" fmla="*/ 30221 h 30566"/>
                <a:gd name="connsiteX23" fmla="*/ 1122 w 30806"/>
                <a:gd name="connsiteY23" fmla="*/ 30221 h 30566"/>
                <a:gd name="connsiteX24" fmla="*/ 2852 w 30806"/>
                <a:gd name="connsiteY24" fmla="*/ 29050 h 30566"/>
                <a:gd name="connsiteX25" fmla="*/ 12172 w 30806"/>
                <a:gd name="connsiteY25" fmla="*/ 22020 h 30566"/>
                <a:gd name="connsiteX26" fmla="*/ 27988 w 30806"/>
                <a:gd name="connsiteY26" fmla="*/ 5060 h 30566"/>
                <a:gd name="connsiteX27" fmla="*/ 29345 w 30806"/>
                <a:gd name="connsiteY27" fmla="*/ 3222 h 30566"/>
                <a:gd name="connsiteX28" fmla="*/ 31795 w 30806"/>
                <a:gd name="connsiteY28" fmla="*/ -346 h 30566"/>
                <a:gd name="connsiteX29" fmla="*/ 19441 w 30806"/>
                <a:gd name="connsiteY29" fmla="*/ 3222 h 30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0806" h="30566">
                  <a:moveTo>
                    <a:pt x="20239" y="3409"/>
                  </a:moveTo>
                  <a:cubicBezTo>
                    <a:pt x="13636" y="5600"/>
                    <a:pt x="7203" y="8268"/>
                    <a:pt x="989" y="11397"/>
                  </a:cubicBezTo>
                  <a:lnTo>
                    <a:pt x="989" y="11636"/>
                  </a:lnTo>
                  <a:cubicBezTo>
                    <a:pt x="989" y="12142"/>
                    <a:pt x="989" y="12648"/>
                    <a:pt x="989" y="13154"/>
                  </a:cubicBezTo>
                  <a:lnTo>
                    <a:pt x="989" y="13314"/>
                  </a:lnTo>
                  <a:cubicBezTo>
                    <a:pt x="989" y="14059"/>
                    <a:pt x="989" y="14805"/>
                    <a:pt x="1122" y="15550"/>
                  </a:cubicBezTo>
                  <a:lnTo>
                    <a:pt x="1122" y="16029"/>
                  </a:lnTo>
                  <a:lnTo>
                    <a:pt x="1122" y="16029"/>
                  </a:lnTo>
                  <a:lnTo>
                    <a:pt x="1122" y="16269"/>
                  </a:lnTo>
                  <a:cubicBezTo>
                    <a:pt x="1122" y="16908"/>
                    <a:pt x="1122" y="17547"/>
                    <a:pt x="1122" y="18186"/>
                  </a:cubicBezTo>
                  <a:cubicBezTo>
                    <a:pt x="1122" y="18825"/>
                    <a:pt x="1122" y="19225"/>
                    <a:pt x="1122" y="19731"/>
                  </a:cubicBezTo>
                  <a:lnTo>
                    <a:pt x="1122" y="19917"/>
                  </a:lnTo>
                  <a:lnTo>
                    <a:pt x="1122" y="21674"/>
                  </a:lnTo>
                  <a:cubicBezTo>
                    <a:pt x="1122" y="22207"/>
                    <a:pt x="1122" y="22713"/>
                    <a:pt x="1122" y="23219"/>
                  </a:cubicBezTo>
                  <a:cubicBezTo>
                    <a:pt x="1135" y="23325"/>
                    <a:pt x="1135" y="23432"/>
                    <a:pt x="1122" y="23538"/>
                  </a:cubicBezTo>
                  <a:lnTo>
                    <a:pt x="1122" y="23538"/>
                  </a:lnTo>
                  <a:cubicBezTo>
                    <a:pt x="1122" y="23937"/>
                    <a:pt x="1122" y="24310"/>
                    <a:pt x="1122" y="24710"/>
                  </a:cubicBezTo>
                  <a:cubicBezTo>
                    <a:pt x="1122" y="25109"/>
                    <a:pt x="1122" y="25695"/>
                    <a:pt x="1122" y="26174"/>
                  </a:cubicBezTo>
                  <a:lnTo>
                    <a:pt x="1122" y="26174"/>
                  </a:lnTo>
                  <a:lnTo>
                    <a:pt x="1122" y="26307"/>
                  </a:lnTo>
                  <a:cubicBezTo>
                    <a:pt x="1122" y="26627"/>
                    <a:pt x="1122" y="26946"/>
                    <a:pt x="1122" y="27266"/>
                  </a:cubicBezTo>
                  <a:cubicBezTo>
                    <a:pt x="1122" y="27585"/>
                    <a:pt x="1122" y="28437"/>
                    <a:pt x="1122" y="29023"/>
                  </a:cubicBezTo>
                  <a:cubicBezTo>
                    <a:pt x="1122" y="29609"/>
                    <a:pt x="1122" y="29822"/>
                    <a:pt x="1122" y="30221"/>
                  </a:cubicBezTo>
                  <a:lnTo>
                    <a:pt x="1122" y="30221"/>
                  </a:lnTo>
                  <a:lnTo>
                    <a:pt x="2852" y="29050"/>
                  </a:lnTo>
                  <a:cubicBezTo>
                    <a:pt x="6090" y="26888"/>
                    <a:pt x="9203" y="24539"/>
                    <a:pt x="12172" y="22020"/>
                  </a:cubicBezTo>
                  <a:cubicBezTo>
                    <a:pt x="18035" y="16948"/>
                    <a:pt x="23336" y="11263"/>
                    <a:pt x="27988" y="5060"/>
                  </a:cubicBezTo>
                  <a:lnTo>
                    <a:pt x="29345" y="3222"/>
                  </a:lnTo>
                  <a:cubicBezTo>
                    <a:pt x="30198" y="2024"/>
                    <a:pt x="31023" y="853"/>
                    <a:pt x="31795" y="-346"/>
                  </a:cubicBezTo>
                  <a:cubicBezTo>
                    <a:pt x="27615" y="666"/>
                    <a:pt x="23488" y="1864"/>
                    <a:pt x="19441" y="3222"/>
                  </a:cubicBezTo>
                </a:path>
              </a:pathLst>
            </a:custGeom>
            <a:solidFill>
              <a:srgbClr val="8FD942"/>
            </a:solidFill>
            <a:ln w="2661" cap="flat">
              <a:noFill/>
              <a:prstDash val="solid"/>
              <a:miter/>
            </a:ln>
          </p:spPr>
          <p:txBody>
            <a:bodyPr rtlCol="0" anchor="ctr"/>
            <a:lstStyle/>
            <a:p>
              <a:endParaRPr lang="pl-PL"/>
            </a:p>
          </p:txBody>
        </p:sp>
        <p:sp>
          <p:nvSpPr>
            <p:cNvPr id="113" name="Freeform: Shape 112">
              <a:extLst>
                <a:ext uri="{FF2B5EF4-FFF2-40B4-BE49-F238E27FC236}">
                  <a16:creationId xmlns:a16="http://schemas.microsoft.com/office/drawing/2014/main" id="{958A50CF-96AF-4F67-A222-FDBDF65402BE}"/>
                </a:ext>
              </a:extLst>
            </p:cNvPr>
            <p:cNvSpPr/>
            <p:nvPr/>
          </p:nvSpPr>
          <p:spPr>
            <a:xfrm>
              <a:off x="11402788" y="6644225"/>
              <a:ext cx="49180" cy="59563"/>
            </a:xfrm>
            <a:custGeom>
              <a:avLst/>
              <a:gdLst>
                <a:gd name="connsiteX0" fmla="*/ 64918 w 87147"/>
                <a:gd name="connsiteY0" fmla="*/ 17494 h 105546"/>
                <a:gd name="connsiteX1" fmla="*/ 44735 w 87147"/>
                <a:gd name="connsiteY1" fmla="*/ -346 h 105546"/>
                <a:gd name="connsiteX2" fmla="*/ 14302 w 87147"/>
                <a:gd name="connsiteY2" fmla="*/ 29263 h 105546"/>
                <a:gd name="connsiteX3" fmla="*/ 989 w 87147"/>
                <a:gd name="connsiteY3" fmla="*/ 50111 h 105546"/>
                <a:gd name="connsiteX4" fmla="*/ 2160 w 87147"/>
                <a:gd name="connsiteY4" fmla="*/ 51602 h 105546"/>
                <a:gd name="connsiteX5" fmla="*/ 36774 w 87147"/>
                <a:gd name="connsiteY5" fmla="*/ 105200 h 105546"/>
                <a:gd name="connsiteX6" fmla="*/ 80015 w 87147"/>
                <a:gd name="connsiteY6" fmla="*/ 49286 h 105546"/>
                <a:gd name="connsiteX7" fmla="*/ 80894 w 87147"/>
                <a:gd name="connsiteY7" fmla="*/ 48647 h 105546"/>
                <a:gd name="connsiteX8" fmla="*/ 88136 w 87147"/>
                <a:gd name="connsiteY8" fmla="*/ 43641 h 105546"/>
                <a:gd name="connsiteX9" fmla="*/ 64891 w 87147"/>
                <a:gd name="connsiteY9" fmla="*/ 17441 h 105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147" h="105546">
                  <a:moveTo>
                    <a:pt x="64918" y="17494"/>
                  </a:moveTo>
                  <a:cubicBezTo>
                    <a:pt x="58514" y="11192"/>
                    <a:pt x="51778" y="5235"/>
                    <a:pt x="44735" y="-346"/>
                  </a:cubicBezTo>
                  <a:cubicBezTo>
                    <a:pt x="33206" y="7994"/>
                    <a:pt x="22955" y="17968"/>
                    <a:pt x="14302" y="29263"/>
                  </a:cubicBezTo>
                  <a:cubicBezTo>
                    <a:pt x="9269" y="35815"/>
                    <a:pt x="4815" y="42791"/>
                    <a:pt x="989" y="50111"/>
                  </a:cubicBezTo>
                  <a:cubicBezTo>
                    <a:pt x="1388" y="50590"/>
                    <a:pt x="1761" y="51096"/>
                    <a:pt x="2160" y="51602"/>
                  </a:cubicBezTo>
                  <a:cubicBezTo>
                    <a:pt x="15061" y="68552"/>
                    <a:pt x="26632" y="86472"/>
                    <a:pt x="36774" y="105200"/>
                  </a:cubicBezTo>
                  <a:cubicBezTo>
                    <a:pt x="45936" y="83034"/>
                    <a:pt x="60868" y="63728"/>
                    <a:pt x="80015" y="49286"/>
                  </a:cubicBezTo>
                  <a:lnTo>
                    <a:pt x="80894" y="48647"/>
                  </a:lnTo>
                  <a:cubicBezTo>
                    <a:pt x="83263" y="46916"/>
                    <a:pt x="85660" y="45238"/>
                    <a:pt x="88136" y="43641"/>
                  </a:cubicBezTo>
                  <a:cubicBezTo>
                    <a:pt x="81003" y="34380"/>
                    <a:pt x="73236" y="25626"/>
                    <a:pt x="64891" y="17441"/>
                  </a:cubicBezTo>
                </a:path>
              </a:pathLst>
            </a:custGeom>
            <a:solidFill>
              <a:srgbClr val="FAC200"/>
            </a:solidFill>
            <a:ln w="2661" cap="flat">
              <a:noFill/>
              <a:prstDash val="solid"/>
              <a:miter/>
            </a:ln>
          </p:spPr>
          <p:txBody>
            <a:bodyPr rtlCol="0" anchor="ctr"/>
            <a:lstStyle/>
            <a:p>
              <a:endParaRPr lang="pl-PL"/>
            </a:p>
          </p:txBody>
        </p:sp>
        <p:sp>
          <p:nvSpPr>
            <p:cNvPr id="114" name="Freeform: Shape 113">
              <a:extLst>
                <a:ext uri="{FF2B5EF4-FFF2-40B4-BE49-F238E27FC236}">
                  <a16:creationId xmlns:a16="http://schemas.microsoft.com/office/drawing/2014/main" id="{09AAB5C6-278A-4919-8781-16C4C9BC969C}"/>
                </a:ext>
              </a:extLst>
            </p:cNvPr>
            <p:cNvSpPr/>
            <p:nvPr/>
          </p:nvSpPr>
          <p:spPr>
            <a:xfrm>
              <a:off x="11393217" y="6700272"/>
              <a:ext cx="51283" cy="56601"/>
            </a:xfrm>
            <a:custGeom>
              <a:avLst/>
              <a:gdLst>
                <a:gd name="connsiteX0" fmla="*/ 90133 w 90874"/>
                <a:gd name="connsiteY0" fmla="*/ 93882 h 100298"/>
                <a:gd name="connsiteX1" fmla="*/ 81613 w 90874"/>
                <a:gd name="connsiteY1" fmla="*/ 68055 h 100298"/>
                <a:gd name="connsiteX2" fmla="*/ 53762 w 90874"/>
                <a:gd name="connsiteY2" fmla="*/ 5909 h 100298"/>
                <a:gd name="connsiteX3" fmla="*/ 53762 w 90874"/>
                <a:gd name="connsiteY3" fmla="*/ 5909 h 100298"/>
                <a:gd name="connsiteX4" fmla="*/ 34165 w 90874"/>
                <a:gd name="connsiteY4" fmla="*/ 1276 h 100298"/>
                <a:gd name="connsiteX5" fmla="*/ 2213 w 90874"/>
                <a:gd name="connsiteY5" fmla="*/ 132 h 100298"/>
                <a:gd name="connsiteX6" fmla="*/ 989 w 90874"/>
                <a:gd name="connsiteY6" fmla="*/ 19089 h 100298"/>
                <a:gd name="connsiteX7" fmla="*/ 9376 w 90874"/>
                <a:gd name="connsiteY7" fmla="*/ 68081 h 100298"/>
                <a:gd name="connsiteX8" fmla="*/ 14888 w 90874"/>
                <a:gd name="connsiteY8" fmla="*/ 81395 h 100298"/>
                <a:gd name="connsiteX9" fmla="*/ 27854 w 90874"/>
                <a:gd name="connsiteY9" fmla="*/ 81182 h 100298"/>
                <a:gd name="connsiteX10" fmla="*/ 80388 w 90874"/>
                <a:gd name="connsiteY10" fmla="*/ 93829 h 100298"/>
                <a:gd name="connsiteX11" fmla="*/ 91864 w 90874"/>
                <a:gd name="connsiteY11" fmla="*/ 99953 h 100298"/>
                <a:gd name="connsiteX12" fmla="*/ 90080 w 90874"/>
                <a:gd name="connsiteY12" fmla="*/ 93829 h 10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874" h="100298">
                  <a:moveTo>
                    <a:pt x="90133" y="93882"/>
                  </a:moveTo>
                  <a:cubicBezTo>
                    <a:pt x="87470" y="85008"/>
                    <a:pt x="84629" y="76397"/>
                    <a:pt x="81613" y="68055"/>
                  </a:cubicBezTo>
                  <a:cubicBezTo>
                    <a:pt x="73918" y="46663"/>
                    <a:pt x="64607" y="25890"/>
                    <a:pt x="53762" y="5909"/>
                  </a:cubicBezTo>
                  <a:lnTo>
                    <a:pt x="53762" y="5909"/>
                  </a:lnTo>
                  <a:cubicBezTo>
                    <a:pt x="47353" y="3883"/>
                    <a:pt x="40803" y="2336"/>
                    <a:pt x="34165" y="1276"/>
                  </a:cubicBezTo>
                  <a:cubicBezTo>
                    <a:pt x="23600" y="-390"/>
                    <a:pt x="12872" y="-774"/>
                    <a:pt x="2213" y="132"/>
                  </a:cubicBezTo>
                  <a:cubicBezTo>
                    <a:pt x="1401" y="6418"/>
                    <a:pt x="991" y="12750"/>
                    <a:pt x="989" y="19089"/>
                  </a:cubicBezTo>
                  <a:cubicBezTo>
                    <a:pt x="973" y="35779"/>
                    <a:pt x="3808" y="52348"/>
                    <a:pt x="9376" y="68081"/>
                  </a:cubicBezTo>
                  <a:cubicBezTo>
                    <a:pt x="10992" y="72627"/>
                    <a:pt x="12829" y="77063"/>
                    <a:pt x="14888" y="81395"/>
                  </a:cubicBezTo>
                  <a:cubicBezTo>
                    <a:pt x="19174" y="81128"/>
                    <a:pt x="23488" y="81048"/>
                    <a:pt x="27854" y="81182"/>
                  </a:cubicBezTo>
                  <a:cubicBezTo>
                    <a:pt x="46046" y="81775"/>
                    <a:pt x="63920" y="86078"/>
                    <a:pt x="80388" y="93829"/>
                  </a:cubicBezTo>
                  <a:cubicBezTo>
                    <a:pt x="84329" y="95605"/>
                    <a:pt x="88155" y="97645"/>
                    <a:pt x="91864" y="99953"/>
                  </a:cubicBezTo>
                  <a:cubicBezTo>
                    <a:pt x="91278" y="97903"/>
                    <a:pt x="90692" y="95853"/>
                    <a:pt x="90080" y="93829"/>
                  </a:cubicBezTo>
                </a:path>
              </a:pathLst>
            </a:custGeom>
            <a:solidFill>
              <a:srgbClr val="FAC200"/>
            </a:solidFill>
            <a:ln w="2661" cap="flat">
              <a:noFill/>
              <a:prstDash val="solid"/>
              <a:miter/>
            </a:ln>
          </p:spPr>
          <p:txBody>
            <a:bodyPr rtlCol="0" anchor="ctr"/>
            <a:lstStyle/>
            <a:p>
              <a:endParaRPr lang="pl-PL"/>
            </a:p>
          </p:txBody>
        </p:sp>
        <p:sp>
          <p:nvSpPr>
            <p:cNvPr id="115" name="Freeform: Shape 114">
              <a:extLst>
                <a:ext uri="{FF2B5EF4-FFF2-40B4-BE49-F238E27FC236}">
                  <a16:creationId xmlns:a16="http://schemas.microsoft.com/office/drawing/2014/main" id="{283B1A20-E1C2-4CCA-BA19-02D8DCA6D49F}"/>
                </a:ext>
              </a:extLst>
            </p:cNvPr>
            <p:cNvSpPr/>
            <p:nvPr/>
          </p:nvSpPr>
          <p:spPr>
            <a:xfrm>
              <a:off x="11444530" y="6711466"/>
              <a:ext cx="36834" cy="78871"/>
            </a:xfrm>
            <a:custGeom>
              <a:avLst/>
              <a:gdLst>
                <a:gd name="connsiteX0" fmla="*/ 64785 w 65270"/>
                <a:gd name="connsiteY0" fmla="*/ 76205 h 139760"/>
                <a:gd name="connsiteX1" fmla="*/ 66249 w 65270"/>
                <a:gd name="connsiteY1" fmla="*/ 75246 h 139760"/>
                <a:gd name="connsiteX2" fmla="*/ 66249 w 65270"/>
                <a:gd name="connsiteY2" fmla="*/ 74048 h 139760"/>
                <a:gd name="connsiteX3" fmla="*/ 66249 w 65270"/>
                <a:gd name="connsiteY3" fmla="*/ 72291 h 139760"/>
                <a:gd name="connsiteX4" fmla="*/ 66249 w 65270"/>
                <a:gd name="connsiteY4" fmla="*/ 71332 h 139760"/>
                <a:gd name="connsiteX5" fmla="*/ 66249 w 65270"/>
                <a:gd name="connsiteY5" fmla="*/ 71199 h 139760"/>
                <a:gd name="connsiteX6" fmla="*/ 66249 w 65270"/>
                <a:gd name="connsiteY6" fmla="*/ 71199 h 139760"/>
                <a:gd name="connsiteX7" fmla="*/ 66249 w 65270"/>
                <a:gd name="connsiteY7" fmla="*/ 69734 h 139760"/>
                <a:gd name="connsiteX8" fmla="*/ 66249 w 65270"/>
                <a:gd name="connsiteY8" fmla="*/ 68563 h 139760"/>
                <a:gd name="connsiteX9" fmla="*/ 66249 w 65270"/>
                <a:gd name="connsiteY9" fmla="*/ 68563 h 139760"/>
                <a:gd name="connsiteX10" fmla="*/ 66249 w 65270"/>
                <a:gd name="connsiteY10" fmla="*/ 68243 h 139760"/>
                <a:gd name="connsiteX11" fmla="*/ 66249 w 65270"/>
                <a:gd name="connsiteY11" fmla="*/ 66699 h 139760"/>
                <a:gd name="connsiteX12" fmla="*/ 66249 w 65270"/>
                <a:gd name="connsiteY12" fmla="*/ 64942 h 139760"/>
                <a:gd name="connsiteX13" fmla="*/ 66249 w 65270"/>
                <a:gd name="connsiteY13" fmla="*/ 64755 h 139760"/>
                <a:gd name="connsiteX14" fmla="*/ 66249 w 65270"/>
                <a:gd name="connsiteY14" fmla="*/ 63211 h 139760"/>
                <a:gd name="connsiteX15" fmla="*/ 66249 w 65270"/>
                <a:gd name="connsiteY15" fmla="*/ 61294 h 139760"/>
                <a:gd name="connsiteX16" fmla="*/ 66249 w 65270"/>
                <a:gd name="connsiteY16" fmla="*/ 61054 h 139760"/>
                <a:gd name="connsiteX17" fmla="*/ 66249 w 65270"/>
                <a:gd name="connsiteY17" fmla="*/ 61054 h 139760"/>
                <a:gd name="connsiteX18" fmla="*/ 66249 w 65270"/>
                <a:gd name="connsiteY18" fmla="*/ 60575 h 139760"/>
                <a:gd name="connsiteX19" fmla="*/ 66116 w 65270"/>
                <a:gd name="connsiteY19" fmla="*/ 58338 h 139760"/>
                <a:gd name="connsiteX20" fmla="*/ 66116 w 65270"/>
                <a:gd name="connsiteY20" fmla="*/ 58179 h 139760"/>
                <a:gd name="connsiteX21" fmla="*/ 66116 w 65270"/>
                <a:gd name="connsiteY21" fmla="*/ 56661 h 139760"/>
                <a:gd name="connsiteX22" fmla="*/ 65797 w 65270"/>
                <a:gd name="connsiteY22" fmla="*/ 53333 h 139760"/>
                <a:gd name="connsiteX23" fmla="*/ 65797 w 65270"/>
                <a:gd name="connsiteY23" fmla="*/ 52827 h 139760"/>
                <a:gd name="connsiteX24" fmla="*/ 65797 w 65270"/>
                <a:gd name="connsiteY24" fmla="*/ 51868 h 139760"/>
                <a:gd name="connsiteX25" fmla="*/ 65797 w 65270"/>
                <a:gd name="connsiteY25" fmla="*/ 51442 h 139760"/>
                <a:gd name="connsiteX26" fmla="*/ 65424 w 65270"/>
                <a:gd name="connsiteY26" fmla="*/ 48380 h 139760"/>
                <a:gd name="connsiteX27" fmla="*/ 64971 w 65270"/>
                <a:gd name="connsiteY27" fmla="*/ 44546 h 139760"/>
                <a:gd name="connsiteX28" fmla="*/ 64705 w 65270"/>
                <a:gd name="connsiteY28" fmla="*/ 42762 h 139760"/>
                <a:gd name="connsiteX29" fmla="*/ 64705 w 65270"/>
                <a:gd name="connsiteY29" fmla="*/ 41830 h 139760"/>
                <a:gd name="connsiteX30" fmla="*/ 64386 w 65270"/>
                <a:gd name="connsiteY30" fmla="*/ 39753 h 139760"/>
                <a:gd name="connsiteX31" fmla="*/ 64386 w 65270"/>
                <a:gd name="connsiteY31" fmla="*/ 39753 h 139760"/>
                <a:gd name="connsiteX32" fmla="*/ 63906 w 65270"/>
                <a:gd name="connsiteY32" fmla="*/ 36878 h 139760"/>
                <a:gd name="connsiteX33" fmla="*/ 63906 w 65270"/>
                <a:gd name="connsiteY33" fmla="*/ 36665 h 139760"/>
                <a:gd name="connsiteX34" fmla="*/ 63640 w 65270"/>
                <a:gd name="connsiteY34" fmla="*/ 35094 h 139760"/>
                <a:gd name="connsiteX35" fmla="*/ 63640 w 65270"/>
                <a:gd name="connsiteY35" fmla="*/ 34641 h 139760"/>
                <a:gd name="connsiteX36" fmla="*/ 63640 w 65270"/>
                <a:gd name="connsiteY36" fmla="*/ 33816 h 139760"/>
                <a:gd name="connsiteX37" fmla="*/ 63294 w 65270"/>
                <a:gd name="connsiteY37" fmla="*/ 31979 h 139760"/>
                <a:gd name="connsiteX38" fmla="*/ 63294 w 65270"/>
                <a:gd name="connsiteY38" fmla="*/ 31845 h 139760"/>
                <a:gd name="connsiteX39" fmla="*/ 62815 w 65270"/>
                <a:gd name="connsiteY39" fmla="*/ 29183 h 139760"/>
                <a:gd name="connsiteX40" fmla="*/ 62362 w 65270"/>
                <a:gd name="connsiteY40" fmla="*/ 26973 h 139760"/>
                <a:gd name="connsiteX41" fmla="*/ 62362 w 65270"/>
                <a:gd name="connsiteY41" fmla="*/ 26520 h 139760"/>
                <a:gd name="connsiteX42" fmla="*/ 61377 w 65270"/>
                <a:gd name="connsiteY42" fmla="*/ 22100 h 139760"/>
                <a:gd name="connsiteX43" fmla="*/ 61377 w 65270"/>
                <a:gd name="connsiteY43" fmla="*/ 22100 h 139760"/>
                <a:gd name="connsiteX44" fmla="*/ 60951 w 65270"/>
                <a:gd name="connsiteY44" fmla="*/ 20316 h 139760"/>
                <a:gd name="connsiteX45" fmla="*/ 60951 w 65270"/>
                <a:gd name="connsiteY45" fmla="*/ 20130 h 139760"/>
                <a:gd name="connsiteX46" fmla="*/ 60205 w 65270"/>
                <a:gd name="connsiteY46" fmla="*/ 17015 h 139760"/>
                <a:gd name="connsiteX47" fmla="*/ 60205 w 65270"/>
                <a:gd name="connsiteY47" fmla="*/ 17015 h 139760"/>
                <a:gd name="connsiteX48" fmla="*/ 59753 w 65270"/>
                <a:gd name="connsiteY48" fmla="*/ 15177 h 139760"/>
                <a:gd name="connsiteX49" fmla="*/ 59753 w 65270"/>
                <a:gd name="connsiteY49" fmla="*/ 15177 h 139760"/>
                <a:gd name="connsiteX50" fmla="*/ 58847 w 65270"/>
                <a:gd name="connsiteY50" fmla="*/ 11769 h 139760"/>
                <a:gd name="connsiteX51" fmla="*/ 58421 w 65270"/>
                <a:gd name="connsiteY51" fmla="*/ 10172 h 139760"/>
                <a:gd name="connsiteX52" fmla="*/ 57010 w 65270"/>
                <a:gd name="connsiteY52" fmla="*/ 5326 h 139760"/>
                <a:gd name="connsiteX53" fmla="*/ 57010 w 65270"/>
                <a:gd name="connsiteY53" fmla="*/ 5166 h 139760"/>
                <a:gd name="connsiteX54" fmla="*/ 56691 w 65270"/>
                <a:gd name="connsiteY54" fmla="*/ 4208 h 139760"/>
                <a:gd name="connsiteX55" fmla="*/ 56691 w 65270"/>
                <a:gd name="connsiteY55" fmla="*/ 4074 h 139760"/>
                <a:gd name="connsiteX56" fmla="*/ 55546 w 65270"/>
                <a:gd name="connsiteY56" fmla="*/ 453 h 139760"/>
                <a:gd name="connsiteX57" fmla="*/ 55306 w 65270"/>
                <a:gd name="connsiteY57" fmla="*/ -346 h 139760"/>
                <a:gd name="connsiteX58" fmla="*/ 55306 w 65270"/>
                <a:gd name="connsiteY58" fmla="*/ -346 h 139760"/>
                <a:gd name="connsiteX59" fmla="*/ 32141 w 65270"/>
                <a:gd name="connsiteY59" fmla="*/ 19597 h 139760"/>
                <a:gd name="connsiteX60" fmla="*/ 11293 w 65270"/>
                <a:gd name="connsiteY60" fmla="*/ 48114 h 139760"/>
                <a:gd name="connsiteX61" fmla="*/ 2320 w 65270"/>
                <a:gd name="connsiteY61" fmla="*/ 73941 h 139760"/>
                <a:gd name="connsiteX62" fmla="*/ 989 w 65270"/>
                <a:gd name="connsiteY62" fmla="*/ 80065 h 139760"/>
                <a:gd name="connsiteX63" fmla="*/ 5355 w 65270"/>
                <a:gd name="connsiteY63" fmla="*/ 96467 h 139760"/>
                <a:gd name="connsiteX64" fmla="*/ 6447 w 65270"/>
                <a:gd name="connsiteY64" fmla="*/ 100940 h 139760"/>
                <a:gd name="connsiteX65" fmla="*/ 14142 w 65270"/>
                <a:gd name="connsiteY65" fmla="*/ 139415 h 139760"/>
                <a:gd name="connsiteX66" fmla="*/ 35443 w 65270"/>
                <a:gd name="connsiteY66" fmla="*/ 100940 h 139760"/>
                <a:gd name="connsiteX67" fmla="*/ 64732 w 65270"/>
                <a:gd name="connsiteY67" fmla="*/ 76098 h 13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5270" h="139760">
                  <a:moveTo>
                    <a:pt x="64785" y="76205"/>
                  </a:moveTo>
                  <a:lnTo>
                    <a:pt x="66249" y="75246"/>
                  </a:lnTo>
                  <a:cubicBezTo>
                    <a:pt x="66249" y="74847"/>
                    <a:pt x="66249" y="74447"/>
                    <a:pt x="66249" y="74048"/>
                  </a:cubicBezTo>
                  <a:cubicBezTo>
                    <a:pt x="66249" y="73648"/>
                    <a:pt x="66249" y="72876"/>
                    <a:pt x="66249" y="72291"/>
                  </a:cubicBezTo>
                  <a:cubicBezTo>
                    <a:pt x="66249" y="71705"/>
                    <a:pt x="66249" y="71652"/>
                    <a:pt x="66249" y="71332"/>
                  </a:cubicBezTo>
                  <a:lnTo>
                    <a:pt x="66249" y="71199"/>
                  </a:lnTo>
                  <a:lnTo>
                    <a:pt x="66249" y="71199"/>
                  </a:lnTo>
                  <a:cubicBezTo>
                    <a:pt x="66249" y="70720"/>
                    <a:pt x="66249" y="70214"/>
                    <a:pt x="66249" y="69734"/>
                  </a:cubicBezTo>
                  <a:cubicBezTo>
                    <a:pt x="66249" y="69255"/>
                    <a:pt x="66249" y="68962"/>
                    <a:pt x="66249" y="68563"/>
                  </a:cubicBezTo>
                  <a:lnTo>
                    <a:pt x="66249" y="68563"/>
                  </a:lnTo>
                  <a:cubicBezTo>
                    <a:pt x="66263" y="68456"/>
                    <a:pt x="66263" y="68350"/>
                    <a:pt x="66249" y="68243"/>
                  </a:cubicBezTo>
                  <a:cubicBezTo>
                    <a:pt x="66249" y="67737"/>
                    <a:pt x="66249" y="67232"/>
                    <a:pt x="66249" y="66699"/>
                  </a:cubicBezTo>
                  <a:lnTo>
                    <a:pt x="66249" y="64942"/>
                  </a:lnTo>
                  <a:lnTo>
                    <a:pt x="66249" y="64755"/>
                  </a:lnTo>
                  <a:cubicBezTo>
                    <a:pt x="66249" y="64249"/>
                    <a:pt x="66249" y="63744"/>
                    <a:pt x="66249" y="63211"/>
                  </a:cubicBezTo>
                  <a:cubicBezTo>
                    <a:pt x="66249" y="62679"/>
                    <a:pt x="66249" y="61933"/>
                    <a:pt x="66249" y="61294"/>
                  </a:cubicBezTo>
                  <a:lnTo>
                    <a:pt x="66249" y="61054"/>
                  </a:lnTo>
                  <a:lnTo>
                    <a:pt x="66249" y="61054"/>
                  </a:lnTo>
                  <a:lnTo>
                    <a:pt x="66249" y="60575"/>
                  </a:lnTo>
                  <a:cubicBezTo>
                    <a:pt x="66249" y="59830"/>
                    <a:pt x="66249" y="59084"/>
                    <a:pt x="66116" y="58338"/>
                  </a:cubicBezTo>
                  <a:lnTo>
                    <a:pt x="66116" y="58179"/>
                  </a:lnTo>
                  <a:cubicBezTo>
                    <a:pt x="66116" y="57673"/>
                    <a:pt x="66116" y="57167"/>
                    <a:pt x="66116" y="56661"/>
                  </a:cubicBezTo>
                  <a:cubicBezTo>
                    <a:pt x="66116" y="55543"/>
                    <a:pt x="65930" y="54451"/>
                    <a:pt x="65797" y="53333"/>
                  </a:cubicBezTo>
                  <a:cubicBezTo>
                    <a:pt x="65797" y="53146"/>
                    <a:pt x="65797" y="52987"/>
                    <a:pt x="65797" y="52827"/>
                  </a:cubicBezTo>
                  <a:cubicBezTo>
                    <a:pt x="65797" y="52667"/>
                    <a:pt x="65797" y="52188"/>
                    <a:pt x="65797" y="51868"/>
                  </a:cubicBezTo>
                  <a:lnTo>
                    <a:pt x="65797" y="51442"/>
                  </a:lnTo>
                  <a:cubicBezTo>
                    <a:pt x="65797" y="50430"/>
                    <a:pt x="65557" y="49392"/>
                    <a:pt x="65424" y="48380"/>
                  </a:cubicBezTo>
                  <a:cubicBezTo>
                    <a:pt x="65291" y="47368"/>
                    <a:pt x="65131" y="45718"/>
                    <a:pt x="64971" y="44546"/>
                  </a:cubicBezTo>
                  <a:cubicBezTo>
                    <a:pt x="64971" y="43960"/>
                    <a:pt x="64785" y="43348"/>
                    <a:pt x="64705" y="42762"/>
                  </a:cubicBezTo>
                  <a:cubicBezTo>
                    <a:pt x="64625" y="42176"/>
                    <a:pt x="64705" y="42150"/>
                    <a:pt x="64705" y="41830"/>
                  </a:cubicBezTo>
                  <a:lnTo>
                    <a:pt x="64386" y="39753"/>
                  </a:lnTo>
                  <a:lnTo>
                    <a:pt x="64386" y="39753"/>
                  </a:lnTo>
                  <a:lnTo>
                    <a:pt x="63906" y="36878"/>
                  </a:lnTo>
                  <a:lnTo>
                    <a:pt x="63906" y="36665"/>
                  </a:lnTo>
                  <a:cubicBezTo>
                    <a:pt x="63906" y="36132"/>
                    <a:pt x="63720" y="35600"/>
                    <a:pt x="63640" y="35094"/>
                  </a:cubicBezTo>
                  <a:lnTo>
                    <a:pt x="63640" y="34641"/>
                  </a:lnTo>
                  <a:cubicBezTo>
                    <a:pt x="63640" y="34348"/>
                    <a:pt x="63640" y="34082"/>
                    <a:pt x="63640" y="33816"/>
                  </a:cubicBezTo>
                  <a:cubicBezTo>
                    <a:pt x="63640" y="33550"/>
                    <a:pt x="63400" y="32591"/>
                    <a:pt x="63294" y="31979"/>
                  </a:cubicBezTo>
                  <a:lnTo>
                    <a:pt x="63294" y="31845"/>
                  </a:lnTo>
                  <a:lnTo>
                    <a:pt x="62815" y="29183"/>
                  </a:lnTo>
                  <a:cubicBezTo>
                    <a:pt x="62655" y="28437"/>
                    <a:pt x="62522" y="27718"/>
                    <a:pt x="62362" y="26973"/>
                  </a:cubicBezTo>
                  <a:lnTo>
                    <a:pt x="62362" y="26520"/>
                  </a:lnTo>
                  <a:cubicBezTo>
                    <a:pt x="62042" y="25056"/>
                    <a:pt x="61723" y="23565"/>
                    <a:pt x="61377" y="22100"/>
                  </a:cubicBezTo>
                  <a:lnTo>
                    <a:pt x="61377" y="22100"/>
                  </a:lnTo>
                  <a:cubicBezTo>
                    <a:pt x="61244" y="21515"/>
                    <a:pt x="61084" y="20902"/>
                    <a:pt x="60951" y="20316"/>
                  </a:cubicBezTo>
                  <a:lnTo>
                    <a:pt x="60951" y="20130"/>
                  </a:lnTo>
                  <a:cubicBezTo>
                    <a:pt x="60711" y="19092"/>
                    <a:pt x="60472" y="18053"/>
                    <a:pt x="60205" y="17015"/>
                  </a:cubicBezTo>
                  <a:lnTo>
                    <a:pt x="60205" y="17015"/>
                  </a:lnTo>
                  <a:cubicBezTo>
                    <a:pt x="60046" y="16402"/>
                    <a:pt x="59912" y="15790"/>
                    <a:pt x="59753" y="15177"/>
                  </a:cubicBezTo>
                  <a:lnTo>
                    <a:pt x="59753" y="15177"/>
                  </a:lnTo>
                  <a:cubicBezTo>
                    <a:pt x="59460" y="14033"/>
                    <a:pt x="59140" y="12914"/>
                    <a:pt x="58847" y="11769"/>
                  </a:cubicBezTo>
                  <a:cubicBezTo>
                    <a:pt x="58688" y="11237"/>
                    <a:pt x="58554" y="10704"/>
                    <a:pt x="58421" y="10172"/>
                  </a:cubicBezTo>
                  <a:cubicBezTo>
                    <a:pt x="57969" y="8548"/>
                    <a:pt x="57489" y="6950"/>
                    <a:pt x="57010" y="5326"/>
                  </a:cubicBezTo>
                  <a:lnTo>
                    <a:pt x="57010" y="5166"/>
                  </a:lnTo>
                  <a:lnTo>
                    <a:pt x="56691" y="4208"/>
                  </a:lnTo>
                  <a:lnTo>
                    <a:pt x="56691" y="4074"/>
                  </a:lnTo>
                  <a:cubicBezTo>
                    <a:pt x="56318" y="2876"/>
                    <a:pt x="55945" y="1651"/>
                    <a:pt x="55546" y="453"/>
                  </a:cubicBezTo>
                  <a:lnTo>
                    <a:pt x="55306" y="-346"/>
                  </a:lnTo>
                  <a:lnTo>
                    <a:pt x="55306" y="-346"/>
                  </a:lnTo>
                  <a:cubicBezTo>
                    <a:pt x="46772" y="5297"/>
                    <a:pt x="38990" y="11998"/>
                    <a:pt x="32141" y="19597"/>
                  </a:cubicBezTo>
                  <a:cubicBezTo>
                    <a:pt x="23791" y="27995"/>
                    <a:pt x="16762" y="37610"/>
                    <a:pt x="11293" y="48114"/>
                  </a:cubicBezTo>
                  <a:cubicBezTo>
                    <a:pt x="7430" y="56395"/>
                    <a:pt x="4423" y="65048"/>
                    <a:pt x="2320" y="73941"/>
                  </a:cubicBezTo>
                  <a:cubicBezTo>
                    <a:pt x="1814" y="76071"/>
                    <a:pt x="1362" y="78122"/>
                    <a:pt x="989" y="80065"/>
                  </a:cubicBezTo>
                  <a:cubicBezTo>
                    <a:pt x="2533" y="85391"/>
                    <a:pt x="3971" y="90876"/>
                    <a:pt x="5355" y="96467"/>
                  </a:cubicBezTo>
                  <a:cubicBezTo>
                    <a:pt x="5728" y="97932"/>
                    <a:pt x="6101" y="99449"/>
                    <a:pt x="6447" y="100940"/>
                  </a:cubicBezTo>
                  <a:cubicBezTo>
                    <a:pt x="9376" y="113215"/>
                    <a:pt x="11985" y="126022"/>
                    <a:pt x="14142" y="139415"/>
                  </a:cubicBezTo>
                  <a:cubicBezTo>
                    <a:pt x="18559" y="125279"/>
                    <a:pt x="25807" y="112187"/>
                    <a:pt x="35443" y="100940"/>
                  </a:cubicBezTo>
                  <a:cubicBezTo>
                    <a:pt x="44062" y="91398"/>
                    <a:pt x="53911" y="83045"/>
                    <a:pt x="64732" y="76098"/>
                  </a:cubicBezTo>
                </a:path>
              </a:pathLst>
            </a:custGeom>
            <a:solidFill>
              <a:srgbClr val="FAC200"/>
            </a:solidFill>
            <a:ln w="2661" cap="flat">
              <a:noFill/>
              <a:prstDash val="solid"/>
              <a:miter/>
            </a:ln>
          </p:spPr>
          <p:txBody>
            <a:bodyPr rtlCol="0" anchor="ctr"/>
            <a:lstStyle/>
            <a:p>
              <a:endParaRPr lang="pl-PL"/>
            </a:p>
          </p:txBody>
        </p:sp>
        <p:sp>
          <p:nvSpPr>
            <p:cNvPr id="116" name="Freeform: Shape 115">
              <a:extLst>
                <a:ext uri="{FF2B5EF4-FFF2-40B4-BE49-F238E27FC236}">
                  <a16:creationId xmlns:a16="http://schemas.microsoft.com/office/drawing/2014/main" id="{E8FAB82B-5A71-40F7-A8D3-CA4E6876C86A}"/>
                </a:ext>
              </a:extLst>
            </p:cNvPr>
            <p:cNvSpPr/>
            <p:nvPr/>
          </p:nvSpPr>
          <p:spPr>
            <a:xfrm>
              <a:off x="11422998" y="6669063"/>
              <a:ext cx="51268" cy="87781"/>
            </a:xfrm>
            <a:custGeom>
              <a:avLst/>
              <a:gdLst>
                <a:gd name="connsiteX0" fmla="*/ 91837 w 90848"/>
                <a:gd name="connsiteY0" fmla="*/ 74447 h 155549"/>
                <a:gd name="connsiteX1" fmla="*/ 91438 w 90848"/>
                <a:gd name="connsiteY1" fmla="*/ 73276 h 155549"/>
                <a:gd name="connsiteX2" fmla="*/ 90532 w 90848"/>
                <a:gd name="connsiteY2" fmla="*/ 70613 h 155549"/>
                <a:gd name="connsiteX3" fmla="*/ 89787 w 90848"/>
                <a:gd name="connsiteY3" fmla="*/ 68430 h 155549"/>
                <a:gd name="connsiteX4" fmla="*/ 88908 w 90848"/>
                <a:gd name="connsiteY4" fmla="*/ 66060 h 155549"/>
                <a:gd name="connsiteX5" fmla="*/ 88056 w 90848"/>
                <a:gd name="connsiteY5" fmla="*/ 63770 h 155549"/>
                <a:gd name="connsiteX6" fmla="*/ 87737 w 90848"/>
                <a:gd name="connsiteY6" fmla="*/ 62892 h 155549"/>
                <a:gd name="connsiteX7" fmla="*/ 85341 w 90848"/>
                <a:gd name="connsiteY7" fmla="*/ 56874 h 155549"/>
                <a:gd name="connsiteX8" fmla="*/ 84701 w 90848"/>
                <a:gd name="connsiteY8" fmla="*/ 55356 h 155549"/>
                <a:gd name="connsiteX9" fmla="*/ 83477 w 90848"/>
                <a:gd name="connsiteY9" fmla="*/ 52481 h 155549"/>
                <a:gd name="connsiteX10" fmla="*/ 61217 w 90848"/>
                <a:gd name="connsiteY10" fmla="*/ 11956 h 155549"/>
                <a:gd name="connsiteX11" fmla="*/ 52351 w 90848"/>
                <a:gd name="connsiteY11" fmla="*/ -346 h 155549"/>
                <a:gd name="connsiteX12" fmla="*/ 45108 w 90848"/>
                <a:gd name="connsiteY12" fmla="*/ 4660 h 155549"/>
                <a:gd name="connsiteX13" fmla="*/ 44230 w 90848"/>
                <a:gd name="connsiteY13" fmla="*/ 5299 h 155549"/>
                <a:gd name="connsiteX14" fmla="*/ 989 w 90848"/>
                <a:gd name="connsiteY14" fmla="*/ 61214 h 155549"/>
                <a:gd name="connsiteX15" fmla="*/ 989 w 90848"/>
                <a:gd name="connsiteY15" fmla="*/ 61214 h 155549"/>
                <a:gd name="connsiteX16" fmla="*/ 28840 w 90848"/>
                <a:gd name="connsiteY16" fmla="*/ 123253 h 155549"/>
                <a:gd name="connsiteX17" fmla="*/ 37360 w 90848"/>
                <a:gd name="connsiteY17" fmla="*/ 149080 h 155549"/>
                <a:gd name="connsiteX18" fmla="*/ 39144 w 90848"/>
                <a:gd name="connsiteY18" fmla="*/ 155204 h 155549"/>
                <a:gd name="connsiteX19" fmla="*/ 40475 w 90848"/>
                <a:gd name="connsiteY19" fmla="*/ 149080 h 155549"/>
                <a:gd name="connsiteX20" fmla="*/ 49448 w 90848"/>
                <a:gd name="connsiteY20" fmla="*/ 123253 h 155549"/>
                <a:gd name="connsiteX21" fmla="*/ 68646 w 90848"/>
                <a:gd name="connsiteY21" fmla="*/ 94284 h 155549"/>
                <a:gd name="connsiteX22" fmla="*/ 91811 w 90848"/>
                <a:gd name="connsiteY22" fmla="*/ 74341 h 155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0848" h="155549">
                  <a:moveTo>
                    <a:pt x="91837" y="74447"/>
                  </a:moveTo>
                  <a:lnTo>
                    <a:pt x="91438" y="73276"/>
                  </a:lnTo>
                  <a:cubicBezTo>
                    <a:pt x="91145" y="72397"/>
                    <a:pt x="90852" y="71518"/>
                    <a:pt x="90532" y="70613"/>
                  </a:cubicBezTo>
                  <a:lnTo>
                    <a:pt x="89787" y="68430"/>
                  </a:lnTo>
                  <a:lnTo>
                    <a:pt x="88908" y="66060"/>
                  </a:lnTo>
                  <a:cubicBezTo>
                    <a:pt x="88642" y="65288"/>
                    <a:pt x="88349" y="64516"/>
                    <a:pt x="88056" y="63770"/>
                  </a:cubicBezTo>
                  <a:lnTo>
                    <a:pt x="87737" y="62892"/>
                  </a:lnTo>
                  <a:cubicBezTo>
                    <a:pt x="86965" y="60868"/>
                    <a:pt x="86166" y="58871"/>
                    <a:pt x="85341" y="56874"/>
                  </a:cubicBezTo>
                  <a:lnTo>
                    <a:pt x="84701" y="55356"/>
                  </a:lnTo>
                  <a:cubicBezTo>
                    <a:pt x="84302" y="54398"/>
                    <a:pt x="83903" y="53439"/>
                    <a:pt x="83477" y="52481"/>
                  </a:cubicBezTo>
                  <a:cubicBezTo>
                    <a:pt x="77315" y="38318"/>
                    <a:pt x="69863" y="24752"/>
                    <a:pt x="61217" y="11956"/>
                  </a:cubicBezTo>
                  <a:cubicBezTo>
                    <a:pt x="58395" y="7775"/>
                    <a:pt x="55413" y="3675"/>
                    <a:pt x="52351" y="-346"/>
                  </a:cubicBezTo>
                  <a:cubicBezTo>
                    <a:pt x="49874" y="1252"/>
                    <a:pt x="47478" y="2929"/>
                    <a:pt x="45108" y="4660"/>
                  </a:cubicBezTo>
                  <a:lnTo>
                    <a:pt x="44230" y="5299"/>
                  </a:lnTo>
                  <a:cubicBezTo>
                    <a:pt x="25083" y="19741"/>
                    <a:pt x="10151" y="39048"/>
                    <a:pt x="989" y="61214"/>
                  </a:cubicBezTo>
                  <a:lnTo>
                    <a:pt x="989" y="61214"/>
                  </a:lnTo>
                  <a:cubicBezTo>
                    <a:pt x="11823" y="81162"/>
                    <a:pt x="21134" y="101901"/>
                    <a:pt x="28840" y="123253"/>
                  </a:cubicBezTo>
                  <a:cubicBezTo>
                    <a:pt x="31822" y="131534"/>
                    <a:pt x="34698" y="140134"/>
                    <a:pt x="37360" y="149080"/>
                  </a:cubicBezTo>
                  <a:cubicBezTo>
                    <a:pt x="37972" y="151104"/>
                    <a:pt x="38558" y="153154"/>
                    <a:pt x="39144" y="155204"/>
                  </a:cubicBezTo>
                  <a:cubicBezTo>
                    <a:pt x="39517" y="153261"/>
                    <a:pt x="39969" y="151210"/>
                    <a:pt x="40475" y="149080"/>
                  </a:cubicBezTo>
                  <a:cubicBezTo>
                    <a:pt x="42579" y="140187"/>
                    <a:pt x="45585" y="131534"/>
                    <a:pt x="49448" y="123253"/>
                  </a:cubicBezTo>
                  <a:cubicBezTo>
                    <a:pt x="54372" y="112696"/>
                    <a:pt x="60842" y="102932"/>
                    <a:pt x="68646" y="94284"/>
                  </a:cubicBezTo>
                  <a:cubicBezTo>
                    <a:pt x="75494" y="86685"/>
                    <a:pt x="83277" y="79983"/>
                    <a:pt x="91811" y="74341"/>
                  </a:cubicBezTo>
                  <a:close/>
                </a:path>
              </a:pathLst>
            </a:custGeom>
            <a:solidFill>
              <a:srgbClr val="E09C00"/>
            </a:solidFill>
            <a:ln w="2661" cap="flat">
              <a:noFill/>
              <a:prstDash val="solid"/>
              <a:miter/>
            </a:ln>
          </p:spPr>
          <p:txBody>
            <a:bodyPr rtlCol="0" anchor="ctr"/>
            <a:lstStyle/>
            <a:p>
              <a:endParaRPr lang="pl-PL"/>
            </a:p>
          </p:txBody>
        </p:sp>
        <p:sp>
          <p:nvSpPr>
            <p:cNvPr id="117" name="Freeform: Shape 116">
              <a:extLst>
                <a:ext uri="{FF2B5EF4-FFF2-40B4-BE49-F238E27FC236}">
                  <a16:creationId xmlns:a16="http://schemas.microsoft.com/office/drawing/2014/main" id="{132B733B-47EA-4B88-8950-40A7BDC86BEE}"/>
                </a:ext>
              </a:extLst>
            </p:cNvPr>
            <p:cNvSpPr/>
            <p:nvPr/>
          </p:nvSpPr>
          <p:spPr>
            <a:xfrm>
              <a:off x="11393940" y="6672699"/>
              <a:ext cx="29090" cy="31088"/>
            </a:xfrm>
            <a:custGeom>
              <a:avLst/>
              <a:gdLst>
                <a:gd name="connsiteX0" fmla="*/ 17790 w 51548"/>
                <a:gd name="connsiteY0" fmla="*/ 1145 h 55089"/>
                <a:gd name="connsiteX1" fmla="*/ 16618 w 51548"/>
                <a:gd name="connsiteY1" fmla="*/ -346 h 55089"/>
                <a:gd name="connsiteX2" fmla="*/ 16272 w 51548"/>
                <a:gd name="connsiteY2" fmla="*/ 293 h 55089"/>
                <a:gd name="connsiteX3" fmla="*/ 989 w 51548"/>
                <a:gd name="connsiteY3" fmla="*/ 48939 h 55089"/>
                <a:gd name="connsiteX4" fmla="*/ 32940 w 51548"/>
                <a:gd name="connsiteY4" fmla="*/ 50111 h 55089"/>
                <a:gd name="connsiteX5" fmla="*/ 52537 w 51548"/>
                <a:gd name="connsiteY5" fmla="*/ 54744 h 55089"/>
                <a:gd name="connsiteX6" fmla="*/ 17923 w 51548"/>
                <a:gd name="connsiteY6" fmla="*/ 1145 h 55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48" h="55089">
                  <a:moveTo>
                    <a:pt x="17790" y="1145"/>
                  </a:moveTo>
                  <a:cubicBezTo>
                    <a:pt x="17390" y="640"/>
                    <a:pt x="17018" y="134"/>
                    <a:pt x="16618" y="-346"/>
                  </a:cubicBezTo>
                  <a:cubicBezTo>
                    <a:pt x="16618" y="-133"/>
                    <a:pt x="16405" y="80"/>
                    <a:pt x="16272" y="293"/>
                  </a:cubicBezTo>
                  <a:cubicBezTo>
                    <a:pt x="8353" y="15484"/>
                    <a:pt x="3180" y="31952"/>
                    <a:pt x="989" y="48939"/>
                  </a:cubicBezTo>
                  <a:cubicBezTo>
                    <a:pt x="11647" y="48055"/>
                    <a:pt x="22375" y="48449"/>
                    <a:pt x="32940" y="50111"/>
                  </a:cubicBezTo>
                  <a:cubicBezTo>
                    <a:pt x="39578" y="51171"/>
                    <a:pt x="46128" y="52718"/>
                    <a:pt x="52537" y="54744"/>
                  </a:cubicBezTo>
                  <a:cubicBezTo>
                    <a:pt x="42395" y="36015"/>
                    <a:pt x="30823" y="18096"/>
                    <a:pt x="17923" y="1145"/>
                  </a:cubicBezTo>
                </a:path>
              </a:pathLst>
            </a:custGeom>
            <a:solidFill>
              <a:srgbClr val="E09C00"/>
            </a:solidFill>
            <a:ln w="2661" cap="flat">
              <a:noFill/>
              <a:prstDash val="solid"/>
              <a:miter/>
            </a:ln>
          </p:spPr>
          <p:txBody>
            <a:bodyPr rtlCol="0" anchor="ctr"/>
            <a:lstStyle/>
            <a:p>
              <a:endParaRPr lang="pl-PL"/>
            </a:p>
          </p:txBody>
        </p:sp>
        <p:sp>
          <p:nvSpPr>
            <p:cNvPr id="118" name="Freeform: Shape 117">
              <a:extLst>
                <a:ext uri="{FF2B5EF4-FFF2-40B4-BE49-F238E27FC236}">
                  <a16:creationId xmlns:a16="http://schemas.microsoft.com/office/drawing/2014/main" id="{0C1BC727-1ECC-4AB1-990A-70C9B3E850B7}"/>
                </a:ext>
              </a:extLst>
            </p:cNvPr>
            <p:cNvSpPr/>
            <p:nvPr/>
          </p:nvSpPr>
          <p:spPr>
            <a:xfrm>
              <a:off x="11401092" y="6746296"/>
              <a:ext cx="50862" cy="44116"/>
            </a:xfrm>
            <a:custGeom>
              <a:avLst/>
              <a:gdLst>
                <a:gd name="connsiteX0" fmla="*/ 83423 w 90129"/>
                <a:gd name="connsiteY0" fmla="*/ 39327 h 78174"/>
                <a:gd name="connsiteX1" fmla="*/ 82332 w 90129"/>
                <a:gd name="connsiteY1" fmla="*/ 34854 h 78174"/>
                <a:gd name="connsiteX2" fmla="*/ 77965 w 90129"/>
                <a:gd name="connsiteY2" fmla="*/ 18453 h 78174"/>
                <a:gd name="connsiteX3" fmla="*/ 66489 w 90129"/>
                <a:gd name="connsiteY3" fmla="*/ 12328 h 78174"/>
                <a:gd name="connsiteX4" fmla="*/ 13956 w 90129"/>
                <a:gd name="connsiteY4" fmla="*/ -292 h 78174"/>
                <a:gd name="connsiteX5" fmla="*/ 989 w 90129"/>
                <a:gd name="connsiteY5" fmla="*/ -79 h 78174"/>
                <a:gd name="connsiteX6" fmla="*/ 7619 w 90129"/>
                <a:gd name="connsiteY6" fmla="*/ 12355 h 78174"/>
                <a:gd name="connsiteX7" fmla="*/ 28227 w 90129"/>
                <a:gd name="connsiteY7" fmla="*/ 39354 h 78174"/>
                <a:gd name="connsiteX8" fmla="*/ 91118 w 90129"/>
                <a:gd name="connsiteY8" fmla="*/ 77829 h 78174"/>
                <a:gd name="connsiteX9" fmla="*/ 83423 w 90129"/>
                <a:gd name="connsiteY9" fmla="*/ 39354 h 78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129" h="78174">
                  <a:moveTo>
                    <a:pt x="83423" y="39327"/>
                  </a:moveTo>
                  <a:cubicBezTo>
                    <a:pt x="83077" y="37836"/>
                    <a:pt x="82704" y="36319"/>
                    <a:pt x="82332" y="34854"/>
                  </a:cubicBezTo>
                  <a:cubicBezTo>
                    <a:pt x="80947" y="29263"/>
                    <a:pt x="79509" y="23804"/>
                    <a:pt x="77965" y="18453"/>
                  </a:cubicBezTo>
                  <a:cubicBezTo>
                    <a:pt x="74272" y="16235"/>
                    <a:pt x="70448" y="14192"/>
                    <a:pt x="66489" y="12328"/>
                  </a:cubicBezTo>
                  <a:cubicBezTo>
                    <a:pt x="50021" y="4588"/>
                    <a:pt x="32144" y="293"/>
                    <a:pt x="13956" y="-292"/>
                  </a:cubicBezTo>
                  <a:cubicBezTo>
                    <a:pt x="9589" y="-425"/>
                    <a:pt x="5275" y="-292"/>
                    <a:pt x="989" y="-79"/>
                  </a:cubicBezTo>
                  <a:cubicBezTo>
                    <a:pt x="3012" y="4181"/>
                    <a:pt x="5222" y="8327"/>
                    <a:pt x="7619" y="12355"/>
                  </a:cubicBezTo>
                  <a:cubicBezTo>
                    <a:pt x="13418" y="22122"/>
                    <a:pt x="20335" y="31182"/>
                    <a:pt x="28227" y="39354"/>
                  </a:cubicBezTo>
                  <a:cubicBezTo>
                    <a:pt x="45566" y="57332"/>
                    <a:pt x="67216" y="70576"/>
                    <a:pt x="91118" y="77829"/>
                  </a:cubicBezTo>
                  <a:cubicBezTo>
                    <a:pt x="88961" y="64516"/>
                    <a:pt x="86352" y="51629"/>
                    <a:pt x="83423" y="39354"/>
                  </a:cubicBezTo>
                </a:path>
              </a:pathLst>
            </a:custGeom>
            <a:solidFill>
              <a:srgbClr val="E09C00"/>
            </a:solidFill>
            <a:ln w="2661" cap="flat">
              <a:noFill/>
              <a:prstDash val="solid"/>
              <a:miter/>
            </a:ln>
          </p:spPr>
          <p:txBody>
            <a:bodyPr rtlCol="0" anchor="ctr"/>
            <a:lstStyle/>
            <a:p>
              <a:endParaRPr lang="pl-PL"/>
            </a:p>
          </p:txBody>
        </p:sp>
        <p:sp>
          <p:nvSpPr>
            <p:cNvPr id="119" name="Freeform: Shape 118">
              <a:extLst>
                <a:ext uri="{FF2B5EF4-FFF2-40B4-BE49-F238E27FC236}">
                  <a16:creationId xmlns:a16="http://schemas.microsoft.com/office/drawing/2014/main" id="{0B742EAB-5EA2-4366-A7C5-F3A1E980CC02}"/>
                </a:ext>
              </a:extLst>
            </p:cNvPr>
            <p:cNvSpPr/>
            <p:nvPr/>
          </p:nvSpPr>
          <p:spPr>
            <a:xfrm>
              <a:off x="11451983" y="6691629"/>
              <a:ext cx="106699" cy="102254"/>
            </a:xfrm>
            <a:custGeom>
              <a:avLst/>
              <a:gdLst>
                <a:gd name="connsiteX0" fmla="*/ 189954 w 189072"/>
                <a:gd name="connsiteY0" fmla="*/ 30014 h 181196"/>
                <a:gd name="connsiteX1" fmla="*/ 188463 w 189072"/>
                <a:gd name="connsiteY1" fmla="*/ 13159 h 181196"/>
                <a:gd name="connsiteX2" fmla="*/ 180928 w 189072"/>
                <a:gd name="connsiteY2" fmla="*/ 13639 h 181196"/>
                <a:gd name="connsiteX3" fmla="*/ 171449 w 189072"/>
                <a:gd name="connsiteY3" fmla="*/ 21467 h 181196"/>
                <a:gd name="connsiteX4" fmla="*/ 171449 w 189072"/>
                <a:gd name="connsiteY4" fmla="*/ 21467 h 181196"/>
                <a:gd name="connsiteX5" fmla="*/ 171449 w 189072"/>
                <a:gd name="connsiteY5" fmla="*/ 21467 h 181196"/>
                <a:gd name="connsiteX6" fmla="*/ 169080 w 189072"/>
                <a:gd name="connsiteY6" fmla="*/ 52513 h 181196"/>
                <a:gd name="connsiteX7" fmla="*/ 162370 w 189072"/>
                <a:gd name="connsiteY7" fmla="*/ 81988 h 181196"/>
                <a:gd name="connsiteX8" fmla="*/ 161944 w 189072"/>
                <a:gd name="connsiteY8" fmla="*/ 83373 h 181196"/>
                <a:gd name="connsiteX9" fmla="*/ 151773 w 189072"/>
                <a:gd name="connsiteY9" fmla="*/ 109200 h 181196"/>
                <a:gd name="connsiteX10" fmla="*/ 145169 w 189072"/>
                <a:gd name="connsiteY10" fmla="*/ 120649 h 181196"/>
                <a:gd name="connsiteX11" fmla="*/ 143785 w 189072"/>
                <a:gd name="connsiteY11" fmla="*/ 121395 h 181196"/>
                <a:gd name="connsiteX12" fmla="*/ 142853 w 189072"/>
                <a:gd name="connsiteY12" fmla="*/ 121102 h 181196"/>
                <a:gd name="connsiteX13" fmla="*/ 142400 w 189072"/>
                <a:gd name="connsiteY13" fmla="*/ 118785 h 181196"/>
                <a:gd name="connsiteX14" fmla="*/ 147992 w 189072"/>
                <a:gd name="connsiteY14" fmla="*/ 109200 h 181196"/>
                <a:gd name="connsiteX15" fmla="*/ 158323 w 189072"/>
                <a:gd name="connsiteY15" fmla="*/ 83373 h 181196"/>
                <a:gd name="connsiteX16" fmla="*/ 159042 w 189072"/>
                <a:gd name="connsiteY16" fmla="*/ 81030 h 181196"/>
                <a:gd name="connsiteX17" fmla="*/ 165725 w 189072"/>
                <a:gd name="connsiteY17" fmla="*/ 51315 h 181196"/>
                <a:gd name="connsiteX18" fmla="*/ 168121 w 189072"/>
                <a:gd name="connsiteY18" fmla="*/ 20215 h 181196"/>
                <a:gd name="connsiteX19" fmla="*/ 166763 w 189072"/>
                <a:gd name="connsiteY19" fmla="*/ -340 h 181196"/>
                <a:gd name="connsiteX20" fmla="*/ 166763 w 189072"/>
                <a:gd name="connsiteY20" fmla="*/ -340 h 181196"/>
                <a:gd name="connsiteX21" fmla="*/ 166763 w 189072"/>
                <a:gd name="connsiteY21" fmla="*/ -340 h 181196"/>
                <a:gd name="connsiteX22" fmla="*/ 154062 w 189072"/>
                <a:gd name="connsiteY22" fmla="*/ 2589 h 181196"/>
                <a:gd name="connsiteX23" fmla="*/ 146847 w 189072"/>
                <a:gd name="connsiteY23" fmla="*/ 14544 h 181196"/>
                <a:gd name="connsiteX24" fmla="*/ 146847 w 189072"/>
                <a:gd name="connsiteY24" fmla="*/ 14544 h 181196"/>
                <a:gd name="connsiteX25" fmla="*/ 144371 w 189072"/>
                <a:gd name="connsiteY25" fmla="*/ 46016 h 181196"/>
                <a:gd name="connsiteX26" fmla="*/ 137181 w 189072"/>
                <a:gd name="connsiteY26" fmla="*/ 76636 h 181196"/>
                <a:gd name="connsiteX27" fmla="*/ 134972 w 189072"/>
                <a:gd name="connsiteY27" fmla="*/ 83293 h 181196"/>
                <a:gd name="connsiteX28" fmla="*/ 123070 w 189072"/>
                <a:gd name="connsiteY28" fmla="*/ 109120 h 181196"/>
                <a:gd name="connsiteX29" fmla="*/ 120167 w 189072"/>
                <a:gd name="connsiteY29" fmla="*/ 113700 h 181196"/>
                <a:gd name="connsiteX30" fmla="*/ 118783 w 189072"/>
                <a:gd name="connsiteY30" fmla="*/ 114445 h 181196"/>
                <a:gd name="connsiteX31" fmla="*/ 117851 w 189072"/>
                <a:gd name="connsiteY31" fmla="*/ 114152 h 181196"/>
                <a:gd name="connsiteX32" fmla="*/ 117409 w 189072"/>
                <a:gd name="connsiteY32" fmla="*/ 111860 h 181196"/>
                <a:gd name="connsiteX33" fmla="*/ 117425 w 189072"/>
                <a:gd name="connsiteY33" fmla="*/ 111836 h 181196"/>
                <a:gd name="connsiteX34" fmla="*/ 119156 w 189072"/>
                <a:gd name="connsiteY34" fmla="*/ 109173 h 181196"/>
                <a:gd name="connsiteX35" fmla="*/ 131430 w 189072"/>
                <a:gd name="connsiteY35" fmla="*/ 83346 h 181196"/>
                <a:gd name="connsiteX36" fmla="*/ 133827 w 189072"/>
                <a:gd name="connsiteY36" fmla="*/ 76343 h 181196"/>
                <a:gd name="connsiteX37" fmla="*/ 141069 w 189072"/>
                <a:gd name="connsiteY37" fmla="*/ 45590 h 181196"/>
                <a:gd name="connsiteX38" fmla="*/ 143465 w 189072"/>
                <a:gd name="connsiteY38" fmla="*/ 14038 h 181196"/>
                <a:gd name="connsiteX39" fmla="*/ 143465 w 189072"/>
                <a:gd name="connsiteY39" fmla="*/ 13798 h 181196"/>
                <a:gd name="connsiteX40" fmla="*/ 143465 w 189072"/>
                <a:gd name="connsiteY40" fmla="*/ 13798 h 181196"/>
                <a:gd name="connsiteX41" fmla="*/ 140403 w 189072"/>
                <a:gd name="connsiteY41" fmla="*/ 13585 h 181196"/>
                <a:gd name="connsiteX42" fmla="*/ 128208 w 189072"/>
                <a:gd name="connsiteY42" fmla="*/ 18911 h 181196"/>
                <a:gd name="connsiteX43" fmla="*/ 121978 w 189072"/>
                <a:gd name="connsiteY43" fmla="*/ 36670 h 181196"/>
                <a:gd name="connsiteX44" fmla="*/ 121073 w 189072"/>
                <a:gd name="connsiteY44" fmla="*/ 41809 h 181196"/>
                <a:gd name="connsiteX45" fmla="*/ 120673 w 189072"/>
                <a:gd name="connsiteY45" fmla="*/ 43993 h 181196"/>
                <a:gd name="connsiteX46" fmla="*/ 110901 w 189072"/>
                <a:gd name="connsiteY46" fmla="*/ 75944 h 181196"/>
                <a:gd name="connsiteX47" fmla="*/ 107546 w 189072"/>
                <a:gd name="connsiteY47" fmla="*/ 83453 h 181196"/>
                <a:gd name="connsiteX48" fmla="*/ 93807 w 189072"/>
                <a:gd name="connsiteY48" fmla="*/ 106218 h 181196"/>
                <a:gd name="connsiteX49" fmla="*/ 92476 w 189072"/>
                <a:gd name="connsiteY49" fmla="*/ 106883 h 181196"/>
                <a:gd name="connsiteX50" fmla="*/ 91464 w 189072"/>
                <a:gd name="connsiteY50" fmla="*/ 106564 h 181196"/>
                <a:gd name="connsiteX51" fmla="*/ 91118 w 189072"/>
                <a:gd name="connsiteY51" fmla="*/ 104221 h 181196"/>
                <a:gd name="connsiteX52" fmla="*/ 103792 w 189072"/>
                <a:gd name="connsiteY52" fmla="*/ 83266 h 181196"/>
                <a:gd name="connsiteX53" fmla="*/ 107147 w 189072"/>
                <a:gd name="connsiteY53" fmla="*/ 76024 h 181196"/>
                <a:gd name="connsiteX54" fmla="*/ 117105 w 189072"/>
                <a:gd name="connsiteY54" fmla="*/ 44019 h 181196"/>
                <a:gd name="connsiteX55" fmla="*/ 117691 w 189072"/>
                <a:gd name="connsiteY55" fmla="*/ 41064 h 181196"/>
                <a:gd name="connsiteX56" fmla="*/ 105470 w 189072"/>
                <a:gd name="connsiteY56" fmla="*/ 42235 h 181196"/>
                <a:gd name="connsiteX57" fmla="*/ 101502 w 189072"/>
                <a:gd name="connsiteY57" fmla="*/ 44898 h 181196"/>
                <a:gd name="connsiteX58" fmla="*/ 97881 w 189072"/>
                <a:gd name="connsiteY58" fmla="*/ 50835 h 181196"/>
                <a:gd name="connsiteX59" fmla="*/ 97509 w 189072"/>
                <a:gd name="connsiteY59" fmla="*/ 51980 h 181196"/>
                <a:gd name="connsiteX60" fmla="*/ 91491 w 189072"/>
                <a:gd name="connsiteY60" fmla="*/ 66412 h 181196"/>
                <a:gd name="connsiteX61" fmla="*/ 83716 w 189072"/>
                <a:gd name="connsiteY61" fmla="*/ 79725 h 181196"/>
                <a:gd name="connsiteX62" fmla="*/ 81266 w 189072"/>
                <a:gd name="connsiteY62" fmla="*/ 83293 h 181196"/>
                <a:gd name="connsiteX63" fmla="*/ 79909 w 189072"/>
                <a:gd name="connsiteY63" fmla="*/ 85130 h 181196"/>
                <a:gd name="connsiteX64" fmla="*/ 64093 w 189072"/>
                <a:gd name="connsiteY64" fmla="*/ 102091 h 181196"/>
                <a:gd name="connsiteX65" fmla="*/ 54774 w 189072"/>
                <a:gd name="connsiteY65" fmla="*/ 109120 h 181196"/>
                <a:gd name="connsiteX66" fmla="*/ 53043 w 189072"/>
                <a:gd name="connsiteY66" fmla="*/ 110292 h 181196"/>
                <a:gd name="connsiteX67" fmla="*/ 53043 w 189072"/>
                <a:gd name="connsiteY67" fmla="*/ 110292 h 181196"/>
                <a:gd name="connsiteX68" fmla="*/ 51578 w 189072"/>
                <a:gd name="connsiteY68" fmla="*/ 111250 h 181196"/>
                <a:gd name="connsiteX69" fmla="*/ 22290 w 189072"/>
                <a:gd name="connsiteY69" fmla="*/ 136092 h 181196"/>
                <a:gd name="connsiteX70" fmla="*/ 989 w 189072"/>
                <a:gd name="connsiteY70" fmla="*/ 174567 h 181196"/>
                <a:gd name="connsiteX71" fmla="*/ 1468 w 189072"/>
                <a:gd name="connsiteY71" fmla="*/ 174700 h 181196"/>
                <a:gd name="connsiteX72" fmla="*/ 21065 w 189072"/>
                <a:gd name="connsiteY72" fmla="*/ 179120 h 181196"/>
                <a:gd name="connsiteX73" fmla="*/ 43511 w 189072"/>
                <a:gd name="connsiteY73" fmla="*/ 180851 h 181196"/>
                <a:gd name="connsiteX74" fmla="*/ 43910 w 189072"/>
                <a:gd name="connsiteY74" fmla="*/ 180851 h 181196"/>
                <a:gd name="connsiteX75" fmla="*/ 148924 w 189072"/>
                <a:gd name="connsiteY75" fmla="*/ 136119 h 181196"/>
                <a:gd name="connsiteX76" fmla="*/ 169559 w 189072"/>
                <a:gd name="connsiteY76" fmla="*/ 109120 h 181196"/>
                <a:gd name="connsiteX77" fmla="*/ 179783 w 189072"/>
                <a:gd name="connsiteY77" fmla="*/ 88325 h 181196"/>
                <a:gd name="connsiteX78" fmla="*/ 181674 w 189072"/>
                <a:gd name="connsiteY78" fmla="*/ 83293 h 181196"/>
                <a:gd name="connsiteX79" fmla="*/ 187718 w 189072"/>
                <a:gd name="connsiteY79" fmla="*/ 60527 h 181196"/>
                <a:gd name="connsiteX80" fmla="*/ 190061 w 189072"/>
                <a:gd name="connsiteY80" fmla="*/ 34301 h 181196"/>
                <a:gd name="connsiteX81" fmla="*/ 190061 w 189072"/>
                <a:gd name="connsiteY81" fmla="*/ 29854 h 181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89072" h="181196">
                  <a:moveTo>
                    <a:pt x="189954" y="30014"/>
                  </a:moveTo>
                  <a:cubicBezTo>
                    <a:pt x="189784" y="24372"/>
                    <a:pt x="189286" y="18743"/>
                    <a:pt x="188463" y="13159"/>
                  </a:cubicBezTo>
                  <a:cubicBezTo>
                    <a:pt x="185942" y="12909"/>
                    <a:pt x="183396" y="13072"/>
                    <a:pt x="180928" y="13639"/>
                  </a:cubicBezTo>
                  <a:cubicBezTo>
                    <a:pt x="176713" y="14613"/>
                    <a:pt x="173204" y="17513"/>
                    <a:pt x="171449" y="21467"/>
                  </a:cubicBezTo>
                  <a:lnTo>
                    <a:pt x="171449" y="21467"/>
                  </a:lnTo>
                  <a:lnTo>
                    <a:pt x="171449" y="21467"/>
                  </a:lnTo>
                  <a:cubicBezTo>
                    <a:pt x="171487" y="31862"/>
                    <a:pt x="170693" y="42243"/>
                    <a:pt x="169080" y="52513"/>
                  </a:cubicBezTo>
                  <a:cubicBezTo>
                    <a:pt x="167522" y="62479"/>
                    <a:pt x="165280" y="72328"/>
                    <a:pt x="162370" y="81988"/>
                  </a:cubicBezTo>
                  <a:cubicBezTo>
                    <a:pt x="162210" y="82441"/>
                    <a:pt x="162077" y="82893"/>
                    <a:pt x="161944" y="83373"/>
                  </a:cubicBezTo>
                  <a:cubicBezTo>
                    <a:pt x="159260" y="92244"/>
                    <a:pt x="155860" y="100882"/>
                    <a:pt x="151773" y="109200"/>
                  </a:cubicBezTo>
                  <a:cubicBezTo>
                    <a:pt x="149821" y="113154"/>
                    <a:pt x="147614" y="116980"/>
                    <a:pt x="145169" y="120649"/>
                  </a:cubicBezTo>
                  <a:cubicBezTo>
                    <a:pt x="144860" y="121112"/>
                    <a:pt x="144341" y="121392"/>
                    <a:pt x="143785" y="121395"/>
                  </a:cubicBezTo>
                  <a:cubicBezTo>
                    <a:pt x="143452" y="121387"/>
                    <a:pt x="143130" y="121286"/>
                    <a:pt x="142853" y="121102"/>
                  </a:cubicBezTo>
                  <a:cubicBezTo>
                    <a:pt x="142091" y="120585"/>
                    <a:pt x="141892" y="119552"/>
                    <a:pt x="142400" y="118785"/>
                  </a:cubicBezTo>
                  <a:cubicBezTo>
                    <a:pt x="144458" y="115707"/>
                    <a:pt x="146325" y="112507"/>
                    <a:pt x="147992" y="109200"/>
                  </a:cubicBezTo>
                  <a:cubicBezTo>
                    <a:pt x="152161" y="100898"/>
                    <a:pt x="155617" y="92258"/>
                    <a:pt x="158323" y="83373"/>
                  </a:cubicBezTo>
                  <a:lnTo>
                    <a:pt x="159042" y="81030"/>
                  </a:lnTo>
                  <a:cubicBezTo>
                    <a:pt x="161944" y="71290"/>
                    <a:pt x="164178" y="61361"/>
                    <a:pt x="165725" y="51315"/>
                  </a:cubicBezTo>
                  <a:cubicBezTo>
                    <a:pt x="167306" y="41024"/>
                    <a:pt x="168108" y="30626"/>
                    <a:pt x="168121" y="20215"/>
                  </a:cubicBezTo>
                  <a:cubicBezTo>
                    <a:pt x="168116" y="13341"/>
                    <a:pt x="167663" y="6474"/>
                    <a:pt x="166763" y="-340"/>
                  </a:cubicBezTo>
                  <a:lnTo>
                    <a:pt x="166763" y="-340"/>
                  </a:lnTo>
                  <a:lnTo>
                    <a:pt x="166763" y="-340"/>
                  </a:lnTo>
                  <a:cubicBezTo>
                    <a:pt x="162351" y="-431"/>
                    <a:pt x="157987" y="576"/>
                    <a:pt x="154062" y="2589"/>
                  </a:cubicBezTo>
                  <a:cubicBezTo>
                    <a:pt x="149685" y="4988"/>
                    <a:pt x="146929" y="9552"/>
                    <a:pt x="146847" y="14544"/>
                  </a:cubicBezTo>
                  <a:lnTo>
                    <a:pt x="146847" y="14544"/>
                  </a:lnTo>
                  <a:cubicBezTo>
                    <a:pt x="146868" y="25085"/>
                    <a:pt x="146040" y="35608"/>
                    <a:pt x="144371" y="46016"/>
                  </a:cubicBezTo>
                  <a:cubicBezTo>
                    <a:pt x="142752" y="56390"/>
                    <a:pt x="140347" y="66625"/>
                    <a:pt x="137181" y="76636"/>
                  </a:cubicBezTo>
                  <a:cubicBezTo>
                    <a:pt x="136489" y="78899"/>
                    <a:pt x="135744" y="81109"/>
                    <a:pt x="134972" y="83293"/>
                  </a:cubicBezTo>
                  <a:cubicBezTo>
                    <a:pt x="131840" y="92263"/>
                    <a:pt x="127854" y="100911"/>
                    <a:pt x="123070" y="109120"/>
                  </a:cubicBezTo>
                  <a:cubicBezTo>
                    <a:pt x="122111" y="110744"/>
                    <a:pt x="121153" y="112262"/>
                    <a:pt x="120167" y="113700"/>
                  </a:cubicBezTo>
                  <a:cubicBezTo>
                    <a:pt x="119861" y="114166"/>
                    <a:pt x="119342" y="114448"/>
                    <a:pt x="118783" y="114445"/>
                  </a:cubicBezTo>
                  <a:cubicBezTo>
                    <a:pt x="118450" y="114437"/>
                    <a:pt x="118128" y="114336"/>
                    <a:pt x="117851" y="114152"/>
                  </a:cubicBezTo>
                  <a:cubicBezTo>
                    <a:pt x="117095" y="113641"/>
                    <a:pt x="116898" y="112616"/>
                    <a:pt x="117409" y="111860"/>
                  </a:cubicBezTo>
                  <a:cubicBezTo>
                    <a:pt x="117414" y="111852"/>
                    <a:pt x="117419" y="111844"/>
                    <a:pt x="117425" y="111836"/>
                  </a:cubicBezTo>
                  <a:cubicBezTo>
                    <a:pt x="118011" y="110957"/>
                    <a:pt x="118570" y="110052"/>
                    <a:pt x="119156" y="109173"/>
                  </a:cubicBezTo>
                  <a:cubicBezTo>
                    <a:pt x="124127" y="101010"/>
                    <a:pt x="128240" y="92356"/>
                    <a:pt x="131430" y="83346"/>
                  </a:cubicBezTo>
                  <a:cubicBezTo>
                    <a:pt x="132256" y="81056"/>
                    <a:pt x="133054" y="78713"/>
                    <a:pt x="133827" y="76343"/>
                  </a:cubicBezTo>
                  <a:cubicBezTo>
                    <a:pt x="137027" y="66292"/>
                    <a:pt x="139447" y="56012"/>
                    <a:pt x="141069" y="45590"/>
                  </a:cubicBezTo>
                  <a:cubicBezTo>
                    <a:pt x="142738" y="35158"/>
                    <a:pt x="143540" y="24603"/>
                    <a:pt x="143465" y="14038"/>
                  </a:cubicBezTo>
                  <a:lnTo>
                    <a:pt x="143465" y="13798"/>
                  </a:lnTo>
                  <a:lnTo>
                    <a:pt x="143465" y="13798"/>
                  </a:lnTo>
                  <a:cubicBezTo>
                    <a:pt x="142451" y="13655"/>
                    <a:pt x="141428" y="13583"/>
                    <a:pt x="140403" y="13585"/>
                  </a:cubicBezTo>
                  <a:cubicBezTo>
                    <a:pt x="135741" y="13418"/>
                    <a:pt x="131255" y="15375"/>
                    <a:pt x="128208" y="18911"/>
                  </a:cubicBezTo>
                  <a:cubicBezTo>
                    <a:pt x="124055" y="23890"/>
                    <a:pt x="121978" y="36670"/>
                    <a:pt x="121978" y="36670"/>
                  </a:cubicBezTo>
                  <a:cubicBezTo>
                    <a:pt x="121712" y="38401"/>
                    <a:pt x="121419" y="40105"/>
                    <a:pt x="121073" y="41809"/>
                  </a:cubicBezTo>
                  <a:cubicBezTo>
                    <a:pt x="121073" y="41809"/>
                    <a:pt x="121073" y="42608"/>
                    <a:pt x="120673" y="43993"/>
                  </a:cubicBezTo>
                  <a:cubicBezTo>
                    <a:pt x="118469" y="54936"/>
                    <a:pt x="115196" y="65640"/>
                    <a:pt x="110901" y="75944"/>
                  </a:cubicBezTo>
                  <a:cubicBezTo>
                    <a:pt x="109871" y="78394"/>
                    <a:pt x="108753" y="80896"/>
                    <a:pt x="107546" y="83453"/>
                  </a:cubicBezTo>
                  <a:cubicBezTo>
                    <a:pt x="103744" y="91483"/>
                    <a:pt x="99141" y="99111"/>
                    <a:pt x="93807" y="106218"/>
                  </a:cubicBezTo>
                  <a:cubicBezTo>
                    <a:pt x="93488" y="106633"/>
                    <a:pt x="92998" y="106878"/>
                    <a:pt x="92476" y="106883"/>
                  </a:cubicBezTo>
                  <a:cubicBezTo>
                    <a:pt x="92114" y="106886"/>
                    <a:pt x="91760" y="106774"/>
                    <a:pt x="91464" y="106564"/>
                  </a:cubicBezTo>
                  <a:cubicBezTo>
                    <a:pt x="90724" y="106013"/>
                    <a:pt x="90567" y="104964"/>
                    <a:pt x="91118" y="104221"/>
                  </a:cubicBezTo>
                  <a:cubicBezTo>
                    <a:pt x="95956" y="97626"/>
                    <a:pt x="100198" y="90615"/>
                    <a:pt x="103792" y="83266"/>
                  </a:cubicBezTo>
                  <a:cubicBezTo>
                    <a:pt x="104964" y="80896"/>
                    <a:pt x="106082" y="78473"/>
                    <a:pt x="107147" y="76024"/>
                  </a:cubicBezTo>
                  <a:cubicBezTo>
                    <a:pt x="111572" y="65733"/>
                    <a:pt x="114911" y="55005"/>
                    <a:pt x="117105" y="44019"/>
                  </a:cubicBezTo>
                  <a:cubicBezTo>
                    <a:pt x="117318" y="43034"/>
                    <a:pt x="117505" y="42049"/>
                    <a:pt x="117691" y="41064"/>
                  </a:cubicBezTo>
                  <a:cubicBezTo>
                    <a:pt x="113593" y="40212"/>
                    <a:pt x="109333" y="40619"/>
                    <a:pt x="105470" y="42235"/>
                  </a:cubicBezTo>
                  <a:cubicBezTo>
                    <a:pt x="103995" y="42872"/>
                    <a:pt x="102650" y="43774"/>
                    <a:pt x="101502" y="44898"/>
                  </a:cubicBezTo>
                  <a:cubicBezTo>
                    <a:pt x="99868" y="46583"/>
                    <a:pt x="98632" y="48612"/>
                    <a:pt x="97881" y="50835"/>
                  </a:cubicBezTo>
                  <a:cubicBezTo>
                    <a:pt x="97881" y="51208"/>
                    <a:pt x="97615" y="51581"/>
                    <a:pt x="97509" y="51980"/>
                  </a:cubicBezTo>
                  <a:cubicBezTo>
                    <a:pt x="95812" y="56914"/>
                    <a:pt x="93802" y="61734"/>
                    <a:pt x="91491" y="66412"/>
                  </a:cubicBezTo>
                  <a:cubicBezTo>
                    <a:pt x="89190" y="71013"/>
                    <a:pt x="86594" y="75459"/>
                    <a:pt x="83716" y="79725"/>
                  </a:cubicBezTo>
                  <a:cubicBezTo>
                    <a:pt x="82944" y="80923"/>
                    <a:pt x="82119" y="82095"/>
                    <a:pt x="81266" y="83293"/>
                  </a:cubicBezTo>
                  <a:lnTo>
                    <a:pt x="79909" y="85130"/>
                  </a:lnTo>
                  <a:cubicBezTo>
                    <a:pt x="75257" y="91334"/>
                    <a:pt x="69956" y="97019"/>
                    <a:pt x="64093" y="102091"/>
                  </a:cubicBezTo>
                  <a:cubicBezTo>
                    <a:pt x="61124" y="104610"/>
                    <a:pt x="58011" y="106958"/>
                    <a:pt x="54774" y="109120"/>
                  </a:cubicBezTo>
                  <a:lnTo>
                    <a:pt x="53043" y="110292"/>
                  </a:lnTo>
                  <a:lnTo>
                    <a:pt x="53043" y="110292"/>
                  </a:lnTo>
                  <a:lnTo>
                    <a:pt x="51578" y="111250"/>
                  </a:lnTo>
                  <a:cubicBezTo>
                    <a:pt x="40757" y="118197"/>
                    <a:pt x="30909" y="126550"/>
                    <a:pt x="22290" y="136092"/>
                  </a:cubicBezTo>
                  <a:cubicBezTo>
                    <a:pt x="12654" y="147339"/>
                    <a:pt x="5406" y="160429"/>
                    <a:pt x="989" y="174567"/>
                  </a:cubicBezTo>
                  <a:lnTo>
                    <a:pt x="1468" y="174700"/>
                  </a:lnTo>
                  <a:cubicBezTo>
                    <a:pt x="7888" y="176636"/>
                    <a:pt x="14435" y="178114"/>
                    <a:pt x="21065" y="179120"/>
                  </a:cubicBezTo>
                  <a:cubicBezTo>
                    <a:pt x="28491" y="180278"/>
                    <a:pt x="35994" y="180856"/>
                    <a:pt x="43511" y="180851"/>
                  </a:cubicBezTo>
                  <a:lnTo>
                    <a:pt x="43910" y="180851"/>
                  </a:lnTo>
                  <a:cubicBezTo>
                    <a:pt x="83532" y="180798"/>
                    <a:pt x="121432" y="164652"/>
                    <a:pt x="148924" y="136119"/>
                  </a:cubicBezTo>
                  <a:cubicBezTo>
                    <a:pt x="156824" y="127947"/>
                    <a:pt x="163749" y="118889"/>
                    <a:pt x="169559" y="109120"/>
                  </a:cubicBezTo>
                  <a:cubicBezTo>
                    <a:pt x="173507" y="102466"/>
                    <a:pt x="176926" y="95514"/>
                    <a:pt x="179783" y="88325"/>
                  </a:cubicBezTo>
                  <a:cubicBezTo>
                    <a:pt x="180449" y="86674"/>
                    <a:pt x="181088" y="84970"/>
                    <a:pt x="181674" y="83293"/>
                  </a:cubicBezTo>
                  <a:cubicBezTo>
                    <a:pt x="184304" y="75880"/>
                    <a:pt x="186325" y="68268"/>
                    <a:pt x="187718" y="60527"/>
                  </a:cubicBezTo>
                  <a:cubicBezTo>
                    <a:pt x="189283" y="51874"/>
                    <a:pt x="190066" y="43095"/>
                    <a:pt x="190061" y="34301"/>
                  </a:cubicBezTo>
                  <a:cubicBezTo>
                    <a:pt x="190061" y="32810"/>
                    <a:pt x="190061" y="31318"/>
                    <a:pt x="190061" y="29854"/>
                  </a:cubicBezTo>
                </a:path>
              </a:pathLst>
            </a:custGeom>
            <a:solidFill>
              <a:srgbClr val="143DCF"/>
            </a:solidFill>
            <a:ln w="2661" cap="flat">
              <a:noFill/>
              <a:prstDash val="solid"/>
              <a:miter/>
            </a:ln>
          </p:spPr>
          <p:txBody>
            <a:bodyPr rtlCol="0" anchor="ctr"/>
            <a:lstStyle/>
            <a:p>
              <a:endParaRPr lang="pl-PL"/>
            </a:p>
          </p:txBody>
        </p:sp>
        <p:sp>
          <p:nvSpPr>
            <p:cNvPr id="120" name="Freeform: Shape 119">
              <a:extLst>
                <a:ext uri="{FF2B5EF4-FFF2-40B4-BE49-F238E27FC236}">
                  <a16:creationId xmlns:a16="http://schemas.microsoft.com/office/drawing/2014/main" id="{C14C4953-C4EA-4B2B-85F2-F9614CBA0BB8}"/>
                </a:ext>
              </a:extLst>
            </p:cNvPr>
            <p:cNvSpPr/>
            <p:nvPr/>
          </p:nvSpPr>
          <p:spPr>
            <a:xfrm>
              <a:off x="11502581" y="6714997"/>
              <a:ext cx="17090" cy="37099"/>
            </a:xfrm>
            <a:custGeom>
              <a:avLst/>
              <a:gdLst>
                <a:gd name="connsiteX0" fmla="*/ 31273 w 30283"/>
                <a:gd name="connsiteY0" fmla="*/ 400 h 65740"/>
                <a:gd name="connsiteX1" fmla="*/ 28024 w 30283"/>
                <a:gd name="connsiteY1" fmla="*/ -346 h 65740"/>
                <a:gd name="connsiteX2" fmla="*/ 27438 w 30283"/>
                <a:gd name="connsiteY2" fmla="*/ 2610 h 65740"/>
                <a:gd name="connsiteX3" fmla="*/ 17374 w 30283"/>
                <a:gd name="connsiteY3" fmla="*/ 34721 h 65740"/>
                <a:gd name="connsiteX4" fmla="*/ 13992 w 30283"/>
                <a:gd name="connsiteY4" fmla="*/ 41963 h 65740"/>
                <a:gd name="connsiteX5" fmla="*/ 1318 w 30283"/>
                <a:gd name="connsiteY5" fmla="*/ 62732 h 65740"/>
                <a:gd name="connsiteX6" fmla="*/ 1664 w 30283"/>
                <a:gd name="connsiteY6" fmla="*/ 65075 h 65740"/>
                <a:gd name="connsiteX7" fmla="*/ 2650 w 30283"/>
                <a:gd name="connsiteY7" fmla="*/ 65394 h 65740"/>
                <a:gd name="connsiteX8" fmla="*/ 4007 w 30283"/>
                <a:gd name="connsiteY8" fmla="*/ 64729 h 65740"/>
                <a:gd name="connsiteX9" fmla="*/ 17747 w 30283"/>
                <a:gd name="connsiteY9" fmla="*/ 41963 h 65740"/>
                <a:gd name="connsiteX10" fmla="*/ 21101 w 30283"/>
                <a:gd name="connsiteY10" fmla="*/ 34481 h 65740"/>
                <a:gd name="connsiteX11" fmla="*/ 30873 w 30283"/>
                <a:gd name="connsiteY11" fmla="*/ 2530 h 65740"/>
                <a:gd name="connsiteX12" fmla="*/ 31273 w 30283"/>
                <a:gd name="connsiteY12" fmla="*/ 347 h 6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283" h="65740">
                  <a:moveTo>
                    <a:pt x="31273" y="400"/>
                  </a:moveTo>
                  <a:cubicBezTo>
                    <a:pt x="30213" y="62"/>
                    <a:pt x="29126" y="-186"/>
                    <a:pt x="28024" y="-346"/>
                  </a:cubicBezTo>
                  <a:cubicBezTo>
                    <a:pt x="27838" y="640"/>
                    <a:pt x="27652" y="1625"/>
                    <a:pt x="27438" y="2610"/>
                  </a:cubicBezTo>
                  <a:cubicBezTo>
                    <a:pt x="25218" y="13636"/>
                    <a:pt x="21844" y="24398"/>
                    <a:pt x="17374" y="34721"/>
                  </a:cubicBezTo>
                  <a:cubicBezTo>
                    <a:pt x="16309" y="37171"/>
                    <a:pt x="15190" y="39594"/>
                    <a:pt x="13992" y="41963"/>
                  </a:cubicBezTo>
                  <a:cubicBezTo>
                    <a:pt x="10400" y="49254"/>
                    <a:pt x="6159" y="56203"/>
                    <a:pt x="1318" y="62732"/>
                  </a:cubicBezTo>
                  <a:cubicBezTo>
                    <a:pt x="767" y="63475"/>
                    <a:pt x="924" y="64524"/>
                    <a:pt x="1664" y="65075"/>
                  </a:cubicBezTo>
                  <a:cubicBezTo>
                    <a:pt x="1952" y="65283"/>
                    <a:pt x="2295" y="65394"/>
                    <a:pt x="2650" y="65394"/>
                  </a:cubicBezTo>
                  <a:cubicBezTo>
                    <a:pt x="3182" y="65405"/>
                    <a:pt x="3688" y="65157"/>
                    <a:pt x="4007" y="64729"/>
                  </a:cubicBezTo>
                  <a:cubicBezTo>
                    <a:pt x="9341" y="57622"/>
                    <a:pt x="13944" y="49994"/>
                    <a:pt x="17747" y="41963"/>
                  </a:cubicBezTo>
                  <a:cubicBezTo>
                    <a:pt x="18945" y="39301"/>
                    <a:pt x="20063" y="36931"/>
                    <a:pt x="21101" y="34481"/>
                  </a:cubicBezTo>
                  <a:cubicBezTo>
                    <a:pt x="25380" y="24172"/>
                    <a:pt x="28653" y="13471"/>
                    <a:pt x="30873" y="2530"/>
                  </a:cubicBezTo>
                  <a:cubicBezTo>
                    <a:pt x="31140" y="1145"/>
                    <a:pt x="31273" y="347"/>
                    <a:pt x="31273" y="347"/>
                  </a:cubicBezTo>
                </a:path>
              </a:pathLst>
            </a:custGeom>
            <a:solidFill>
              <a:srgbClr val="8FD942"/>
            </a:solidFill>
            <a:ln w="2661" cap="flat">
              <a:noFill/>
              <a:prstDash val="solid"/>
              <a:miter/>
            </a:ln>
          </p:spPr>
          <p:txBody>
            <a:bodyPr rtlCol="0" anchor="ctr"/>
            <a:lstStyle/>
            <a:p>
              <a:endParaRPr lang="pl-PL"/>
            </a:p>
          </p:txBody>
        </p:sp>
        <p:sp>
          <p:nvSpPr>
            <p:cNvPr id="121" name="Freeform: Shape 120">
              <a:extLst>
                <a:ext uri="{FF2B5EF4-FFF2-40B4-BE49-F238E27FC236}">
                  <a16:creationId xmlns:a16="http://schemas.microsoft.com/office/drawing/2014/main" id="{A83D7C64-7EDB-4673-88B7-C4A6EA1EF6A2}"/>
                </a:ext>
              </a:extLst>
            </p:cNvPr>
            <p:cNvSpPr/>
            <p:nvPr/>
          </p:nvSpPr>
          <p:spPr>
            <a:xfrm>
              <a:off x="11517500" y="6699685"/>
              <a:ext cx="16773" cy="56738"/>
            </a:xfrm>
            <a:custGeom>
              <a:avLst/>
              <a:gdLst>
                <a:gd name="connsiteX0" fmla="*/ 27995 w 29722"/>
                <a:gd name="connsiteY0" fmla="*/ -239 h 100540"/>
                <a:gd name="connsiteX1" fmla="*/ 27542 w 29722"/>
                <a:gd name="connsiteY1" fmla="*/ -239 h 100540"/>
                <a:gd name="connsiteX2" fmla="*/ 27356 w 29722"/>
                <a:gd name="connsiteY2" fmla="*/ -239 h 100540"/>
                <a:gd name="connsiteX3" fmla="*/ 27356 w 29722"/>
                <a:gd name="connsiteY3" fmla="*/ -239 h 100540"/>
                <a:gd name="connsiteX4" fmla="*/ 24959 w 29722"/>
                <a:gd name="connsiteY4" fmla="*/ 31313 h 100540"/>
                <a:gd name="connsiteX5" fmla="*/ 17691 w 29722"/>
                <a:gd name="connsiteY5" fmla="*/ 62093 h 100540"/>
                <a:gd name="connsiteX6" fmla="*/ 15294 w 29722"/>
                <a:gd name="connsiteY6" fmla="*/ 69095 h 100540"/>
                <a:gd name="connsiteX7" fmla="*/ 3020 w 29722"/>
                <a:gd name="connsiteY7" fmla="*/ 94923 h 100540"/>
                <a:gd name="connsiteX8" fmla="*/ 1289 w 29722"/>
                <a:gd name="connsiteY8" fmla="*/ 97585 h 100540"/>
                <a:gd name="connsiteX9" fmla="*/ 1691 w 29722"/>
                <a:gd name="connsiteY9" fmla="*/ 99886 h 100540"/>
                <a:gd name="connsiteX10" fmla="*/ 1715 w 29722"/>
                <a:gd name="connsiteY10" fmla="*/ 99902 h 100540"/>
                <a:gd name="connsiteX11" fmla="*/ 2647 w 29722"/>
                <a:gd name="connsiteY11" fmla="*/ 100195 h 100540"/>
                <a:gd name="connsiteX12" fmla="*/ 4031 w 29722"/>
                <a:gd name="connsiteY12" fmla="*/ 99449 h 100540"/>
                <a:gd name="connsiteX13" fmla="*/ 6933 w 29722"/>
                <a:gd name="connsiteY13" fmla="*/ 94870 h 100540"/>
                <a:gd name="connsiteX14" fmla="*/ 18835 w 29722"/>
                <a:gd name="connsiteY14" fmla="*/ 69042 h 100540"/>
                <a:gd name="connsiteX15" fmla="*/ 21045 w 29722"/>
                <a:gd name="connsiteY15" fmla="*/ 62386 h 100540"/>
                <a:gd name="connsiteX16" fmla="*/ 28234 w 29722"/>
                <a:gd name="connsiteY16" fmla="*/ 31766 h 100540"/>
                <a:gd name="connsiteX17" fmla="*/ 30711 w 29722"/>
                <a:gd name="connsiteY17" fmla="*/ 293 h 100540"/>
                <a:gd name="connsiteX18" fmla="*/ 30711 w 29722"/>
                <a:gd name="connsiteY18" fmla="*/ 293 h 100540"/>
                <a:gd name="connsiteX19" fmla="*/ 30711 w 29722"/>
                <a:gd name="connsiteY19" fmla="*/ 293 h 100540"/>
                <a:gd name="connsiteX20" fmla="*/ 28048 w 29722"/>
                <a:gd name="connsiteY20" fmla="*/ -346 h 100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722" h="100540">
                  <a:moveTo>
                    <a:pt x="27995" y="-239"/>
                  </a:moveTo>
                  <a:lnTo>
                    <a:pt x="27542" y="-239"/>
                  </a:lnTo>
                  <a:lnTo>
                    <a:pt x="27356" y="-239"/>
                  </a:lnTo>
                  <a:lnTo>
                    <a:pt x="27356" y="-239"/>
                  </a:lnTo>
                  <a:cubicBezTo>
                    <a:pt x="27430" y="10326"/>
                    <a:pt x="26629" y="20881"/>
                    <a:pt x="24959" y="31313"/>
                  </a:cubicBezTo>
                  <a:cubicBezTo>
                    <a:pt x="23330" y="41745"/>
                    <a:pt x="20899" y="52033"/>
                    <a:pt x="17691" y="62093"/>
                  </a:cubicBezTo>
                  <a:cubicBezTo>
                    <a:pt x="16918" y="64462"/>
                    <a:pt x="16120" y="66806"/>
                    <a:pt x="15294" y="69095"/>
                  </a:cubicBezTo>
                  <a:cubicBezTo>
                    <a:pt x="12104" y="78106"/>
                    <a:pt x="7991" y="86759"/>
                    <a:pt x="3020" y="94923"/>
                  </a:cubicBezTo>
                  <a:cubicBezTo>
                    <a:pt x="2434" y="95855"/>
                    <a:pt x="1875" y="96760"/>
                    <a:pt x="1289" y="97585"/>
                  </a:cubicBezTo>
                  <a:cubicBezTo>
                    <a:pt x="764" y="98331"/>
                    <a:pt x="945" y="99361"/>
                    <a:pt x="1691" y="99886"/>
                  </a:cubicBezTo>
                  <a:cubicBezTo>
                    <a:pt x="1699" y="99891"/>
                    <a:pt x="1707" y="99897"/>
                    <a:pt x="1715" y="99902"/>
                  </a:cubicBezTo>
                  <a:cubicBezTo>
                    <a:pt x="1992" y="100086"/>
                    <a:pt x="2314" y="100187"/>
                    <a:pt x="2647" y="100195"/>
                  </a:cubicBezTo>
                  <a:cubicBezTo>
                    <a:pt x="3203" y="100195"/>
                    <a:pt x="3725" y="99915"/>
                    <a:pt x="4031" y="99449"/>
                  </a:cubicBezTo>
                  <a:cubicBezTo>
                    <a:pt x="5016" y="98011"/>
                    <a:pt x="5975" y="96494"/>
                    <a:pt x="6933" y="94870"/>
                  </a:cubicBezTo>
                  <a:cubicBezTo>
                    <a:pt x="11718" y="86661"/>
                    <a:pt x="15704" y="78013"/>
                    <a:pt x="18835" y="69042"/>
                  </a:cubicBezTo>
                  <a:cubicBezTo>
                    <a:pt x="19608" y="66859"/>
                    <a:pt x="20327" y="64649"/>
                    <a:pt x="21045" y="62386"/>
                  </a:cubicBezTo>
                  <a:cubicBezTo>
                    <a:pt x="24211" y="52374"/>
                    <a:pt x="26616" y="42139"/>
                    <a:pt x="28234" y="31766"/>
                  </a:cubicBezTo>
                  <a:cubicBezTo>
                    <a:pt x="29904" y="21357"/>
                    <a:pt x="30732" y="10835"/>
                    <a:pt x="30711" y="293"/>
                  </a:cubicBezTo>
                  <a:lnTo>
                    <a:pt x="30711" y="293"/>
                  </a:lnTo>
                  <a:lnTo>
                    <a:pt x="30711" y="293"/>
                  </a:lnTo>
                  <a:cubicBezTo>
                    <a:pt x="29840" y="19"/>
                    <a:pt x="28948" y="-194"/>
                    <a:pt x="28048" y="-346"/>
                  </a:cubicBezTo>
                </a:path>
              </a:pathLst>
            </a:custGeom>
            <a:solidFill>
              <a:srgbClr val="8FD942"/>
            </a:solidFill>
            <a:ln w="2661" cap="flat">
              <a:noFill/>
              <a:prstDash val="solid"/>
              <a:miter/>
            </a:ln>
          </p:spPr>
          <p:txBody>
            <a:bodyPr rtlCol="0" anchor="ctr"/>
            <a:lstStyle/>
            <a:p>
              <a:endParaRPr lang="pl-PL"/>
            </a:p>
          </p:txBody>
        </p:sp>
        <p:sp>
          <p:nvSpPr>
            <p:cNvPr id="122" name="Freeform: Shape 121">
              <a:extLst>
                <a:ext uri="{FF2B5EF4-FFF2-40B4-BE49-F238E27FC236}">
                  <a16:creationId xmlns:a16="http://schemas.microsoft.com/office/drawing/2014/main" id="{4ECD1A07-726C-4FAC-AF8A-779EC4DB3C0E}"/>
                </a:ext>
              </a:extLst>
            </p:cNvPr>
            <p:cNvSpPr/>
            <p:nvPr/>
          </p:nvSpPr>
          <p:spPr>
            <a:xfrm>
              <a:off x="11531661" y="6691648"/>
              <a:ext cx="16507" cy="68726"/>
            </a:xfrm>
            <a:custGeom>
              <a:avLst/>
              <a:gdLst>
                <a:gd name="connsiteX0" fmla="*/ 30239 w 29251"/>
                <a:gd name="connsiteY0" fmla="*/ 21351 h 121784"/>
                <a:gd name="connsiteX1" fmla="*/ 28934 w 29251"/>
                <a:gd name="connsiteY1" fmla="*/ -296 h 121784"/>
                <a:gd name="connsiteX2" fmla="*/ 25526 w 29251"/>
                <a:gd name="connsiteY2" fmla="*/ -296 h 121784"/>
                <a:gd name="connsiteX3" fmla="*/ 26911 w 29251"/>
                <a:gd name="connsiteY3" fmla="*/ 20313 h 121784"/>
                <a:gd name="connsiteX4" fmla="*/ 24514 w 29251"/>
                <a:gd name="connsiteY4" fmla="*/ 51412 h 121784"/>
                <a:gd name="connsiteX5" fmla="*/ 17911 w 29251"/>
                <a:gd name="connsiteY5" fmla="*/ 81074 h 121784"/>
                <a:gd name="connsiteX6" fmla="*/ 17192 w 29251"/>
                <a:gd name="connsiteY6" fmla="*/ 83417 h 121784"/>
                <a:gd name="connsiteX7" fmla="*/ 6861 w 29251"/>
                <a:gd name="connsiteY7" fmla="*/ 109244 h 121784"/>
                <a:gd name="connsiteX8" fmla="*/ 1270 w 29251"/>
                <a:gd name="connsiteY8" fmla="*/ 118830 h 121784"/>
                <a:gd name="connsiteX9" fmla="*/ 1722 w 29251"/>
                <a:gd name="connsiteY9" fmla="*/ 121146 h 121784"/>
                <a:gd name="connsiteX10" fmla="*/ 2654 w 29251"/>
                <a:gd name="connsiteY10" fmla="*/ 121439 h 121784"/>
                <a:gd name="connsiteX11" fmla="*/ 4039 w 29251"/>
                <a:gd name="connsiteY11" fmla="*/ 120694 h 121784"/>
                <a:gd name="connsiteX12" fmla="*/ 10642 w 29251"/>
                <a:gd name="connsiteY12" fmla="*/ 109244 h 121784"/>
                <a:gd name="connsiteX13" fmla="*/ 20813 w 29251"/>
                <a:gd name="connsiteY13" fmla="*/ 83417 h 121784"/>
                <a:gd name="connsiteX14" fmla="*/ 21239 w 29251"/>
                <a:gd name="connsiteY14" fmla="*/ 82032 h 121784"/>
                <a:gd name="connsiteX15" fmla="*/ 27869 w 29251"/>
                <a:gd name="connsiteY15" fmla="*/ 52557 h 121784"/>
                <a:gd name="connsiteX16" fmla="*/ 30239 w 29251"/>
                <a:gd name="connsiteY16" fmla="*/ 21511 h 121784"/>
                <a:gd name="connsiteX17" fmla="*/ 30239 w 29251"/>
                <a:gd name="connsiteY17" fmla="*/ 21511 h 121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251" h="121784">
                  <a:moveTo>
                    <a:pt x="30239" y="21351"/>
                  </a:moveTo>
                  <a:cubicBezTo>
                    <a:pt x="30207" y="14117"/>
                    <a:pt x="29770" y="6891"/>
                    <a:pt x="28934" y="-296"/>
                  </a:cubicBezTo>
                  <a:cubicBezTo>
                    <a:pt x="27800" y="-362"/>
                    <a:pt x="26660" y="-362"/>
                    <a:pt x="25526" y="-296"/>
                  </a:cubicBezTo>
                  <a:cubicBezTo>
                    <a:pt x="26448" y="6534"/>
                    <a:pt x="26911" y="13419"/>
                    <a:pt x="26911" y="20313"/>
                  </a:cubicBezTo>
                  <a:cubicBezTo>
                    <a:pt x="26898" y="30724"/>
                    <a:pt x="26096" y="41121"/>
                    <a:pt x="24514" y="51412"/>
                  </a:cubicBezTo>
                  <a:cubicBezTo>
                    <a:pt x="22991" y="61437"/>
                    <a:pt x="20784" y="71347"/>
                    <a:pt x="17911" y="81074"/>
                  </a:cubicBezTo>
                  <a:lnTo>
                    <a:pt x="17192" y="83417"/>
                  </a:lnTo>
                  <a:cubicBezTo>
                    <a:pt x="14487" y="92302"/>
                    <a:pt x="11031" y="100942"/>
                    <a:pt x="6861" y="109244"/>
                  </a:cubicBezTo>
                  <a:cubicBezTo>
                    <a:pt x="5189" y="112549"/>
                    <a:pt x="3323" y="115749"/>
                    <a:pt x="1270" y="118830"/>
                  </a:cubicBezTo>
                  <a:cubicBezTo>
                    <a:pt x="761" y="119596"/>
                    <a:pt x="961" y="120630"/>
                    <a:pt x="1722" y="121146"/>
                  </a:cubicBezTo>
                  <a:cubicBezTo>
                    <a:pt x="1999" y="121330"/>
                    <a:pt x="2321" y="121431"/>
                    <a:pt x="2654" y="121439"/>
                  </a:cubicBezTo>
                  <a:cubicBezTo>
                    <a:pt x="3211" y="121436"/>
                    <a:pt x="3730" y="121157"/>
                    <a:pt x="4039" y="120694"/>
                  </a:cubicBezTo>
                  <a:cubicBezTo>
                    <a:pt x="6483" y="117024"/>
                    <a:pt x="8691" y="113198"/>
                    <a:pt x="10642" y="109244"/>
                  </a:cubicBezTo>
                  <a:cubicBezTo>
                    <a:pt x="14729" y="100926"/>
                    <a:pt x="18129" y="92289"/>
                    <a:pt x="20813" y="83417"/>
                  </a:cubicBezTo>
                  <a:cubicBezTo>
                    <a:pt x="20813" y="82938"/>
                    <a:pt x="21080" y="82485"/>
                    <a:pt x="21239" y="82032"/>
                  </a:cubicBezTo>
                  <a:cubicBezTo>
                    <a:pt x="24123" y="72370"/>
                    <a:pt x="26338" y="62523"/>
                    <a:pt x="27869" y="52557"/>
                  </a:cubicBezTo>
                  <a:cubicBezTo>
                    <a:pt x="29483" y="42287"/>
                    <a:pt x="30276" y="31906"/>
                    <a:pt x="30239" y="21511"/>
                  </a:cubicBezTo>
                  <a:lnTo>
                    <a:pt x="30239" y="21511"/>
                  </a:lnTo>
                  <a:close/>
                </a:path>
              </a:pathLst>
            </a:custGeom>
            <a:solidFill>
              <a:srgbClr val="8FD942"/>
            </a:solidFill>
            <a:ln w="2661" cap="flat">
              <a:noFill/>
              <a:prstDash val="solid"/>
              <a:miter/>
            </a:ln>
          </p:spPr>
          <p:txBody>
            <a:bodyPr rtlCol="0" anchor="ctr"/>
            <a:lstStyle/>
            <a:p>
              <a:endParaRPr lang="pl-PL"/>
            </a:p>
          </p:txBody>
        </p:sp>
        <p:sp>
          <p:nvSpPr>
            <p:cNvPr id="123" name="Freeform: Shape 122">
              <a:extLst>
                <a:ext uri="{FF2B5EF4-FFF2-40B4-BE49-F238E27FC236}">
                  <a16:creationId xmlns:a16="http://schemas.microsoft.com/office/drawing/2014/main" id="{79B23DE3-910B-4A05-91FA-B830F65654D3}"/>
                </a:ext>
              </a:extLst>
            </p:cNvPr>
            <p:cNvSpPr/>
            <p:nvPr/>
          </p:nvSpPr>
          <p:spPr>
            <a:xfrm>
              <a:off x="11646242" y="6644465"/>
              <a:ext cx="64654" cy="65032"/>
            </a:xfrm>
            <a:custGeom>
              <a:avLst/>
              <a:gdLst>
                <a:gd name="connsiteX0" fmla="*/ 989 w 114568"/>
                <a:gd name="connsiteY0" fmla="*/ 56475 h 115237"/>
                <a:gd name="connsiteX1" fmla="*/ 60738 w 114568"/>
                <a:gd name="connsiteY1" fmla="*/ 114892 h 115237"/>
                <a:gd name="connsiteX2" fmla="*/ 112233 w 114568"/>
                <a:gd name="connsiteY2" fmla="*/ 83340 h 115237"/>
                <a:gd name="connsiteX3" fmla="*/ 105550 w 114568"/>
                <a:gd name="connsiteY3" fmla="*/ 75219 h 115237"/>
                <a:gd name="connsiteX4" fmla="*/ 87870 w 114568"/>
                <a:gd name="connsiteY4" fmla="*/ 75219 h 115237"/>
                <a:gd name="connsiteX5" fmla="*/ 79057 w 114568"/>
                <a:gd name="connsiteY5" fmla="*/ 80545 h 115237"/>
                <a:gd name="connsiteX6" fmla="*/ 59833 w 114568"/>
                <a:gd name="connsiteY6" fmla="*/ 87361 h 115237"/>
                <a:gd name="connsiteX7" fmla="*/ 37440 w 114568"/>
                <a:gd name="connsiteY7" fmla="*/ 72850 h 115237"/>
                <a:gd name="connsiteX8" fmla="*/ 35523 w 114568"/>
                <a:gd name="connsiteY8" fmla="*/ 66646 h 115237"/>
                <a:gd name="connsiteX9" fmla="*/ 109011 w 114568"/>
                <a:gd name="connsiteY9" fmla="*/ 66646 h 115237"/>
                <a:gd name="connsiteX10" fmla="*/ 115447 w 114568"/>
                <a:gd name="connsiteY10" fmla="*/ 61488 h 115237"/>
                <a:gd name="connsiteX11" fmla="*/ 115481 w 114568"/>
                <a:gd name="connsiteY11" fmla="*/ 60895 h 115237"/>
                <a:gd name="connsiteX12" fmla="*/ 60685 w 114568"/>
                <a:gd name="connsiteY12" fmla="*/ -346 h 115237"/>
                <a:gd name="connsiteX13" fmla="*/ 989 w 114568"/>
                <a:gd name="connsiteY13" fmla="*/ 56368 h 115237"/>
                <a:gd name="connsiteX14" fmla="*/ 59380 w 114568"/>
                <a:gd name="connsiteY14" fmla="*/ 26946 h 115237"/>
                <a:gd name="connsiteX15" fmla="*/ 81533 w 114568"/>
                <a:gd name="connsiteY15" fmla="*/ 46303 h 115237"/>
                <a:gd name="connsiteX16" fmla="*/ 42605 w 114568"/>
                <a:gd name="connsiteY16" fmla="*/ 46303 h 115237"/>
                <a:gd name="connsiteX17" fmla="*/ 35683 w 114568"/>
                <a:gd name="connsiteY17" fmla="*/ 46303 h 115237"/>
                <a:gd name="connsiteX18" fmla="*/ 59380 w 114568"/>
                <a:gd name="connsiteY18" fmla="*/ 26973 h 11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4568" h="115237">
                  <a:moveTo>
                    <a:pt x="989" y="56475"/>
                  </a:moveTo>
                  <a:cubicBezTo>
                    <a:pt x="989" y="91089"/>
                    <a:pt x="27322" y="114892"/>
                    <a:pt x="60738" y="114892"/>
                  </a:cubicBezTo>
                  <a:cubicBezTo>
                    <a:pt x="87364" y="114892"/>
                    <a:pt x="105789" y="101446"/>
                    <a:pt x="112233" y="83340"/>
                  </a:cubicBezTo>
                  <a:cubicBezTo>
                    <a:pt x="113963" y="78415"/>
                    <a:pt x="110742" y="75219"/>
                    <a:pt x="105550" y="75219"/>
                  </a:cubicBezTo>
                  <a:lnTo>
                    <a:pt x="87870" y="75219"/>
                  </a:lnTo>
                  <a:cubicBezTo>
                    <a:pt x="83796" y="75219"/>
                    <a:pt x="81639" y="77350"/>
                    <a:pt x="79057" y="80545"/>
                  </a:cubicBezTo>
                  <a:cubicBezTo>
                    <a:pt x="75808" y="84379"/>
                    <a:pt x="69098" y="87361"/>
                    <a:pt x="59833" y="87361"/>
                  </a:cubicBezTo>
                  <a:cubicBezTo>
                    <a:pt x="50034" y="87806"/>
                    <a:pt x="41037" y="81975"/>
                    <a:pt x="37440" y="72850"/>
                  </a:cubicBezTo>
                  <a:cubicBezTo>
                    <a:pt x="36641" y="70834"/>
                    <a:pt x="35999" y="68760"/>
                    <a:pt x="35523" y="66646"/>
                  </a:cubicBezTo>
                  <a:lnTo>
                    <a:pt x="109011" y="66646"/>
                  </a:lnTo>
                  <a:cubicBezTo>
                    <a:pt x="112212" y="67000"/>
                    <a:pt x="115092" y="64689"/>
                    <a:pt x="115447" y="61488"/>
                  </a:cubicBezTo>
                  <a:cubicBezTo>
                    <a:pt x="115468" y="61291"/>
                    <a:pt x="115479" y="61094"/>
                    <a:pt x="115481" y="60895"/>
                  </a:cubicBezTo>
                  <a:cubicBezTo>
                    <a:pt x="117185" y="22926"/>
                    <a:pt x="89787" y="-346"/>
                    <a:pt x="60685" y="-346"/>
                  </a:cubicBezTo>
                  <a:cubicBezTo>
                    <a:pt x="26070" y="-346"/>
                    <a:pt x="989" y="22233"/>
                    <a:pt x="989" y="56368"/>
                  </a:cubicBezTo>
                  <a:moveTo>
                    <a:pt x="59380" y="26946"/>
                  </a:moveTo>
                  <a:cubicBezTo>
                    <a:pt x="79616" y="26946"/>
                    <a:pt x="81533" y="46303"/>
                    <a:pt x="81533" y="46303"/>
                  </a:cubicBezTo>
                  <a:lnTo>
                    <a:pt x="42605" y="46303"/>
                  </a:lnTo>
                  <a:lnTo>
                    <a:pt x="35683" y="46303"/>
                  </a:lnTo>
                  <a:cubicBezTo>
                    <a:pt x="35683" y="46303"/>
                    <a:pt x="39171" y="26973"/>
                    <a:pt x="59380" y="26973"/>
                  </a:cubicBezTo>
                </a:path>
              </a:pathLst>
            </a:custGeom>
            <a:solidFill>
              <a:srgbClr val="FFFFFF"/>
            </a:solidFill>
            <a:ln w="2661" cap="flat">
              <a:noFill/>
              <a:prstDash val="solid"/>
              <a:miter/>
            </a:ln>
          </p:spPr>
          <p:txBody>
            <a:bodyPr rtlCol="0" anchor="ctr"/>
            <a:lstStyle/>
            <a:p>
              <a:endParaRPr lang="pl-PL"/>
            </a:p>
          </p:txBody>
        </p:sp>
        <p:sp>
          <p:nvSpPr>
            <p:cNvPr id="124" name="Freeform: Shape 123">
              <a:extLst>
                <a:ext uri="{FF2B5EF4-FFF2-40B4-BE49-F238E27FC236}">
                  <a16:creationId xmlns:a16="http://schemas.microsoft.com/office/drawing/2014/main" id="{59C4096F-18C9-4E46-9F00-D4D8A7FDD986}"/>
                </a:ext>
              </a:extLst>
            </p:cNvPr>
            <p:cNvSpPr/>
            <p:nvPr/>
          </p:nvSpPr>
          <p:spPr>
            <a:xfrm>
              <a:off x="11719462" y="6644495"/>
              <a:ext cx="64897" cy="89810"/>
            </a:xfrm>
            <a:custGeom>
              <a:avLst/>
              <a:gdLst>
                <a:gd name="connsiteX0" fmla="*/ 115987 w 114998"/>
                <a:gd name="connsiteY0" fmla="*/ 57140 h 159144"/>
                <a:gd name="connsiteX1" fmla="*/ 58501 w 114998"/>
                <a:gd name="connsiteY1" fmla="*/ -346 h 159144"/>
                <a:gd name="connsiteX2" fmla="*/ 58475 w 114998"/>
                <a:gd name="connsiteY2" fmla="*/ -346 h 159144"/>
                <a:gd name="connsiteX3" fmla="*/ 29958 w 114998"/>
                <a:gd name="connsiteY3" fmla="*/ 7269 h 159144"/>
                <a:gd name="connsiteX4" fmla="*/ 23142 w 114998"/>
                <a:gd name="connsiteY4" fmla="*/ 1784 h 159144"/>
                <a:gd name="connsiteX5" fmla="*/ 8178 w 114998"/>
                <a:gd name="connsiteY5" fmla="*/ 1784 h 159144"/>
                <a:gd name="connsiteX6" fmla="*/ 989 w 114998"/>
                <a:gd name="connsiteY6" fmla="*/ 8947 h 159144"/>
                <a:gd name="connsiteX7" fmla="*/ 989 w 114998"/>
                <a:gd name="connsiteY7" fmla="*/ 57114 h 159144"/>
                <a:gd name="connsiteX8" fmla="*/ 989 w 114998"/>
                <a:gd name="connsiteY8" fmla="*/ 57114 h 159144"/>
                <a:gd name="connsiteX9" fmla="*/ 989 w 114998"/>
                <a:gd name="connsiteY9" fmla="*/ 151610 h 159144"/>
                <a:gd name="connsiteX10" fmla="*/ 8178 w 114998"/>
                <a:gd name="connsiteY10" fmla="*/ 158799 h 159144"/>
                <a:gd name="connsiteX11" fmla="*/ 23142 w 114998"/>
                <a:gd name="connsiteY11" fmla="*/ 158799 h 159144"/>
                <a:gd name="connsiteX12" fmla="*/ 30304 w 114998"/>
                <a:gd name="connsiteY12" fmla="*/ 151610 h 159144"/>
                <a:gd name="connsiteX13" fmla="*/ 30304 w 114998"/>
                <a:gd name="connsiteY13" fmla="*/ 107197 h 159144"/>
                <a:gd name="connsiteX14" fmla="*/ 58475 w 114998"/>
                <a:gd name="connsiteY14" fmla="*/ 114599 h 159144"/>
                <a:gd name="connsiteX15" fmla="*/ 115934 w 114998"/>
                <a:gd name="connsiteY15" fmla="*/ 57140 h 159144"/>
                <a:gd name="connsiteX16" fmla="*/ 86432 w 114998"/>
                <a:gd name="connsiteY16" fmla="*/ 57140 h 159144"/>
                <a:gd name="connsiteX17" fmla="*/ 58475 w 114998"/>
                <a:gd name="connsiteY17" fmla="*/ 85098 h 159144"/>
                <a:gd name="connsiteX18" fmla="*/ 30491 w 114998"/>
                <a:gd name="connsiteY18" fmla="*/ 57140 h 159144"/>
                <a:gd name="connsiteX19" fmla="*/ 58475 w 114998"/>
                <a:gd name="connsiteY19" fmla="*/ 29156 h 159144"/>
                <a:gd name="connsiteX20" fmla="*/ 86432 w 114998"/>
                <a:gd name="connsiteY20" fmla="*/ 57140 h 159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998" h="159144">
                  <a:moveTo>
                    <a:pt x="115987" y="57140"/>
                  </a:moveTo>
                  <a:cubicBezTo>
                    <a:pt x="115987" y="25391"/>
                    <a:pt x="90250" y="-346"/>
                    <a:pt x="58501" y="-346"/>
                  </a:cubicBezTo>
                  <a:cubicBezTo>
                    <a:pt x="58493" y="-346"/>
                    <a:pt x="58483" y="-346"/>
                    <a:pt x="58475" y="-346"/>
                  </a:cubicBezTo>
                  <a:cubicBezTo>
                    <a:pt x="48466" y="-346"/>
                    <a:pt x="38633" y="2280"/>
                    <a:pt x="29958" y="7269"/>
                  </a:cubicBezTo>
                  <a:cubicBezTo>
                    <a:pt x="29220" y="4088"/>
                    <a:pt x="26406" y="1824"/>
                    <a:pt x="23142" y="1784"/>
                  </a:cubicBezTo>
                  <a:lnTo>
                    <a:pt x="8178" y="1784"/>
                  </a:lnTo>
                  <a:cubicBezTo>
                    <a:pt x="4224" y="1798"/>
                    <a:pt x="1018" y="4993"/>
                    <a:pt x="989" y="8947"/>
                  </a:cubicBezTo>
                  <a:lnTo>
                    <a:pt x="989" y="57114"/>
                  </a:lnTo>
                  <a:lnTo>
                    <a:pt x="989" y="57114"/>
                  </a:lnTo>
                  <a:lnTo>
                    <a:pt x="989" y="151610"/>
                  </a:lnTo>
                  <a:cubicBezTo>
                    <a:pt x="1002" y="155574"/>
                    <a:pt x="4213" y="158786"/>
                    <a:pt x="8178" y="158799"/>
                  </a:cubicBezTo>
                  <a:lnTo>
                    <a:pt x="23142" y="158799"/>
                  </a:lnTo>
                  <a:cubicBezTo>
                    <a:pt x="27096" y="158770"/>
                    <a:pt x="30291" y="155564"/>
                    <a:pt x="30304" y="151610"/>
                  </a:cubicBezTo>
                  <a:lnTo>
                    <a:pt x="30304" y="107197"/>
                  </a:lnTo>
                  <a:cubicBezTo>
                    <a:pt x="38899" y="112051"/>
                    <a:pt x="48604" y="114602"/>
                    <a:pt x="58475" y="114599"/>
                  </a:cubicBezTo>
                  <a:cubicBezTo>
                    <a:pt x="90208" y="114599"/>
                    <a:pt x="115934" y="88873"/>
                    <a:pt x="115934" y="57140"/>
                  </a:cubicBezTo>
                  <a:moveTo>
                    <a:pt x="86432" y="57140"/>
                  </a:moveTo>
                  <a:cubicBezTo>
                    <a:pt x="86432" y="72581"/>
                    <a:pt x="73915" y="85098"/>
                    <a:pt x="58475" y="85098"/>
                  </a:cubicBezTo>
                  <a:cubicBezTo>
                    <a:pt x="43029" y="85098"/>
                    <a:pt x="30506" y="72586"/>
                    <a:pt x="30491" y="57140"/>
                  </a:cubicBezTo>
                  <a:cubicBezTo>
                    <a:pt x="30504" y="41692"/>
                    <a:pt x="43026" y="29172"/>
                    <a:pt x="58475" y="29156"/>
                  </a:cubicBezTo>
                  <a:cubicBezTo>
                    <a:pt x="73921" y="29172"/>
                    <a:pt x="86432" y="41694"/>
                    <a:pt x="86432" y="57140"/>
                  </a:cubicBezTo>
                </a:path>
              </a:pathLst>
            </a:custGeom>
            <a:solidFill>
              <a:srgbClr val="FFFFFF"/>
            </a:solidFill>
            <a:ln w="2661" cap="flat">
              <a:noFill/>
              <a:prstDash val="solid"/>
              <a:miter/>
            </a:ln>
          </p:spPr>
          <p:txBody>
            <a:bodyPr rtlCol="0" anchor="ctr"/>
            <a:lstStyle/>
            <a:p>
              <a:endParaRPr lang="pl-PL"/>
            </a:p>
          </p:txBody>
        </p:sp>
        <p:sp>
          <p:nvSpPr>
            <p:cNvPr id="125" name="Freeform: Shape 124">
              <a:extLst>
                <a:ext uri="{FF2B5EF4-FFF2-40B4-BE49-F238E27FC236}">
                  <a16:creationId xmlns:a16="http://schemas.microsoft.com/office/drawing/2014/main" id="{DEE240D6-B769-4332-8AA9-239B43A8A98A}"/>
                </a:ext>
              </a:extLst>
            </p:cNvPr>
            <p:cNvSpPr/>
            <p:nvPr/>
          </p:nvSpPr>
          <p:spPr>
            <a:xfrm>
              <a:off x="11792669" y="6644495"/>
              <a:ext cx="64867" cy="64867"/>
            </a:xfrm>
            <a:custGeom>
              <a:avLst/>
              <a:gdLst>
                <a:gd name="connsiteX0" fmla="*/ 115934 w 114945"/>
                <a:gd name="connsiteY0" fmla="*/ 64596 h 114945"/>
                <a:gd name="connsiteX1" fmla="*/ 115934 w 114945"/>
                <a:gd name="connsiteY1" fmla="*/ 49632 h 114945"/>
                <a:gd name="connsiteX2" fmla="*/ 108745 w 114945"/>
                <a:gd name="connsiteY2" fmla="*/ 42443 h 114945"/>
                <a:gd name="connsiteX3" fmla="*/ 73119 w 114945"/>
                <a:gd name="connsiteY3" fmla="*/ 42443 h 114945"/>
                <a:gd name="connsiteX4" fmla="*/ 73119 w 114945"/>
                <a:gd name="connsiteY4" fmla="*/ 6843 h 114945"/>
                <a:gd name="connsiteX5" fmla="*/ 65930 w 114945"/>
                <a:gd name="connsiteY5" fmla="*/ -346 h 114945"/>
                <a:gd name="connsiteX6" fmla="*/ 50993 w 114945"/>
                <a:gd name="connsiteY6" fmla="*/ -346 h 114945"/>
                <a:gd name="connsiteX7" fmla="*/ 43804 w 114945"/>
                <a:gd name="connsiteY7" fmla="*/ 6843 h 114945"/>
                <a:gd name="connsiteX8" fmla="*/ 43804 w 114945"/>
                <a:gd name="connsiteY8" fmla="*/ 42469 h 114945"/>
                <a:gd name="connsiteX9" fmla="*/ 8178 w 114945"/>
                <a:gd name="connsiteY9" fmla="*/ 42469 h 114945"/>
                <a:gd name="connsiteX10" fmla="*/ 989 w 114945"/>
                <a:gd name="connsiteY10" fmla="*/ 49658 h 114945"/>
                <a:gd name="connsiteX11" fmla="*/ 989 w 114945"/>
                <a:gd name="connsiteY11" fmla="*/ 64596 h 114945"/>
                <a:gd name="connsiteX12" fmla="*/ 8178 w 114945"/>
                <a:gd name="connsiteY12" fmla="*/ 71785 h 114945"/>
                <a:gd name="connsiteX13" fmla="*/ 43804 w 114945"/>
                <a:gd name="connsiteY13" fmla="*/ 71785 h 114945"/>
                <a:gd name="connsiteX14" fmla="*/ 43804 w 114945"/>
                <a:gd name="connsiteY14" fmla="*/ 107410 h 114945"/>
                <a:gd name="connsiteX15" fmla="*/ 50993 w 114945"/>
                <a:gd name="connsiteY15" fmla="*/ 114599 h 114945"/>
                <a:gd name="connsiteX16" fmla="*/ 65930 w 114945"/>
                <a:gd name="connsiteY16" fmla="*/ 114599 h 114945"/>
                <a:gd name="connsiteX17" fmla="*/ 73119 w 114945"/>
                <a:gd name="connsiteY17" fmla="*/ 107410 h 114945"/>
                <a:gd name="connsiteX18" fmla="*/ 73119 w 114945"/>
                <a:gd name="connsiteY18" fmla="*/ 71785 h 114945"/>
                <a:gd name="connsiteX19" fmla="*/ 108745 w 114945"/>
                <a:gd name="connsiteY19" fmla="*/ 71785 h 114945"/>
                <a:gd name="connsiteX20" fmla="*/ 115934 w 114945"/>
                <a:gd name="connsiteY20" fmla="*/ 64596 h 114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945" h="114945">
                  <a:moveTo>
                    <a:pt x="115934" y="64596"/>
                  </a:moveTo>
                  <a:lnTo>
                    <a:pt x="115934" y="49632"/>
                  </a:lnTo>
                  <a:cubicBezTo>
                    <a:pt x="115918" y="45667"/>
                    <a:pt x="112709" y="42456"/>
                    <a:pt x="108745" y="42443"/>
                  </a:cubicBezTo>
                  <a:lnTo>
                    <a:pt x="73119" y="42443"/>
                  </a:lnTo>
                  <a:lnTo>
                    <a:pt x="73119" y="6843"/>
                  </a:lnTo>
                  <a:cubicBezTo>
                    <a:pt x="73103" y="2879"/>
                    <a:pt x="69894" y="-332"/>
                    <a:pt x="65930" y="-346"/>
                  </a:cubicBezTo>
                  <a:lnTo>
                    <a:pt x="50993" y="-346"/>
                  </a:lnTo>
                  <a:cubicBezTo>
                    <a:pt x="47028" y="-330"/>
                    <a:pt x="43817" y="2879"/>
                    <a:pt x="43804" y="6843"/>
                  </a:cubicBezTo>
                  <a:lnTo>
                    <a:pt x="43804" y="42469"/>
                  </a:lnTo>
                  <a:lnTo>
                    <a:pt x="8178" y="42469"/>
                  </a:lnTo>
                  <a:cubicBezTo>
                    <a:pt x="4213" y="42483"/>
                    <a:pt x="1002" y="45694"/>
                    <a:pt x="989" y="49658"/>
                  </a:cubicBezTo>
                  <a:lnTo>
                    <a:pt x="989" y="64596"/>
                  </a:lnTo>
                  <a:cubicBezTo>
                    <a:pt x="1002" y="68560"/>
                    <a:pt x="4213" y="71771"/>
                    <a:pt x="8178" y="71785"/>
                  </a:cubicBezTo>
                  <a:lnTo>
                    <a:pt x="43804" y="71785"/>
                  </a:lnTo>
                  <a:lnTo>
                    <a:pt x="43804" y="107410"/>
                  </a:lnTo>
                  <a:cubicBezTo>
                    <a:pt x="43820" y="111375"/>
                    <a:pt x="47028" y="114586"/>
                    <a:pt x="50993" y="114599"/>
                  </a:cubicBezTo>
                  <a:lnTo>
                    <a:pt x="65930" y="114599"/>
                  </a:lnTo>
                  <a:cubicBezTo>
                    <a:pt x="69900" y="114599"/>
                    <a:pt x="73119" y="111380"/>
                    <a:pt x="73119" y="107410"/>
                  </a:cubicBezTo>
                  <a:lnTo>
                    <a:pt x="73119" y="71785"/>
                  </a:lnTo>
                  <a:lnTo>
                    <a:pt x="108745" y="71785"/>
                  </a:lnTo>
                  <a:cubicBezTo>
                    <a:pt x="112709" y="71771"/>
                    <a:pt x="115918" y="68560"/>
                    <a:pt x="115934" y="64596"/>
                  </a:cubicBezTo>
                </a:path>
              </a:pathLst>
            </a:custGeom>
            <a:solidFill>
              <a:srgbClr val="8FDB42"/>
            </a:solidFill>
            <a:ln w="2661" cap="flat">
              <a:noFill/>
              <a:prstDash val="solid"/>
              <a:miter/>
            </a:ln>
          </p:spPr>
          <p:txBody>
            <a:bodyPr rtlCol="0" anchor="ctr"/>
            <a:lstStyle/>
            <a:p>
              <a:endParaRPr lang="pl-PL"/>
            </a:p>
          </p:txBody>
        </p:sp>
        <p:sp>
          <p:nvSpPr>
            <p:cNvPr id="126" name="Freeform: Shape 125">
              <a:extLst>
                <a:ext uri="{FF2B5EF4-FFF2-40B4-BE49-F238E27FC236}">
                  <a16:creationId xmlns:a16="http://schemas.microsoft.com/office/drawing/2014/main" id="{85F83BE3-0772-4679-B745-B82C8569F46B}"/>
                </a:ext>
              </a:extLst>
            </p:cNvPr>
            <p:cNvSpPr/>
            <p:nvPr/>
          </p:nvSpPr>
          <p:spPr>
            <a:xfrm>
              <a:off x="11574954" y="6644781"/>
              <a:ext cx="64867" cy="89524"/>
            </a:xfrm>
            <a:custGeom>
              <a:avLst/>
              <a:gdLst>
                <a:gd name="connsiteX0" fmla="*/ 115934 w 114945"/>
                <a:gd name="connsiteY0" fmla="*/ 57114 h 158638"/>
                <a:gd name="connsiteX1" fmla="*/ 58475 w 114945"/>
                <a:gd name="connsiteY1" fmla="*/ -346 h 158638"/>
                <a:gd name="connsiteX2" fmla="*/ 29905 w 114945"/>
                <a:gd name="connsiteY2" fmla="*/ 7296 h 158638"/>
                <a:gd name="connsiteX3" fmla="*/ 23115 w 114945"/>
                <a:gd name="connsiteY3" fmla="*/ 2131 h 158638"/>
                <a:gd name="connsiteX4" fmla="*/ 8178 w 114945"/>
                <a:gd name="connsiteY4" fmla="*/ 2131 h 158638"/>
                <a:gd name="connsiteX5" fmla="*/ 989 w 114945"/>
                <a:gd name="connsiteY5" fmla="*/ 9320 h 158638"/>
                <a:gd name="connsiteX6" fmla="*/ 989 w 114945"/>
                <a:gd name="connsiteY6" fmla="*/ 57114 h 158638"/>
                <a:gd name="connsiteX7" fmla="*/ 989 w 114945"/>
                <a:gd name="connsiteY7" fmla="*/ 57114 h 158638"/>
                <a:gd name="connsiteX8" fmla="*/ 989 w 114945"/>
                <a:gd name="connsiteY8" fmla="*/ 151104 h 158638"/>
                <a:gd name="connsiteX9" fmla="*/ 8178 w 114945"/>
                <a:gd name="connsiteY9" fmla="*/ 158293 h 158638"/>
                <a:gd name="connsiteX10" fmla="*/ 23115 w 114945"/>
                <a:gd name="connsiteY10" fmla="*/ 158293 h 158638"/>
                <a:gd name="connsiteX11" fmla="*/ 30304 w 114945"/>
                <a:gd name="connsiteY11" fmla="*/ 151104 h 158638"/>
                <a:gd name="connsiteX12" fmla="*/ 30304 w 114945"/>
                <a:gd name="connsiteY12" fmla="*/ 107171 h 158638"/>
                <a:gd name="connsiteX13" fmla="*/ 58475 w 114945"/>
                <a:gd name="connsiteY13" fmla="*/ 114573 h 158638"/>
                <a:gd name="connsiteX14" fmla="*/ 115934 w 114945"/>
                <a:gd name="connsiteY14" fmla="*/ 57114 h 158638"/>
                <a:gd name="connsiteX15" fmla="*/ 86432 w 114945"/>
                <a:gd name="connsiteY15" fmla="*/ 57114 h 158638"/>
                <a:gd name="connsiteX16" fmla="*/ 58475 w 114945"/>
                <a:gd name="connsiteY16" fmla="*/ 85098 h 158638"/>
                <a:gd name="connsiteX17" fmla="*/ 30491 w 114945"/>
                <a:gd name="connsiteY17" fmla="*/ 57114 h 158638"/>
                <a:gd name="connsiteX18" fmla="*/ 58475 w 114945"/>
                <a:gd name="connsiteY18" fmla="*/ 29156 h 158638"/>
                <a:gd name="connsiteX19" fmla="*/ 86432 w 114945"/>
                <a:gd name="connsiteY19" fmla="*/ 57114 h 158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4945" h="158638">
                  <a:moveTo>
                    <a:pt x="115934" y="57114"/>
                  </a:moveTo>
                  <a:cubicBezTo>
                    <a:pt x="115934" y="25381"/>
                    <a:pt x="90208" y="-346"/>
                    <a:pt x="58475" y="-346"/>
                  </a:cubicBezTo>
                  <a:cubicBezTo>
                    <a:pt x="48447" y="-340"/>
                    <a:pt x="38596" y="2293"/>
                    <a:pt x="29905" y="7296"/>
                  </a:cubicBezTo>
                  <a:cubicBezTo>
                    <a:pt x="29034" y="4261"/>
                    <a:pt x="26273" y="2160"/>
                    <a:pt x="23115" y="2131"/>
                  </a:cubicBezTo>
                  <a:lnTo>
                    <a:pt x="8178" y="2131"/>
                  </a:lnTo>
                  <a:cubicBezTo>
                    <a:pt x="4213" y="2144"/>
                    <a:pt x="1002" y="5355"/>
                    <a:pt x="989" y="9320"/>
                  </a:cubicBezTo>
                  <a:lnTo>
                    <a:pt x="989" y="57114"/>
                  </a:lnTo>
                  <a:lnTo>
                    <a:pt x="989" y="57114"/>
                  </a:lnTo>
                  <a:lnTo>
                    <a:pt x="989" y="151104"/>
                  </a:lnTo>
                  <a:cubicBezTo>
                    <a:pt x="1002" y="155069"/>
                    <a:pt x="4213" y="158280"/>
                    <a:pt x="8178" y="158293"/>
                  </a:cubicBezTo>
                  <a:lnTo>
                    <a:pt x="23115" y="158293"/>
                  </a:lnTo>
                  <a:cubicBezTo>
                    <a:pt x="27080" y="158280"/>
                    <a:pt x="30291" y="155069"/>
                    <a:pt x="30304" y="151104"/>
                  </a:cubicBezTo>
                  <a:lnTo>
                    <a:pt x="30304" y="107171"/>
                  </a:lnTo>
                  <a:cubicBezTo>
                    <a:pt x="38899" y="112025"/>
                    <a:pt x="48604" y="114575"/>
                    <a:pt x="58475" y="114573"/>
                  </a:cubicBezTo>
                  <a:cubicBezTo>
                    <a:pt x="90202" y="114557"/>
                    <a:pt x="115918" y="88841"/>
                    <a:pt x="115934" y="57114"/>
                  </a:cubicBezTo>
                  <a:moveTo>
                    <a:pt x="86432" y="57114"/>
                  </a:moveTo>
                  <a:cubicBezTo>
                    <a:pt x="86432" y="72559"/>
                    <a:pt x="73920" y="85082"/>
                    <a:pt x="58475" y="85098"/>
                  </a:cubicBezTo>
                  <a:cubicBezTo>
                    <a:pt x="43026" y="85082"/>
                    <a:pt x="30506" y="72562"/>
                    <a:pt x="30491" y="57114"/>
                  </a:cubicBezTo>
                  <a:cubicBezTo>
                    <a:pt x="30506" y="41668"/>
                    <a:pt x="43029" y="29156"/>
                    <a:pt x="58475" y="29156"/>
                  </a:cubicBezTo>
                  <a:cubicBezTo>
                    <a:pt x="73915" y="29156"/>
                    <a:pt x="86432" y="41673"/>
                    <a:pt x="86432" y="57114"/>
                  </a:cubicBezTo>
                </a:path>
              </a:pathLst>
            </a:custGeom>
            <a:solidFill>
              <a:srgbClr val="FFFFFF"/>
            </a:solidFill>
            <a:ln w="2661" cap="flat">
              <a:noFill/>
              <a:prstDash val="solid"/>
              <a:miter/>
            </a:ln>
          </p:spPr>
          <p:txBody>
            <a:bodyPr rtlCol="0" anchor="ctr"/>
            <a:lstStyle/>
            <a:p>
              <a:endParaRPr lang="pl-PL"/>
            </a:p>
          </p:txBody>
        </p:sp>
        <p:sp>
          <p:nvSpPr>
            <p:cNvPr id="127" name="Freeform: Shape 126">
              <a:extLst>
                <a:ext uri="{FF2B5EF4-FFF2-40B4-BE49-F238E27FC236}">
                  <a16:creationId xmlns:a16="http://schemas.microsoft.com/office/drawing/2014/main" id="{28A4C074-449D-42DB-9572-8F44F140AD7A}"/>
                </a:ext>
              </a:extLst>
            </p:cNvPr>
            <p:cNvSpPr/>
            <p:nvPr/>
          </p:nvSpPr>
          <p:spPr>
            <a:xfrm>
              <a:off x="11574969" y="6750860"/>
              <a:ext cx="19691" cy="26558"/>
            </a:xfrm>
            <a:custGeom>
              <a:avLst/>
              <a:gdLst>
                <a:gd name="connsiteX0" fmla="*/ 1103 w 34893"/>
                <a:gd name="connsiteY0" fmla="*/ 44632 h 47062"/>
                <a:gd name="connsiteX1" fmla="*/ 1103 w 34893"/>
                <a:gd name="connsiteY1" fmla="*/ 2270 h 47062"/>
                <a:gd name="connsiteX2" fmla="*/ 2765 w 34893"/>
                <a:gd name="connsiteY2" fmla="*/ 273 h 47062"/>
                <a:gd name="connsiteX3" fmla="*/ 3100 w 34893"/>
                <a:gd name="connsiteY3" fmla="*/ 273 h 47062"/>
                <a:gd name="connsiteX4" fmla="*/ 5124 w 34893"/>
                <a:gd name="connsiteY4" fmla="*/ 273 h 47062"/>
                <a:gd name="connsiteX5" fmla="*/ 7387 w 34893"/>
                <a:gd name="connsiteY5" fmla="*/ 1897 h 47062"/>
                <a:gd name="connsiteX6" fmla="*/ 9704 w 34893"/>
                <a:gd name="connsiteY6" fmla="*/ 2589 h 47062"/>
                <a:gd name="connsiteX7" fmla="*/ 19316 w 34893"/>
                <a:gd name="connsiteY7" fmla="*/ -339 h 47062"/>
                <a:gd name="connsiteX8" fmla="*/ 35880 w 34893"/>
                <a:gd name="connsiteY8" fmla="*/ 16060 h 47062"/>
                <a:gd name="connsiteX9" fmla="*/ 35877 w 34893"/>
                <a:gd name="connsiteY9" fmla="*/ 16462 h 47062"/>
                <a:gd name="connsiteX10" fmla="*/ 19667 w 34893"/>
                <a:gd name="connsiteY10" fmla="*/ 33524 h 47062"/>
                <a:gd name="connsiteX11" fmla="*/ 19182 w 34893"/>
                <a:gd name="connsiteY11" fmla="*/ 33529 h 47062"/>
                <a:gd name="connsiteX12" fmla="*/ 11195 w 34893"/>
                <a:gd name="connsiteY12" fmla="*/ 31585 h 47062"/>
                <a:gd name="connsiteX13" fmla="*/ 9118 w 34893"/>
                <a:gd name="connsiteY13" fmla="*/ 32597 h 47062"/>
                <a:gd name="connsiteX14" fmla="*/ 9118 w 34893"/>
                <a:gd name="connsiteY14" fmla="*/ 44712 h 47062"/>
                <a:gd name="connsiteX15" fmla="*/ 7456 w 34893"/>
                <a:gd name="connsiteY15" fmla="*/ 46709 h 47062"/>
                <a:gd name="connsiteX16" fmla="*/ 7121 w 34893"/>
                <a:gd name="connsiteY16" fmla="*/ 46709 h 47062"/>
                <a:gd name="connsiteX17" fmla="*/ 2994 w 34893"/>
                <a:gd name="connsiteY17" fmla="*/ 46709 h 47062"/>
                <a:gd name="connsiteX18" fmla="*/ 997 w 34893"/>
                <a:gd name="connsiteY18" fmla="*/ 45048 h 47062"/>
                <a:gd name="connsiteX19" fmla="*/ 997 w 34893"/>
                <a:gd name="connsiteY19" fmla="*/ 44712 h 47062"/>
                <a:gd name="connsiteX20" fmla="*/ 10236 w 34893"/>
                <a:gd name="connsiteY20" fmla="*/ 22106 h 47062"/>
                <a:gd name="connsiteX21" fmla="*/ 18224 w 34893"/>
                <a:gd name="connsiteY21" fmla="*/ 26127 h 47062"/>
                <a:gd name="connsiteX22" fmla="*/ 26968 w 34893"/>
                <a:gd name="connsiteY22" fmla="*/ 16571 h 47062"/>
                <a:gd name="connsiteX23" fmla="*/ 26957 w 34893"/>
                <a:gd name="connsiteY23" fmla="*/ 16382 h 47062"/>
                <a:gd name="connsiteX24" fmla="*/ 18250 w 34893"/>
                <a:gd name="connsiteY24" fmla="*/ 6983 h 47062"/>
                <a:gd name="connsiteX25" fmla="*/ 10263 w 34893"/>
                <a:gd name="connsiteY25" fmla="*/ 10977 h 47062"/>
                <a:gd name="connsiteX26" fmla="*/ 9677 w 34893"/>
                <a:gd name="connsiteY26" fmla="*/ 13133 h 47062"/>
                <a:gd name="connsiteX27" fmla="*/ 9677 w 34893"/>
                <a:gd name="connsiteY27" fmla="*/ 19896 h 47062"/>
                <a:gd name="connsiteX28" fmla="*/ 10263 w 34893"/>
                <a:gd name="connsiteY28" fmla="*/ 22027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893" h="47062">
                  <a:moveTo>
                    <a:pt x="1103" y="44632"/>
                  </a:moveTo>
                  <a:lnTo>
                    <a:pt x="1103" y="2270"/>
                  </a:lnTo>
                  <a:cubicBezTo>
                    <a:pt x="1010" y="1261"/>
                    <a:pt x="1756" y="366"/>
                    <a:pt x="2765" y="273"/>
                  </a:cubicBezTo>
                  <a:cubicBezTo>
                    <a:pt x="2877" y="262"/>
                    <a:pt x="2988" y="262"/>
                    <a:pt x="3100" y="273"/>
                  </a:cubicBezTo>
                  <a:lnTo>
                    <a:pt x="5124" y="273"/>
                  </a:lnTo>
                  <a:cubicBezTo>
                    <a:pt x="6170" y="201"/>
                    <a:pt x="7121" y="883"/>
                    <a:pt x="7387" y="1897"/>
                  </a:cubicBezTo>
                  <a:cubicBezTo>
                    <a:pt x="7707" y="3228"/>
                    <a:pt x="8638" y="3415"/>
                    <a:pt x="9704" y="2589"/>
                  </a:cubicBezTo>
                  <a:cubicBezTo>
                    <a:pt x="12502" y="592"/>
                    <a:pt x="15878" y="-435"/>
                    <a:pt x="19316" y="-339"/>
                  </a:cubicBezTo>
                  <a:cubicBezTo>
                    <a:pt x="28419" y="-385"/>
                    <a:pt x="35834" y="6956"/>
                    <a:pt x="35880" y="16060"/>
                  </a:cubicBezTo>
                  <a:cubicBezTo>
                    <a:pt x="35880" y="16193"/>
                    <a:pt x="35880" y="16329"/>
                    <a:pt x="35877" y="16462"/>
                  </a:cubicBezTo>
                  <a:cubicBezTo>
                    <a:pt x="36111" y="25650"/>
                    <a:pt x="28856" y="33289"/>
                    <a:pt x="19667" y="33524"/>
                  </a:cubicBezTo>
                  <a:cubicBezTo>
                    <a:pt x="19505" y="33529"/>
                    <a:pt x="19345" y="33529"/>
                    <a:pt x="19182" y="33529"/>
                  </a:cubicBezTo>
                  <a:cubicBezTo>
                    <a:pt x="16397" y="33582"/>
                    <a:pt x="13644" y="32914"/>
                    <a:pt x="11195" y="31585"/>
                  </a:cubicBezTo>
                  <a:cubicBezTo>
                    <a:pt x="9943" y="30840"/>
                    <a:pt x="9118" y="31213"/>
                    <a:pt x="9118" y="32597"/>
                  </a:cubicBezTo>
                  <a:lnTo>
                    <a:pt x="9118" y="44712"/>
                  </a:lnTo>
                  <a:cubicBezTo>
                    <a:pt x="9211" y="45721"/>
                    <a:pt x="8465" y="46616"/>
                    <a:pt x="7456" y="46709"/>
                  </a:cubicBezTo>
                  <a:cubicBezTo>
                    <a:pt x="7344" y="46720"/>
                    <a:pt x="7233" y="46720"/>
                    <a:pt x="7121" y="46709"/>
                  </a:cubicBezTo>
                  <a:lnTo>
                    <a:pt x="2994" y="46709"/>
                  </a:lnTo>
                  <a:cubicBezTo>
                    <a:pt x="1982" y="46802"/>
                    <a:pt x="1090" y="46057"/>
                    <a:pt x="997" y="45048"/>
                  </a:cubicBezTo>
                  <a:cubicBezTo>
                    <a:pt x="986" y="44936"/>
                    <a:pt x="986" y="44824"/>
                    <a:pt x="997" y="44712"/>
                  </a:cubicBezTo>
                  <a:moveTo>
                    <a:pt x="10236" y="22106"/>
                  </a:moveTo>
                  <a:cubicBezTo>
                    <a:pt x="12039" y="24721"/>
                    <a:pt x="15050" y="26236"/>
                    <a:pt x="18224" y="26127"/>
                  </a:cubicBezTo>
                  <a:cubicBezTo>
                    <a:pt x="23277" y="25903"/>
                    <a:pt x="27192" y="21625"/>
                    <a:pt x="26968" y="16571"/>
                  </a:cubicBezTo>
                  <a:cubicBezTo>
                    <a:pt x="26965" y="16507"/>
                    <a:pt x="26963" y="16446"/>
                    <a:pt x="26957" y="16382"/>
                  </a:cubicBezTo>
                  <a:cubicBezTo>
                    <a:pt x="27122" y="11392"/>
                    <a:pt x="23238" y="7198"/>
                    <a:pt x="18250" y="6983"/>
                  </a:cubicBezTo>
                  <a:cubicBezTo>
                    <a:pt x="15085" y="6884"/>
                    <a:pt x="12081" y="8386"/>
                    <a:pt x="10263" y="10977"/>
                  </a:cubicBezTo>
                  <a:cubicBezTo>
                    <a:pt x="9837" y="11613"/>
                    <a:pt x="9632" y="12369"/>
                    <a:pt x="9677" y="13133"/>
                  </a:cubicBezTo>
                  <a:lnTo>
                    <a:pt x="9677" y="19896"/>
                  </a:lnTo>
                  <a:cubicBezTo>
                    <a:pt x="9650" y="20650"/>
                    <a:pt x="9855" y="21393"/>
                    <a:pt x="10263" y="22027"/>
                  </a:cubicBezTo>
                </a:path>
              </a:pathLst>
            </a:custGeom>
            <a:solidFill>
              <a:srgbClr val="FFFFFF"/>
            </a:solidFill>
            <a:ln w="2661" cap="flat">
              <a:noFill/>
              <a:prstDash val="solid"/>
              <a:miter/>
            </a:ln>
          </p:spPr>
          <p:txBody>
            <a:bodyPr rtlCol="0" anchor="ctr"/>
            <a:lstStyle/>
            <a:p>
              <a:endParaRPr lang="pl-PL"/>
            </a:p>
          </p:txBody>
        </p:sp>
        <p:sp>
          <p:nvSpPr>
            <p:cNvPr id="128" name="Freeform: Shape 127">
              <a:extLst>
                <a:ext uri="{FF2B5EF4-FFF2-40B4-BE49-F238E27FC236}">
                  <a16:creationId xmlns:a16="http://schemas.microsoft.com/office/drawing/2014/main" id="{B955EF6C-614F-41FE-9895-338B2627DBE6}"/>
                </a:ext>
              </a:extLst>
            </p:cNvPr>
            <p:cNvSpPr/>
            <p:nvPr/>
          </p:nvSpPr>
          <p:spPr>
            <a:xfrm>
              <a:off x="11597252" y="6750822"/>
              <a:ext cx="18514" cy="19157"/>
            </a:xfrm>
            <a:custGeom>
              <a:avLst/>
              <a:gdLst>
                <a:gd name="connsiteX0" fmla="*/ 18038 w 32808"/>
                <a:gd name="connsiteY0" fmla="*/ -324 h 33946"/>
                <a:gd name="connsiteX1" fmla="*/ 33795 w 32808"/>
                <a:gd name="connsiteY1" fmla="*/ 15867 h 33946"/>
                <a:gd name="connsiteX2" fmla="*/ 33721 w 32808"/>
                <a:gd name="connsiteY2" fmla="*/ 17196 h 33946"/>
                <a:gd name="connsiteX3" fmla="*/ 31915 w 32808"/>
                <a:gd name="connsiteY3" fmla="*/ 19012 h 33946"/>
                <a:gd name="connsiteX4" fmla="*/ 31777 w 32808"/>
                <a:gd name="connsiteY4" fmla="*/ 19006 h 33946"/>
                <a:gd name="connsiteX5" fmla="*/ 11568 w 32808"/>
                <a:gd name="connsiteY5" fmla="*/ 19006 h 33946"/>
                <a:gd name="connsiteX6" fmla="*/ 10130 w 32808"/>
                <a:gd name="connsiteY6" fmla="*/ 20950 h 33946"/>
                <a:gd name="connsiteX7" fmla="*/ 18118 w 32808"/>
                <a:gd name="connsiteY7" fmla="*/ 26488 h 33946"/>
                <a:gd name="connsiteX8" fmla="*/ 24455 w 32808"/>
                <a:gd name="connsiteY8" fmla="*/ 23613 h 33946"/>
                <a:gd name="connsiteX9" fmla="*/ 26771 w 32808"/>
                <a:gd name="connsiteY9" fmla="*/ 22148 h 33946"/>
                <a:gd name="connsiteX10" fmla="*/ 31058 w 32808"/>
                <a:gd name="connsiteY10" fmla="*/ 22148 h 33946"/>
                <a:gd name="connsiteX11" fmla="*/ 32815 w 32808"/>
                <a:gd name="connsiteY11" fmla="*/ 24358 h 33946"/>
                <a:gd name="connsiteX12" fmla="*/ 18118 w 32808"/>
                <a:gd name="connsiteY12" fmla="*/ 33571 h 33946"/>
                <a:gd name="connsiteX13" fmla="*/ 994 w 32808"/>
                <a:gd name="connsiteY13" fmla="*/ 17371 h 33946"/>
                <a:gd name="connsiteX14" fmla="*/ 997 w 32808"/>
                <a:gd name="connsiteY14" fmla="*/ 16370 h 33946"/>
                <a:gd name="connsiteX15" fmla="*/ 16866 w 32808"/>
                <a:gd name="connsiteY15" fmla="*/ -340 h 33946"/>
                <a:gd name="connsiteX16" fmla="*/ 18118 w 32808"/>
                <a:gd name="connsiteY16" fmla="*/ -324 h 33946"/>
                <a:gd name="connsiteX17" fmla="*/ 12020 w 32808"/>
                <a:gd name="connsiteY17" fmla="*/ 13362 h 33946"/>
                <a:gd name="connsiteX18" fmla="*/ 23257 w 32808"/>
                <a:gd name="connsiteY18" fmla="*/ 13362 h 33946"/>
                <a:gd name="connsiteX19" fmla="*/ 24774 w 32808"/>
                <a:gd name="connsiteY19" fmla="*/ 11365 h 33946"/>
                <a:gd name="connsiteX20" fmla="*/ 17985 w 32808"/>
                <a:gd name="connsiteY20" fmla="*/ 6705 h 33946"/>
                <a:gd name="connsiteX21" fmla="*/ 10582 w 32808"/>
                <a:gd name="connsiteY21" fmla="*/ 11285 h 33946"/>
                <a:gd name="connsiteX22" fmla="*/ 12020 w 32808"/>
                <a:gd name="connsiteY22" fmla="*/ 13362 h 3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808" h="33946">
                  <a:moveTo>
                    <a:pt x="18038" y="-324"/>
                  </a:moveTo>
                  <a:cubicBezTo>
                    <a:pt x="26859" y="-204"/>
                    <a:pt x="33915" y="7046"/>
                    <a:pt x="33795" y="15867"/>
                  </a:cubicBezTo>
                  <a:cubicBezTo>
                    <a:pt x="33787" y="16312"/>
                    <a:pt x="33763" y="16754"/>
                    <a:pt x="33721" y="17196"/>
                  </a:cubicBezTo>
                  <a:cubicBezTo>
                    <a:pt x="33723" y="18197"/>
                    <a:pt x="32914" y="19009"/>
                    <a:pt x="31915" y="19012"/>
                  </a:cubicBezTo>
                  <a:cubicBezTo>
                    <a:pt x="31870" y="19012"/>
                    <a:pt x="31822" y="19009"/>
                    <a:pt x="31777" y="19006"/>
                  </a:cubicBezTo>
                  <a:lnTo>
                    <a:pt x="11568" y="19006"/>
                  </a:lnTo>
                  <a:cubicBezTo>
                    <a:pt x="10396" y="19006"/>
                    <a:pt x="9624" y="19778"/>
                    <a:pt x="10130" y="20950"/>
                  </a:cubicBezTo>
                  <a:cubicBezTo>
                    <a:pt x="11272" y="24361"/>
                    <a:pt x="14523" y="26616"/>
                    <a:pt x="18118" y="26488"/>
                  </a:cubicBezTo>
                  <a:cubicBezTo>
                    <a:pt x="20589" y="26709"/>
                    <a:pt x="22996" y="25618"/>
                    <a:pt x="24455" y="23613"/>
                  </a:cubicBezTo>
                  <a:cubicBezTo>
                    <a:pt x="24897" y="22734"/>
                    <a:pt x="25789" y="22172"/>
                    <a:pt x="26771" y="22148"/>
                  </a:cubicBezTo>
                  <a:lnTo>
                    <a:pt x="31058" y="22148"/>
                  </a:lnTo>
                  <a:cubicBezTo>
                    <a:pt x="32443" y="22148"/>
                    <a:pt x="33295" y="23027"/>
                    <a:pt x="32815" y="24358"/>
                  </a:cubicBezTo>
                  <a:cubicBezTo>
                    <a:pt x="30403" y="30267"/>
                    <a:pt x="24487" y="33975"/>
                    <a:pt x="18118" y="33571"/>
                  </a:cubicBezTo>
                  <a:cubicBezTo>
                    <a:pt x="8916" y="33826"/>
                    <a:pt x="1250" y="26573"/>
                    <a:pt x="994" y="17371"/>
                  </a:cubicBezTo>
                  <a:cubicBezTo>
                    <a:pt x="986" y="17036"/>
                    <a:pt x="986" y="16703"/>
                    <a:pt x="997" y="16370"/>
                  </a:cubicBezTo>
                  <a:cubicBezTo>
                    <a:pt x="765" y="7373"/>
                    <a:pt x="7869" y="-109"/>
                    <a:pt x="16866" y="-340"/>
                  </a:cubicBezTo>
                  <a:cubicBezTo>
                    <a:pt x="17284" y="-351"/>
                    <a:pt x="17702" y="-346"/>
                    <a:pt x="18118" y="-324"/>
                  </a:cubicBezTo>
                  <a:moveTo>
                    <a:pt x="12020" y="13362"/>
                  </a:moveTo>
                  <a:lnTo>
                    <a:pt x="23257" y="13362"/>
                  </a:lnTo>
                  <a:cubicBezTo>
                    <a:pt x="24508" y="13362"/>
                    <a:pt x="25280" y="12616"/>
                    <a:pt x="24774" y="11365"/>
                  </a:cubicBezTo>
                  <a:cubicBezTo>
                    <a:pt x="23707" y="8545"/>
                    <a:pt x="20999" y="6686"/>
                    <a:pt x="17985" y="6705"/>
                  </a:cubicBezTo>
                  <a:cubicBezTo>
                    <a:pt x="14859" y="6737"/>
                    <a:pt x="12007" y="8502"/>
                    <a:pt x="10582" y="11285"/>
                  </a:cubicBezTo>
                  <a:cubicBezTo>
                    <a:pt x="10023" y="12483"/>
                    <a:pt x="10716" y="13362"/>
                    <a:pt x="12020" y="13362"/>
                  </a:cubicBezTo>
                </a:path>
              </a:pathLst>
            </a:custGeom>
            <a:solidFill>
              <a:srgbClr val="FFFFFF"/>
            </a:solidFill>
            <a:ln w="2661" cap="flat">
              <a:noFill/>
              <a:prstDash val="solid"/>
              <a:miter/>
            </a:ln>
          </p:spPr>
          <p:txBody>
            <a:bodyPr rtlCol="0" anchor="ctr"/>
            <a:lstStyle/>
            <a:p>
              <a:endParaRPr lang="pl-PL"/>
            </a:p>
          </p:txBody>
        </p:sp>
        <p:sp>
          <p:nvSpPr>
            <p:cNvPr id="129" name="Freeform: Shape 128">
              <a:extLst>
                <a:ext uri="{FF2B5EF4-FFF2-40B4-BE49-F238E27FC236}">
                  <a16:creationId xmlns:a16="http://schemas.microsoft.com/office/drawing/2014/main" id="{DB17ADFE-4148-4ADF-90D3-8CC1166A84F9}"/>
                </a:ext>
              </a:extLst>
            </p:cNvPr>
            <p:cNvSpPr/>
            <p:nvPr/>
          </p:nvSpPr>
          <p:spPr>
            <a:xfrm>
              <a:off x="11619475" y="6750860"/>
              <a:ext cx="19631" cy="26558"/>
            </a:xfrm>
            <a:custGeom>
              <a:avLst/>
              <a:gdLst>
                <a:gd name="connsiteX0" fmla="*/ 997 w 34787"/>
                <a:gd name="connsiteY0" fmla="*/ 44632 h 47062"/>
                <a:gd name="connsiteX1" fmla="*/ 997 w 34787"/>
                <a:gd name="connsiteY1" fmla="*/ 2270 h 47062"/>
                <a:gd name="connsiteX2" fmla="*/ 2658 w 34787"/>
                <a:gd name="connsiteY2" fmla="*/ 273 h 47062"/>
                <a:gd name="connsiteX3" fmla="*/ 2994 w 34787"/>
                <a:gd name="connsiteY3" fmla="*/ 273 h 47062"/>
                <a:gd name="connsiteX4" fmla="*/ 5017 w 34787"/>
                <a:gd name="connsiteY4" fmla="*/ 273 h 47062"/>
                <a:gd name="connsiteX5" fmla="*/ 7280 w 34787"/>
                <a:gd name="connsiteY5" fmla="*/ 1897 h 47062"/>
                <a:gd name="connsiteX6" fmla="*/ 9597 w 34787"/>
                <a:gd name="connsiteY6" fmla="*/ 2589 h 47062"/>
                <a:gd name="connsiteX7" fmla="*/ 19209 w 34787"/>
                <a:gd name="connsiteY7" fmla="*/ -339 h 47062"/>
                <a:gd name="connsiteX8" fmla="*/ 35773 w 34787"/>
                <a:gd name="connsiteY8" fmla="*/ 16060 h 47062"/>
                <a:gd name="connsiteX9" fmla="*/ 35770 w 34787"/>
                <a:gd name="connsiteY9" fmla="*/ 16462 h 47062"/>
                <a:gd name="connsiteX10" fmla="*/ 19560 w 34787"/>
                <a:gd name="connsiteY10" fmla="*/ 33524 h 47062"/>
                <a:gd name="connsiteX11" fmla="*/ 19076 w 34787"/>
                <a:gd name="connsiteY11" fmla="*/ 33529 h 47062"/>
                <a:gd name="connsiteX12" fmla="*/ 11088 w 34787"/>
                <a:gd name="connsiteY12" fmla="*/ 31585 h 47062"/>
                <a:gd name="connsiteX13" fmla="*/ 9011 w 34787"/>
                <a:gd name="connsiteY13" fmla="*/ 32597 h 47062"/>
                <a:gd name="connsiteX14" fmla="*/ 9011 w 34787"/>
                <a:gd name="connsiteY14" fmla="*/ 44712 h 47062"/>
                <a:gd name="connsiteX15" fmla="*/ 7350 w 34787"/>
                <a:gd name="connsiteY15" fmla="*/ 46709 h 47062"/>
                <a:gd name="connsiteX16" fmla="*/ 7014 w 34787"/>
                <a:gd name="connsiteY16" fmla="*/ 46709 h 47062"/>
                <a:gd name="connsiteX17" fmla="*/ 3100 w 34787"/>
                <a:gd name="connsiteY17" fmla="*/ 46709 h 47062"/>
                <a:gd name="connsiteX18" fmla="*/ 1103 w 34787"/>
                <a:gd name="connsiteY18" fmla="*/ 45048 h 47062"/>
                <a:gd name="connsiteX19" fmla="*/ 1103 w 34787"/>
                <a:gd name="connsiteY19" fmla="*/ 44712 h 47062"/>
                <a:gd name="connsiteX20" fmla="*/ 10342 w 34787"/>
                <a:gd name="connsiteY20" fmla="*/ 22106 h 47062"/>
                <a:gd name="connsiteX21" fmla="*/ 18330 w 34787"/>
                <a:gd name="connsiteY21" fmla="*/ 26127 h 47062"/>
                <a:gd name="connsiteX22" fmla="*/ 27042 w 34787"/>
                <a:gd name="connsiteY22" fmla="*/ 16539 h 47062"/>
                <a:gd name="connsiteX23" fmla="*/ 27037 w 34787"/>
                <a:gd name="connsiteY23" fmla="*/ 16462 h 47062"/>
                <a:gd name="connsiteX24" fmla="*/ 18330 w 34787"/>
                <a:gd name="connsiteY24" fmla="*/ 7063 h 47062"/>
                <a:gd name="connsiteX25" fmla="*/ 10342 w 34787"/>
                <a:gd name="connsiteY25" fmla="*/ 11057 h 47062"/>
                <a:gd name="connsiteX26" fmla="*/ 9757 w 34787"/>
                <a:gd name="connsiteY26" fmla="*/ 13213 h 47062"/>
                <a:gd name="connsiteX27" fmla="*/ 9757 w 34787"/>
                <a:gd name="connsiteY27" fmla="*/ 19976 h 47062"/>
                <a:gd name="connsiteX28" fmla="*/ 10342 w 34787"/>
                <a:gd name="connsiteY28" fmla="*/ 22106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787" h="47062">
                  <a:moveTo>
                    <a:pt x="997" y="44632"/>
                  </a:moveTo>
                  <a:lnTo>
                    <a:pt x="997" y="2270"/>
                  </a:lnTo>
                  <a:cubicBezTo>
                    <a:pt x="903" y="1261"/>
                    <a:pt x="1649" y="366"/>
                    <a:pt x="2658" y="273"/>
                  </a:cubicBezTo>
                  <a:cubicBezTo>
                    <a:pt x="2770" y="262"/>
                    <a:pt x="2882" y="262"/>
                    <a:pt x="2994" y="273"/>
                  </a:cubicBezTo>
                  <a:lnTo>
                    <a:pt x="5017" y="273"/>
                  </a:lnTo>
                  <a:cubicBezTo>
                    <a:pt x="6064" y="201"/>
                    <a:pt x="7014" y="883"/>
                    <a:pt x="7280" y="1897"/>
                  </a:cubicBezTo>
                  <a:cubicBezTo>
                    <a:pt x="7600" y="3228"/>
                    <a:pt x="8532" y="3415"/>
                    <a:pt x="9597" y="2589"/>
                  </a:cubicBezTo>
                  <a:cubicBezTo>
                    <a:pt x="12395" y="592"/>
                    <a:pt x="15771" y="-435"/>
                    <a:pt x="19209" y="-339"/>
                  </a:cubicBezTo>
                  <a:cubicBezTo>
                    <a:pt x="28312" y="-385"/>
                    <a:pt x="35728" y="6956"/>
                    <a:pt x="35773" y="16060"/>
                  </a:cubicBezTo>
                  <a:cubicBezTo>
                    <a:pt x="35773" y="16193"/>
                    <a:pt x="35773" y="16329"/>
                    <a:pt x="35770" y="16462"/>
                  </a:cubicBezTo>
                  <a:cubicBezTo>
                    <a:pt x="36005" y="25650"/>
                    <a:pt x="28749" y="33289"/>
                    <a:pt x="19560" y="33524"/>
                  </a:cubicBezTo>
                  <a:cubicBezTo>
                    <a:pt x="19398" y="33529"/>
                    <a:pt x="19238" y="33529"/>
                    <a:pt x="19076" y="33529"/>
                  </a:cubicBezTo>
                  <a:cubicBezTo>
                    <a:pt x="16291" y="33582"/>
                    <a:pt x="13538" y="32914"/>
                    <a:pt x="11088" y="31585"/>
                  </a:cubicBezTo>
                  <a:cubicBezTo>
                    <a:pt x="9836" y="30840"/>
                    <a:pt x="9011" y="31213"/>
                    <a:pt x="9011" y="32597"/>
                  </a:cubicBezTo>
                  <a:lnTo>
                    <a:pt x="9011" y="44712"/>
                  </a:lnTo>
                  <a:cubicBezTo>
                    <a:pt x="9104" y="45721"/>
                    <a:pt x="8359" y="46616"/>
                    <a:pt x="7350" y="46709"/>
                  </a:cubicBezTo>
                  <a:cubicBezTo>
                    <a:pt x="7238" y="46720"/>
                    <a:pt x="7126" y="46720"/>
                    <a:pt x="7014" y="46709"/>
                  </a:cubicBezTo>
                  <a:lnTo>
                    <a:pt x="3100" y="46709"/>
                  </a:lnTo>
                  <a:cubicBezTo>
                    <a:pt x="2088" y="46802"/>
                    <a:pt x="1196" y="46057"/>
                    <a:pt x="1103" y="45048"/>
                  </a:cubicBezTo>
                  <a:cubicBezTo>
                    <a:pt x="1092" y="44936"/>
                    <a:pt x="1092" y="44824"/>
                    <a:pt x="1103" y="44712"/>
                  </a:cubicBezTo>
                  <a:moveTo>
                    <a:pt x="10342" y="22106"/>
                  </a:moveTo>
                  <a:cubicBezTo>
                    <a:pt x="12145" y="24721"/>
                    <a:pt x="15156" y="26236"/>
                    <a:pt x="18330" y="26127"/>
                  </a:cubicBezTo>
                  <a:cubicBezTo>
                    <a:pt x="23384" y="25885"/>
                    <a:pt x="27282" y="21592"/>
                    <a:pt x="27042" y="16539"/>
                  </a:cubicBezTo>
                  <a:cubicBezTo>
                    <a:pt x="27040" y="16515"/>
                    <a:pt x="27040" y="16488"/>
                    <a:pt x="27037" y="16462"/>
                  </a:cubicBezTo>
                  <a:cubicBezTo>
                    <a:pt x="27202" y="11472"/>
                    <a:pt x="23317" y="7278"/>
                    <a:pt x="18330" y="7063"/>
                  </a:cubicBezTo>
                  <a:cubicBezTo>
                    <a:pt x="15164" y="6964"/>
                    <a:pt x="12161" y="8466"/>
                    <a:pt x="10342" y="11057"/>
                  </a:cubicBezTo>
                  <a:cubicBezTo>
                    <a:pt x="9919" y="11693"/>
                    <a:pt x="9711" y="12449"/>
                    <a:pt x="9757" y="13213"/>
                  </a:cubicBezTo>
                  <a:lnTo>
                    <a:pt x="9757" y="19976"/>
                  </a:lnTo>
                  <a:cubicBezTo>
                    <a:pt x="9730" y="20730"/>
                    <a:pt x="9935" y="21473"/>
                    <a:pt x="10342" y="22106"/>
                  </a:cubicBezTo>
                </a:path>
              </a:pathLst>
            </a:custGeom>
            <a:solidFill>
              <a:srgbClr val="FFFFFF"/>
            </a:solidFill>
            <a:ln w="2661" cap="flat">
              <a:noFill/>
              <a:prstDash val="solid"/>
              <a:miter/>
            </a:ln>
          </p:spPr>
          <p:txBody>
            <a:bodyPr rtlCol="0" anchor="ctr"/>
            <a:lstStyle/>
            <a:p>
              <a:endParaRPr lang="pl-PL"/>
            </a:p>
          </p:txBody>
        </p:sp>
        <p:sp>
          <p:nvSpPr>
            <p:cNvPr id="130" name="Freeform: Shape 129">
              <a:extLst>
                <a:ext uri="{FF2B5EF4-FFF2-40B4-BE49-F238E27FC236}">
                  <a16:creationId xmlns:a16="http://schemas.microsoft.com/office/drawing/2014/main" id="{54272747-B177-4E0F-9944-464B94753D8B}"/>
                </a:ext>
              </a:extLst>
            </p:cNvPr>
            <p:cNvSpPr/>
            <p:nvPr/>
          </p:nvSpPr>
          <p:spPr>
            <a:xfrm>
              <a:off x="11641544" y="6750833"/>
              <a:ext cx="16868" cy="19128"/>
            </a:xfrm>
            <a:custGeom>
              <a:avLst/>
              <a:gdLst>
                <a:gd name="connsiteX0" fmla="*/ 16181 w 29890"/>
                <a:gd name="connsiteY0" fmla="*/ -346 h 33895"/>
                <a:gd name="connsiteX1" fmla="*/ 30186 w 29890"/>
                <a:gd name="connsiteY1" fmla="*/ 9400 h 33895"/>
                <a:gd name="connsiteX2" fmla="*/ 28296 w 29890"/>
                <a:gd name="connsiteY2" fmla="*/ 11476 h 33895"/>
                <a:gd name="connsiteX3" fmla="*/ 24275 w 29890"/>
                <a:gd name="connsiteY3" fmla="*/ 11476 h 33895"/>
                <a:gd name="connsiteX4" fmla="*/ 22092 w 29890"/>
                <a:gd name="connsiteY4" fmla="*/ 9719 h 33895"/>
                <a:gd name="connsiteX5" fmla="*/ 16048 w 29890"/>
                <a:gd name="connsiteY5" fmla="*/ 6444 h 33895"/>
                <a:gd name="connsiteX6" fmla="*/ 10723 w 29890"/>
                <a:gd name="connsiteY6" fmla="*/ 9266 h 33895"/>
                <a:gd name="connsiteX7" fmla="*/ 30879 w 29890"/>
                <a:gd name="connsiteY7" fmla="*/ 23591 h 33895"/>
                <a:gd name="connsiteX8" fmla="*/ 16687 w 29890"/>
                <a:gd name="connsiteY8" fmla="*/ 33550 h 33895"/>
                <a:gd name="connsiteX9" fmla="*/ 1057 w 29890"/>
                <a:gd name="connsiteY9" fmla="*/ 23511 h 33895"/>
                <a:gd name="connsiteX10" fmla="*/ 2895 w 29890"/>
                <a:gd name="connsiteY10" fmla="*/ 21381 h 33895"/>
                <a:gd name="connsiteX11" fmla="*/ 7155 w 29890"/>
                <a:gd name="connsiteY11" fmla="*/ 21381 h 33895"/>
                <a:gd name="connsiteX12" fmla="*/ 9338 w 29890"/>
                <a:gd name="connsiteY12" fmla="*/ 23006 h 33895"/>
                <a:gd name="connsiteX13" fmla="*/ 16873 w 29890"/>
                <a:gd name="connsiteY13" fmla="*/ 26786 h 33895"/>
                <a:gd name="connsiteX14" fmla="*/ 22411 w 29890"/>
                <a:gd name="connsiteY14" fmla="*/ 23645 h 33895"/>
                <a:gd name="connsiteX15" fmla="*/ 2256 w 29890"/>
                <a:gd name="connsiteY15" fmla="*/ 9453 h 33895"/>
                <a:gd name="connsiteX16" fmla="*/ 16128 w 29890"/>
                <a:gd name="connsiteY16" fmla="*/ -346 h 3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890" h="33895">
                  <a:moveTo>
                    <a:pt x="16181" y="-346"/>
                  </a:moveTo>
                  <a:cubicBezTo>
                    <a:pt x="24169" y="-346"/>
                    <a:pt x="28855" y="3622"/>
                    <a:pt x="30186" y="9400"/>
                  </a:cubicBezTo>
                  <a:cubicBezTo>
                    <a:pt x="30479" y="10704"/>
                    <a:pt x="29681" y="11476"/>
                    <a:pt x="28296" y="11476"/>
                  </a:cubicBezTo>
                  <a:lnTo>
                    <a:pt x="24275" y="11476"/>
                  </a:lnTo>
                  <a:cubicBezTo>
                    <a:pt x="23077" y="11476"/>
                    <a:pt x="22518" y="10837"/>
                    <a:pt x="22092" y="9719"/>
                  </a:cubicBezTo>
                  <a:cubicBezTo>
                    <a:pt x="21320" y="7642"/>
                    <a:pt x="19429" y="6444"/>
                    <a:pt x="16048" y="6444"/>
                  </a:cubicBezTo>
                  <a:cubicBezTo>
                    <a:pt x="12666" y="6444"/>
                    <a:pt x="10723" y="7562"/>
                    <a:pt x="10723" y="9266"/>
                  </a:cubicBezTo>
                  <a:cubicBezTo>
                    <a:pt x="10723" y="15364"/>
                    <a:pt x="30879" y="10971"/>
                    <a:pt x="30879" y="23591"/>
                  </a:cubicBezTo>
                  <a:cubicBezTo>
                    <a:pt x="30879" y="29982"/>
                    <a:pt x="25048" y="33550"/>
                    <a:pt x="16687" y="33550"/>
                  </a:cubicBezTo>
                  <a:cubicBezTo>
                    <a:pt x="8326" y="33550"/>
                    <a:pt x="2389" y="29928"/>
                    <a:pt x="1057" y="23511"/>
                  </a:cubicBezTo>
                  <a:cubicBezTo>
                    <a:pt x="738" y="22127"/>
                    <a:pt x="1563" y="21381"/>
                    <a:pt x="2895" y="21381"/>
                  </a:cubicBezTo>
                  <a:lnTo>
                    <a:pt x="7155" y="21381"/>
                  </a:lnTo>
                  <a:cubicBezTo>
                    <a:pt x="8172" y="21347"/>
                    <a:pt x="9077" y="22020"/>
                    <a:pt x="9338" y="23006"/>
                  </a:cubicBezTo>
                  <a:cubicBezTo>
                    <a:pt x="10858" y="25668"/>
                    <a:pt x="13830" y="27159"/>
                    <a:pt x="16873" y="26786"/>
                  </a:cubicBezTo>
                  <a:cubicBezTo>
                    <a:pt x="20281" y="26786"/>
                    <a:pt x="22411" y="25721"/>
                    <a:pt x="22411" y="23645"/>
                  </a:cubicBezTo>
                  <a:cubicBezTo>
                    <a:pt x="22411" y="17494"/>
                    <a:pt x="2256" y="22127"/>
                    <a:pt x="2256" y="9453"/>
                  </a:cubicBezTo>
                  <a:cubicBezTo>
                    <a:pt x="2256" y="3808"/>
                    <a:pt x="7101" y="-346"/>
                    <a:pt x="16128" y="-346"/>
                  </a:cubicBezTo>
                </a:path>
              </a:pathLst>
            </a:custGeom>
            <a:solidFill>
              <a:srgbClr val="FFFFFF"/>
            </a:solidFill>
            <a:ln w="2661" cap="flat">
              <a:noFill/>
              <a:prstDash val="solid"/>
              <a:miter/>
            </a:ln>
          </p:spPr>
          <p:txBody>
            <a:bodyPr rtlCol="0" anchor="ctr"/>
            <a:lstStyle/>
            <a:p>
              <a:endParaRPr lang="pl-PL"/>
            </a:p>
          </p:txBody>
        </p:sp>
        <p:sp>
          <p:nvSpPr>
            <p:cNvPr id="131" name="Freeform: Shape 130">
              <a:extLst>
                <a:ext uri="{FF2B5EF4-FFF2-40B4-BE49-F238E27FC236}">
                  <a16:creationId xmlns:a16="http://schemas.microsoft.com/office/drawing/2014/main" id="{E3C413E4-B9EB-4B12-9F1A-BA74481EC0C5}"/>
                </a:ext>
              </a:extLst>
            </p:cNvPr>
            <p:cNvSpPr/>
            <p:nvPr/>
          </p:nvSpPr>
          <p:spPr>
            <a:xfrm>
              <a:off x="11661657" y="6742209"/>
              <a:ext cx="6551" cy="27381"/>
            </a:xfrm>
            <a:custGeom>
              <a:avLst/>
              <a:gdLst>
                <a:gd name="connsiteX0" fmla="*/ 989 w 11609"/>
                <a:gd name="connsiteY0" fmla="*/ 5352 h 48520"/>
                <a:gd name="connsiteX1" fmla="*/ 6687 w 11609"/>
                <a:gd name="connsiteY1" fmla="*/ -346 h 48520"/>
                <a:gd name="connsiteX2" fmla="*/ 6767 w 11609"/>
                <a:gd name="connsiteY2" fmla="*/ -346 h 48520"/>
                <a:gd name="connsiteX3" fmla="*/ 12598 w 11609"/>
                <a:gd name="connsiteY3" fmla="*/ 5352 h 48520"/>
                <a:gd name="connsiteX4" fmla="*/ 6767 w 11609"/>
                <a:gd name="connsiteY4" fmla="*/ 11263 h 48520"/>
                <a:gd name="connsiteX5" fmla="*/ 989 w 11609"/>
                <a:gd name="connsiteY5" fmla="*/ 5432 h 48520"/>
                <a:gd name="connsiteX6" fmla="*/ 989 w 11609"/>
                <a:gd name="connsiteY6" fmla="*/ 5352 h 48520"/>
                <a:gd name="connsiteX7" fmla="*/ 10734 w 11609"/>
                <a:gd name="connsiteY7" fmla="*/ 17521 h 48520"/>
                <a:gd name="connsiteX8" fmla="*/ 10734 w 11609"/>
                <a:gd name="connsiteY8" fmla="*/ 46144 h 48520"/>
                <a:gd name="connsiteX9" fmla="*/ 9046 w 11609"/>
                <a:gd name="connsiteY9" fmla="*/ 48167 h 48520"/>
                <a:gd name="connsiteX10" fmla="*/ 8710 w 11609"/>
                <a:gd name="connsiteY10" fmla="*/ 48167 h 48520"/>
                <a:gd name="connsiteX11" fmla="*/ 3998 w 11609"/>
                <a:gd name="connsiteY11" fmla="*/ 48167 h 48520"/>
                <a:gd name="connsiteX12" fmla="*/ 1998 w 11609"/>
                <a:gd name="connsiteY12" fmla="*/ 46450 h 48520"/>
                <a:gd name="connsiteX13" fmla="*/ 2001 w 11609"/>
                <a:gd name="connsiteY13" fmla="*/ 46144 h 48520"/>
                <a:gd name="connsiteX14" fmla="*/ 2001 w 11609"/>
                <a:gd name="connsiteY14" fmla="*/ 17600 h 48520"/>
                <a:gd name="connsiteX15" fmla="*/ 3662 w 11609"/>
                <a:gd name="connsiteY15" fmla="*/ 15603 h 48520"/>
                <a:gd name="connsiteX16" fmla="*/ 3998 w 11609"/>
                <a:gd name="connsiteY16" fmla="*/ 15603 h 48520"/>
                <a:gd name="connsiteX17" fmla="*/ 8710 w 11609"/>
                <a:gd name="connsiteY17" fmla="*/ 15603 h 48520"/>
                <a:gd name="connsiteX18" fmla="*/ 10731 w 11609"/>
                <a:gd name="connsiteY18" fmla="*/ 17294 h 48520"/>
                <a:gd name="connsiteX19" fmla="*/ 10734 w 11609"/>
                <a:gd name="connsiteY19" fmla="*/ 17600 h 48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09" h="48520">
                  <a:moveTo>
                    <a:pt x="989" y="5352"/>
                  </a:moveTo>
                  <a:cubicBezTo>
                    <a:pt x="989" y="2205"/>
                    <a:pt x="3540" y="-346"/>
                    <a:pt x="6687" y="-346"/>
                  </a:cubicBezTo>
                  <a:cubicBezTo>
                    <a:pt x="6713" y="-346"/>
                    <a:pt x="6740" y="-346"/>
                    <a:pt x="6767" y="-346"/>
                  </a:cubicBezTo>
                  <a:cubicBezTo>
                    <a:pt x="9935" y="-346"/>
                    <a:pt x="12526" y="2184"/>
                    <a:pt x="12598" y="5352"/>
                  </a:cubicBezTo>
                  <a:cubicBezTo>
                    <a:pt x="12598" y="8585"/>
                    <a:pt x="9999" y="11221"/>
                    <a:pt x="6767" y="11263"/>
                  </a:cubicBezTo>
                  <a:cubicBezTo>
                    <a:pt x="3561" y="11250"/>
                    <a:pt x="973" y="8638"/>
                    <a:pt x="989" y="5432"/>
                  </a:cubicBezTo>
                  <a:cubicBezTo>
                    <a:pt x="989" y="5406"/>
                    <a:pt x="989" y="5379"/>
                    <a:pt x="989" y="5352"/>
                  </a:cubicBezTo>
                  <a:moveTo>
                    <a:pt x="10734" y="17521"/>
                  </a:moveTo>
                  <a:lnTo>
                    <a:pt x="10734" y="46144"/>
                  </a:lnTo>
                  <a:cubicBezTo>
                    <a:pt x="10827" y="47169"/>
                    <a:pt x="10071" y="48074"/>
                    <a:pt x="9046" y="48167"/>
                  </a:cubicBezTo>
                  <a:cubicBezTo>
                    <a:pt x="8934" y="48178"/>
                    <a:pt x="8822" y="48178"/>
                    <a:pt x="8710" y="48167"/>
                  </a:cubicBezTo>
                  <a:lnTo>
                    <a:pt x="3998" y="48167"/>
                  </a:lnTo>
                  <a:cubicBezTo>
                    <a:pt x="2972" y="48244"/>
                    <a:pt x="2075" y="47475"/>
                    <a:pt x="1998" y="46450"/>
                  </a:cubicBezTo>
                  <a:cubicBezTo>
                    <a:pt x="1990" y="46349"/>
                    <a:pt x="1993" y="46245"/>
                    <a:pt x="2001" y="46144"/>
                  </a:cubicBezTo>
                  <a:lnTo>
                    <a:pt x="2001" y="17600"/>
                  </a:lnTo>
                  <a:cubicBezTo>
                    <a:pt x="1907" y="16591"/>
                    <a:pt x="2653" y="15697"/>
                    <a:pt x="3662" y="15603"/>
                  </a:cubicBezTo>
                  <a:cubicBezTo>
                    <a:pt x="3774" y="15593"/>
                    <a:pt x="3886" y="15593"/>
                    <a:pt x="3998" y="15603"/>
                  </a:cubicBezTo>
                  <a:lnTo>
                    <a:pt x="8710" y="15603"/>
                  </a:lnTo>
                  <a:cubicBezTo>
                    <a:pt x="9735" y="15513"/>
                    <a:pt x="10641" y="16269"/>
                    <a:pt x="10731" y="17294"/>
                  </a:cubicBezTo>
                  <a:cubicBezTo>
                    <a:pt x="10742" y="17395"/>
                    <a:pt x="10742" y="17499"/>
                    <a:pt x="10734" y="17600"/>
                  </a:cubicBezTo>
                </a:path>
              </a:pathLst>
            </a:custGeom>
            <a:solidFill>
              <a:srgbClr val="FFFFFF"/>
            </a:solidFill>
            <a:ln w="2661" cap="flat">
              <a:noFill/>
              <a:prstDash val="solid"/>
              <a:miter/>
            </a:ln>
          </p:spPr>
          <p:txBody>
            <a:bodyPr rtlCol="0" anchor="ctr"/>
            <a:lstStyle/>
            <a:p>
              <a:endParaRPr lang="pl-PL"/>
            </a:p>
          </p:txBody>
        </p:sp>
        <p:sp>
          <p:nvSpPr>
            <p:cNvPr id="132" name="Freeform: Shape 131">
              <a:extLst>
                <a:ext uri="{FF2B5EF4-FFF2-40B4-BE49-F238E27FC236}">
                  <a16:creationId xmlns:a16="http://schemas.microsoft.com/office/drawing/2014/main" id="{06522550-CE2F-4F7B-8A32-E1BFCEEF29DC}"/>
                </a:ext>
              </a:extLst>
            </p:cNvPr>
            <p:cNvSpPr/>
            <p:nvPr/>
          </p:nvSpPr>
          <p:spPr>
            <a:xfrm>
              <a:off x="11670912" y="6750850"/>
              <a:ext cx="18928" cy="19154"/>
            </a:xfrm>
            <a:custGeom>
              <a:avLst/>
              <a:gdLst>
                <a:gd name="connsiteX0" fmla="*/ 25781 w 33540"/>
                <a:gd name="connsiteY0" fmla="*/ 11128 h 33942"/>
                <a:gd name="connsiteX1" fmla="*/ 18672 w 33540"/>
                <a:gd name="connsiteY1" fmla="*/ 7001 h 33942"/>
                <a:gd name="connsiteX2" fmla="*/ 9850 w 33540"/>
                <a:gd name="connsiteY2" fmla="*/ 15699 h 33942"/>
                <a:gd name="connsiteX3" fmla="*/ 9885 w 33540"/>
                <a:gd name="connsiteY3" fmla="*/ 16533 h 33942"/>
                <a:gd name="connsiteX4" fmla="*/ 17838 w 33540"/>
                <a:gd name="connsiteY4" fmla="*/ 26030 h 33942"/>
                <a:gd name="connsiteX5" fmla="*/ 18618 w 33540"/>
                <a:gd name="connsiteY5" fmla="*/ 26065 h 33942"/>
                <a:gd name="connsiteX6" fmla="*/ 25514 w 33540"/>
                <a:gd name="connsiteY6" fmla="*/ 22364 h 33942"/>
                <a:gd name="connsiteX7" fmla="*/ 27778 w 33540"/>
                <a:gd name="connsiteY7" fmla="*/ 20793 h 33942"/>
                <a:gd name="connsiteX8" fmla="*/ 32411 w 33540"/>
                <a:gd name="connsiteY8" fmla="*/ 20793 h 33942"/>
                <a:gd name="connsiteX9" fmla="*/ 34301 w 33540"/>
                <a:gd name="connsiteY9" fmla="*/ 22923 h 33942"/>
                <a:gd name="connsiteX10" fmla="*/ 18805 w 33540"/>
                <a:gd name="connsiteY10" fmla="*/ 33573 h 33942"/>
                <a:gd name="connsiteX11" fmla="*/ 1013 w 33540"/>
                <a:gd name="connsiteY11" fmla="*/ 17545 h 33942"/>
                <a:gd name="connsiteX12" fmla="*/ 992 w 33540"/>
                <a:gd name="connsiteY12" fmla="*/ 16373 h 33942"/>
                <a:gd name="connsiteX13" fmla="*/ 17503 w 33540"/>
                <a:gd name="connsiteY13" fmla="*/ -346 h 33942"/>
                <a:gd name="connsiteX14" fmla="*/ 18485 w 33540"/>
                <a:gd name="connsiteY14" fmla="*/ -322 h 33942"/>
                <a:gd name="connsiteX15" fmla="*/ 34461 w 33540"/>
                <a:gd name="connsiteY15" fmla="*/ 10728 h 33942"/>
                <a:gd name="connsiteX16" fmla="*/ 33324 w 33540"/>
                <a:gd name="connsiteY16" fmla="*/ 12810 h 33942"/>
                <a:gd name="connsiteX17" fmla="*/ 32597 w 33540"/>
                <a:gd name="connsiteY17" fmla="*/ 12858 h 33942"/>
                <a:gd name="connsiteX18" fmla="*/ 28124 w 33540"/>
                <a:gd name="connsiteY18" fmla="*/ 12858 h 33942"/>
                <a:gd name="connsiteX19" fmla="*/ 25887 w 33540"/>
                <a:gd name="connsiteY19" fmla="*/ 11234 h 33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3540" h="33942">
                  <a:moveTo>
                    <a:pt x="25781" y="11128"/>
                  </a:moveTo>
                  <a:cubicBezTo>
                    <a:pt x="24463" y="8441"/>
                    <a:pt x="21656" y="6814"/>
                    <a:pt x="18672" y="7001"/>
                  </a:cubicBezTo>
                  <a:cubicBezTo>
                    <a:pt x="13834" y="6966"/>
                    <a:pt x="9885" y="10861"/>
                    <a:pt x="9850" y="15699"/>
                  </a:cubicBezTo>
                  <a:cubicBezTo>
                    <a:pt x="9850" y="15979"/>
                    <a:pt x="9861" y="16256"/>
                    <a:pt x="9885" y="16533"/>
                  </a:cubicBezTo>
                  <a:cubicBezTo>
                    <a:pt x="9459" y="21352"/>
                    <a:pt x="13019" y="25604"/>
                    <a:pt x="17838" y="26030"/>
                  </a:cubicBezTo>
                  <a:cubicBezTo>
                    <a:pt x="18099" y="26054"/>
                    <a:pt x="18357" y="26065"/>
                    <a:pt x="18618" y="26065"/>
                  </a:cubicBezTo>
                  <a:cubicBezTo>
                    <a:pt x="21441" y="26281"/>
                    <a:pt x="24133" y="24835"/>
                    <a:pt x="25514" y="22364"/>
                  </a:cubicBezTo>
                  <a:cubicBezTo>
                    <a:pt x="25869" y="21421"/>
                    <a:pt x="26771" y="20796"/>
                    <a:pt x="27778" y="20793"/>
                  </a:cubicBezTo>
                  <a:lnTo>
                    <a:pt x="32411" y="20793"/>
                  </a:lnTo>
                  <a:cubicBezTo>
                    <a:pt x="33742" y="20793"/>
                    <a:pt x="34621" y="21618"/>
                    <a:pt x="34301" y="22923"/>
                  </a:cubicBezTo>
                  <a:cubicBezTo>
                    <a:pt x="32810" y="29340"/>
                    <a:pt x="26313" y="33573"/>
                    <a:pt x="18805" y="33573"/>
                  </a:cubicBezTo>
                  <a:cubicBezTo>
                    <a:pt x="9464" y="34061"/>
                    <a:pt x="1498" y="26882"/>
                    <a:pt x="1013" y="17545"/>
                  </a:cubicBezTo>
                  <a:cubicBezTo>
                    <a:pt x="992" y="17153"/>
                    <a:pt x="984" y="16764"/>
                    <a:pt x="992" y="16373"/>
                  </a:cubicBezTo>
                  <a:cubicBezTo>
                    <a:pt x="936" y="7198"/>
                    <a:pt x="8327" y="-287"/>
                    <a:pt x="17503" y="-346"/>
                  </a:cubicBezTo>
                  <a:cubicBezTo>
                    <a:pt x="17830" y="-346"/>
                    <a:pt x="18158" y="-340"/>
                    <a:pt x="18485" y="-322"/>
                  </a:cubicBezTo>
                  <a:cubicBezTo>
                    <a:pt x="27724" y="-322"/>
                    <a:pt x="32996" y="4578"/>
                    <a:pt x="34461" y="10728"/>
                  </a:cubicBezTo>
                  <a:cubicBezTo>
                    <a:pt x="34722" y="11618"/>
                    <a:pt x="34213" y="12549"/>
                    <a:pt x="33324" y="12810"/>
                  </a:cubicBezTo>
                  <a:cubicBezTo>
                    <a:pt x="33087" y="12880"/>
                    <a:pt x="32839" y="12896"/>
                    <a:pt x="32597" y="12858"/>
                  </a:cubicBezTo>
                  <a:lnTo>
                    <a:pt x="28124" y="12858"/>
                  </a:lnTo>
                  <a:cubicBezTo>
                    <a:pt x="27006" y="12858"/>
                    <a:pt x="26446" y="12299"/>
                    <a:pt x="25887" y="11234"/>
                  </a:cubicBezTo>
                </a:path>
              </a:pathLst>
            </a:custGeom>
            <a:solidFill>
              <a:srgbClr val="FFFFFF"/>
            </a:solidFill>
            <a:ln w="2661" cap="flat">
              <a:noFill/>
              <a:prstDash val="solid"/>
              <a:miter/>
            </a:ln>
          </p:spPr>
          <p:txBody>
            <a:bodyPr rtlCol="0" anchor="ctr"/>
            <a:lstStyle/>
            <a:p>
              <a:endParaRPr lang="pl-PL"/>
            </a:p>
          </p:txBody>
        </p:sp>
        <p:sp>
          <p:nvSpPr>
            <p:cNvPr id="133" name="Freeform: Shape 132">
              <a:extLst>
                <a:ext uri="{FF2B5EF4-FFF2-40B4-BE49-F238E27FC236}">
                  <a16:creationId xmlns:a16="http://schemas.microsoft.com/office/drawing/2014/main" id="{D97BDD66-B965-4DFA-901B-B902B4ACEF3D}"/>
                </a:ext>
              </a:extLst>
            </p:cNvPr>
            <p:cNvSpPr/>
            <p:nvPr/>
          </p:nvSpPr>
          <p:spPr>
            <a:xfrm>
              <a:off x="11692340" y="6750833"/>
              <a:ext cx="20150" cy="19139"/>
            </a:xfrm>
            <a:custGeom>
              <a:avLst/>
              <a:gdLst>
                <a:gd name="connsiteX0" fmla="*/ 18856 w 35707"/>
                <a:gd name="connsiteY0" fmla="*/ -346 h 33914"/>
                <a:gd name="connsiteX1" fmla="*/ 36695 w 35707"/>
                <a:gd name="connsiteY1" fmla="*/ 16349 h 33914"/>
                <a:gd name="connsiteX2" fmla="*/ 19833 w 35707"/>
                <a:gd name="connsiteY2" fmla="*/ 33568 h 33914"/>
                <a:gd name="connsiteX3" fmla="*/ 18856 w 35707"/>
                <a:gd name="connsiteY3" fmla="*/ 33550 h 33914"/>
                <a:gd name="connsiteX4" fmla="*/ 1008 w 35707"/>
                <a:gd name="connsiteY4" fmla="*/ 17300 h 33914"/>
                <a:gd name="connsiteX5" fmla="*/ 989 w 35707"/>
                <a:gd name="connsiteY5" fmla="*/ 16349 h 33914"/>
                <a:gd name="connsiteX6" fmla="*/ 18856 w 35707"/>
                <a:gd name="connsiteY6" fmla="*/ -346 h 33914"/>
                <a:gd name="connsiteX7" fmla="*/ 18856 w 35707"/>
                <a:gd name="connsiteY7" fmla="*/ 26147 h 33914"/>
                <a:gd name="connsiteX8" fmla="*/ 28028 w 35707"/>
                <a:gd name="connsiteY8" fmla="*/ 17214 h 33914"/>
                <a:gd name="connsiteX9" fmla="*/ 28015 w 35707"/>
                <a:gd name="connsiteY9" fmla="*/ 16615 h 33914"/>
                <a:gd name="connsiteX10" fmla="*/ 19455 w 35707"/>
                <a:gd name="connsiteY10" fmla="*/ 7096 h 33914"/>
                <a:gd name="connsiteX11" fmla="*/ 18856 w 35707"/>
                <a:gd name="connsiteY11" fmla="*/ 7083 h 33914"/>
                <a:gd name="connsiteX12" fmla="*/ 9683 w 35707"/>
                <a:gd name="connsiteY12" fmla="*/ 15960 h 33914"/>
                <a:gd name="connsiteX13" fmla="*/ 9696 w 35707"/>
                <a:gd name="connsiteY13" fmla="*/ 16615 h 33914"/>
                <a:gd name="connsiteX14" fmla="*/ 18200 w 35707"/>
                <a:gd name="connsiteY14" fmla="*/ 26134 h 33914"/>
                <a:gd name="connsiteX15" fmla="*/ 18856 w 35707"/>
                <a:gd name="connsiteY15" fmla="*/ 26147 h 33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07" h="33914">
                  <a:moveTo>
                    <a:pt x="18856" y="-346"/>
                  </a:moveTo>
                  <a:cubicBezTo>
                    <a:pt x="29346" y="-346"/>
                    <a:pt x="36695" y="7003"/>
                    <a:pt x="36695" y="16349"/>
                  </a:cubicBezTo>
                  <a:cubicBezTo>
                    <a:pt x="36794" y="25759"/>
                    <a:pt x="29245" y="33470"/>
                    <a:pt x="19833" y="33568"/>
                  </a:cubicBezTo>
                  <a:cubicBezTo>
                    <a:pt x="19508" y="33571"/>
                    <a:pt x="19180" y="33565"/>
                    <a:pt x="18856" y="33550"/>
                  </a:cubicBezTo>
                  <a:cubicBezTo>
                    <a:pt x="9440" y="33991"/>
                    <a:pt x="1450" y="26717"/>
                    <a:pt x="1008" y="17300"/>
                  </a:cubicBezTo>
                  <a:cubicBezTo>
                    <a:pt x="992" y="16983"/>
                    <a:pt x="987" y="16666"/>
                    <a:pt x="989" y="16349"/>
                  </a:cubicBezTo>
                  <a:cubicBezTo>
                    <a:pt x="989" y="7003"/>
                    <a:pt x="8391" y="-346"/>
                    <a:pt x="18856" y="-346"/>
                  </a:cubicBezTo>
                  <a:moveTo>
                    <a:pt x="18856" y="26147"/>
                  </a:moveTo>
                  <a:cubicBezTo>
                    <a:pt x="23856" y="26214"/>
                    <a:pt x="27962" y="22215"/>
                    <a:pt x="28028" y="17214"/>
                  </a:cubicBezTo>
                  <a:cubicBezTo>
                    <a:pt x="28031" y="17015"/>
                    <a:pt x="28026" y="16815"/>
                    <a:pt x="28015" y="16615"/>
                  </a:cubicBezTo>
                  <a:cubicBezTo>
                    <a:pt x="28281" y="11623"/>
                    <a:pt x="24447" y="7360"/>
                    <a:pt x="19455" y="7096"/>
                  </a:cubicBezTo>
                  <a:cubicBezTo>
                    <a:pt x="19255" y="7086"/>
                    <a:pt x="19055" y="7080"/>
                    <a:pt x="18856" y="7083"/>
                  </a:cubicBezTo>
                  <a:cubicBezTo>
                    <a:pt x="13871" y="7001"/>
                    <a:pt x="9765" y="10976"/>
                    <a:pt x="9683" y="15960"/>
                  </a:cubicBezTo>
                  <a:cubicBezTo>
                    <a:pt x="9680" y="16179"/>
                    <a:pt x="9683" y="16397"/>
                    <a:pt x="9696" y="16615"/>
                  </a:cubicBezTo>
                  <a:cubicBezTo>
                    <a:pt x="9417" y="21592"/>
                    <a:pt x="13224" y="25855"/>
                    <a:pt x="18200" y="26134"/>
                  </a:cubicBezTo>
                  <a:cubicBezTo>
                    <a:pt x="18419" y="26147"/>
                    <a:pt x="18637" y="26150"/>
                    <a:pt x="18856" y="26147"/>
                  </a:cubicBezTo>
                </a:path>
              </a:pathLst>
            </a:custGeom>
            <a:solidFill>
              <a:srgbClr val="FFFFFF"/>
            </a:solidFill>
            <a:ln w="2661" cap="flat">
              <a:noFill/>
              <a:prstDash val="solid"/>
              <a:miter/>
            </a:ln>
          </p:spPr>
          <p:txBody>
            <a:bodyPr rtlCol="0" anchor="ctr"/>
            <a:lstStyle/>
            <a:p>
              <a:endParaRPr lang="pl-PL"/>
            </a:p>
          </p:txBody>
        </p:sp>
        <p:sp>
          <p:nvSpPr>
            <p:cNvPr id="134" name="Freeform: Shape 133">
              <a:extLst>
                <a:ext uri="{FF2B5EF4-FFF2-40B4-BE49-F238E27FC236}">
                  <a16:creationId xmlns:a16="http://schemas.microsoft.com/office/drawing/2014/main" id="{3A244223-DD8A-4719-943C-C9DEA1EEE1C9}"/>
                </a:ext>
              </a:extLst>
            </p:cNvPr>
            <p:cNvSpPr/>
            <p:nvPr/>
          </p:nvSpPr>
          <p:spPr>
            <a:xfrm>
              <a:off x="11719549" y="6750860"/>
              <a:ext cx="19630" cy="26558"/>
            </a:xfrm>
            <a:custGeom>
              <a:avLst/>
              <a:gdLst>
                <a:gd name="connsiteX0" fmla="*/ 994 w 34784"/>
                <a:gd name="connsiteY0" fmla="*/ 44632 h 47062"/>
                <a:gd name="connsiteX1" fmla="*/ 994 w 34784"/>
                <a:gd name="connsiteY1" fmla="*/ 2270 h 47062"/>
                <a:gd name="connsiteX2" fmla="*/ 2711 w 34784"/>
                <a:gd name="connsiteY2" fmla="*/ 270 h 47062"/>
                <a:gd name="connsiteX3" fmla="*/ 3018 w 34784"/>
                <a:gd name="connsiteY3" fmla="*/ 273 h 47062"/>
                <a:gd name="connsiteX4" fmla="*/ 5015 w 34784"/>
                <a:gd name="connsiteY4" fmla="*/ 273 h 47062"/>
                <a:gd name="connsiteX5" fmla="*/ 7278 w 34784"/>
                <a:gd name="connsiteY5" fmla="*/ 1897 h 47062"/>
                <a:gd name="connsiteX6" fmla="*/ 9594 w 34784"/>
                <a:gd name="connsiteY6" fmla="*/ 2589 h 47062"/>
                <a:gd name="connsiteX7" fmla="*/ 19206 w 34784"/>
                <a:gd name="connsiteY7" fmla="*/ -339 h 47062"/>
                <a:gd name="connsiteX8" fmla="*/ 35771 w 34784"/>
                <a:gd name="connsiteY8" fmla="*/ 16060 h 47062"/>
                <a:gd name="connsiteX9" fmla="*/ 35768 w 34784"/>
                <a:gd name="connsiteY9" fmla="*/ 16462 h 47062"/>
                <a:gd name="connsiteX10" fmla="*/ 19558 w 34784"/>
                <a:gd name="connsiteY10" fmla="*/ 33524 h 47062"/>
                <a:gd name="connsiteX11" fmla="*/ 19073 w 34784"/>
                <a:gd name="connsiteY11" fmla="*/ 33529 h 47062"/>
                <a:gd name="connsiteX12" fmla="*/ 11085 w 34784"/>
                <a:gd name="connsiteY12" fmla="*/ 31585 h 47062"/>
                <a:gd name="connsiteX13" fmla="*/ 9009 w 34784"/>
                <a:gd name="connsiteY13" fmla="*/ 32597 h 47062"/>
                <a:gd name="connsiteX14" fmla="*/ 9009 w 34784"/>
                <a:gd name="connsiteY14" fmla="*/ 44712 h 47062"/>
                <a:gd name="connsiteX15" fmla="*/ 7347 w 34784"/>
                <a:gd name="connsiteY15" fmla="*/ 46709 h 47062"/>
                <a:gd name="connsiteX16" fmla="*/ 7012 w 34784"/>
                <a:gd name="connsiteY16" fmla="*/ 46709 h 47062"/>
                <a:gd name="connsiteX17" fmla="*/ 3124 w 34784"/>
                <a:gd name="connsiteY17" fmla="*/ 46709 h 47062"/>
                <a:gd name="connsiteX18" fmla="*/ 1103 w 34784"/>
                <a:gd name="connsiteY18" fmla="*/ 45018 h 47062"/>
                <a:gd name="connsiteX19" fmla="*/ 1101 w 34784"/>
                <a:gd name="connsiteY19" fmla="*/ 44712 h 47062"/>
                <a:gd name="connsiteX20" fmla="*/ 10340 w 34784"/>
                <a:gd name="connsiteY20" fmla="*/ 22106 h 47062"/>
                <a:gd name="connsiteX21" fmla="*/ 18328 w 34784"/>
                <a:gd name="connsiteY21" fmla="*/ 26127 h 47062"/>
                <a:gd name="connsiteX22" fmla="*/ 27064 w 34784"/>
                <a:gd name="connsiteY22" fmla="*/ 16512 h 47062"/>
                <a:gd name="connsiteX23" fmla="*/ 27061 w 34784"/>
                <a:gd name="connsiteY23" fmla="*/ 16462 h 47062"/>
                <a:gd name="connsiteX24" fmla="*/ 18328 w 34784"/>
                <a:gd name="connsiteY24" fmla="*/ 7063 h 47062"/>
                <a:gd name="connsiteX25" fmla="*/ 10340 w 34784"/>
                <a:gd name="connsiteY25" fmla="*/ 11057 h 47062"/>
                <a:gd name="connsiteX26" fmla="*/ 9781 w 34784"/>
                <a:gd name="connsiteY26" fmla="*/ 13213 h 47062"/>
                <a:gd name="connsiteX27" fmla="*/ 9781 w 34784"/>
                <a:gd name="connsiteY27" fmla="*/ 19976 h 47062"/>
                <a:gd name="connsiteX28" fmla="*/ 10340 w 34784"/>
                <a:gd name="connsiteY28" fmla="*/ 22106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784" h="47062">
                  <a:moveTo>
                    <a:pt x="994" y="44632"/>
                  </a:moveTo>
                  <a:lnTo>
                    <a:pt x="994" y="2270"/>
                  </a:lnTo>
                  <a:cubicBezTo>
                    <a:pt x="917" y="1245"/>
                    <a:pt x="1686" y="348"/>
                    <a:pt x="2711" y="270"/>
                  </a:cubicBezTo>
                  <a:cubicBezTo>
                    <a:pt x="2813" y="262"/>
                    <a:pt x="2917" y="265"/>
                    <a:pt x="3018" y="273"/>
                  </a:cubicBezTo>
                  <a:lnTo>
                    <a:pt x="5015" y="273"/>
                  </a:lnTo>
                  <a:cubicBezTo>
                    <a:pt x="6064" y="190"/>
                    <a:pt x="7022" y="875"/>
                    <a:pt x="7278" y="1897"/>
                  </a:cubicBezTo>
                  <a:cubicBezTo>
                    <a:pt x="7597" y="3228"/>
                    <a:pt x="8529" y="3415"/>
                    <a:pt x="9594" y="2589"/>
                  </a:cubicBezTo>
                  <a:cubicBezTo>
                    <a:pt x="12393" y="592"/>
                    <a:pt x="15769" y="-435"/>
                    <a:pt x="19206" y="-339"/>
                  </a:cubicBezTo>
                  <a:cubicBezTo>
                    <a:pt x="28310" y="-385"/>
                    <a:pt x="35725" y="6956"/>
                    <a:pt x="35771" y="16060"/>
                  </a:cubicBezTo>
                  <a:cubicBezTo>
                    <a:pt x="35771" y="16193"/>
                    <a:pt x="35771" y="16329"/>
                    <a:pt x="35768" y="16462"/>
                  </a:cubicBezTo>
                  <a:cubicBezTo>
                    <a:pt x="36002" y="25650"/>
                    <a:pt x="28747" y="33289"/>
                    <a:pt x="19558" y="33524"/>
                  </a:cubicBezTo>
                  <a:cubicBezTo>
                    <a:pt x="19395" y="33529"/>
                    <a:pt x="19236" y="33529"/>
                    <a:pt x="19073" y="33529"/>
                  </a:cubicBezTo>
                  <a:cubicBezTo>
                    <a:pt x="16288" y="33580"/>
                    <a:pt x="13538" y="32909"/>
                    <a:pt x="11085" y="31585"/>
                  </a:cubicBezTo>
                  <a:cubicBezTo>
                    <a:pt x="9834" y="30840"/>
                    <a:pt x="9009" y="31213"/>
                    <a:pt x="9009" y="32597"/>
                  </a:cubicBezTo>
                  <a:lnTo>
                    <a:pt x="9009" y="44712"/>
                  </a:lnTo>
                  <a:cubicBezTo>
                    <a:pt x="9102" y="45721"/>
                    <a:pt x="8356" y="46616"/>
                    <a:pt x="7347" y="46709"/>
                  </a:cubicBezTo>
                  <a:cubicBezTo>
                    <a:pt x="7235" y="46720"/>
                    <a:pt x="7123" y="46720"/>
                    <a:pt x="7012" y="46709"/>
                  </a:cubicBezTo>
                  <a:lnTo>
                    <a:pt x="3124" y="46709"/>
                  </a:lnTo>
                  <a:cubicBezTo>
                    <a:pt x="2099" y="46799"/>
                    <a:pt x="1194" y="46043"/>
                    <a:pt x="1103" y="45018"/>
                  </a:cubicBezTo>
                  <a:cubicBezTo>
                    <a:pt x="1093" y="44917"/>
                    <a:pt x="1093" y="44813"/>
                    <a:pt x="1101" y="44712"/>
                  </a:cubicBezTo>
                  <a:moveTo>
                    <a:pt x="10340" y="22106"/>
                  </a:moveTo>
                  <a:cubicBezTo>
                    <a:pt x="12148" y="24716"/>
                    <a:pt x="15154" y="26231"/>
                    <a:pt x="18328" y="26127"/>
                  </a:cubicBezTo>
                  <a:cubicBezTo>
                    <a:pt x="23395" y="25885"/>
                    <a:pt x="27306" y="21579"/>
                    <a:pt x="27064" y="16512"/>
                  </a:cubicBezTo>
                  <a:cubicBezTo>
                    <a:pt x="27064" y="16496"/>
                    <a:pt x="27061" y="16478"/>
                    <a:pt x="27061" y="16462"/>
                  </a:cubicBezTo>
                  <a:cubicBezTo>
                    <a:pt x="27210" y="11467"/>
                    <a:pt x="23320" y="7278"/>
                    <a:pt x="18328" y="7063"/>
                  </a:cubicBezTo>
                  <a:cubicBezTo>
                    <a:pt x="15165" y="6972"/>
                    <a:pt x="12166" y="8471"/>
                    <a:pt x="10340" y="11057"/>
                  </a:cubicBezTo>
                  <a:cubicBezTo>
                    <a:pt x="9924" y="11696"/>
                    <a:pt x="9727" y="12452"/>
                    <a:pt x="9781" y="13213"/>
                  </a:cubicBezTo>
                  <a:lnTo>
                    <a:pt x="9781" y="19976"/>
                  </a:lnTo>
                  <a:cubicBezTo>
                    <a:pt x="9746" y="20727"/>
                    <a:pt x="9941" y="21470"/>
                    <a:pt x="10340" y="22106"/>
                  </a:cubicBezTo>
                </a:path>
              </a:pathLst>
            </a:custGeom>
            <a:solidFill>
              <a:srgbClr val="8FDB42"/>
            </a:solidFill>
            <a:ln w="2661" cap="flat">
              <a:noFill/>
              <a:prstDash val="solid"/>
              <a:miter/>
            </a:ln>
          </p:spPr>
          <p:txBody>
            <a:bodyPr rtlCol="0" anchor="ctr"/>
            <a:lstStyle/>
            <a:p>
              <a:endParaRPr lang="pl-PL"/>
            </a:p>
          </p:txBody>
        </p:sp>
        <p:sp>
          <p:nvSpPr>
            <p:cNvPr id="135" name="Freeform: Shape 134">
              <a:extLst>
                <a:ext uri="{FF2B5EF4-FFF2-40B4-BE49-F238E27FC236}">
                  <a16:creationId xmlns:a16="http://schemas.microsoft.com/office/drawing/2014/main" id="{34B63145-4493-4044-880A-1F1DDC255A14}"/>
                </a:ext>
              </a:extLst>
            </p:cNvPr>
            <p:cNvSpPr/>
            <p:nvPr/>
          </p:nvSpPr>
          <p:spPr>
            <a:xfrm>
              <a:off x="11741806" y="6750833"/>
              <a:ext cx="20150" cy="19139"/>
            </a:xfrm>
            <a:custGeom>
              <a:avLst/>
              <a:gdLst>
                <a:gd name="connsiteX0" fmla="*/ 18882 w 35707"/>
                <a:gd name="connsiteY0" fmla="*/ -346 h 33914"/>
                <a:gd name="connsiteX1" fmla="*/ 36695 w 35707"/>
                <a:gd name="connsiteY1" fmla="*/ 16349 h 33914"/>
                <a:gd name="connsiteX2" fmla="*/ 19833 w 35707"/>
                <a:gd name="connsiteY2" fmla="*/ 33565 h 33914"/>
                <a:gd name="connsiteX3" fmla="*/ 18882 w 35707"/>
                <a:gd name="connsiteY3" fmla="*/ 33550 h 33914"/>
                <a:gd name="connsiteX4" fmla="*/ 1008 w 35707"/>
                <a:gd name="connsiteY4" fmla="*/ 17273 h 33914"/>
                <a:gd name="connsiteX5" fmla="*/ 989 w 35707"/>
                <a:gd name="connsiteY5" fmla="*/ 16349 h 33914"/>
                <a:gd name="connsiteX6" fmla="*/ 18882 w 35707"/>
                <a:gd name="connsiteY6" fmla="*/ -346 h 33914"/>
                <a:gd name="connsiteX7" fmla="*/ 18882 w 35707"/>
                <a:gd name="connsiteY7" fmla="*/ 26147 h 33914"/>
                <a:gd name="connsiteX8" fmla="*/ 28052 w 35707"/>
                <a:gd name="connsiteY8" fmla="*/ 17158 h 33914"/>
                <a:gd name="connsiteX9" fmla="*/ 28041 w 35707"/>
                <a:gd name="connsiteY9" fmla="*/ 16615 h 33914"/>
                <a:gd name="connsiteX10" fmla="*/ 19425 w 35707"/>
                <a:gd name="connsiteY10" fmla="*/ 7094 h 33914"/>
                <a:gd name="connsiteX11" fmla="*/ 18882 w 35707"/>
                <a:gd name="connsiteY11" fmla="*/ 7083 h 33914"/>
                <a:gd name="connsiteX12" fmla="*/ 9709 w 35707"/>
                <a:gd name="connsiteY12" fmla="*/ 15960 h 33914"/>
                <a:gd name="connsiteX13" fmla="*/ 9723 w 35707"/>
                <a:gd name="connsiteY13" fmla="*/ 16615 h 33914"/>
                <a:gd name="connsiteX14" fmla="*/ 18227 w 35707"/>
                <a:gd name="connsiteY14" fmla="*/ 26134 h 33914"/>
                <a:gd name="connsiteX15" fmla="*/ 18882 w 35707"/>
                <a:gd name="connsiteY15" fmla="*/ 26147 h 33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07" h="33914">
                  <a:moveTo>
                    <a:pt x="18882" y="-346"/>
                  </a:moveTo>
                  <a:cubicBezTo>
                    <a:pt x="29346" y="-346"/>
                    <a:pt x="36695" y="7003"/>
                    <a:pt x="36695" y="16349"/>
                  </a:cubicBezTo>
                  <a:cubicBezTo>
                    <a:pt x="36793" y="25759"/>
                    <a:pt x="29242" y="33467"/>
                    <a:pt x="19833" y="33565"/>
                  </a:cubicBezTo>
                  <a:cubicBezTo>
                    <a:pt x="19516" y="33568"/>
                    <a:pt x="19199" y="33563"/>
                    <a:pt x="18882" y="33550"/>
                  </a:cubicBezTo>
                  <a:cubicBezTo>
                    <a:pt x="9451" y="33991"/>
                    <a:pt x="1450" y="26704"/>
                    <a:pt x="1008" y="17273"/>
                  </a:cubicBezTo>
                  <a:cubicBezTo>
                    <a:pt x="992" y="16967"/>
                    <a:pt x="987" y="16658"/>
                    <a:pt x="989" y="16349"/>
                  </a:cubicBezTo>
                  <a:cubicBezTo>
                    <a:pt x="989" y="7003"/>
                    <a:pt x="8391" y="-346"/>
                    <a:pt x="18882" y="-346"/>
                  </a:cubicBezTo>
                  <a:moveTo>
                    <a:pt x="18882" y="26147"/>
                  </a:moveTo>
                  <a:cubicBezTo>
                    <a:pt x="23896" y="26198"/>
                    <a:pt x="28002" y="22175"/>
                    <a:pt x="28052" y="17158"/>
                  </a:cubicBezTo>
                  <a:cubicBezTo>
                    <a:pt x="28055" y="16977"/>
                    <a:pt x="28049" y="16796"/>
                    <a:pt x="28041" y="16615"/>
                  </a:cubicBezTo>
                  <a:cubicBezTo>
                    <a:pt x="28292" y="11607"/>
                    <a:pt x="24434" y="7344"/>
                    <a:pt x="19425" y="7094"/>
                  </a:cubicBezTo>
                  <a:cubicBezTo>
                    <a:pt x="19244" y="7086"/>
                    <a:pt x="19063" y="7080"/>
                    <a:pt x="18882" y="7083"/>
                  </a:cubicBezTo>
                  <a:cubicBezTo>
                    <a:pt x="13898" y="7001"/>
                    <a:pt x="9792" y="10976"/>
                    <a:pt x="9709" y="15960"/>
                  </a:cubicBezTo>
                  <a:cubicBezTo>
                    <a:pt x="9707" y="16179"/>
                    <a:pt x="9709" y="16397"/>
                    <a:pt x="9723" y="16615"/>
                  </a:cubicBezTo>
                  <a:cubicBezTo>
                    <a:pt x="9443" y="21592"/>
                    <a:pt x="13251" y="25855"/>
                    <a:pt x="18227" y="26134"/>
                  </a:cubicBezTo>
                  <a:cubicBezTo>
                    <a:pt x="18445" y="26147"/>
                    <a:pt x="18664" y="26150"/>
                    <a:pt x="18882" y="26147"/>
                  </a:cubicBezTo>
                </a:path>
              </a:pathLst>
            </a:custGeom>
            <a:solidFill>
              <a:srgbClr val="8FDB42"/>
            </a:solidFill>
            <a:ln w="2661" cap="flat">
              <a:noFill/>
              <a:prstDash val="solid"/>
              <a:miter/>
            </a:ln>
          </p:spPr>
          <p:txBody>
            <a:bodyPr rtlCol="0" anchor="ctr"/>
            <a:lstStyle/>
            <a:p>
              <a:endParaRPr lang="pl-PL"/>
            </a:p>
          </p:txBody>
        </p:sp>
        <p:sp>
          <p:nvSpPr>
            <p:cNvPr id="136" name="Freeform: Shape 135">
              <a:extLst>
                <a:ext uri="{FF2B5EF4-FFF2-40B4-BE49-F238E27FC236}">
                  <a16:creationId xmlns:a16="http://schemas.microsoft.com/office/drawing/2014/main" id="{5CF83A57-E57A-411D-BD11-B7F5F999F9C0}"/>
                </a:ext>
              </a:extLst>
            </p:cNvPr>
            <p:cNvSpPr/>
            <p:nvPr/>
          </p:nvSpPr>
          <p:spPr>
            <a:xfrm>
              <a:off x="11764305" y="6750833"/>
              <a:ext cx="16853" cy="19128"/>
            </a:xfrm>
            <a:custGeom>
              <a:avLst/>
              <a:gdLst>
                <a:gd name="connsiteX0" fmla="*/ 16288 w 29863"/>
                <a:gd name="connsiteY0" fmla="*/ -346 h 33895"/>
                <a:gd name="connsiteX1" fmla="*/ 30266 w 29863"/>
                <a:gd name="connsiteY1" fmla="*/ 9400 h 33895"/>
                <a:gd name="connsiteX2" fmla="*/ 28376 w 29863"/>
                <a:gd name="connsiteY2" fmla="*/ 11476 h 33895"/>
                <a:gd name="connsiteX3" fmla="*/ 24275 w 29863"/>
                <a:gd name="connsiteY3" fmla="*/ 11476 h 33895"/>
                <a:gd name="connsiteX4" fmla="*/ 22065 w 29863"/>
                <a:gd name="connsiteY4" fmla="*/ 9719 h 33895"/>
                <a:gd name="connsiteX5" fmla="*/ 16048 w 29863"/>
                <a:gd name="connsiteY5" fmla="*/ 6444 h 33895"/>
                <a:gd name="connsiteX6" fmla="*/ 10723 w 29863"/>
                <a:gd name="connsiteY6" fmla="*/ 9266 h 33895"/>
                <a:gd name="connsiteX7" fmla="*/ 30852 w 29863"/>
                <a:gd name="connsiteY7" fmla="*/ 23591 h 33895"/>
                <a:gd name="connsiteX8" fmla="*/ 16687 w 29863"/>
                <a:gd name="connsiteY8" fmla="*/ 33550 h 33895"/>
                <a:gd name="connsiteX9" fmla="*/ 1058 w 29863"/>
                <a:gd name="connsiteY9" fmla="*/ 23511 h 33895"/>
                <a:gd name="connsiteX10" fmla="*/ 2868 w 29863"/>
                <a:gd name="connsiteY10" fmla="*/ 21381 h 33895"/>
                <a:gd name="connsiteX11" fmla="*/ 7128 w 29863"/>
                <a:gd name="connsiteY11" fmla="*/ 21381 h 33895"/>
                <a:gd name="connsiteX12" fmla="*/ 9338 w 29863"/>
                <a:gd name="connsiteY12" fmla="*/ 23006 h 33895"/>
                <a:gd name="connsiteX13" fmla="*/ 16873 w 29863"/>
                <a:gd name="connsiteY13" fmla="*/ 26786 h 33895"/>
                <a:gd name="connsiteX14" fmla="*/ 22385 w 29863"/>
                <a:gd name="connsiteY14" fmla="*/ 23645 h 33895"/>
                <a:gd name="connsiteX15" fmla="*/ 2256 w 29863"/>
                <a:gd name="connsiteY15" fmla="*/ 9453 h 33895"/>
                <a:gd name="connsiteX16" fmla="*/ 16128 w 29863"/>
                <a:gd name="connsiteY16" fmla="*/ -346 h 3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863" h="33895">
                  <a:moveTo>
                    <a:pt x="16288" y="-346"/>
                  </a:moveTo>
                  <a:cubicBezTo>
                    <a:pt x="24275" y="-346"/>
                    <a:pt x="28962" y="3622"/>
                    <a:pt x="30266" y="9400"/>
                  </a:cubicBezTo>
                  <a:cubicBezTo>
                    <a:pt x="30586" y="10704"/>
                    <a:pt x="29760" y="11476"/>
                    <a:pt x="28376" y="11476"/>
                  </a:cubicBezTo>
                  <a:lnTo>
                    <a:pt x="24275" y="11476"/>
                  </a:lnTo>
                  <a:cubicBezTo>
                    <a:pt x="23077" y="11476"/>
                    <a:pt x="22518" y="10837"/>
                    <a:pt x="22065" y="9719"/>
                  </a:cubicBezTo>
                  <a:cubicBezTo>
                    <a:pt x="21320" y="7642"/>
                    <a:pt x="19403" y="6444"/>
                    <a:pt x="16048" y="6444"/>
                  </a:cubicBezTo>
                  <a:cubicBezTo>
                    <a:pt x="12693" y="6444"/>
                    <a:pt x="10723" y="7562"/>
                    <a:pt x="10723" y="9266"/>
                  </a:cubicBezTo>
                  <a:cubicBezTo>
                    <a:pt x="10723" y="15364"/>
                    <a:pt x="30852" y="10971"/>
                    <a:pt x="30852" y="23591"/>
                  </a:cubicBezTo>
                  <a:cubicBezTo>
                    <a:pt x="30852" y="29982"/>
                    <a:pt x="25021" y="33550"/>
                    <a:pt x="16687" y="33550"/>
                  </a:cubicBezTo>
                  <a:cubicBezTo>
                    <a:pt x="8353" y="33550"/>
                    <a:pt x="2362" y="29928"/>
                    <a:pt x="1058" y="23511"/>
                  </a:cubicBezTo>
                  <a:cubicBezTo>
                    <a:pt x="738" y="22127"/>
                    <a:pt x="1563" y="21381"/>
                    <a:pt x="2868" y="21381"/>
                  </a:cubicBezTo>
                  <a:lnTo>
                    <a:pt x="7128" y="21381"/>
                  </a:lnTo>
                  <a:cubicBezTo>
                    <a:pt x="8153" y="21344"/>
                    <a:pt x="9067" y="22018"/>
                    <a:pt x="9338" y="23006"/>
                  </a:cubicBezTo>
                  <a:cubicBezTo>
                    <a:pt x="10853" y="25673"/>
                    <a:pt x="13827" y="27165"/>
                    <a:pt x="16873" y="26786"/>
                  </a:cubicBezTo>
                  <a:cubicBezTo>
                    <a:pt x="20255" y="26786"/>
                    <a:pt x="22385" y="25721"/>
                    <a:pt x="22385" y="23645"/>
                  </a:cubicBezTo>
                  <a:cubicBezTo>
                    <a:pt x="22385" y="17494"/>
                    <a:pt x="2256" y="22127"/>
                    <a:pt x="2256" y="9453"/>
                  </a:cubicBezTo>
                  <a:cubicBezTo>
                    <a:pt x="2256" y="3808"/>
                    <a:pt x="7075" y="-346"/>
                    <a:pt x="16128" y="-346"/>
                  </a:cubicBezTo>
                </a:path>
              </a:pathLst>
            </a:custGeom>
            <a:solidFill>
              <a:srgbClr val="8FDB42"/>
            </a:solidFill>
            <a:ln w="2661" cap="flat">
              <a:noFill/>
              <a:prstDash val="solid"/>
              <a:miter/>
            </a:ln>
          </p:spPr>
          <p:txBody>
            <a:bodyPr rtlCol="0" anchor="ctr"/>
            <a:lstStyle/>
            <a:p>
              <a:endParaRPr lang="pl-PL"/>
            </a:p>
          </p:txBody>
        </p:sp>
        <p:sp>
          <p:nvSpPr>
            <p:cNvPr id="137" name="Freeform: Shape 136">
              <a:extLst>
                <a:ext uri="{FF2B5EF4-FFF2-40B4-BE49-F238E27FC236}">
                  <a16:creationId xmlns:a16="http://schemas.microsoft.com/office/drawing/2014/main" id="{5163B5F5-741C-43DA-817A-D4838E380787}"/>
                </a:ext>
              </a:extLst>
            </p:cNvPr>
            <p:cNvSpPr/>
            <p:nvPr/>
          </p:nvSpPr>
          <p:spPr>
            <a:xfrm>
              <a:off x="11784416" y="6742209"/>
              <a:ext cx="6552" cy="27380"/>
            </a:xfrm>
            <a:custGeom>
              <a:avLst/>
              <a:gdLst>
                <a:gd name="connsiteX0" fmla="*/ 1098 w 11611"/>
                <a:gd name="connsiteY0" fmla="*/ 5352 h 48518"/>
                <a:gd name="connsiteX1" fmla="*/ 6796 w 11611"/>
                <a:gd name="connsiteY1" fmla="*/ -346 h 48518"/>
                <a:gd name="connsiteX2" fmla="*/ 6876 w 11611"/>
                <a:gd name="connsiteY2" fmla="*/ -346 h 48518"/>
                <a:gd name="connsiteX3" fmla="*/ 12600 w 11611"/>
                <a:gd name="connsiteY3" fmla="*/ 5352 h 48518"/>
                <a:gd name="connsiteX4" fmla="*/ 6769 w 11611"/>
                <a:gd name="connsiteY4" fmla="*/ 11263 h 48518"/>
                <a:gd name="connsiteX5" fmla="*/ 989 w 11611"/>
                <a:gd name="connsiteY5" fmla="*/ 5488 h 48518"/>
                <a:gd name="connsiteX6" fmla="*/ 991 w 11611"/>
                <a:gd name="connsiteY6" fmla="*/ 5352 h 48518"/>
                <a:gd name="connsiteX7" fmla="*/ 10710 w 11611"/>
                <a:gd name="connsiteY7" fmla="*/ 17521 h 48518"/>
                <a:gd name="connsiteX8" fmla="*/ 10710 w 11611"/>
                <a:gd name="connsiteY8" fmla="*/ 46144 h 48518"/>
                <a:gd name="connsiteX9" fmla="*/ 9019 w 11611"/>
                <a:gd name="connsiteY9" fmla="*/ 48165 h 48518"/>
                <a:gd name="connsiteX10" fmla="*/ 8713 w 11611"/>
                <a:gd name="connsiteY10" fmla="*/ 48167 h 48518"/>
                <a:gd name="connsiteX11" fmla="*/ 4000 w 11611"/>
                <a:gd name="connsiteY11" fmla="*/ 48167 h 48518"/>
                <a:gd name="connsiteX12" fmla="*/ 2001 w 11611"/>
                <a:gd name="connsiteY12" fmla="*/ 46450 h 48518"/>
                <a:gd name="connsiteX13" fmla="*/ 2003 w 11611"/>
                <a:gd name="connsiteY13" fmla="*/ 46144 h 48518"/>
                <a:gd name="connsiteX14" fmla="*/ 2003 w 11611"/>
                <a:gd name="connsiteY14" fmla="*/ 17600 h 48518"/>
                <a:gd name="connsiteX15" fmla="*/ 3665 w 11611"/>
                <a:gd name="connsiteY15" fmla="*/ 15603 h 48518"/>
                <a:gd name="connsiteX16" fmla="*/ 4000 w 11611"/>
                <a:gd name="connsiteY16" fmla="*/ 15603 h 48518"/>
                <a:gd name="connsiteX17" fmla="*/ 8713 w 11611"/>
                <a:gd name="connsiteY17" fmla="*/ 15603 h 48518"/>
                <a:gd name="connsiteX18" fmla="*/ 10710 w 11611"/>
                <a:gd name="connsiteY18" fmla="*/ 17265 h 48518"/>
                <a:gd name="connsiteX19" fmla="*/ 10710 w 11611"/>
                <a:gd name="connsiteY19" fmla="*/ 17600 h 48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11" h="48518">
                  <a:moveTo>
                    <a:pt x="1098" y="5352"/>
                  </a:moveTo>
                  <a:cubicBezTo>
                    <a:pt x="1098" y="2205"/>
                    <a:pt x="3649" y="-346"/>
                    <a:pt x="6796" y="-346"/>
                  </a:cubicBezTo>
                  <a:cubicBezTo>
                    <a:pt x="6823" y="-346"/>
                    <a:pt x="6849" y="-346"/>
                    <a:pt x="6876" y="-346"/>
                  </a:cubicBezTo>
                  <a:cubicBezTo>
                    <a:pt x="10004" y="-290"/>
                    <a:pt x="12529" y="2224"/>
                    <a:pt x="12600" y="5352"/>
                  </a:cubicBezTo>
                  <a:cubicBezTo>
                    <a:pt x="12600" y="8585"/>
                    <a:pt x="10002" y="11221"/>
                    <a:pt x="6769" y="11263"/>
                  </a:cubicBezTo>
                  <a:cubicBezTo>
                    <a:pt x="3579" y="11263"/>
                    <a:pt x="991" y="8678"/>
                    <a:pt x="989" y="5488"/>
                  </a:cubicBezTo>
                  <a:cubicBezTo>
                    <a:pt x="989" y="5443"/>
                    <a:pt x="991" y="5398"/>
                    <a:pt x="991" y="5352"/>
                  </a:cubicBezTo>
                  <a:moveTo>
                    <a:pt x="10710" y="17521"/>
                  </a:moveTo>
                  <a:lnTo>
                    <a:pt x="10710" y="46144"/>
                  </a:lnTo>
                  <a:cubicBezTo>
                    <a:pt x="10800" y="47169"/>
                    <a:pt x="10044" y="48074"/>
                    <a:pt x="9019" y="48165"/>
                  </a:cubicBezTo>
                  <a:cubicBezTo>
                    <a:pt x="8918" y="48175"/>
                    <a:pt x="8814" y="48175"/>
                    <a:pt x="8713" y="48167"/>
                  </a:cubicBezTo>
                  <a:lnTo>
                    <a:pt x="4000" y="48167"/>
                  </a:lnTo>
                  <a:cubicBezTo>
                    <a:pt x="2975" y="48244"/>
                    <a:pt x="2078" y="47475"/>
                    <a:pt x="2001" y="46450"/>
                  </a:cubicBezTo>
                  <a:cubicBezTo>
                    <a:pt x="1993" y="46349"/>
                    <a:pt x="1995" y="46245"/>
                    <a:pt x="2003" y="46144"/>
                  </a:cubicBezTo>
                  <a:lnTo>
                    <a:pt x="2003" y="17600"/>
                  </a:lnTo>
                  <a:cubicBezTo>
                    <a:pt x="1910" y="16591"/>
                    <a:pt x="2656" y="15697"/>
                    <a:pt x="3665" y="15603"/>
                  </a:cubicBezTo>
                  <a:cubicBezTo>
                    <a:pt x="3776" y="15593"/>
                    <a:pt x="3888" y="15593"/>
                    <a:pt x="4000" y="15603"/>
                  </a:cubicBezTo>
                  <a:lnTo>
                    <a:pt x="8713" y="15603"/>
                  </a:lnTo>
                  <a:cubicBezTo>
                    <a:pt x="9722" y="15510"/>
                    <a:pt x="10617" y="16256"/>
                    <a:pt x="10710" y="17265"/>
                  </a:cubicBezTo>
                  <a:cubicBezTo>
                    <a:pt x="10721" y="17377"/>
                    <a:pt x="10721" y="17489"/>
                    <a:pt x="10710" y="17600"/>
                  </a:cubicBezTo>
                </a:path>
              </a:pathLst>
            </a:custGeom>
            <a:solidFill>
              <a:srgbClr val="8FDB42"/>
            </a:solidFill>
            <a:ln w="2661" cap="flat">
              <a:noFill/>
              <a:prstDash val="solid"/>
              <a:miter/>
            </a:ln>
          </p:spPr>
          <p:txBody>
            <a:bodyPr rtlCol="0" anchor="ctr"/>
            <a:lstStyle/>
            <a:p>
              <a:endParaRPr lang="pl-PL"/>
            </a:p>
          </p:txBody>
        </p:sp>
        <p:sp>
          <p:nvSpPr>
            <p:cNvPr id="138" name="Freeform: Shape 137">
              <a:extLst>
                <a:ext uri="{FF2B5EF4-FFF2-40B4-BE49-F238E27FC236}">
                  <a16:creationId xmlns:a16="http://schemas.microsoft.com/office/drawing/2014/main" id="{86AB888A-210E-4A97-865E-99FA28C32B5F}"/>
                </a:ext>
              </a:extLst>
            </p:cNvPr>
            <p:cNvSpPr/>
            <p:nvPr/>
          </p:nvSpPr>
          <p:spPr>
            <a:xfrm>
              <a:off x="11793381" y="6746197"/>
              <a:ext cx="13675" cy="23794"/>
            </a:xfrm>
            <a:custGeom>
              <a:avLst/>
              <a:gdLst>
                <a:gd name="connsiteX0" fmla="*/ 1029 w 24233"/>
                <a:gd name="connsiteY0" fmla="*/ 13782 h 42164"/>
                <a:gd name="connsiteX1" fmla="*/ 1029 w 24233"/>
                <a:gd name="connsiteY1" fmla="*/ 10533 h 42164"/>
                <a:gd name="connsiteX2" fmla="*/ 2608 w 24233"/>
                <a:gd name="connsiteY2" fmla="*/ 8518 h 42164"/>
                <a:gd name="connsiteX3" fmla="*/ 2972 w 24233"/>
                <a:gd name="connsiteY3" fmla="*/ 8510 h 42164"/>
                <a:gd name="connsiteX4" fmla="*/ 5049 w 24233"/>
                <a:gd name="connsiteY4" fmla="*/ 8510 h 42164"/>
                <a:gd name="connsiteX5" fmla="*/ 5741 w 24233"/>
                <a:gd name="connsiteY5" fmla="*/ 7817 h 42164"/>
                <a:gd name="connsiteX6" fmla="*/ 5741 w 24233"/>
                <a:gd name="connsiteY6" fmla="*/ 3105 h 42164"/>
                <a:gd name="connsiteX7" fmla="*/ 7419 w 24233"/>
                <a:gd name="connsiteY7" fmla="*/ 921 h 42164"/>
                <a:gd name="connsiteX8" fmla="*/ 11892 w 24233"/>
                <a:gd name="connsiteY8" fmla="*/ -224 h 42164"/>
                <a:gd name="connsiteX9" fmla="*/ 14043 w 24233"/>
                <a:gd name="connsiteY9" fmla="*/ 684 h 42164"/>
                <a:gd name="connsiteX10" fmla="*/ 14155 w 24233"/>
                <a:gd name="connsiteY10" fmla="*/ 1480 h 42164"/>
                <a:gd name="connsiteX11" fmla="*/ 14155 w 24233"/>
                <a:gd name="connsiteY11" fmla="*/ 7871 h 42164"/>
                <a:gd name="connsiteX12" fmla="*/ 14794 w 24233"/>
                <a:gd name="connsiteY12" fmla="*/ 8563 h 42164"/>
                <a:gd name="connsiteX13" fmla="*/ 14848 w 24233"/>
                <a:gd name="connsiteY13" fmla="*/ 8563 h 42164"/>
                <a:gd name="connsiteX14" fmla="*/ 22835 w 24233"/>
                <a:gd name="connsiteY14" fmla="*/ 8563 h 42164"/>
                <a:gd name="connsiteX15" fmla="*/ 24859 w 24233"/>
                <a:gd name="connsiteY15" fmla="*/ 10251 h 42164"/>
                <a:gd name="connsiteX16" fmla="*/ 24859 w 24233"/>
                <a:gd name="connsiteY16" fmla="*/ 10587 h 42164"/>
                <a:gd name="connsiteX17" fmla="*/ 24859 w 24233"/>
                <a:gd name="connsiteY17" fmla="*/ 13888 h 42164"/>
                <a:gd name="connsiteX18" fmla="*/ 23171 w 24233"/>
                <a:gd name="connsiteY18" fmla="*/ 15912 h 42164"/>
                <a:gd name="connsiteX19" fmla="*/ 22835 w 24233"/>
                <a:gd name="connsiteY19" fmla="*/ 15912 h 42164"/>
                <a:gd name="connsiteX20" fmla="*/ 14848 w 24233"/>
                <a:gd name="connsiteY20" fmla="*/ 15912 h 42164"/>
                <a:gd name="connsiteX21" fmla="*/ 14150 w 24233"/>
                <a:gd name="connsiteY21" fmla="*/ 16545 h 42164"/>
                <a:gd name="connsiteX22" fmla="*/ 14155 w 24233"/>
                <a:gd name="connsiteY22" fmla="*/ 16657 h 42164"/>
                <a:gd name="connsiteX23" fmla="*/ 14155 w 24233"/>
                <a:gd name="connsiteY23" fmla="*/ 30157 h 42164"/>
                <a:gd name="connsiteX24" fmla="*/ 17590 w 24233"/>
                <a:gd name="connsiteY24" fmla="*/ 34177 h 42164"/>
                <a:gd name="connsiteX25" fmla="*/ 22436 w 24233"/>
                <a:gd name="connsiteY25" fmla="*/ 33485 h 42164"/>
                <a:gd name="connsiteX26" fmla="*/ 24683 w 24233"/>
                <a:gd name="connsiteY26" fmla="*/ 34454 h 42164"/>
                <a:gd name="connsiteX27" fmla="*/ 24806 w 24233"/>
                <a:gd name="connsiteY27" fmla="*/ 35109 h 42164"/>
                <a:gd name="connsiteX28" fmla="*/ 25178 w 24233"/>
                <a:gd name="connsiteY28" fmla="*/ 38384 h 42164"/>
                <a:gd name="connsiteX29" fmla="*/ 23639 w 24233"/>
                <a:gd name="connsiteY29" fmla="*/ 40754 h 42164"/>
                <a:gd name="connsiteX30" fmla="*/ 23634 w 24233"/>
                <a:gd name="connsiteY30" fmla="*/ 40754 h 42164"/>
                <a:gd name="connsiteX31" fmla="*/ 15966 w 24233"/>
                <a:gd name="connsiteY31" fmla="*/ 41819 h 42164"/>
                <a:gd name="connsiteX32" fmla="*/ 5315 w 24233"/>
                <a:gd name="connsiteY32" fmla="*/ 30343 h 42164"/>
                <a:gd name="connsiteX33" fmla="*/ 5315 w 24233"/>
                <a:gd name="connsiteY33" fmla="*/ 16657 h 42164"/>
                <a:gd name="connsiteX34" fmla="*/ 4703 w 24233"/>
                <a:gd name="connsiteY34" fmla="*/ 15859 h 42164"/>
                <a:gd name="connsiteX35" fmla="*/ 2946 w 24233"/>
                <a:gd name="connsiteY35" fmla="*/ 15859 h 42164"/>
                <a:gd name="connsiteX36" fmla="*/ 994 w 24233"/>
                <a:gd name="connsiteY36" fmla="*/ 14200 h 42164"/>
                <a:gd name="connsiteX37" fmla="*/ 1002 w 24233"/>
                <a:gd name="connsiteY37" fmla="*/ 13835 h 42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233" h="42164">
                  <a:moveTo>
                    <a:pt x="1029" y="13782"/>
                  </a:moveTo>
                  <a:lnTo>
                    <a:pt x="1029" y="10533"/>
                  </a:lnTo>
                  <a:cubicBezTo>
                    <a:pt x="909" y="9540"/>
                    <a:pt x="1614" y="8637"/>
                    <a:pt x="2608" y="8518"/>
                  </a:cubicBezTo>
                  <a:cubicBezTo>
                    <a:pt x="2727" y="8502"/>
                    <a:pt x="2850" y="8499"/>
                    <a:pt x="2972" y="8510"/>
                  </a:cubicBezTo>
                  <a:lnTo>
                    <a:pt x="5049" y="8510"/>
                  </a:lnTo>
                  <a:cubicBezTo>
                    <a:pt x="5432" y="8510"/>
                    <a:pt x="5741" y="8201"/>
                    <a:pt x="5741" y="7817"/>
                  </a:cubicBezTo>
                  <a:lnTo>
                    <a:pt x="5741" y="3105"/>
                  </a:lnTo>
                  <a:cubicBezTo>
                    <a:pt x="5630" y="2045"/>
                    <a:pt x="6367" y="1086"/>
                    <a:pt x="7419" y="921"/>
                  </a:cubicBezTo>
                  <a:lnTo>
                    <a:pt x="11892" y="-224"/>
                  </a:lnTo>
                  <a:cubicBezTo>
                    <a:pt x="12736" y="-567"/>
                    <a:pt x="13700" y="-160"/>
                    <a:pt x="14043" y="684"/>
                  </a:cubicBezTo>
                  <a:cubicBezTo>
                    <a:pt x="14145" y="937"/>
                    <a:pt x="14184" y="1209"/>
                    <a:pt x="14155" y="1480"/>
                  </a:cubicBezTo>
                  <a:lnTo>
                    <a:pt x="14155" y="7871"/>
                  </a:lnTo>
                  <a:cubicBezTo>
                    <a:pt x="14139" y="8238"/>
                    <a:pt x="14427" y="8547"/>
                    <a:pt x="14794" y="8563"/>
                  </a:cubicBezTo>
                  <a:cubicBezTo>
                    <a:pt x="14810" y="8563"/>
                    <a:pt x="14829" y="8563"/>
                    <a:pt x="14848" y="8563"/>
                  </a:cubicBezTo>
                  <a:lnTo>
                    <a:pt x="22835" y="8563"/>
                  </a:lnTo>
                  <a:cubicBezTo>
                    <a:pt x="23861" y="8470"/>
                    <a:pt x="24766" y="9226"/>
                    <a:pt x="24859" y="10251"/>
                  </a:cubicBezTo>
                  <a:cubicBezTo>
                    <a:pt x="24870" y="10363"/>
                    <a:pt x="24870" y="10475"/>
                    <a:pt x="24859" y="10587"/>
                  </a:cubicBezTo>
                  <a:lnTo>
                    <a:pt x="24859" y="13888"/>
                  </a:lnTo>
                  <a:cubicBezTo>
                    <a:pt x="24952" y="14913"/>
                    <a:pt x="24196" y="15819"/>
                    <a:pt x="23171" y="15912"/>
                  </a:cubicBezTo>
                  <a:cubicBezTo>
                    <a:pt x="23059" y="15922"/>
                    <a:pt x="22947" y="15922"/>
                    <a:pt x="22835" y="15912"/>
                  </a:cubicBezTo>
                  <a:lnTo>
                    <a:pt x="14848" y="15912"/>
                  </a:lnTo>
                  <a:cubicBezTo>
                    <a:pt x="14480" y="15893"/>
                    <a:pt x="14169" y="16178"/>
                    <a:pt x="14150" y="16545"/>
                  </a:cubicBezTo>
                  <a:cubicBezTo>
                    <a:pt x="14150" y="16583"/>
                    <a:pt x="14150" y="16620"/>
                    <a:pt x="14155" y="16657"/>
                  </a:cubicBezTo>
                  <a:lnTo>
                    <a:pt x="14155" y="30157"/>
                  </a:lnTo>
                  <a:cubicBezTo>
                    <a:pt x="14155" y="32819"/>
                    <a:pt x="15034" y="34177"/>
                    <a:pt x="17590" y="34177"/>
                  </a:cubicBezTo>
                  <a:cubicBezTo>
                    <a:pt x="19230" y="34175"/>
                    <a:pt x="20860" y="33940"/>
                    <a:pt x="22436" y="33485"/>
                  </a:cubicBezTo>
                  <a:cubicBezTo>
                    <a:pt x="23325" y="33131"/>
                    <a:pt x="24332" y="33565"/>
                    <a:pt x="24683" y="34454"/>
                  </a:cubicBezTo>
                  <a:cubicBezTo>
                    <a:pt x="24766" y="34662"/>
                    <a:pt x="24808" y="34886"/>
                    <a:pt x="24806" y="35109"/>
                  </a:cubicBezTo>
                  <a:lnTo>
                    <a:pt x="25178" y="38384"/>
                  </a:lnTo>
                  <a:cubicBezTo>
                    <a:pt x="25407" y="39463"/>
                    <a:pt x="24718" y="40522"/>
                    <a:pt x="23639" y="40754"/>
                  </a:cubicBezTo>
                  <a:cubicBezTo>
                    <a:pt x="23639" y="40754"/>
                    <a:pt x="23637" y="40754"/>
                    <a:pt x="23634" y="40754"/>
                  </a:cubicBezTo>
                  <a:cubicBezTo>
                    <a:pt x="21139" y="41462"/>
                    <a:pt x="18559" y="41822"/>
                    <a:pt x="15966" y="41819"/>
                  </a:cubicBezTo>
                  <a:cubicBezTo>
                    <a:pt x="10241" y="41819"/>
                    <a:pt x="5315" y="38943"/>
                    <a:pt x="5315" y="30343"/>
                  </a:cubicBezTo>
                  <a:lnTo>
                    <a:pt x="5315" y="16657"/>
                  </a:lnTo>
                  <a:cubicBezTo>
                    <a:pt x="5363" y="16269"/>
                    <a:pt x="5092" y="15914"/>
                    <a:pt x="4703" y="15859"/>
                  </a:cubicBezTo>
                  <a:lnTo>
                    <a:pt x="2946" y="15859"/>
                  </a:lnTo>
                  <a:cubicBezTo>
                    <a:pt x="1950" y="15938"/>
                    <a:pt x="1076" y="15198"/>
                    <a:pt x="994" y="14200"/>
                  </a:cubicBezTo>
                  <a:cubicBezTo>
                    <a:pt x="986" y="14080"/>
                    <a:pt x="986" y="13957"/>
                    <a:pt x="1002" y="13835"/>
                  </a:cubicBezTo>
                </a:path>
              </a:pathLst>
            </a:custGeom>
            <a:solidFill>
              <a:srgbClr val="8FDB42"/>
            </a:solidFill>
            <a:ln w="2661" cap="flat">
              <a:noFill/>
              <a:prstDash val="solid"/>
              <a:miter/>
            </a:ln>
          </p:spPr>
          <p:txBody>
            <a:bodyPr rtlCol="0" anchor="ctr"/>
            <a:lstStyle/>
            <a:p>
              <a:endParaRPr lang="pl-PL"/>
            </a:p>
          </p:txBody>
        </p:sp>
        <p:sp>
          <p:nvSpPr>
            <p:cNvPr id="139" name="Freeform: Shape 138">
              <a:extLst>
                <a:ext uri="{FF2B5EF4-FFF2-40B4-BE49-F238E27FC236}">
                  <a16:creationId xmlns:a16="http://schemas.microsoft.com/office/drawing/2014/main" id="{6FF3A098-A6BF-474D-A4C3-0C8F0F6ADC71}"/>
                </a:ext>
              </a:extLst>
            </p:cNvPr>
            <p:cNvSpPr/>
            <p:nvPr/>
          </p:nvSpPr>
          <p:spPr>
            <a:xfrm>
              <a:off x="11809766" y="6742209"/>
              <a:ext cx="6552" cy="27380"/>
            </a:xfrm>
            <a:custGeom>
              <a:avLst/>
              <a:gdLst>
                <a:gd name="connsiteX0" fmla="*/ 991 w 11611"/>
                <a:gd name="connsiteY0" fmla="*/ 5352 h 48518"/>
                <a:gd name="connsiteX1" fmla="*/ 6689 w 11611"/>
                <a:gd name="connsiteY1" fmla="*/ -346 h 48518"/>
                <a:gd name="connsiteX2" fmla="*/ 6769 w 11611"/>
                <a:gd name="connsiteY2" fmla="*/ -346 h 48518"/>
                <a:gd name="connsiteX3" fmla="*/ 12600 w 11611"/>
                <a:gd name="connsiteY3" fmla="*/ 5352 h 48518"/>
                <a:gd name="connsiteX4" fmla="*/ 6769 w 11611"/>
                <a:gd name="connsiteY4" fmla="*/ 11263 h 48518"/>
                <a:gd name="connsiteX5" fmla="*/ 989 w 11611"/>
                <a:gd name="connsiteY5" fmla="*/ 5488 h 48518"/>
                <a:gd name="connsiteX6" fmla="*/ 991 w 11611"/>
                <a:gd name="connsiteY6" fmla="*/ 5352 h 48518"/>
                <a:gd name="connsiteX7" fmla="*/ 10710 w 11611"/>
                <a:gd name="connsiteY7" fmla="*/ 17521 h 48518"/>
                <a:gd name="connsiteX8" fmla="*/ 10710 w 11611"/>
                <a:gd name="connsiteY8" fmla="*/ 46144 h 48518"/>
                <a:gd name="connsiteX9" fmla="*/ 9019 w 11611"/>
                <a:gd name="connsiteY9" fmla="*/ 48165 h 48518"/>
                <a:gd name="connsiteX10" fmla="*/ 8713 w 11611"/>
                <a:gd name="connsiteY10" fmla="*/ 48167 h 48518"/>
                <a:gd name="connsiteX11" fmla="*/ 4000 w 11611"/>
                <a:gd name="connsiteY11" fmla="*/ 48167 h 48518"/>
                <a:gd name="connsiteX12" fmla="*/ 2001 w 11611"/>
                <a:gd name="connsiteY12" fmla="*/ 46450 h 48518"/>
                <a:gd name="connsiteX13" fmla="*/ 2003 w 11611"/>
                <a:gd name="connsiteY13" fmla="*/ 46144 h 48518"/>
                <a:gd name="connsiteX14" fmla="*/ 2003 w 11611"/>
                <a:gd name="connsiteY14" fmla="*/ 17600 h 48518"/>
                <a:gd name="connsiteX15" fmla="*/ 3665 w 11611"/>
                <a:gd name="connsiteY15" fmla="*/ 15603 h 48518"/>
                <a:gd name="connsiteX16" fmla="*/ 4000 w 11611"/>
                <a:gd name="connsiteY16" fmla="*/ 15603 h 48518"/>
                <a:gd name="connsiteX17" fmla="*/ 8713 w 11611"/>
                <a:gd name="connsiteY17" fmla="*/ 15603 h 48518"/>
                <a:gd name="connsiteX18" fmla="*/ 10710 w 11611"/>
                <a:gd name="connsiteY18" fmla="*/ 17265 h 48518"/>
                <a:gd name="connsiteX19" fmla="*/ 10710 w 11611"/>
                <a:gd name="connsiteY19" fmla="*/ 17600 h 48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11" h="48518">
                  <a:moveTo>
                    <a:pt x="991" y="5352"/>
                  </a:moveTo>
                  <a:cubicBezTo>
                    <a:pt x="991" y="2205"/>
                    <a:pt x="3542" y="-346"/>
                    <a:pt x="6689" y="-346"/>
                  </a:cubicBezTo>
                  <a:cubicBezTo>
                    <a:pt x="6716" y="-346"/>
                    <a:pt x="6743" y="-346"/>
                    <a:pt x="6769" y="-346"/>
                  </a:cubicBezTo>
                  <a:cubicBezTo>
                    <a:pt x="9938" y="-346"/>
                    <a:pt x="12529" y="2184"/>
                    <a:pt x="12600" y="5352"/>
                  </a:cubicBezTo>
                  <a:cubicBezTo>
                    <a:pt x="12600" y="8585"/>
                    <a:pt x="10002" y="11221"/>
                    <a:pt x="6769" y="11263"/>
                  </a:cubicBezTo>
                  <a:cubicBezTo>
                    <a:pt x="3579" y="11263"/>
                    <a:pt x="991" y="8678"/>
                    <a:pt x="989" y="5488"/>
                  </a:cubicBezTo>
                  <a:cubicBezTo>
                    <a:pt x="989" y="5443"/>
                    <a:pt x="991" y="5398"/>
                    <a:pt x="991" y="5352"/>
                  </a:cubicBezTo>
                  <a:moveTo>
                    <a:pt x="10710" y="17521"/>
                  </a:moveTo>
                  <a:lnTo>
                    <a:pt x="10710" y="46144"/>
                  </a:lnTo>
                  <a:cubicBezTo>
                    <a:pt x="10800" y="47169"/>
                    <a:pt x="10044" y="48074"/>
                    <a:pt x="9019" y="48165"/>
                  </a:cubicBezTo>
                  <a:cubicBezTo>
                    <a:pt x="8918" y="48175"/>
                    <a:pt x="8814" y="48175"/>
                    <a:pt x="8713" y="48167"/>
                  </a:cubicBezTo>
                  <a:lnTo>
                    <a:pt x="4000" y="48167"/>
                  </a:lnTo>
                  <a:cubicBezTo>
                    <a:pt x="2975" y="48244"/>
                    <a:pt x="2078" y="47475"/>
                    <a:pt x="2001" y="46450"/>
                  </a:cubicBezTo>
                  <a:cubicBezTo>
                    <a:pt x="1993" y="46349"/>
                    <a:pt x="1995" y="46245"/>
                    <a:pt x="2003" y="46144"/>
                  </a:cubicBezTo>
                  <a:lnTo>
                    <a:pt x="2003" y="17600"/>
                  </a:lnTo>
                  <a:cubicBezTo>
                    <a:pt x="1910" y="16591"/>
                    <a:pt x="2656" y="15697"/>
                    <a:pt x="3665" y="15603"/>
                  </a:cubicBezTo>
                  <a:cubicBezTo>
                    <a:pt x="3777" y="15593"/>
                    <a:pt x="3888" y="15593"/>
                    <a:pt x="4000" y="15603"/>
                  </a:cubicBezTo>
                  <a:lnTo>
                    <a:pt x="8713" y="15603"/>
                  </a:lnTo>
                  <a:cubicBezTo>
                    <a:pt x="9722" y="15510"/>
                    <a:pt x="10617" y="16256"/>
                    <a:pt x="10710" y="17265"/>
                  </a:cubicBezTo>
                  <a:cubicBezTo>
                    <a:pt x="10721" y="17377"/>
                    <a:pt x="10721" y="17489"/>
                    <a:pt x="10710" y="17600"/>
                  </a:cubicBezTo>
                </a:path>
              </a:pathLst>
            </a:custGeom>
            <a:solidFill>
              <a:srgbClr val="8FDB42"/>
            </a:solidFill>
            <a:ln w="2661" cap="flat">
              <a:noFill/>
              <a:prstDash val="solid"/>
              <a:miter/>
            </a:ln>
          </p:spPr>
          <p:txBody>
            <a:bodyPr rtlCol="0" anchor="ctr"/>
            <a:lstStyle/>
            <a:p>
              <a:endParaRPr lang="pl-PL"/>
            </a:p>
          </p:txBody>
        </p:sp>
        <p:sp>
          <p:nvSpPr>
            <p:cNvPr id="140" name="Freeform: Shape 139">
              <a:extLst>
                <a:ext uri="{FF2B5EF4-FFF2-40B4-BE49-F238E27FC236}">
                  <a16:creationId xmlns:a16="http://schemas.microsoft.com/office/drawing/2014/main" id="{BD864B0A-39EC-4F09-9541-51639A9BFC8A}"/>
                </a:ext>
              </a:extLst>
            </p:cNvPr>
            <p:cNvSpPr/>
            <p:nvPr/>
          </p:nvSpPr>
          <p:spPr>
            <a:xfrm>
              <a:off x="11818135" y="6751161"/>
              <a:ext cx="19391" cy="18427"/>
            </a:xfrm>
            <a:custGeom>
              <a:avLst/>
              <a:gdLst>
                <a:gd name="connsiteX0" fmla="*/ 3041 w 34361"/>
                <a:gd name="connsiteY0" fmla="*/ -340 h 32653"/>
                <a:gd name="connsiteX1" fmla="*/ 8766 w 34361"/>
                <a:gd name="connsiteY1" fmla="*/ -340 h 32653"/>
                <a:gd name="connsiteX2" fmla="*/ 11029 w 34361"/>
                <a:gd name="connsiteY2" fmla="*/ 1364 h 32653"/>
                <a:gd name="connsiteX3" fmla="*/ 17606 w 34361"/>
                <a:gd name="connsiteY3" fmla="*/ 22665 h 32653"/>
                <a:gd name="connsiteX4" fmla="*/ 19257 w 34361"/>
                <a:gd name="connsiteY4" fmla="*/ 22665 h 32653"/>
                <a:gd name="connsiteX5" fmla="*/ 26020 w 34361"/>
                <a:gd name="connsiteY5" fmla="*/ 1364 h 32653"/>
                <a:gd name="connsiteX6" fmla="*/ 28230 w 34361"/>
                <a:gd name="connsiteY6" fmla="*/ -340 h 32653"/>
                <a:gd name="connsiteX7" fmla="*/ 33555 w 34361"/>
                <a:gd name="connsiteY7" fmla="*/ -340 h 32653"/>
                <a:gd name="connsiteX8" fmla="*/ 35179 w 34361"/>
                <a:gd name="connsiteY8" fmla="*/ 1976 h 32653"/>
                <a:gd name="connsiteX9" fmla="*/ 23623 w 34361"/>
                <a:gd name="connsiteY9" fmla="*/ 30546 h 32653"/>
                <a:gd name="connsiteX10" fmla="*/ 20961 w 34361"/>
                <a:gd name="connsiteY10" fmla="*/ 32304 h 32653"/>
                <a:gd name="connsiteX11" fmla="*/ 15130 w 34361"/>
                <a:gd name="connsiteY11" fmla="*/ 32304 h 32653"/>
                <a:gd name="connsiteX12" fmla="*/ 12467 w 34361"/>
                <a:gd name="connsiteY12" fmla="*/ 30546 h 32653"/>
                <a:gd name="connsiteX13" fmla="*/ 1178 w 34361"/>
                <a:gd name="connsiteY13" fmla="*/ 1923 h 32653"/>
                <a:gd name="connsiteX14" fmla="*/ 2748 w 34361"/>
                <a:gd name="connsiteY14" fmla="*/ -340 h 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361" h="32653">
                  <a:moveTo>
                    <a:pt x="3041" y="-340"/>
                  </a:moveTo>
                  <a:lnTo>
                    <a:pt x="8766" y="-340"/>
                  </a:lnTo>
                  <a:cubicBezTo>
                    <a:pt x="9839" y="-417"/>
                    <a:pt x="10806" y="310"/>
                    <a:pt x="11029" y="1364"/>
                  </a:cubicBezTo>
                  <a:lnTo>
                    <a:pt x="17606" y="22665"/>
                  </a:lnTo>
                  <a:cubicBezTo>
                    <a:pt x="18005" y="23757"/>
                    <a:pt x="18884" y="23757"/>
                    <a:pt x="19257" y="22665"/>
                  </a:cubicBezTo>
                  <a:lnTo>
                    <a:pt x="26020" y="1364"/>
                  </a:lnTo>
                  <a:cubicBezTo>
                    <a:pt x="26230" y="326"/>
                    <a:pt x="27173" y="-401"/>
                    <a:pt x="28230" y="-340"/>
                  </a:cubicBezTo>
                  <a:lnTo>
                    <a:pt x="33555" y="-340"/>
                  </a:lnTo>
                  <a:cubicBezTo>
                    <a:pt x="35046" y="-340"/>
                    <a:pt x="35685" y="592"/>
                    <a:pt x="35179" y="1976"/>
                  </a:cubicBezTo>
                  <a:lnTo>
                    <a:pt x="23623" y="30546"/>
                  </a:lnTo>
                  <a:cubicBezTo>
                    <a:pt x="23224" y="31657"/>
                    <a:pt x="22140" y="32373"/>
                    <a:pt x="20961" y="32304"/>
                  </a:cubicBezTo>
                  <a:lnTo>
                    <a:pt x="15130" y="32304"/>
                  </a:lnTo>
                  <a:cubicBezTo>
                    <a:pt x="13950" y="32373"/>
                    <a:pt x="12866" y="31657"/>
                    <a:pt x="12467" y="30546"/>
                  </a:cubicBezTo>
                  <a:lnTo>
                    <a:pt x="1178" y="1923"/>
                  </a:lnTo>
                  <a:cubicBezTo>
                    <a:pt x="672" y="592"/>
                    <a:pt x="1178" y="-340"/>
                    <a:pt x="2748" y="-340"/>
                  </a:cubicBezTo>
                </a:path>
              </a:pathLst>
            </a:custGeom>
            <a:solidFill>
              <a:srgbClr val="8FDB42"/>
            </a:solidFill>
            <a:ln w="2661" cap="flat">
              <a:noFill/>
              <a:prstDash val="solid"/>
              <a:miter/>
            </a:ln>
          </p:spPr>
          <p:txBody>
            <a:bodyPr rtlCol="0" anchor="ctr"/>
            <a:lstStyle/>
            <a:p>
              <a:endParaRPr lang="pl-PL"/>
            </a:p>
          </p:txBody>
        </p:sp>
        <p:sp>
          <p:nvSpPr>
            <p:cNvPr id="141" name="Freeform: Shape 140">
              <a:extLst>
                <a:ext uri="{FF2B5EF4-FFF2-40B4-BE49-F238E27FC236}">
                  <a16:creationId xmlns:a16="http://schemas.microsoft.com/office/drawing/2014/main" id="{BE5593F5-9CE2-4DE0-92C5-1EE26E889574}"/>
                </a:ext>
              </a:extLst>
            </p:cNvPr>
            <p:cNvSpPr/>
            <p:nvPr/>
          </p:nvSpPr>
          <p:spPr>
            <a:xfrm>
              <a:off x="11839093" y="6750822"/>
              <a:ext cx="18454" cy="19157"/>
            </a:xfrm>
            <a:custGeom>
              <a:avLst/>
              <a:gdLst>
                <a:gd name="connsiteX0" fmla="*/ 17931 w 32701"/>
                <a:gd name="connsiteY0" fmla="*/ -324 h 33946"/>
                <a:gd name="connsiteX1" fmla="*/ 33689 w 32701"/>
                <a:gd name="connsiteY1" fmla="*/ 15867 h 33946"/>
                <a:gd name="connsiteX2" fmla="*/ 33614 w 32701"/>
                <a:gd name="connsiteY2" fmla="*/ 17196 h 33946"/>
                <a:gd name="connsiteX3" fmla="*/ 31809 w 32701"/>
                <a:gd name="connsiteY3" fmla="*/ 19012 h 33946"/>
                <a:gd name="connsiteX4" fmla="*/ 31670 w 32701"/>
                <a:gd name="connsiteY4" fmla="*/ 19006 h 33946"/>
                <a:gd name="connsiteX5" fmla="*/ 11568 w 32701"/>
                <a:gd name="connsiteY5" fmla="*/ 19006 h 33946"/>
                <a:gd name="connsiteX6" fmla="*/ 10130 w 32701"/>
                <a:gd name="connsiteY6" fmla="*/ 20950 h 33946"/>
                <a:gd name="connsiteX7" fmla="*/ 18118 w 32701"/>
                <a:gd name="connsiteY7" fmla="*/ 26488 h 33946"/>
                <a:gd name="connsiteX8" fmla="*/ 24455 w 32701"/>
                <a:gd name="connsiteY8" fmla="*/ 23613 h 33946"/>
                <a:gd name="connsiteX9" fmla="*/ 26771 w 32701"/>
                <a:gd name="connsiteY9" fmla="*/ 22148 h 33946"/>
                <a:gd name="connsiteX10" fmla="*/ 31058 w 32701"/>
                <a:gd name="connsiteY10" fmla="*/ 22148 h 33946"/>
                <a:gd name="connsiteX11" fmla="*/ 32789 w 32701"/>
                <a:gd name="connsiteY11" fmla="*/ 24358 h 33946"/>
                <a:gd name="connsiteX12" fmla="*/ 18118 w 32701"/>
                <a:gd name="connsiteY12" fmla="*/ 33571 h 33946"/>
                <a:gd name="connsiteX13" fmla="*/ 994 w 32701"/>
                <a:gd name="connsiteY13" fmla="*/ 17371 h 33946"/>
                <a:gd name="connsiteX14" fmla="*/ 997 w 32701"/>
                <a:gd name="connsiteY14" fmla="*/ 16370 h 33946"/>
                <a:gd name="connsiteX15" fmla="*/ 16866 w 32701"/>
                <a:gd name="connsiteY15" fmla="*/ -340 h 33946"/>
                <a:gd name="connsiteX16" fmla="*/ 18118 w 32701"/>
                <a:gd name="connsiteY16" fmla="*/ -324 h 33946"/>
                <a:gd name="connsiteX17" fmla="*/ 12020 w 32701"/>
                <a:gd name="connsiteY17" fmla="*/ 13362 h 33946"/>
                <a:gd name="connsiteX18" fmla="*/ 23257 w 32701"/>
                <a:gd name="connsiteY18" fmla="*/ 13362 h 33946"/>
                <a:gd name="connsiteX19" fmla="*/ 24774 w 32701"/>
                <a:gd name="connsiteY19" fmla="*/ 11365 h 33946"/>
                <a:gd name="connsiteX20" fmla="*/ 17984 w 32701"/>
                <a:gd name="connsiteY20" fmla="*/ 6705 h 33946"/>
                <a:gd name="connsiteX21" fmla="*/ 10582 w 32701"/>
                <a:gd name="connsiteY21" fmla="*/ 11285 h 33946"/>
                <a:gd name="connsiteX22" fmla="*/ 12020 w 32701"/>
                <a:gd name="connsiteY22" fmla="*/ 13362 h 3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701" h="33946">
                  <a:moveTo>
                    <a:pt x="17931" y="-324"/>
                  </a:moveTo>
                  <a:cubicBezTo>
                    <a:pt x="26753" y="-204"/>
                    <a:pt x="33809" y="7046"/>
                    <a:pt x="33689" y="15867"/>
                  </a:cubicBezTo>
                  <a:cubicBezTo>
                    <a:pt x="33681" y="16312"/>
                    <a:pt x="33657" y="16754"/>
                    <a:pt x="33614" y="17196"/>
                  </a:cubicBezTo>
                  <a:cubicBezTo>
                    <a:pt x="33617" y="18197"/>
                    <a:pt x="32807" y="19009"/>
                    <a:pt x="31809" y="19012"/>
                  </a:cubicBezTo>
                  <a:cubicBezTo>
                    <a:pt x="31764" y="19012"/>
                    <a:pt x="31716" y="19009"/>
                    <a:pt x="31670" y="19006"/>
                  </a:cubicBezTo>
                  <a:lnTo>
                    <a:pt x="11568" y="19006"/>
                  </a:lnTo>
                  <a:cubicBezTo>
                    <a:pt x="10369" y="19006"/>
                    <a:pt x="9624" y="19778"/>
                    <a:pt x="10130" y="20950"/>
                  </a:cubicBezTo>
                  <a:cubicBezTo>
                    <a:pt x="11272" y="24361"/>
                    <a:pt x="14523" y="26616"/>
                    <a:pt x="18118" y="26488"/>
                  </a:cubicBezTo>
                  <a:cubicBezTo>
                    <a:pt x="20589" y="26709"/>
                    <a:pt x="22996" y="25618"/>
                    <a:pt x="24455" y="23613"/>
                  </a:cubicBezTo>
                  <a:cubicBezTo>
                    <a:pt x="24897" y="22734"/>
                    <a:pt x="25789" y="22172"/>
                    <a:pt x="26771" y="22148"/>
                  </a:cubicBezTo>
                  <a:lnTo>
                    <a:pt x="31058" y="22148"/>
                  </a:lnTo>
                  <a:cubicBezTo>
                    <a:pt x="32416" y="22148"/>
                    <a:pt x="33295" y="23027"/>
                    <a:pt x="32789" y="24358"/>
                  </a:cubicBezTo>
                  <a:cubicBezTo>
                    <a:pt x="30387" y="30264"/>
                    <a:pt x="24479" y="33973"/>
                    <a:pt x="18118" y="33571"/>
                  </a:cubicBezTo>
                  <a:cubicBezTo>
                    <a:pt x="8916" y="33826"/>
                    <a:pt x="1250" y="26573"/>
                    <a:pt x="994" y="17371"/>
                  </a:cubicBezTo>
                  <a:cubicBezTo>
                    <a:pt x="986" y="17036"/>
                    <a:pt x="986" y="16703"/>
                    <a:pt x="997" y="16370"/>
                  </a:cubicBezTo>
                  <a:cubicBezTo>
                    <a:pt x="765" y="7373"/>
                    <a:pt x="7869" y="-109"/>
                    <a:pt x="16866" y="-340"/>
                  </a:cubicBezTo>
                  <a:cubicBezTo>
                    <a:pt x="17284" y="-351"/>
                    <a:pt x="17700" y="-346"/>
                    <a:pt x="18118" y="-324"/>
                  </a:cubicBezTo>
                  <a:moveTo>
                    <a:pt x="12020" y="13362"/>
                  </a:moveTo>
                  <a:lnTo>
                    <a:pt x="23257" y="13362"/>
                  </a:lnTo>
                  <a:cubicBezTo>
                    <a:pt x="24508" y="13362"/>
                    <a:pt x="25280" y="12616"/>
                    <a:pt x="24774" y="11365"/>
                  </a:cubicBezTo>
                  <a:cubicBezTo>
                    <a:pt x="23707" y="8545"/>
                    <a:pt x="20999" y="6686"/>
                    <a:pt x="17984" y="6705"/>
                  </a:cubicBezTo>
                  <a:cubicBezTo>
                    <a:pt x="14859" y="6737"/>
                    <a:pt x="12007" y="8502"/>
                    <a:pt x="10582" y="11285"/>
                  </a:cubicBezTo>
                  <a:cubicBezTo>
                    <a:pt x="10023" y="12483"/>
                    <a:pt x="10716" y="13362"/>
                    <a:pt x="12020" y="13362"/>
                  </a:cubicBezTo>
                </a:path>
              </a:pathLst>
            </a:custGeom>
            <a:solidFill>
              <a:srgbClr val="8FDB42"/>
            </a:solidFill>
            <a:ln w="2661" cap="flat">
              <a:noFill/>
              <a:prstDash val="solid"/>
              <a:miter/>
            </a:ln>
          </p:spPr>
          <p:txBody>
            <a:bodyPr rtlCol="0" anchor="ctr"/>
            <a:lstStyle/>
            <a:p>
              <a:endParaRPr lang="pl-PL"/>
            </a:p>
          </p:txBody>
        </p:sp>
        <p:sp>
          <p:nvSpPr>
            <p:cNvPr id="142" name="Freeform: Shape 141">
              <a:extLst>
                <a:ext uri="{FF2B5EF4-FFF2-40B4-BE49-F238E27FC236}">
                  <a16:creationId xmlns:a16="http://schemas.microsoft.com/office/drawing/2014/main" id="{66175ED4-0874-4C0D-9C7C-6595139BD439}"/>
                </a:ext>
              </a:extLst>
            </p:cNvPr>
            <p:cNvSpPr/>
            <p:nvPr/>
          </p:nvSpPr>
          <p:spPr>
            <a:xfrm>
              <a:off x="11575064" y="6784526"/>
              <a:ext cx="208318" cy="27505"/>
            </a:xfrm>
            <a:custGeom>
              <a:avLst/>
              <a:gdLst>
                <a:gd name="connsiteX0" fmla="*/ 2220 w 369143"/>
                <a:gd name="connsiteY0" fmla="*/ 48333 h 48740"/>
                <a:gd name="connsiteX1" fmla="*/ 4004 w 369143"/>
                <a:gd name="connsiteY1" fmla="*/ 48333 h 48740"/>
                <a:gd name="connsiteX2" fmla="*/ 5226 w 369143"/>
                <a:gd name="connsiteY2" fmla="*/ 47390 h 48740"/>
                <a:gd name="connsiteX3" fmla="*/ 5229 w 369143"/>
                <a:gd name="connsiteY3" fmla="*/ 47135 h 48740"/>
                <a:gd name="connsiteX4" fmla="*/ 5229 w 369143"/>
                <a:gd name="connsiteY4" fmla="*/ 37043 h 48740"/>
                <a:gd name="connsiteX5" fmla="*/ 7172 w 369143"/>
                <a:gd name="connsiteY5" fmla="*/ 36165 h 48740"/>
                <a:gd name="connsiteX6" fmla="*/ 14202 w 369143"/>
                <a:gd name="connsiteY6" fmla="*/ 38109 h 48740"/>
                <a:gd name="connsiteX7" fmla="*/ 26961 w 369143"/>
                <a:gd name="connsiteY7" fmla="*/ 25096 h 48740"/>
                <a:gd name="connsiteX8" fmla="*/ 26955 w 369143"/>
                <a:gd name="connsiteY8" fmla="*/ 24795 h 48740"/>
                <a:gd name="connsiteX9" fmla="*/ 14444 w 369143"/>
                <a:gd name="connsiteY9" fmla="*/ 11751 h 48740"/>
                <a:gd name="connsiteX10" fmla="*/ 14281 w 369143"/>
                <a:gd name="connsiteY10" fmla="*/ 11749 h 48740"/>
                <a:gd name="connsiteX11" fmla="*/ 6533 w 369143"/>
                <a:gd name="connsiteY11" fmla="*/ 14198 h 48740"/>
                <a:gd name="connsiteX12" fmla="*/ 4403 w 369143"/>
                <a:gd name="connsiteY12" fmla="*/ 13453 h 48740"/>
                <a:gd name="connsiteX13" fmla="*/ 4403 w 369143"/>
                <a:gd name="connsiteY13" fmla="*/ 13453 h 48740"/>
                <a:gd name="connsiteX14" fmla="*/ 3098 w 369143"/>
                <a:gd name="connsiteY14" fmla="*/ 12334 h 48740"/>
                <a:gd name="connsiteX15" fmla="*/ 2220 w 369143"/>
                <a:gd name="connsiteY15" fmla="*/ 12334 h 48740"/>
                <a:gd name="connsiteX16" fmla="*/ 998 w 369143"/>
                <a:gd name="connsiteY16" fmla="*/ 13277 h 48740"/>
                <a:gd name="connsiteX17" fmla="*/ 995 w 369143"/>
                <a:gd name="connsiteY17" fmla="*/ 13533 h 48740"/>
                <a:gd name="connsiteX18" fmla="*/ 995 w 369143"/>
                <a:gd name="connsiteY18" fmla="*/ 47135 h 48740"/>
                <a:gd name="connsiteX19" fmla="*/ 1964 w 369143"/>
                <a:gd name="connsiteY19" fmla="*/ 48336 h 48740"/>
                <a:gd name="connsiteX20" fmla="*/ 2220 w 369143"/>
                <a:gd name="connsiteY20" fmla="*/ 48333 h 48740"/>
                <a:gd name="connsiteX21" fmla="*/ 5575 w 369143"/>
                <a:gd name="connsiteY21" fmla="*/ 27991 h 48740"/>
                <a:gd name="connsiteX22" fmla="*/ 5575 w 369143"/>
                <a:gd name="connsiteY22" fmla="*/ 21920 h 48740"/>
                <a:gd name="connsiteX23" fmla="*/ 6107 w 369143"/>
                <a:gd name="connsiteY23" fmla="*/ 19816 h 48740"/>
                <a:gd name="connsiteX24" fmla="*/ 13749 w 369143"/>
                <a:gd name="connsiteY24" fmla="*/ 15769 h 48740"/>
                <a:gd name="connsiteX25" fmla="*/ 22269 w 369143"/>
                <a:gd name="connsiteY25" fmla="*/ 24875 h 48740"/>
                <a:gd name="connsiteX26" fmla="*/ 13749 w 369143"/>
                <a:gd name="connsiteY26" fmla="*/ 34195 h 48740"/>
                <a:gd name="connsiteX27" fmla="*/ 6107 w 369143"/>
                <a:gd name="connsiteY27" fmla="*/ 30094 h 48740"/>
                <a:gd name="connsiteX28" fmla="*/ 5575 w 369143"/>
                <a:gd name="connsiteY28" fmla="*/ 27991 h 48740"/>
                <a:gd name="connsiteX29" fmla="*/ 36967 w 369143"/>
                <a:gd name="connsiteY29" fmla="*/ -340 h 48740"/>
                <a:gd name="connsiteX30" fmla="*/ 34837 w 369143"/>
                <a:gd name="connsiteY30" fmla="*/ -340 h 48740"/>
                <a:gd name="connsiteX31" fmla="*/ 33612 w 369143"/>
                <a:gd name="connsiteY31" fmla="*/ 662 h 48740"/>
                <a:gd name="connsiteX32" fmla="*/ 33612 w 369143"/>
                <a:gd name="connsiteY32" fmla="*/ 885 h 48740"/>
                <a:gd name="connsiteX33" fmla="*/ 33612 w 369143"/>
                <a:gd name="connsiteY33" fmla="*/ 36431 h 48740"/>
                <a:gd name="connsiteX34" fmla="*/ 34581 w 369143"/>
                <a:gd name="connsiteY34" fmla="*/ 37632 h 48740"/>
                <a:gd name="connsiteX35" fmla="*/ 34837 w 369143"/>
                <a:gd name="connsiteY35" fmla="*/ 37629 h 48740"/>
                <a:gd name="connsiteX36" fmla="*/ 36967 w 369143"/>
                <a:gd name="connsiteY36" fmla="*/ 37629 h 48740"/>
                <a:gd name="connsiteX37" fmla="*/ 38189 w 369143"/>
                <a:gd name="connsiteY37" fmla="*/ 36687 h 48740"/>
                <a:gd name="connsiteX38" fmla="*/ 38192 w 369143"/>
                <a:gd name="connsiteY38" fmla="*/ 36431 h 48740"/>
                <a:gd name="connsiteX39" fmla="*/ 38192 w 369143"/>
                <a:gd name="connsiteY39" fmla="*/ 885 h 48740"/>
                <a:gd name="connsiteX40" fmla="*/ 37191 w 369143"/>
                <a:gd name="connsiteY40" fmla="*/ -340 h 48740"/>
                <a:gd name="connsiteX41" fmla="*/ 36967 w 369143"/>
                <a:gd name="connsiteY41" fmla="*/ -340 h 48740"/>
                <a:gd name="connsiteX42" fmla="*/ 44768 w 369143"/>
                <a:gd name="connsiteY42" fmla="*/ 30680 h 48740"/>
                <a:gd name="connsiteX43" fmla="*/ 52485 w 369143"/>
                <a:gd name="connsiteY43" fmla="*/ 38141 h 48740"/>
                <a:gd name="connsiteX44" fmla="*/ 53049 w 369143"/>
                <a:gd name="connsiteY44" fmla="*/ 38109 h 48740"/>
                <a:gd name="connsiteX45" fmla="*/ 61756 w 369143"/>
                <a:gd name="connsiteY45" fmla="*/ 35446 h 48740"/>
                <a:gd name="connsiteX46" fmla="*/ 63992 w 369143"/>
                <a:gd name="connsiteY46" fmla="*/ 36218 h 48740"/>
                <a:gd name="connsiteX47" fmla="*/ 64152 w 369143"/>
                <a:gd name="connsiteY47" fmla="*/ 36724 h 48740"/>
                <a:gd name="connsiteX48" fmla="*/ 65510 w 369143"/>
                <a:gd name="connsiteY48" fmla="*/ 37736 h 48740"/>
                <a:gd name="connsiteX49" fmla="*/ 66096 w 369143"/>
                <a:gd name="connsiteY49" fmla="*/ 37736 h 48740"/>
                <a:gd name="connsiteX50" fmla="*/ 67294 w 369143"/>
                <a:gd name="connsiteY50" fmla="*/ 36761 h 48740"/>
                <a:gd name="connsiteX51" fmla="*/ 67294 w 369143"/>
                <a:gd name="connsiteY51" fmla="*/ 36538 h 48740"/>
                <a:gd name="connsiteX52" fmla="*/ 67294 w 369143"/>
                <a:gd name="connsiteY52" fmla="*/ 22905 h 48740"/>
                <a:gd name="connsiteX53" fmla="*/ 56644 w 369143"/>
                <a:gd name="connsiteY53" fmla="*/ 11935 h 48740"/>
                <a:gd name="connsiteX54" fmla="*/ 45993 w 369143"/>
                <a:gd name="connsiteY54" fmla="*/ 19497 h 48740"/>
                <a:gd name="connsiteX55" fmla="*/ 46712 w 369143"/>
                <a:gd name="connsiteY55" fmla="*/ 20778 h 48740"/>
                <a:gd name="connsiteX56" fmla="*/ 47165 w 369143"/>
                <a:gd name="connsiteY56" fmla="*/ 20802 h 48740"/>
                <a:gd name="connsiteX57" fmla="*/ 49055 w 369143"/>
                <a:gd name="connsiteY57" fmla="*/ 20802 h 48740"/>
                <a:gd name="connsiteX58" fmla="*/ 50386 w 369143"/>
                <a:gd name="connsiteY58" fmla="*/ 19736 h 48740"/>
                <a:gd name="connsiteX59" fmla="*/ 56510 w 369143"/>
                <a:gd name="connsiteY59" fmla="*/ 15929 h 48740"/>
                <a:gd name="connsiteX60" fmla="*/ 62938 w 369143"/>
                <a:gd name="connsiteY60" fmla="*/ 20791 h 48740"/>
                <a:gd name="connsiteX61" fmla="*/ 62981 w 369143"/>
                <a:gd name="connsiteY61" fmla="*/ 21920 h 48740"/>
                <a:gd name="connsiteX62" fmla="*/ 61277 w 369143"/>
                <a:gd name="connsiteY62" fmla="*/ 23491 h 48740"/>
                <a:gd name="connsiteX63" fmla="*/ 55632 w 369143"/>
                <a:gd name="connsiteY63" fmla="*/ 23491 h 48740"/>
                <a:gd name="connsiteX64" fmla="*/ 44981 w 369143"/>
                <a:gd name="connsiteY64" fmla="*/ 30840 h 48740"/>
                <a:gd name="connsiteX65" fmla="*/ 49561 w 369143"/>
                <a:gd name="connsiteY65" fmla="*/ 30840 h 48740"/>
                <a:gd name="connsiteX66" fmla="*/ 55792 w 369143"/>
                <a:gd name="connsiteY66" fmla="*/ 27325 h 48740"/>
                <a:gd name="connsiteX67" fmla="*/ 61330 w 369143"/>
                <a:gd name="connsiteY67" fmla="*/ 27325 h 48740"/>
                <a:gd name="connsiteX68" fmla="*/ 63034 w 369143"/>
                <a:gd name="connsiteY68" fmla="*/ 28691 h 48740"/>
                <a:gd name="connsiteX69" fmla="*/ 63034 w 369143"/>
                <a:gd name="connsiteY69" fmla="*/ 29029 h 48740"/>
                <a:gd name="connsiteX70" fmla="*/ 63034 w 369143"/>
                <a:gd name="connsiteY70" fmla="*/ 29535 h 48740"/>
                <a:gd name="connsiteX71" fmla="*/ 62022 w 369143"/>
                <a:gd name="connsiteY71" fmla="*/ 31585 h 48740"/>
                <a:gd name="connsiteX72" fmla="*/ 54274 w 369143"/>
                <a:gd name="connsiteY72" fmla="*/ 34248 h 48740"/>
                <a:gd name="connsiteX73" fmla="*/ 49561 w 369143"/>
                <a:gd name="connsiteY73" fmla="*/ 30733 h 48740"/>
                <a:gd name="connsiteX74" fmla="*/ 76826 w 369143"/>
                <a:gd name="connsiteY74" fmla="*/ 37789 h 48740"/>
                <a:gd name="connsiteX75" fmla="*/ 78956 w 369143"/>
                <a:gd name="connsiteY75" fmla="*/ 37789 h 48740"/>
                <a:gd name="connsiteX76" fmla="*/ 80179 w 369143"/>
                <a:gd name="connsiteY76" fmla="*/ 36846 h 48740"/>
                <a:gd name="connsiteX77" fmla="*/ 80181 w 369143"/>
                <a:gd name="connsiteY77" fmla="*/ 36591 h 48740"/>
                <a:gd name="connsiteX78" fmla="*/ 80181 w 369143"/>
                <a:gd name="connsiteY78" fmla="*/ 20988 h 48740"/>
                <a:gd name="connsiteX79" fmla="*/ 81299 w 369143"/>
                <a:gd name="connsiteY79" fmla="*/ 18964 h 48740"/>
                <a:gd name="connsiteX80" fmla="*/ 89580 w 369143"/>
                <a:gd name="connsiteY80" fmla="*/ 16035 h 48740"/>
                <a:gd name="connsiteX81" fmla="*/ 95140 w 369143"/>
                <a:gd name="connsiteY81" fmla="*/ 20658 h 48740"/>
                <a:gd name="connsiteX82" fmla="*/ 95118 w 369143"/>
                <a:gd name="connsiteY82" fmla="*/ 21787 h 48740"/>
                <a:gd name="connsiteX83" fmla="*/ 95118 w 369143"/>
                <a:gd name="connsiteY83" fmla="*/ 36591 h 48740"/>
                <a:gd name="connsiteX84" fmla="*/ 96088 w 369143"/>
                <a:gd name="connsiteY84" fmla="*/ 37792 h 48740"/>
                <a:gd name="connsiteX85" fmla="*/ 96343 w 369143"/>
                <a:gd name="connsiteY85" fmla="*/ 37789 h 48740"/>
                <a:gd name="connsiteX86" fmla="*/ 98473 w 369143"/>
                <a:gd name="connsiteY86" fmla="*/ 37789 h 48740"/>
                <a:gd name="connsiteX87" fmla="*/ 99696 w 369143"/>
                <a:gd name="connsiteY87" fmla="*/ 36846 h 48740"/>
                <a:gd name="connsiteX88" fmla="*/ 99698 w 369143"/>
                <a:gd name="connsiteY88" fmla="*/ 36591 h 48740"/>
                <a:gd name="connsiteX89" fmla="*/ 99698 w 369143"/>
                <a:gd name="connsiteY89" fmla="*/ 21574 h 48740"/>
                <a:gd name="connsiteX90" fmla="*/ 90885 w 369143"/>
                <a:gd name="connsiteY90" fmla="*/ 11988 h 48740"/>
                <a:gd name="connsiteX91" fmla="*/ 81326 w 369143"/>
                <a:gd name="connsiteY91" fmla="*/ 14811 h 48740"/>
                <a:gd name="connsiteX92" fmla="*/ 79143 w 369143"/>
                <a:gd name="connsiteY92" fmla="*/ 13932 h 48740"/>
                <a:gd name="connsiteX93" fmla="*/ 79143 w 369143"/>
                <a:gd name="connsiteY93" fmla="*/ 13559 h 48740"/>
                <a:gd name="connsiteX94" fmla="*/ 77758 w 369143"/>
                <a:gd name="connsiteY94" fmla="*/ 12494 h 48740"/>
                <a:gd name="connsiteX95" fmla="*/ 76906 w 369143"/>
                <a:gd name="connsiteY95" fmla="*/ 12494 h 48740"/>
                <a:gd name="connsiteX96" fmla="*/ 75684 w 369143"/>
                <a:gd name="connsiteY96" fmla="*/ 13437 h 48740"/>
                <a:gd name="connsiteX97" fmla="*/ 75681 w 369143"/>
                <a:gd name="connsiteY97" fmla="*/ 13692 h 48740"/>
                <a:gd name="connsiteX98" fmla="*/ 75681 w 369143"/>
                <a:gd name="connsiteY98" fmla="*/ 36591 h 48740"/>
                <a:gd name="connsiteX99" fmla="*/ 76651 w 369143"/>
                <a:gd name="connsiteY99" fmla="*/ 37792 h 48740"/>
                <a:gd name="connsiteX100" fmla="*/ 76906 w 369143"/>
                <a:gd name="connsiteY100" fmla="*/ 37789 h 48740"/>
                <a:gd name="connsiteX101" fmla="*/ 106195 w 369143"/>
                <a:gd name="connsiteY101" fmla="*/ 24982 h 48740"/>
                <a:gd name="connsiteX102" fmla="*/ 118323 w 369143"/>
                <a:gd name="connsiteY102" fmla="*/ 38282 h 48740"/>
                <a:gd name="connsiteX103" fmla="*/ 119055 w 369143"/>
                <a:gd name="connsiteY103" fmla="*/ 38295 h 48740"/>
                <a:gd name="connsiteX104" fmla="*/ 129945 w 369143"/>
                <a:gd name="connsiteY104" fmla="*/ 31212 h 48740"/>
                <a:gd name="connsiteX105" fmla="*/ 128880 w 369143"/>
                <a:gd name="connsiteY105" fmla="*/ 29828 h 48740"/>
                <a:gd name="connsiteX106" fmla="*/ 127043 w 369143"/>
                <a:gd name="connsiteY106" fmla="*/ 29828 h 48740"/>
                <a:gd name="connsiteX107" fmla="*/ 125632 w 369143"/>
                <a:gd name="connsiteY107" fmla="*/ 30813 h 48740"/>
                <a:gd name="connsiteX108" fmla="*/ 119055 w 369143"/>
                <a:gd name="connsiteY108" fmla="*/ 34381 h 48740"/>
                <a:gd name="connsiteX109" fmla="*/ 111068 w 369143"/>
                <a:gd name="connsiteY109" fmla="*/ 28177 h 48740"/>
                <a:gd name="connsiteX110" fmla="*/ 112638 w 369143"/>
                <a:gd name="connsiteY110" fmla="*/ 26340 h 48740"/>
                <a:gd name="connsiteX111" fmla="*/ 129173 w 369143"/>
                <a:gd name="connsiteY111" fmla="*/ 26340 h 48740"/>
                <a:gd name="connsiteX112" fmla="*/ 130821 w 369143"/>
                <a:gd name="connsiteY112" fmla="*/ 24905 h 48740"/>
                <a:gd name="connsiteX113" fmla="*/ 130824 w 369143"/>
                <a:gd name="connsiteY113" fmla="*/ 24769 h 48740"/>
                <a:gd name="connsiteX114" fmla="*/ 119372 w 369143"/>
                <a:gd name="connsiteY114" fmla="*/ 11975 h 48740"/>
                <a:gd name="connsiteX115" fmla="*/ 119055 w 369143"/>
                <a:gd name="connsiteY115" fmla="*/ 11962 h 48740"/>
                <a:gd name="connsiteX116" fmla="*/ 106245 w 369143"/>
                <a:gd name="connsiteY116" fmla="*/ 24444 h 48740"/>
                <a:gd name="connsiteX117" fmla="*/ 106248 w 369143"/>
                <a:gd name="connsiteY117" fmla="*/ 24955 h 48740"/>
                <a:gd name="connsiteX118" fmla="*/ 111707 w 369143"/>
                <a:gd name="connsiteY118" fmla="*/ 20535 h 48740"/>
                <a:gd name="connsiteX119" fmla="*/ 119002 w 369143"/>
                <a:gd name="connsiteY119" fmla="*/ 15849 h 48740"/>
                <a:gd name="connsiteX120" fmla="*/ 125792 w 369143"/>
                <a:gd name="connsiteY120" fmla="*/ 20589 h 48740"/>
                <a:gd name="connsiteX121" fmla="*/ 124327 w 369143"/>
                <a:gd name="connsiteY121" fmla="*/ 22532 h 48740"/>
                <a:gd name="connsiteX122" fmla="*/ 113065 w 369143"/>
                <a:gd name="connsiteY122" fmla="*/ 22532 h 48740"/>
                <a:gd name="connsiteX123" fmla="*/ 111707 w 369143"/>
                <a:gd name="connsiteY123" fmla="*/ 20589 h 48740"/>
                <a:gd name="connsiteX124" fmla="*/ 135670 w 369143"/>
                <a:gd name="connsiteY124" fmla="*/ 16408 h 48740"/>
                <a:gd name="connsiteX125" fmla="*/ 137720 w 369143"/>
                <a:gd name="connsiteY125" fmla="*/ 16408 h 48740"/>
                <a:gd name="connsiteX126" fmla="*/ 138200 w 369143"/>
                <a:gd name="connsiteY126" fmla="*/ 16832 h 48740"/>
                <a:gd name="connsiteX127" fmla="*/ 138200 w 369143"/>
                <a:gd name="connsiteY127" fmla="*/ 16888 h 48740"/>
                <a:gd name="connsiteX128" fmla="*/ 138200 w 369143"/>
                <a:gd name="connsiteY128" fmla="*/ 30414 h 48740"/>
                <a:gd name="connsiteX129" fmla="*/ 145495 w 369143"/>
                <a:gd name="connsiteY129" fmla="*/ 38401 h 48740"/>
                <a:gd name="connsiteX130" fmla="*/ 151592 w 369143"/>
                <a:gd name="connsiteY130" fmla="*/ 37443 h 48740"/>
                <a:gd name="connsiteX131" fmla="*/ 151939 w 369143"/>
                <a:gd name="connsiteY131" fmla="*/ 35819 h 48740"/>
                <a:gd name="connsiteX132" fmla="*/ 151779 w 369143"/>
                <a:gd name="connsiteY132" fmla="*/ 34354 h 48740"/>
                <a:gd name="connsiteX133" fmla="*/ 150314 w 369143"/>
                <a:gd name="connsiteY133" fmla="*/ 33476 h 48740"/>
                <a:gd name="connsiteX134" fmla="*/ 145735 w 369143"/>
                <a:gd name="connsiteY134" fmla="*/ 34221 h 48740"/>
                <a:gd name="connsiteX135" fmla="*/ 142247 w 369143"/>
                <a:gd name="connsiteY135" fmla="*/ 30281 h 48740"/>
                <a:gd name="connsiteX136" fmla="*/ 142247 w 369143"/>
                <a:gd name="connsiteY136" fmla="*/ 16834 h 48740"/>
                <a:gd name="connsiteX137" fmla="*/ 142670 w 369143"/>
                <a:gd name="connsiteY137" fmla="*/ 16355 h 48740"/>
                <a:gd name="connsiteX138" fmla="*/ 142726 w 369143"/>
                <a:gd name="connsiteY138" fmla="*/ 16355 h 48740"/>
                <a:gd name="connsiteX139" fmla="*/ 150714 w 369143"/>
                <a:gd name="connsiteY139" fmla="*/ 16355 h 48740"/>
                <a:gd name="connsiteX140" fmla="*/ 151939 w 369143"/>
                <a:gd name="connsiteY140" fmla="*/ 15354 h 48740"/>
                <a:gd name="connsiteX141" fmla="*/ 151939 w 369143"/>
                <a:gd name="connsiteY141" fmla="*/ 15130 h 48740"/>
                <a:gd name="connsiteX142" fmla="*/ 151939 w 369143"/>
                <a:gd name="connsiteY142" fmla="*/ 13666 h 48740"/>
                <a:gd name="connsiteX143" fmla="*/ 150969 w 369143"/>
                <a:gd name="connsiteY143" fmla="*/ 12465 h 48740"/>
                <a:gd name="connsiteX144" fmla="*/ 150714 w 369143"/>
                <a:gd name="connsiteY144" fmla="*/ 12468 h 48740"/>
                <a:gd name="connsiteX145" fmla="*/ 142726 w 369143"/>
                <a:gd name="connsiteY145" fmla="*/ 12468 h 48740"/>
                <a:gd name="connsiteX146" fmla="*/ 142247 w 369143"/>
                <a:gd name="connsiteY146" fmla="*/ 11988 h 48740"/>
                <a:gd name="connsiteX147" fmla="*/ 142247 w 369143"/>
                <a:gd name="connsiteY147" fmla="*/ 11962 h 48740"/>
                <a:gd name="connsiteX148" fmla="*/ 142247 w 369143"/>
                <a:gd name="connsiteY148" fmla="*/ 6636 h 48740"/>
                <a:gd name="connsiteX149" fmla="*/ 140889 w 369143"/>
                <a:gd name="connsiteY149" fmla="*/ 5571 h 48740"/>
                <a:gd name="connsiteX150" fmla="*/ 138839 w 369143"/>
                <a:gd name="connsiteY150" fmla="*/ 6104 h 48740"/>
                <a:gd name="connsiteX151" fmla="*/ 137827 w 369143"/>
                <a:gd name="connsiteY151" fmla="*/ 7462 h 48740"/>
                <a:gd name="connsiteX152" fmla="*/ 137827 w 369143"/>
                <a:gd name="connsiteY152" fmla="*/ 11855 h 48740"/>
                <a:gd name="connsiteX153" fmla="*/ 137377 w 369143"/>
                <a:gd name="connsiteY153" fmla="*/ 12361 h 48740"/>
                <a:gd name="connsiteX154" fmla="*/ 137321 w 369143"/>
                <a:gd name="connsiteY154" fmla="*/ 12361 h 48740"/>
                <a:gd name="connsiteX155" fmla="*/ 135138 w 369143"/>
                <a:gd name="connsiteY155" fmla="*/ 12361 h 48740"/>
                <a:gd name="connsiteX156" fmla="*/ 133915 w 369143"/>
                <a:gd name="connsiteY156" fmla="*/ 13304 h 48740"/>
                <a:gd name="connsiteX157" fmla="*/ 133913 w 369143"/>
                <a:gd name="connsiteY157" fmla="*/ 13559 h 48740"/>
                <a:gd name="connsiteX158" fmla="*/ 133913 w 369143"/>
                <a:gd name="connsiteY158" fmla="*/ 15024 h 48740"/>
                <a:gd name="connsiteX159" fmla="*/ 134914 w 369143"/>
                <a:gd name="connsiteY159" fmla="*/ 16248 h 48740"/>
                <a:gd name="connsiteX160" fmla="*/ 135138 w 369143"/>
                <a:gd name="connsiteY160" fmla="*/ 16248 h 48740"/>
                <a:gd name="connsiteX161" fmla="*/ 168820 w 369143"/>
                <a:gd name="connsiteY161" fmla="*/ 24023 h 48740"/>
                <a:gd name="connsiteX162" fmla="*/ 169821 w 369143"/>
                <a:gd name="connsiteY162" fmla="*/ 25248 h 48740"/>
                <a:gd name="connsiteX163" fmla="*/ 170044 w 369143"/>
                <a:gd name="connsiteY163" fmla="*/ 25248 h 48740"/>
                <a:gd name="connsiteX164" fmla="*/ 175609 w 369143"/>
                <a:gd name="connsiteY164" fmla="*/ 25248 h 48740"/>
                <a:gd name="connsiteX165" fmla="*/ 176674 w 369143"/>
                <a:gd name="connsiteY165" fmla="*/ 26087 h 48740"/>
                <a:gd name="connsiteX166" fmla="*/ 176674 w 369143"/>
                <a:gd name="connsiteY166" fmla="*/ 26313 h 48740"/>
                <a:gd name="connsiteX167" fmla="*/ 176674 w 369143"/>
                <a:gd name="connsiteY167" fmla="*/ 31772 h 48740"/>
                <a:gd name="connsiteX168" fmla="*/ 177556 w 369143"/>
                <a:gd name="connsiteY168" fmla="*/ 32994 h 48740"/>
                <a:gd name="connsiteX169" fmla="*/ 177872 w 369143"/>
                <a:gd name="connsiteY169" fmla="*/ 32996 h 48740"/>
                <a:gd name="connsiteX170" fmla="*/ 179230 w 369143"/>
                <a:gd name="connsiteY170" fmla="*/ 32996 h 48740"/>
                <a:gd name="connsiteX171" fmla="*/ 180455 w 369143"/>
                <a:gd name="connsiteY171" fmla="*/ 31995 h 48740"/>
                <a:gd name="connsiteX172" fmla="*/ 180455 w 369143"/>
                <a:gd name="connsiteY172" fmla="*/ 31772 h 48740"/>
                <a:gd name="connsiteX173" fmla="*/ 180455 w 369143"/>
                <a:gd name="connsiteY173" fmla="*/ 26313 h 48740"/>
                <a:gd name="connsiteX174" fmla="*/ 181353 w 369143"/>
                <a:gd name="connsiteY174" fmla="*/ 25248 h 48740"/>
                <a:gd name="connsiteX175" fmla="*/ 181520 w 369143"/>
                <a:gd name="connsiteY175" fmla="*/ 25248 h 48740"/>
                <a:gd name="connsiteX176" fmla="*/ 186979 w 369143"/>
                <a:gd name="connsiteY176" fmla="*/ 25248 h 48740"/>
                <a:gd name="connsiteX177" fmla="*/ 188203 w 369143"/>
                <a:gd name="connsiteY177" fmla="*/ 24247 h 48740"/>
                <a:gd name="connsiteX178" fmla="*/ 188203 w 369143"/>
                <a:gd name="connsiteY178" fmla="*/ 24023 h 48740"/>
                <a:gd name="connsiteX179" fmla="*/ 188203 w 369143"/>
                <a:gd name="connsiteY179" fmla="*/ 22665 h 48740"/>
                <a:gd name="connsiteX180" fmla="*/ 187234 w 369143"/>
                <a:gd name="connsiteY180" fmla="*/ 21465 h 48740"/>
                <a:gd name="connsiteX181" fmla="*/ 186979 w 369143"/>
                <a:gd name="connsiteY181" fmla="*/ 21467 h 48740"/>
                <a:gd name="connsiteX182" fmla="*/ 181520 w 369143"/>
                <a:gd name="connsiteY182" fmla="*/ 21467 h 48740"/>
                <a:gd name="connsiteX183" fmla="*/ 180453 w 369143"/>
                <a:gd name="connsiteY183" fmla="*/ 20573 h 48740"/>
                <a:gd name="connsiteX184" fmla="*/ 180455 w 369143"/>
                <a:gd name="connsiteY184" fmla="*/ 20376 h 48740"/>
                <a:gd name="connsiteX185" fmla="*/ 180455 w 369143"/>
                <a:gd name="connsiteY185" fmla="*/ 15050 h 48740"/>
                <a:gd name="connsiteX186" fmla="*/ 179515 w 369143"/>
                <a:gd name="connsiteY186" fmla="*/ 13825 h 48740"/>
                <a:gd name="connsiteX187" fmla="*/ 179230 w 369143"/>
                <a:gd name="connsiteY187" fmla="*/ 13825 h 48740"/>
                <a:gd name="connsiteX188" fmla="*/ 177846 w 369143"/>
                <a:gd name="connsiteY188" fmla="*/ 13825 h 48740"/>
                <a:gd name="connsiteX189" fmla="*/ 176621 w 369143"/>
                <a:gd name="connsiteY189" fmla="*/ 14702 h 48740"/>
                <a:gd name="connsiteX190" fmla="*/ 176621 w 369143"/>
                <a:gd name="connsiteY190" fmla="*/ 15050 h 48740"/>
                <a:gd name="connsiteX191" fmla="*/ 176621 w 369143"/>
                <a:gd name="connsiteY191" fmla="*/ 20376 h 48740"/>
                <a:gd name="connsiteX192" fmla="*/ 175814 w 369143"/>
                <a:gd name="connsiteY192" fmla="*/ 21465 h 48740"/>
                <a:gd name="connsiteX193" fmla="*/ 175556 w 369143"/>
                <a:gd name="connsiteY193" fmla="*/ 21467 h 48740"/>
                <a:gd name="connsiteX194" fmla="*/ 170044 w 369143"/>
                <a:gd name="connsiteY194" fmla="*/ 21467 h 48740"/>
                <a:gd name="connsiteX195" fmla="*/ 168822 w 369143"/>
                <a:gd name="connsiteY195" fmla="*/ 22410 h 48740"/>
                <a:gd name="connsiteX196" fmla="*/ 168820 w 369143"/>
                <a:gd name="connsiteY196" fmla="*/ 22665 h 48740"/>
                <a:gd name="connsiteX197" fmla="*/ 209185 w 369143"/>
                <a:gd name="connsiteY197" fmla="*/ 48360 h 48740"/>
                <a:gd name="connsiteX198" fmla="*/ 210995 w 369143"/>
                <a:gd name="connsiteY198" fmla="*/ 48360 h 48740"/>
                <a:gd name="connsiteX199" fmla="*/ 212194 w 369143"/>
                <a:gd name="connsiteY199" fmla="*/ 47385 h 48740"/>
                <a:gd name="connsiteX200" fmla="*/ 212194 w 369143"/>
                <a:gd name="connsiteY200" fmla="*/ 47161 h 48740"/>
                <a:gd name="connsiteX201" fmla="*/ 212194 w 369143"/>
                <a:gd name="connsiteY201" fmla="*/ 37070 h 48740"/>
                <a:gd name="connsiteX202" fmla="*/ 214137 w 369143"/>
                <a:gd name="connsiteY202" fmla="*/ 36192 h 48740"/>
                <a:gd name="connsiteX203" fmla="*/ 221167 w 369143"/>
                <a:gd name="connsiteY203" fmla="*/ 38135 h 48740"/>
                <a:gd name="connsiteX204" fmla="*/ 233926 w 369143"/>
                <a:gd name="connsiteY204" fmla="*/ 25123 h 48740"/>
                <a:gd name="connsiteX205" fmla="*/ 233921 w 369143"/>
                <a:gd name="connsiteY205" fmla="*/ 24822 h 48740"/>
                <a:gd name="connsiteX206" fmla="*/ 221409 w 369143"/>
                <a:gd name="connsiteY206" fmla="*/ 11778 h 48740"/>
                <a:gd name="connsiteX207" fmla="*/ 221247 w 369143"/>
                <a:gd name="connsiteY207" fmla="*/ 11775 h 48740"/>
                <a:gd name="connsiteX208" fmla="*/ 213525 w 369143"/>
                <a:gd name="connsiteY208" fmla="*/ 14225 h 48740"/>
                <a:gd name="connsiteX209" fmla="*/ 211368 w 369143"/>
                <a:gd name="connsiteY209" fmla="*/ 13479 h 48740"/>
                <a:gd name="connsiteX210" fmla="*/ 211368 w 369143"/>
                <a:gd name="connsiteY210" fmla="*/ 13479 h 48740"/>
                <a:gd name="connsiteX211" fmla="*/ 210064 w 369143"/>
                <a:gd name="connsiteY211" fmla="*/ 12361 h 48740"/>
                <a:gd name="connsiteX212" fmla="*/ 209185 w 369143"/>
                <a:gd name="connsiteY212" fmla="*/ 12361 h 48740"/>
                <a:gd name="connsiteX213" fmla="*/ 207963 w 369143"/>
                <a:gd name="connsiteY213" fmla="*/ 13304 h 48740"/>
                <a:gd name="connsiteX214" fmla="*/ 207960 w 369143"/>
                <a:gd name="connsiteY214" fmla="*/ 13559 h 48740"/>
                <a:gd name="connsiteX215" fmla="*/ 207960 w 369143"/>
                <a:gd name="connsiteY215" fmla="*/ 47161 h 48740"/>
                <a:gd name="connsiteX216" fmla="*/ 208929 w 369143"/>
                <a:gd name="connsiteY216" fmla="*/ 48362 h 48740"/>
                <a:gd name="connsiteX217" fmla="*/ 209185 w 369143"/>
                <a:gd name="connsiteY217" fmla="*/ 48360 h 48740"/>
                <a:gd name="connsiteX218" fmla="*/ 212540 w 369143"/>
                <a:gd name="connsiteY218" fmla="*/ 28017 h 48740"/>
                <a:gd name="connsiteX219" fmla="*/ 212540 w 369143"/>
                <a:gd name="connsiteY219" fmla="*/ 21947 h 48740"/>
                <a:gd name="connsiteX220" fmla="*/ 213072 w 369143"/>
                <a:gd name="connsiteY220" fmla="*/ 19843 h 48740"/>
                <a:gd name="connsiteX221" fmla="*/ 220714 w 369143"/>
                <a:gd name="connsiteY221" fmla="*/ 15796 h 48740"/>
                <a:gd name="connsiteX222" fmla="*/ 229234 w 369143"/>
                <a:gd name="connsiteY222" fmla="*/ 24902 h 48740"/>
                <a:gd name="connsiteX223" fmla="*/ 220714 w 369143"/>
                <a:gd name="connsiteY223" fmla="*/ 34221 h 48740"/>
                <a:gd name="connsiteX224" fmla="*/ 213072 w 369143"/>
                <a:gd name="connsiteY224" fmla="*/ 30121 h 48740"/>
                <a:gd name="connsiteX225" fmla="*/ 212540 w 369143"/>
                <a:gd name="connsiteY225" fmla="*/ 28017 h 48740"/>
                <a:gd name="connsiteX226" fmla="*/ 238740 w 369143"/>
                <a:gd name="connsiteY226" fmla="*/ 24849 h 48740"/>
                <a:gd name="connsiteX227" fmla="*/ 250868 w 369143"/>
                <a:gd name="connsiteY227" fmla="*/ 38148 h 48740"/>
                <a:gd name="connsiteX228" fmla="*/ 251600 w 369143"/>
                <a:gd name="connsiteY228" fmla="*/ 38162 h 48740"/>
                <a:gd name="connsiteX229" fmla="*/ 262491 w 369143"/>
                <a:gd name="connsiteY229" fmla="*/ 31079 h 48740"/>
                <a:gd name="connsiteX230" fmla="*/ 261425 w 369143"/>
                <a:gd name="connsiteY230" fmla="*/ 29695 h 48740"/>
                <a:gd name="connsiteX231" fmla="*/ 259588 w 369143"/>
                <a:gd name="connsiteY231" fmla="*/ 29695 h 48740"/>
                <a:gd name="connsiteX232" fmla="*/ 258177 w 369143"/>
                <a:gd name="connsiteY232" fmla="*/ 30680 h 48740"/>
                <a:gd name="connsiteX233" fmla="*/ 251600 w 369143"/>
                <a:gd name="connsiteY233" fmla="*/ 34248 h 48740"/>
                <a:gd name="connsiteX234" fmla="*/ 243612 w 369143"/>
                <a:gd name="connsiteY234" fmla="*/ 28044 h 48740"/>
                <a:gd name="connsiteX235" fmla="*/ 245184 w 369143"/>
                <a:gd name="connsiteY235" fmla="*/ 26207 h 48740"/>
                <a:gd name="connsiteX236" fmla="*/ 261718 w 369143"/>
                <a:gd name="connsiteY236" fmla="*/ 26207 h 48740"/>
                <a:gd name="connsiteX237" fmla="*/ 263366 w 369143"/>
                <a:gd name="connsiteY237" fmla="*/ 24774 h 48740"/>
                <a:gd name="connsiteX238" fmla="*/ 263369 w 369143"/>
                <a:gd name="connsiteY238" fmla="*/ 24636 h 48740"/>
                <a:gd name="connsiteX239" fmla="*/ 251917 w 369143"/>
                <a:gd name="connsiteY239" fmla="*/ 11842 h 48740"/>
                <a:gd name="connsiteX240" fmla="*/ 251600 w 369143"/>
                <a:gd name="connsiteY240" fmla="*/ 11829 h 48740"/>
                <a:gd name="connsiteX241" fmla="*/ 238791 w 369143"/>
                <a:gd name="connsiteY241" fmla="*/ 24311 h 48740"/>
                <a:gd name="connsiteX242" fmla="*/ 238793 w 369143"/>
                <a:gd name="connsiteY242" fmla="*/ 24822 h 48740"/>
                <a:gd name="connsiteX243" fmla="*/ 244118 w 369143"/>
                <a:gd name="connsiteY243" fmla="*/ 20402 h 48740"/>
                <a:gd name="connsiteX244" fmla="*/ 251414 w 369143"/>
                <a:gd name="connsiteY244" fmla="*/ 15716 h 48740"/>
                <a:gd name="connsiteX245" fmla="*/ 258204 w 369143"/>
                <a:gd name="connsiteY245" fmla="*/ 20455 h 48740"/>
                <a:gd name="connsiteX246" fmla="*/ 256739 w 369143"/>
                <a:gd name="connsiteY246" fmla="*/ 22399 h 48740"/>
                <a:gd name="connsiteX247" fmla="*/ 245476 w 369143"/>
                <a:gd name="connsiteY247" fmla="*/ 22399 h 48740"/>
                <a:gd name="connsiteX248" fmla="*/ 244118 w 369143"/>
                <a:gd name="connsiteY248" fmla="*/ 20455 h 48740"/>
                <a:gd name="connsiteX249" fmla="*/ 268082 w 369143"/>
                <a:gd name="connsiteY249" fmla="*/ 24875 h 48740"/>
                <a:gd name="connsiteX250" fmla="*/ 280801 w 369143"/>
                <a:gd name="connsiteY250" fmla="*/ 38188 h 48740"/>
                <a:gd name="connsiteX251" fmla="*/ 281395 w 369143"/>
                <a:gd name="connsiteY251" fmla="*/ 38188 h 48740"/>
                <a:gd name="connsiteX252" fmla="*/ 294708 w 369143"/>
                <a:gd name="connsiteY252" fmla="*/ 25469 h 48740"/>
                <a:gd name="connsiteX253" fmla="*/ 294708 w 369143"/>
                <a:gd name="connsiteY253" fmla="*/ 24875 h 48740"/>
                <a:gd name="connsiteX254" fmla="*/ 281989 w 369143"/>
                <a:gd name="connsiteY254" fmla="*/ 11874 h 48740"/>
                <a:gd name="connsiteX255" fmla="*/ 281395 w 369143"/>
                <a:gd name="connsiteY255" fmla="*/ 11882 h 48740"/>
                <a:gd name="connsiteX256" fmla="*/ 268087 w 369143"/>
                <a:gd name="connsiteY256" fmla="*/ 24335 h 48740"/>
                <a:gd name="connsiteX257" fmla="*/ 268082 w 369143"/>
                <a:gd name="connsiteY257" fmla="*/ 24875 h 48740"/>
                <a:gd name="connsiteX258" fmla="*/ 272662 w 369143"/>
                <a:gd name="connsiteY258" fmla="*/ 25035 h 48740"/>
                <a:gd name="connsiteX259" fmla="*/ 281012 w 369143"/>
                <a:gd name="connsiteY259" fmla="*/ 15833 h 48740"/>
                <a:gd name="connsiteX260" fmla="*/ 281528 w 369143"/>
                <a:gd name="connsiteY260" fmla="*/ 15822 h 48740"/>
                <a:gd name="connsiteX261" fmla="*/ 290349 w 369143"/>
                <a:gd name="connsiteY261" fmla="*/ 24628 h 48740"/>
                <a:gd name="connsiteX262" fmla="*/ 290341 w 369143"/>
                <a:gd name="connsiteY262" fmla="*/ 25035 h 48740"/>
                <a:gd name="connsiteX263" fmla="*/ 281882 w 369143"/>
                <a:gd name="connsiteY263" fmla="*/ 34240 h 48740"/>
                <a:gd name="connsiteX264" fmla="*/ 281528 w 369143"/>
                <a:gd name="connsiteY264" fmla="*/ 34248 h 48740"/>
                <a:gd name="connsiteX265" fmla="*/ 272654 w 369143"/>
                <a:gd name="connsiteY265" fmla="*/ 25442 h 48740"/>
                <a:gd name="connsiteX266" fmla="*/ 272662 w 369143"/>
                <a:gd name="connsiteY266" fmla="*/ 25035 h 48740"/>
                <a:gd name="connsiteX267" fmla="*/ 302749 w 369143"/>
                <a:gd name="connsiteY267" fmla="*/ 48386 h 48740"/>
                <a:gd name="connsiteX268" fmla="*/ 304533 w 369143"/>
                <a:gd name="connsiteY268" fmla="*/ 48386 h 48740"/>
                <a:gd name="connsiteX269" fmla="*/ 305755 w 369143"/>
                <a:gd name="connsiteY269" fmla="*/ 47444 h 48740"/>
                <a:gd name="connsiteX270" fmla="*/ 305758 w 369143"/>
                <a:gd name="connsiteY270" fmla="*/ 47188 h 48740"/>
                <a:gd name="connsiteX271" fmla="*/ 305758 w 369143"/>
                <a:gd name="connsiteY271" fmla="*/ 37097 h 48740"/>
                <a:gd name="connsiteX272" fmla="*/ 307702 w 369143"/>
                <a:gd name="connsiteY272" fmla="*/ 36218 h 48740"/>
                <a:gd name="connsiteX273" fmla="*/ 314731 w 369143"/>
                <a:gd name="connsiteY273" fmla="*/ 38162 h 48740"/>
                <a:gd name="connsiteX274" fmla="*/ 327490 w 369143"/>
                <a:gd name="connsiteY274" fmla="*/ 25096 h 48740"/>
                <a:gd name="connsiteX275" fmla="*/ 327485 w 369143"/>
                <a:gd name="connsiteY275" fmla="*/ 24849 h 48740"/>
                <a:gd name="connsiteX276" fmla="*/ 314973 w 369143"/>
                <a:gd name="connsiteY276" fmla="*/ 11805 h 48740"/>
                <a:gd name="connsiteX277" fmla="*/ 314811 w 369143"/>
                <a:gd name="connsiteY277" fmla="*/ 11802 h 48740"/>
                <a:gd name="connsiteX278" fmla="*/ 307063 w 369143"/>
                <a:gd name="connsiteY278" fmla="*/ 14252 h 48740"/>
                <a:gd name="connsiteX279" fmla="*/ 304933 w 369143"/>
                <a:gd name="connsiteY279" fmla="*/ 13506 h 48740"/>
                <a:gd name="connsiteX280" fmla="*/ 304933 w 369143"/>
                <a:gd name="connsiteY280" fmla="*/ 13506 h 48740"/>
                <a:gd name="connsiteX281" fmla="*/ 303628 w 369143"/>
                <a:gd name="connsiteY281" fmla="*/ 12388 h 48740"/>
                <a:gd name="connsiteX282" fmla="*/ 302749 w 369143"/>
                <a:gd name="connsiteY282" fmla="*/ 12388 h 48740"/>
                <a:gd name="connsiteX283" fmla="*/ 301527 w 369143"/>
                <a:gd name="connsiteY283" fmla="*/ 13330 h 48740"/>
                <a:gd name="connsiteX284" fmla="*/ 301524 w 369143"/>
                <a:gd name="connsiteY284" fmla="*/ 13586 h 48740"/>
                <a:gd name="connsiteX285" fmla="*/ 301524 w 369143"/>
                <a:gd name="connsiteY285" fmla="*/ 47188 h 48740"/>
                <a:gd name="connsiteX286" fmla="*/ 302494 w 369143"/>
                <a:gd name="connsiteY286" fmla="*/ 48389 h 48740"/>
                <a:gd name="connsiteX287" fmla="*/ 302749 w 369143"/>
                <a:gd name="connsiteY287" fmla="*/ 48386 h 48740"/>
                <a:gd name="connsiteX288" fmla="*/ 306104 w 369143"/>
                <a:gd name="connsiteY288" fmla="*/ 28044 h 48740"/>
                <a:gd name="connsiteX289" fmla="*/ 306104 w 369143"/>
                <a:gd name="connsiteY289" fmla="*/ 21973 h 48740"/>
                <a:gd name="connsiteX290" fmla="*/ 306637 w 369143"/>
                <a:gd name="connsiteY290" fmla="*/ 19870 h 48740"/>
                <a:gd name="connsiteX291" fmla="*/ 314278 w 369143"/>
                <a:gd name="connsiteY291" fmla="*/ 15822 h 48740"/>
                <a:gd name="connsiteX292" fmla="*/ 322799 w 369143"/>
                <a:gd name="connsiteY292" fmla="*/ 24929 h 48740"/>
                <a:gd name="connsiteX293" fmla="*/ 314278 w 369143"/>
                <a:gd name="connsiteY293" fmla="*/ 34248 h 48740"/>
                <a:gd name="connsiteX294" fmla="*/ 306637 w 369143"/>
                <a:gd name="connsiteY294" fmla="*/ 30147 h 48740"/>
                <a:gd name="connsiteX295" fmla="*/ 306104 w 369143"/>
                <a:gd name="connsiteY295" fmla="*/ 28044 h 48740"/>
                <a:gd name="connsiteX296" fmla="*/ 337496 w 369143"/>
                <a:gd name="connsiteY296" fmla="*/ -286 h 48740"/>
                <a:gd name="connsiteX297" fmla="*/ 335366 w 369143"/>
                <a:gd name="connsiteY297" fmla="*/ -286 h 48740"/>
                <a:gd name="connsiteX298" fmla="*/ 334141 w 369143"/>
                <a:gd name="connsiteY298" fmla="*/ 715 h 48740"/>
                <a:gd name="connsiteX299" fmla="*/ 334141 w 369143"/>
                <a:gd name="connsiteY299" fmla="*/ 938 h 48740"/>
                <a:gd name="connsiteX300" fmla="*/ 334141 w 369143"/>
                <a:gd name="connsiteY300" fmla="*/ 36484 h 48740"/>
                <a:gd name="connsiteX301" fmla="*/ 335111 w 369143"/>
                <a:gd name="connsiteY301" fmla="*/ 37685 h 48740"/>
                <a:gd name="connsiteX302" fmla="*/ 335366 w 369143"/>
                <a:gd name="connsiteY302" fmla="*/ 37683 h 48740"/>
                <a:gd name="connsiteX303" fmla="*/ 337496 w 369143"/>
                <a:gd name="connsiteY303" fmla="*/ 37683 h 48740"/>
                <a:gd name="connsiteX304" fmla="*/ 338718 w 369143"/>
                <a:gd name="connsiteY304" fmla="*/ 36740 h 48740"/>
                <a:gd name="connsiteX305" fmla="*/ 338721 w 369143"/>
                <a:gd name="connsiteY305" fmla="*/ 36484 h 48740"/>
                <a:gd name="connsiteX306" fmla="*/ 338721 w 369143"/>
                <a:gd name="connsiteY306" fmla="*/ 885 h 48740"/>
                <a:gd name="connsiteX307" fmla="*/ 337720 w 369143"/>
                <a:gd name="connsiteY307" fmla="*/ -340 h 48740"/>
                <a:gd name="connsiteX308" fmla="*/ 337496 w 369143"/>
                <a:gd name="connsiteY308" fmla="*/ -340 h 48740"/>
                <a:gd name="connsiteX309" fmla="*/ 345484 w 369143"/>
                <a:gd name="connsiteY309" fmla="*/ 24822 h 48740"/>
                <a:gd name="connsiteX310" fmla="*/ 357612 w 369143"/>
                <a:gd name="connsiteY310" fmla="*/ 38122 h 48740"/>
                <a:gd name="connsiteX311" fmla="*/ 358345 w 369143"/>
                <a:gd name="connsiteY311" fmla="*/ 38135 h 48740"/>
                <a:gd name="connsiteX312" fmla="*/ 369235 w 369143"/>
                <a:gd name="connsiteY312" fmla="*/ 31053 h 48740"/>
                <a:gd name="connsiteX313" fmla="*/ 368170 w 369143"/>
                <a:gd name="connsiteY313" fmla="*/ 29668 h 48740"/>
                <a:gd name="connsiteX314" fmla="*/ 366333 w 369143"/>
                <a:gd name="connsiteY314" fmla="*/ 29668 h 48740"/>
                <a:gd name="connsiteX315" fmla="*/ 364921 w 369143"/>
                <a:gd name="connsiteY315" fmla="*/ 30653 h 48740"/>
                <a:gd name="connsiteX316" fmla="*/ 358345 w 369143"/>
                <a:gd name="connsiteY316" fmla="*/ 34221 h 48740"/>
                <a:gd name="connsiteX317" fmla="*/ 350357 w 369143"/>
                <a:gd name="connsiteY317" fmla="*/ 28017 h 48740"/>
                <a:gd name="connsiteX318" fmla="*/ 351928 w 369143"/>
                <a:gd name="connsiteY318" fmla="*/ 26180 h 48740"/>
                <a:gd name="connsiteX319" fmla="*/ 368463 w 369143"/>
                <a:gd name="connsiteY319" fmla="*/ 26180 h 48740"/>
                <a:gd name="connsiteX320" fmla="*/ 370111 w 369143"/>
                <a:gd name="connsiteY320" fmla="*/ 24745 h 48740"/>
                <a:gd name="connsiteX321" fmla="*/ 370113 w 369143"/>
                <a:gd name="connsiteY321" fmla="*/ 24609 h 48740"/>
                <a:gd name="connsiteX322" fmla="*/ 358661 w 369143"/>
                <a:gd name="connsiteY322" fmla="*/ 11815 h 48740"/>
                <a:gd name="connsiteX323" fmla="*/ 358371 w 369143"/>
                <a:gd name="connsiteY323" fmla="*/ 11802 h 48740"/>
                <a:gd name="connsiteX324" fmla="*/ 345535 w 369143"/>
                <a:gd name="connsiteY324" fmla="*/ 24311 h 48740"/>
                <a:gd name="connsiteX325" fmla="*/ 345538 w 369143"/>
                <a:gd name="connsiteY325" fmla="*/ 24795 h 48740"/>
                <a:gd name="connsiteX326" fmla="*/ 350863 w 369143"/>
                <a:gd name="connsiteY326" fmla="*/ 20376 h 48740"/>
                <a:gd name="connsiteX327" fmla="*/ 358185 w 369143"/>
                <a:gd name="connsiteY327" fmla="*/ 15689 h 48740"/>
                <a:gd name="connsiteX328" fmla="*/ 364948 w 369143"/>
                <a:gd name="connsiteY328" fmla="*/ 20429 h 48740"/>
                <a:gd name="connsiteX329" fmla="*/ 363484 w 369143"/>
                <a:gd name="connsiteY329" fmla="*/ 22373 h 48740"/>
                <a:gd name="connsiteX330" fmla="*/ 352221 w 369143"/>
                <a:gd name="connsiteY330" fmla="*/ 22373 h 48740"/>
                <a:gd name="connsiteX331" fmla="*/ 350863 w 369143"/>
                <a:gd name="connsiteY331" fmla="*/ 20429 h 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Lst>
              <a:rect l="l" t="t" r="r" b="b"/>
              <a:pathLst>
                <a:path w="369143" h="48740">
                  <a:moveTo>
                    <a:pt x="2220" y="48333"/>
                  </a:moveTo>
                  <a:lnTo>
                    <a:pt x="4004" y="48333"/>
                  </a:lnTo>
                  <a:cubicBezTo>
                    <a:pt x="4603" y="48410"/>
                    <a:pt x="5149" y="47987"/>
                    <a:pt x="5226" y="47390"/>
                  </a:cubicBezTo>
                  <a:cubicBezTo>
                    <a:pt x="5237" y="47305"/>
                    <a:pt x="5237" y="47220"/>
                    <a:pt x="5229" y="47135"/>
                  </a:cubicBezTo>
                  <a:lnTo>
                    <a:pt x="5229" y="37043"/>
                  </a:lnTo>
                  <a:cubicBezTo>
                    <a:pt x="5229" y="35632"/>
                    <a:pt x="6001" y="35339"/>
                    <a:pt x="7172" y="36165"/>
                  </a:cubicBezTo>
                  <a:cubicBezTo>
                    <a:pt x="9265" y="37507"/>
                    <a:pt x="11717" y="38183"/>
                    <a:pt x="14202" y="38109"/>
                  </a:cubicBezTo>
                  <a:cubicBezTo>
                    <a:pt x="21319" y="38039"/>
                    <a:pt x="27033" y="32214"/>
                    <a:pt x="26961" y="25096"/>
                  </a:cubicBezTo>
                  <a:cubicBezTo>
                    <a:pt x="26961" y="24995"/>
                    <a:pt x="26958" y="24897"/>
                    <a:pt x="26955" y="24795"/>
                  </a:cubicBezTo>
                  <a:cubicBezTo>
                    <a:pt x="27102" y="17740"/>
                    <a:pt x="21502" y="11898"/>
                    <a:pt x="14444" y="11751"/>
                  </a:cubicBezTo>
                  <a:cubicBezTo>
                    <a:pt x="14391" y="11749"/>
                    <a:pt x="14335" y="11749"/>
                    <a:pt x="14281" y="11749"/>
                  </a:cubicBezTo>
                  <a:cubicBezTo>
                    <a:pt x="11496" y="11671"/>
                    <a:pt x="8767" y="12534"/>
                    <a:pt x="6533" y="14198"/>
                  </a:cubicBezTo>
                  <a:cubicBezTo>
                    <a:pt x="5468" y="15024"/>
                    <a:pt x="4643" y="14837"/>
                    <a:pt x="4403" y="13453"/>
                  </a:cubicBezTo>
                  <a:lnTo>
                    <a:pt x="4403" y="13453"/>
                  </a:lnTo>
                  <a:cubicBezTo>
                    <a:pt x="4347" y="12787"/>
                    <a:pt x="3767" y="12289"/>
                    <a:pt x="3098" y="12334"/>
                  </a:cubicBezTo>
                  <a:lnTo>
                    <a:pt x="2220" y="12334"/>
                  </a:lnTo>
                  <a:cubicBezTo>
                    <a:pt x="1621" y="12257"/>
                    <a:pt x="1075" y="12681"/>
                    <a:pt x="998" y="13277"/>
                  </a:cubicBezTo>
                  <a:cubicBezTo>
                    <a:pt x="987" y="13362"/>
                    <a:pt x="987" y="13447"/>
                    <a:pt x="995" y="13533"/>
                  </a:cubicBezTo>
                  <a:lnTo>
                    <a:pt x="995" y="47135"/>
                  </a:lnTo>
                  <a:cubicBezTo>
                    <a:pt x="931" y="47734"/>
                    <a:pt x="1365" y="48272"/>
                    <a:pt x="1964" y="48336"/>
                  </a:cubicBezTo>
                  <a:cubicBezTo>
                    <a:pt x="2049" y="48344"/>
                    <a:pt x="2134" y="48344"/>
                    <a:pt x="2220" y="48333"/>
                  </a:cubicBezTo>
                  <a:moveTo>
                    <a:pt x="5575" y="27991"/>
                  </a:moveTo>
                  <a:lnTo>
                    <a:pt x="5575" y="21920"/>
                  </a:lnTo>
                  <a:cubicBezTo>
                    <a:pt x="5535" y="21180"/>
                    <a:pt x="5721" y="20447"/>
                    <a:pt x="6107" y="19816"/>
                  </a:cubicBezTo>
                  <a:cubicBezTo>
                    <a:pt x="7777" y="17228"/>
                    <a:pt x="10671" y="15695"/>
                    <a:pt x="13749" y="15769"/>
                  </a:cubicBezTo>
                  <a:cubicBezTo>
                    <a:pt x="18606" y="15958"/>
                    <a:pt x="22405" y="20019"/>
                    <a:pt x="22269" y="24875"/>
                  </a:cubicBezTo>
                  <a:cubicBezTo>
                    <a:pt x="22480" y="29799"/>
                    <a:pt x="18672" y="33965"/>
                    <a:pt x="13749" y="34195"/>
                  </a:cubicBezTo>
                  <a:cubicBezTo>
                    <a:pt x="10655" y="34285"/>
                    <a:pt x="7745" y="32722"/>
                    <a:pt x="6107" y="30094"/>
                  </a:cubicBezTo>
                  <a:cubicBezTo>
                    <a:pt x="5721" y="29463"/>
                    <a:pt x="5535" y="28731"/>
                    <a:pt x="5575" y="27991"/>
                  </a:cubicBezTo>
                  <a:moveTo>
                    <a:pt x="36967" y="-340"/>
                  </a:moveTo>
                  <a:lnTo>
                    <a:pt x="34837" y="-340"/>
                  </a:lnTo>
                  <a:cubicBezTo>
                    <a:pt x="34222" y="-401"/>
                    <a:pt x="33673" y="46"/>
                    <a:pt x="33612" y="662"/>
                  </a:cubicBezTo>
                  <a:cubicBezTo>
                    <a:pt x="33604" y="736"/>
                    <a:pt x="33604" y="811"/>
                    <a:pt x="33612" y="885"/>
                  </a:cubicBezTo>
                  <a:lnTo>
                    <a:pt x="33612" y="36431"/>
                  </a:lnTo>
                  <a:cubicBezTo>
                    <a:pt x="33548" y="37030"/>
                    <a:pt x="33982" y="37568"/>
                    <a:pt x="34581" y="37632"/>
                  </a:cubicBezTo>
                  <a:cubicBezTo>
                    <a:pt x="34666" y="37640"/>
                    <a:pt x="34752" y="37640"/>
                    <a:pt x="34837" y="37629"/>
                  </a:cubicBezTo>
                  <a:lnTo>
                    <a:pt x="36967" y="37629"/>
                  </a:lnTo>
                  <a:cubicBezTo>
                    <a:pt x="37566" y="37707"/>
                    <a:pt x="38112" y="37283"/>
                    <a:pt x="38189" y="36687"/>
                  </a:cubicBezTo>
                  <a:cubicBezTo>
                    <a:pt x="38200" y="36602"/>
                    <a:pt x="38200" y="36516"/>
                    <a:pt x="38192" y="36431"/>
                  </a:cubicBezTo>
                  <a:lnTo>
                    <a:pt x="38192" y="885"/>
                  </a:lnTo>
                  <a:cubicBezTo>
                    <a:pt x="38253" y="270"/>
                    <a:pt x="37806" y="-278"/>
                    <a:pt x="37191" y="-340"/>
                  </a:cubicBezTo>
                  <a:cubicBezTo>
                    <a:pt x="37116" y="-348"/>
                    <a:pt x="37041" y="-348"/>
                    <a:pt x="36967" y="-340"/>
                  </a:cubicBezTo>
                  <a:moveTo>
                    <a:pt x="44768" y="30680"/>
                  </a:moveTo>
                  <a:cubicBezTo>
                    <a:pt x="44840" y="34871"/>
                    <a:pt x="48294" y="38210"/>
                    <a:pt x="52485" y="38141"/>
                  </a:cubicBezTo>
                  <a:cubicBezTo>
                    <a:pt x="52674" y="38135"/>
                    <a:pt x="52860" y="38125"/>
                    <a:pt x="53049" y="38109"/>
                  </a:cubicBezTo>
                  <a:cubicBezTo>
                    <a:pt x="56154" y="38127"/>
                    <a:pt x="59192" y="37198"/>
                    <a:pt x="61756" y="35446"/>
                  </a:cubicBezTo>
                  <a:cubicBezTo>
                    <a:pt x="62821" y="34780"/>
                    <a:pt x="63646" y="35020"/>
                    <a:pt x="63992" y="36218"/>
                  </a:cubicBezTo>
                  <a:lnTo>
                    <a:pt x="64152" y="36724"/>
                  </a:lnTo>
                  <a:cubicBezTo>
                    <a:pt x="64275" y="37363"/>
                    <a:pt x="64863" y="37802"/>
                    <a:pt x="65510" y="37736"/>
                  </a:cubicBezTo>
                  <a:lnTo>
                    <a:pt x="66096" y="37736"/>
                  </a:lnTo>
                  <a:cubicBezTo>
                    <a:pt x="66695" y="37797"/>
                    <a:pt x="67233" y="37363"/>
                    <a:pt x="67294" y="36761"/>
                  </a:cubicBezTo>
                  <a:cubicBezTo>
                    <a:pt x="67302" y="36687"/>
                    <a:pt x="67302" y="36612"/>
                    <a:pt x="67294" y="36538"/>
                  </a:cubicBezTo>
                  <a:lnTo>
                    <a:pt x="67294" y="22905"/>
                  </a:lnTo>
                  <a:cubicBezTo>
                    <a:pt x="67294" y="15982"/>
                    <a:pt x="63353" y="11935"/>
                    <a:pt x="56644" y="11935"/>
                  </a:cubicBezTo>
                  <a:cubicBezTo>
                    <a:pt x="50892" y="11935"/>
                    <a:pt x="46872" y="14864"/>
                    <a:pt x="45993" y="19497"/>
                  </a:cubicBezTo>
                  <a:cubicBezTo>
                    <a:pt x="45839" y="20048"/>
                    <a:pt x="46161" y="20623"/>
                    <a:pt x="46712" y="20778"/>
                  </a:cubicBezTo>
                  <a:cubicBezTo>
                    <a:pt x="46858" y="20818"/>
                    <a:pt x="47013" y="20825"/>
                    <a:pt x="47165" y="20802"/>
                  </a:cubicBezTo>
                  <a:lnTo>
                    <a:pt x="49055" y="20802"/>
                  </a:lnTo>
                  <a:cubicBezTo>
                    <a:pt x="49702" y="20825"/>
                    <a:pt x="50269" y="20373"/>
                    <a:pt x="50386" y="19736"/>
                  </a:cubicBezTo>
                  <a:cubicBezTo>
                    <a:pt x="51305" y="17207"/>
                    <a:pt x="53835" y="15633"/>
                    <a:pt x="56510" y="15929"/>
                  </a:cubicBezTo>
                  <a:cubicBezTo>
                    <a:pt x="59628" y="15498"/>
                    <a:pt x="62504" y="17673"/>
                    <a:pt x="62938" y="20791"/>
                  </a:cubicBezTo>
                  <a:cubicBezTo>
                    <a:pt x="62989" y="21164"/>
                    <a:pt x="63005" y="21542"/>
                    <a:pt x="62981" y="21920"/>
                  </a:cubicBezTo>
                  <a:cubicBezTo>
                    <a:pt x="62981" y="22958"/>
                    <a:pt x="62368" y="23491"/>
                    <a:pt x="61277" y="23491"/>
                  </a:cubicBezTo>
                  <a:lnTo>
                    <a:pt x="55632" y="23491"/>
                  </a:lnTo>
                  <a:cubicBezTo>
                    <a:pt x="48975" y="23491"/>
                    <a:pt x="44981" y="26606"/>
                    <a:pt x="44981" y="30840"/>
                  </a:cubicBezTo>
                  <a:moveTo>
                    <a:pt x="49561" y="30840"/>
                  </a:moveTo>
                  <a:cubicBezTo>
                    <a:pt x="49561" y="28417"/>
                    <a:pt x="51638" y="27325"/>
                    <a:pt x="55792" y="27325"/>
                  </a:cubicBezTo>
                  <a:lnTo>
                    <a:pt x="61330" y="27325"/>
                  </a:lnTo>
                  <a:cubicBezTo>
                    <a:pt x="62177" y="27232"/>
                    <a:pt x="62941" y="27844"/>
                    <a:pt x="63034" y="28691"/>
                  </a:cubicBezTo>
                  <a:cubicBezTo>
                    <a:pt x="63047" y="28803"/>
                    <a:pt x="63047" y="28917"/>
                    <a:pt x="63034" y="29029"/>
                  </a:cubicBezTo>
                  <a:lnTo>
                    <a:pt x="63034" y="29535"/>
                  </a:lnTo>
                  <a:cubicBezTo>
                    <a:pt x="63071" y="30347"/>
                    <a:pt x="62688" y="31119"/>
                    <a:pt x="62022" y="31585"/>
                  </a:cubicBezTo>
                  <a:cubicBezTo>
                    <a:pt x="59767" y="33233"/>
                    <a:pt x="57067" y="34160"/>
                    <a:pt x="54274" y="34248"/>
                  </a:cubicBezTo>
                  <a:cubicBezTo>
                    <a:pt x="51611" y="34248"/>
                    <a:pt x="49561" y="33129"/>
                    <a:pt x="49561" y="30733"/>
                  </a:cubicBezTo>
                  <a:moveTo>
                    <a:pt x="76826" y="37789"/>
                  </a:moveTo>
                  <a:lnTo>
                    <a:pt x="78956" y="37789"/>
                  </a:lnTo>
                  <a:cubicBezTo>
                    <a:pt x="79555" y="37866"/>
                    <a:pt x="80101" y="37443"/>
                    <a:pt x="80179" y="36846"/>
                  </a:cubicBezTo>
                  <a:cubicBezTo>
                    <a:pt x="80189" y="36761"/>
                    <a:pt x="80189" y="36676"/>
                    <a:pt x="80181" y="36591"/>
                  </a:cubicBezTo>
                  <a:lnTo>
                    <a:pt x="80181" y="20988"/>
                  </a:lnTo>
                  <a:cubicBezTo>
                    <a:pt x="80123" y="20152"/>
                    <a:pt x="80562" y="19361"/>
                    <a:pt x="81299" y="18964"/>
                  </a:cubicBezTo>
                  <a:cubicBezTo>
                    <a:pt x="83752" y="17274"/>
                    <a:pt x="86609" y="16264"/>
                    <a:pt x="89580" y="16035"/>
                  </a:cubicBezTo>
                  <a:cubicBezTo>
                    <a:pt x="92392" y="15777"/>
                    <a:pt x="94881" y="17846"/>
                    <a:pt x="95140" y="20658"/>
                  </a:cubicBezTo>
                  <a:cubicBezTo>
                    <a:pt x="95174" y="21033"/>
                    <a:pt x="95166" y="21411"/>
                    <a:pt x="95118" y="21787"/>
                  </a:cubicBezTo>
                  <a:lnTo>
                    <a:pt x="95118" y="36591"/>
                  </a:lnTo>
                  <a:cubicBezTo>
                    <a:pt x="95054" y="37190"/>
                    <a:pt x="95489" y="37728"/>
                    <a:pt x="96088" y="37792"/>
                  </a:cubicBezTo>
                  <a:cubicBezTo>
                    <a:pt x="96173" y="37800"/>
                    <a:pt x="96258" y="37800"/>
                    <a:pt x="96343" y="37789"/>
                  </a:cubicBezTo>
                  <a:lnTo>
                    <a:pt x="98473" y="37789"/>
                  </a:lnTo>
                  <a:cubicBezTo>
                    <a:pt x="99072" y="37866"/>
                    <a:pt x="99618" y="37443"/>
                    <a:pt x="99696" y="36846"/>
                  </a:cubicBezTo>
                  <a:cubicBezTo>
                    <a:pt x="99706" y="36761"/>
                    <a:pt x="99706" y="36676"/>
                    <a:pt x="99698" y="36591"/>
                  </a:cubicBezTo>
                  <a:lnTo>
                    <a:pt x="99698" y="21574"/>
                  </a:lnTo>
                  <a:cubicBezTo>
                    <a:pt x="99698" y="15343"/>
                    <a:pt x="96397" y="11988"/>
                    <a:pt x="90885" y="11988"/>
                  </a:cubicBezTo>
                  <a:cubicBezTo>
                    <a:pt x="87495" y="11996"/>
                    <a:pt x="84178" y="12976"/>
                    <a:pt x="81326" y="14811"/>
                  </a:cubicBezTo>
                  <a:cubicBezTo>
                    <a:pt x="80261" y="15503"/>
                    <a:pt x="79436" y="15210"/>
                    <a:pt x="79143" y="13932"/>
                  </a:cubicBezTo>
                  <a:lnTo>
                    <a:pt x="79143" y="13559"/>
                  </a:lnTo>
                  <a:cubicBezTo>
                    <a:pt x="79023" y="12902"/>
                    <a:pt x="78424" y="12444"/>
                    <a:pt x="77758" y="12494"/>
                  </a:cubicBezTo>
                  <a:lnTo>
                    <a:pt x="76906" y="12494"/>
                  </a:lnTo>
                  <a:cubicBezTo>
                    <a:pt x="76307" y="12417"/>
                    <a:pt x="75761" y="12840"/>
                    <a:pt x="75684" y="13437"/>
                  </a:cubicBezTo>
                  <a:cubicBezTo>
                    <a:pt x="75673" y="13522"/>
                    <a:pt x="75673" y="13607"/>
                    <a:pt x="75681" y="13692"/>
                  </a:cubicBezTo>
                  <a:lnTo>
                    <a:pt x="75681" y="36591"/>
                  </a:lnTo>
                  <a:cubicBezTo>
                    <a:pt x="75617" y="37190"/>
                    <a:pt x="76051" y="37728"/>
                    <a:pt x="76651" y="37792"/>
                  </a:cubicBezTo>
                  <a:cubicBezTo>
                    <a:pt x="76736" y="37800"/>
                    <a:pt x="76821" y="37800"/>
                    <a:pt x="76906" y="37789"/>
                  </a:cubicBezTo>
                  <a:moveTo>
                    <a:pt x="106195" y="24982"/>
                  </a:moveTo>
                  <a:cubicBezTo>
                    <a:pt x="105870" y="32003"/>
                    <a:pt x="111299" y="37959"/>
                    <a:pt x="118323" y="38282"/>
                  </a:cubicBezTo>
                  <a:cubicBezTo>
                    <a:pt x="118565" y="38292"/>
                    <a:pt x="118810" y="38298"/>
                    <a:pt x="119055" y="38295"/>
                  </a:cubicBezTo>
                  <a:cubicBezTo>
                    <a:pt x="123824" y="38492"/>
                    <a:pt x="128193" y="35651"/>
                    <a:pt x="129945" y="31212"/>
                  </a:cubicBezTo>
                  <a:cubicBezTo>
                    <a:pt x="130238" y="30387"/>
                    <a:pt x="129706" y="29828"/>
                    <a:pt x="128880" y="29828"/>
                  </a:cubicBezTo>
                  <a:lnTo>
                    <a:pt x="127043" y="29828"/>
                  </a:lnTo>
                  <a:cubicBezTo>
                    <a:pt x="126409" y="29817"/>
                    <a:pt x="125840" y="30214"/>
                    <a:pt x="125632" y="30813"/>
                  </a:cubicBezTo>
                  <a:cubicBezTo>
                    <a:pt x="124357" y="33217"/>
                    <a:pt x="121766" y="34623"/>
                    <a:pt x="119055" y="34381"/>
                  </a:cubicBezTo>
                  <a:cubicBezTo>
                    <a:pt x="115256" y="34477"/>
                    <a:pt x="111914" y="31881"/>
                    <a:pt x="111068" y="28177"/>
                  </a:cubicBezTo>
                  <a:cubicBezTo>
                    <a:pt x="110775" y="27059"/>
                    <a:pt x="111467" y="26340"/>
                    <a:pt x="112638" y="26340"/>
                  </a:cubicBezTo>
                  <a:lnTo>
                    <a:pt x="129173" y="26340"/>
                  </a:lnTo>
                  <a:cubicBezTo>
                    <a:pt x="130025" y="26398"/>
                    <a:pt x="130763" y="25757"/>
                    <a:pt x="130821" y="24905"/>
                  </a:cubicBezTo>
                  <a:cubicBezTo>
                    <a:pt x="130824" y="24859"/>
                    <a:pt x="130824" y="24814"/>
                    <a:pt x="130824" y="24769"/>
                  </a:cubicBezTo>
                  <a:cubicBezTo>
                    <a:pt x="131194" y="18072"/>
                    <a:pt x="126069" y="12345"/>
                    <a:pt x="119372" y="11975"/>
                  </a:cubicBezTo>
                  <a:cubicBezTo>
                    <a:pt x="119266" y="11970"/>
                    <a:pt x="119162" y="11964"/>
                    <a:pt x="119055" y="11962"/>
                  </a:cubicBezTo>
                  <a:cubicBezTo>
                    <a:pt x="112071" y="11871"/>
                    <a:pt x="106336" y="17460"/>
                    <a:pt x="106245" y="24444"/>
                  </a:cubicBezTo>
                  <a:cubicBezTo>
                    <a:pt x="106243" y="24614"/>
                    <a:pt x="106243" y="24785"/>
                    <a:pt x="106248" y="24955"/>
                  </a:cubicBezTo>
                  <a:moveTo>
                    <a:pt x="111707" y="20535"/>
                  </a:moveTo>
                  <a:cubicBezTo>
                    <a:pt x="113006" y="17676"/>
                    <a:pt x="115860" y="15841"/>
                    <a:pt x="119002" y="15849"/>
                  </a:cubicBezTo>
                  <a:cubicBezTo>
                    <a:pt x="122038" y="15844"/>
                    <a:pt x="124751" y="17737"/>
                    <a:pt x="125792" y="20589"/>
                  </a:cubicBezTo>
                  <a:cubicBezTo>
                    <a:pt x="126218" y="21760"/>
                    <a:pt x="125526" y="22532"/>
                    <a:pt x="124327" y="22532"/>
                  </a:cubicBezTo>
                  <a:lnTo>
                    <a:pt x="113065" y="22532"/>
                  </a:lnTo>
                  <a:cubicBezTo>
                    <a:pt x="111786" y="22532"/>
                    <a:pt x="111121" y="21707"/>
                    <a:pt x="111707" y="20589"/>
                  </a:cubicBezTo>
                  <a:moveTo>
                    <a:pt x="135670" y="16408"/>
                  </a:moveTo>
                  <a:lnTo>
                    <a:pt x="137720" y="16408"/>
                  </a:lnTo>
                  <a:cubicBezTo>
                    <a:pt x="137971" y="16392"/>
                    <a:pt x="138184" y="16584"/>
                    <a:pt x="138200" y="16832"/>
                  </a:cubicBezTo>
                  <a:cubicBezTo>
                    <a:pt x="138200" y="16850"/>
                    <a:pt x="138200" y="16869"/>
                    <a:pt x="138200" y="16888"/>
                  </a:cubicBezTo>
                  <a:lnTo>
                    <a:pt x="138200" y="30414"/>
                  </a:lnTo>
                  <a:cubicBezTo>
                    <a:pt x="138200" y="36218"/>
                    <a:pt x="141475" y="38401"/>
                    <a:pt x="145495" y="38401"/>
                  </a:cubicBezTo>
                  <a:cubicBezTo>
                    <a:pt x="147564" y="38404"/>
                    <a:pt x="149622" y="38079"/>
                    <a:pt x="151592" y="37443"/>
                  </a:cubicBezTo>
                  <a:cubicBezTo>
                    <a:pt x="152090" y="37059"/>
                    <a:pt x="152239" y="36373"/>
                    <a:pt x="151939" y="35819"/>
                  </a:cubicBezTo>
                  <a:lnTo>
                    <a:pt x="151779" y="34354"/>
                  </a:lnTo>
                  <a:cubicBezTo>
                    <a:pt x="151779" y="33529"/>
                    <a:pt x="151140" y="33183"/>
                    <a:pt x="150314" y="33476"/>
                  </a:cubicBezTo>
                  <a:cubicBezTo>
                    <a:pt x="148837" y="33963"/>
                    <a:pt x="147292" y="34216"/>
                    <a:pt x="145735" y="34221"/>
                  </a:cubicBezTo>
                  <a:cubicBezTo>
                    <a:pt x="143472" y="34221"/>
                    <a:pt x="142247" y="32996"/>
                    <a:pt x="142247" y="30281"/>
                  </a:cubicBezTo>
                  <a:lnTo>
                    <a:pt x="142247" y="16834"/>
                  </a:lnTo>
                  <a:cubicBezTo>
                    <a:pt x="142231" y="16584"/>
                    <a:pt x="142423" y="16371"/>
                    <a:pt x="142670" y="16355"/>
                  </a:cubicBezTo>
                  <a:cubicBezTo>
                    <a:pt x="142689" y="16355"/>
                    <a:pt x="142707" y="16355"/>
                    <a:pt x="142726" y="16355"/>
                  </a:cubicBezTo>
                  <a:lnTo>
                    <a:pt x="150714" y="16355"/>
                  </a:lnTo>
                  <a:cubicBezTo>
                    <a:pt x="151329" y="16416"/>
                    <a:pt x="151877" y="15969"/>
                    <a:pt x="151939" y="15354"/>
                  </a:cubicBezTo>
                  <a:cubicBezTo>
                    <a:pt x="151947" y="15279"/>
                    <a:pt x="151947" y="15205"/>
                    <a:pt x="151939" y="15130"/>
                  </a:cubicBezTo>
                  <a:lnTo>
                    <a:pt x="151939" y="13666"/>
                  </a:lnTo>
                  <a:cubicBezTo>
                    <a:pt x="152003" y="13067"/>
                    <a:pt x="151569" y="12529"/>
                    <a:pt x="150969" y="12465"/>
                  </a:cubicBezTo>
                  <a:cubicBezTo>
                    <a:pt x="150884" y="12457"/>
                    <a:pt x="150799" y="12457"/>
                    <a:pt x="150714" y="12468"/>
                  </a:cubicBezTo>
                  <a:lnTo>
                    <a:pt x="142726" y="12468"/>
                  </a:lnTo>
                  <a:cubicBezTo>
                    <a:pt x="142462" y="12468"/>
                    <a:pt x="142247" y="12255"/>
                    <a:pt x="142247" y="11988"/>
                  </a:cubicBezTo>
                  <a:cubicBezTo>
                    <a:pt x="142247" y="11980"/>
                    <a:pt x="142247" y="11970"/>
                    <a:pt x="142247" y="11962"/>
                  </a:cubicBezTo>
                  <a:lnTo>
                    <a:pt x="142247" y="6636"/>
                  </a:lnTo>
                  <a:cubicBezTo>
                    <a:pt x="142247" y="5811"/>
                    <a:pt x="141767" y="5332"/>
                    <a:pt x="140889" y="5571"/>
                  </a:cubicBezTo>
                  <a:lnTo>
                    <a:pt x="138839" y="6104"/>
                  </a:lnTo>
                  <a:cubicBezTo>
                    <a:pt x="138200" y="6224"/>
                    <a:pt x="137760" y="6815"/>
                    <a:pt x="137827" y="7462"/>
                  </a:cubicBezTo>
                  <a:lnTo>
                    <a:pt x="137827" y="11855"/>
                  </a:lnTo>
                  <a:cubicBezTo>
                    <a:pt x="137843" y="12119"/>
                    <a:pt x="137640" y="12345"/>
                    <a:pt x="137377" y="12361"/>
                  </a:cubicBezTo>
                  <a:cubicBezTo>
                    <a:pt x="137358" y="12361"/>
                    <a:pt x="137340" y="12361"/>
                    <a:pt x="137321" y="12361"/>
                  </a:cubicBezTo>
                  <a:lnTo>
                    <a:pt x="135138" y="12361"/>
                  </a:lnTo>
                  <a:cubicBezTo>
                    <a:pt x="134539" y="12284"/>
                    <a:pt x="133993" y="12707"/>
                    <a:pt x="133915" y="13304"/>
                  </a:cubicBezTo>
                  <a:cubicBezTo>
                    <a:pt x="133905" y="13389"/>
                    <a:pt x="133905" y="13474"/>
                    <a:pt x="133913" y="13559"/>
                  </a:cubicBezTo>
                  <a:lnTo>
                    <a:pt x="133913" y="15024"/>
                  </a:lnTo>
                  <a:cubicBezTo>
                    <a:pt x="133851" y="15639"/>
                    <a:pt x="134299" y="16187"/>
                    <a:pt x="134914" y="16248"/>
                  </a:cubicBezTo>
                  <a:cubicBezTo>
                    <a:pt x="134988" y="16257"/>
                    <a:pt x="135063" y="16257"/>
                    <a:pt x="135138" y="16248"/>
                  </a:cubicBezTo>
                  <a:moveTo>
                    <a:pt x="168820" y="24023"/>
                  </a:moveTo>
                  <a:cubicBezTo>
                    <a:pt x="168758" y="24638"/>
                    <a:pt x="169206" y="25187"/>
                    <a:pt x="169821" y="25248"/>
                  </a:cubicBezTo>
                  <a:cubicBezTo>
                    <a:pt x="169895" y="25256"/>
                    <a:pt x="169970" y="25256"/>
                    <a:pt x="170044" y="25248"/>
                  </a:cubicBezTo>
                  <a:lnTo>
                    <a:pt x="175609" y="25248"/>
                  </a:lnTo>
                  <a:cubicBezTo>
                    <a:pt x="176134" y="25187"/>
                    <a:pt x="176613" y="25562"/>
                    <a:pt x="176674" y="26087"/>
                  </a:cubicBezTo>
                  <a:cubicBezTo>
                    <a:pt x="176682" y="26161"/>
                    <a:pt x="176682" y="26239"/>
                    <a:pt x="176674" y="26313"/>
                  </a:cubicBezTo>
                  <a:lnTo>
                    <a:pt x="176674" y="31772"/>
                  </a:lnTo>
                  <a:cubicBezTo>
                    <a:pt x="176581" y="32352"/>
                    <a:pt x="176975" y="32898"/>
                    <a:pt x="177556" y="32994"/>
                  </a:cubicBezTo>
                  <a:cubicBezTo>
                    <a:pt x="177659" y="33010"/>
                    <a:pt x="177769" y="33010"/>
                    <a:pt x="177872" y="32996"/>
                  </a:cubicBezTo>
                  <a:lnTo>
                    <a:pt x="179230" y="32996"/>
                  </a:lnTo>
                  <a:cubicBezTo>
                    <a:pt x="179846" y="33058"/>
                    <a:pt x="180394" y="32610"/>
                    <a:pt x="180455" y="31995"/>
                  </a:cubicBezTo>
                  <a:cubicBezTo>
                    <a:pt x="180463" y="31921"/>
                    <a:pt x="180463" y="31846"/>
                    <a:pt x="180455" y="31772"/>
                  </a:cubicBezTo>
                  <a:lnTo>
                    <a:pt x="180455" y="26313"/>
                  </a:lnTo>
                  <a:cubicBezTo>
                    <a:pt x="180410" y="25770"/>
                    <a:pt x="180812" y="25293"/>
                    <a:pt x="181353" y="25248"/>
                  </a:cubicBezTo>
                  <a:cubicBezTo>
                    <a:pt x="181408" y="25243"/>
                    <a:pt x="181464" y="25243"/>
                    <a:pt x="181520" y="25248"/>
                  </a:cubicBezTo>
                  <a:lnTo>
                    <a:pt x="186979" y="25248"/>
                  </a:lnTo>
                  <a:cubicBezTo>
                    <a:pt x="187594" y="25309"/>
                    <a:pt x="188142" y="24862"/>
                    <a:pt x="188203" y="24247"/>
                  </a:cubicBezTo>
                  <a:cubicBezTo>
                    <a:pt x="188211" y="24172"/>
                    <a:pt x="188211" y="24098"/>
                    <a:pt x="188203" y="24023"/>
                  </a:cubicBezTo>
                  <a:lnTo>
                    <a:pt x="188203" y="22665"/>
                  </a:lnTo>
                  <a:cubicBezTo>
                    <a:pt x="188267" y="22066"/>
                    <a:pt x="187833" y="21528"/>
                    <a:pt x="187234" y="21465"/>
                  </a:cubicBezTo>
                  <a:cubicBezTo>
                    <a:pt x="187149" y="21457"/>
                    <a:pt x="187064" y="21457"/>
                    <a:pt x="186979" y="21467"/>
                  </a:cubicBezTo>
                  <a:lnTo>
                    <a:pt x="181520" y="21467"/>
                  </a:lnTo>
                  <a:cubicBezTo>
                    <a:pt x="180977" y="21515"/>
                    <a:pt x="180500" y="21113"/>
                    <a:pt x="180453" y="20573"/>
                  </a:cubicBezTo>
                  <a:cubicBezTo>
                    <a:pt x="180447" y="20506"/>
                    <a:pt x="180447" y="20439"/>
                    <a:pt x="180455" y="20376"/>
                  </a:cubicBezTo>
                  <a:lnTo>
                    <a:pt x="180455" y="15050"/>
                  </a:lnTo>
                  <a:cubicBezTo>
                    <a:pt x="180535" y="14454"/>
                    <a:pt x="180114" y="13905"/>
                    <a:pt x="179515" y="13825"/>
                  </a:cubicBezTo>
                  <a:cubicBezTo>
                    <a:pt x="179422" y="13812"/>
                    <a:pt x="179326" y="13812"/>
                    <a:pt x="179230" y="13825"/>
                  </a:cubicBezTo>
                  <a:lnTo>
                    <a:pt x="177846" y="13825"/>
                  </a:lnTo>
                  <a:cubicBezTo>
                    <a:pt x="177266" y="13730"/>
                    <a:pt x="176717" y="14121"/>
                    <a:pt x="176621" y="14702"/>
                  </a:cubicBezTo>
                  <a:cubicBezTo>
                    <a:pt x="176602" y="14819"/>
                    <a:pt x="176602" y="14936"/>
                    <a:pt x="176621" y="15050"/>
                  </a:cubicBezTo>
                  <a:lnTo>
                    <a:pt x="176621" y="20376"/>
                  </a:lnTo>
                  <a:cubicBezTo>
                    <a:pt x="176698" y="20900"/>
                    <a:pt x="176336" y="21387"/>
                    <a:pt x="175814" y="21465"/>
                  </a:cubicBezTo>
                  <a:cubicBezTo>
                    <a:pt x="175729" y="21478"/>
                    <a:pt x="175641" y="21478"/>
                    <a:pt x="175556" y="21467"/>
                  </a:cubicBezTo>
                  <a:lnTo>
                    <a:pt x="170044" y="21467"/>
                  </a:lnTo>
                  <a:cubicBezTo>
                    <a:pt x="169445" y="21390"/>
                    <a:pt x="168899" y="21813"/>
                    <a:pt x="168822" y="22410"/>
                  </a:cubicBezTo>
                  <a:cubicBezTo>
                    <a:pt x="168812" y="22495"/>
                    <a:pt x="168812" y="22580"/>
                    <a:pt x="168820" y="22665"/>
                  </a:cubicBezTo>
                  <a:close/>
                  <a:moveTo>
                    <a:pt x="209185" y="48360"/>
                  </a:moveTo>
                  <a:lnTo>
                    <a:pt x="210995" y="48360"/>
                  </a:lnTo>
                  <a:cubicBezTo>
                    <a:pt x="211595" y="48421"/>
                    <a:pt x="212132" y="47987"/>
                    <a:pt x="212194" y="47385"/>
                  </a:cubicBezTo>
                  <a:cubicBezTo>
                    <a:pt x="212202" y="47311"/>
                    <a:pt x="212202" y="47236"/>
                    <a:pt x="212194" y="47161"/>
                  </a:cubicBezTo>
                  <a:lnTo>
                    <a:pt x="212194" y="37070"/>
                  </a:lnTo>
                  <a:cubicBezTo>
                    <a:pt x="212194" y="35659"/>
                    <a:pt x="212966" y="35366"/>
                    <a:pt x="214137" y="36192"/>
                  </a:cubicBezTo>
                  <a:cubicBezTo>
                    <a:pt x="216233" y="37528"/>
                    <a:pt x="218682" y="38207"/>
                    <a:pt x="221167" y="38135"/>
                  </a:cubicBezTo>
                  <a:cubicBezTo>
                    <a:pt x="228284" y="38066"/>
                    <a:pt x="233998" y="32240"/>
                    <a:pt x="233926" y="25123"/>
                  </a:cubicBezTo>
                  <a:cubicBezTo>
                    <a:pt x="233926" y="25022"/>
                    <a:pt x="233923" y="24923"/>
                    <a:pt x="233921" y="24822"/>
                  </a:cubicBezTo>
                  <a:cubicBezTo>
                    <a:pt x="234067" y="17766"/>
                    <a:pt x="228468" y="11924"/>
                    <a:pt x="221409" y="11778"/>
                  </a:cubicBezTo>
                  <a:cubicBezTo>
                    <a:pt x="221356" y="11775"/>
                    <a:pt x="221300" y="11775"/>
                    <a:pt x="221247" y="11775"/>
                  </a:cubicBezTo>
                  <a:cubicBezTo>
                    <a:pt x="218469" y="11695"/>
                    <a:pt x="215748" y="12558"/>
                    <a:pt x="213525" y="14225"/>
                  </a:cubicBezTo>
                  <a:cubicBezTo>
                    <a:pt x="212433" y="15050"/>
                    <a:pt x="211608" y="14864"/>
                    <a:pt x="211368" y="13479"/>
                  </a:cubicBezTo>
                  <a:lnTo>
                    <a:pt x="211368" y="13479"/>
                  </a:lnTo>
                  <a:cubicBezTo>
                    <a:pt x="211312" y="12814"/>
                    <a:pt x="210732" y="12316"/>
                    <a:pt x="210064" y="12361"/>
                  </a:cubicBezTo>
                  <a:lnTo>
                    <a:pt x="209185" y="12361"/>
                  </a:lnTo>
                  <a:cubicBezTo>
                    <a:pt x="208586" y="12284"/>
                    <a:pt x="208040" y="12707"/>
                    <a:pt x="207963" y="13304"/>
                  </a:cubicBezTo>
                  <a:cubicBezTo>
                    <a:pt x="207952" y="13389"/>
                    <a:pt x="207952" y="13474"/>
                    <a:pt x="207960" y="13559"/>
                  </a:cubicBezTo>
                  <a:lnTo>
                    <a:pt x="207960" y="47161"/>
                  </a:lnTo>
                  <a:cubicBezTo>
                    <a:pt x="207896" y="47760"/>
                    <a:pt x="208330" y="48298"/>
                    <a:pt x="208929" y="48362"/>
                  </a:cubicBezTo>
                  <a:cubicBezTo>
                    <a:pt x="209014" y="48370"/>
                    <a:pt x="209100" y="48370"/>
                    <a:pt x="209185" y="48360"/>
                  </a:cubicBezTo>
                  <a:moveTo>
                    <a:pt x="212540" y="28017"/>
                  </a:moveTo>
                  <a:lnTo>
                    <a:pt x="212540" y="21947"/>
                  </a:lnTo>
                  <a:cubicBezTo>
                    <a:pt x="212500" y="21206"/>
                    <a:pt x="212686" y="20474"/>
                    <a:pt x="213072" y="19843"/>
                  </a:cubicBezTo>
                  <a:cubicBezTo>
                    <a:pt x="214744" y="17260"/>
                    <a:pt x="217636" y="15727"/>
                    <a:pt x="220714" y="15796"/>
                  </a:cubicBezTo>
                  <a:cubicBezTo>
                    <a:pt x="225571" y="15985"/>
                    <a:pt x="229370" y="20045"/>
                    <a:pt x="229234" y="24902"/>
                  </a:cubicBezTo>
                  <a:cubicBezTo>
                    <a:pt x="229445" y="29825"/>
                    <a:pt x="225637" y="33992"/>
                    <a:pt x="220714" y="34221"/>
                  </a:cubicBezTo>
                  <a:cubicBezTo>
                    <a:pt x="217620" y="34304"/>
                    <a:pt x="214712" y="32746"/>
                    <a:pt x="213072" y="30121"/>
                  </a:cubicBezTo>
                  <a:cubicBezTo>
                    <a:pt x="212686" y="29490"/>
                    <a:pt x="212500" y="28757"/>
                    <a:pt x="212540" y="28017"/>
                  </a:cubicBezTo>
                  <a:moveTo>
                    <a:pt x="238740" y="24849"/>
                  </a:moveTo>
                  <a:cubicBezTo>
                    <a:pt x="238415" y="31870"/>
                    <a:pt x="243844" y="37826"/>
                    <a:pt x="250868" y="38148"/>
                  </a:cubicBezTo>
                  <a:cubicBezTo>
                    <a:pt x="251110" y="38159"/>
                    <a:pt x="251355" y="38165"/>
                    <a:pt x="251600" y="38162"/>
                  </a:cubicBezTo>
                  <a:cubicBezTo>
                    <a:pt x="256369" y="38359"/>
                    <a:pt x="260738" y="35518"/>
                    <a:pt x="262491" y="31079"/>
                  </a:cubicBezTo>
                  <a:cubicBezTo>
                    <a:pt x="262783" y="30254"/>
                    <a:pt x="262251" y="29695"/>
                    <a:pt x="261425" y="29695"/>
                  </a:cubicBezTo>
                  <a:lnTo>
                    <a:pt x="259588" y="29695"/>
                  </a:lnTo>
                  <a:cubicBezTo>
                    <a:pt x="258955" y="29684"/>
                    <a:pt x="258385" y="30081"/>
                    <a:pt x="258177" y="30680"/>
                  </a:cubicBezTo>
                  <a:cubicBezTo>
                    <a:pt x="256907" y="33090"/>
                    <a:pt x="254311" y="34498"/>
                    <a:pt x="251600" y="34248"/>
                  </a:cubicBezTo>
                  <a:cubicBezTo>
                    <a:pt x="247801" y="34344"/>
                    <a:pt x="244459" y="31748"/>
                    <a:pt x="243612" y="28044"/>
                  </a:cubicBezTo>
                  <a:cubicBezTo>
                    <a:pt x="243320" y="26926"/>
                    <a:pt x="244012" y="26207"/>
                    <a:pt x="245184" y="26207"/>
                  </a:cubicBezTo>
                  <a:lnTo>
                    <a:pt x="261718" y="26207"/>
                  </a:lnTo>
                  <a:cubicBezTo>
                    <a:pt x="262570" y="26265"/>
                    <a:pt x="263308" y="25624"/>
                    <a:pt x="263366" y="24774"/>
                  </a:cubicBezTo>
                  <a:cubicBezTo>
                    <a:pt x="263369" y="24726"/>
                    <a:pt x="263369" y="24681"/>
                    <a:pt x="263369" y="24636"/>
                  </a:cubicBezTo>
                  <a:cubicBezTo>
                    <a:pt x="263739" y="17939"/>
                    <a:pt x="258611" y="12212"/>
                    <a:pt x="251917" y="11842"/>
                  </a:cubicBezTo>
                  <a:cubicBezTo>
                    <a:pt x="251811" y="11837"/>
                    <a:pt x="251707" y="11831"/>
                    <a:pt x="251600" y="11829"/>
                  </a:cubicBezTo>
                  <a:cubicBezTo>
                    <a:pt x="244616" y="11738"/>
                    <a:pt x="238881" y="17327"/>
                    <a:pt x="238791" y="24311"/>
                  </a:cubicBezTo>
                  <a:cubicBezTo>
                    <a:pt x="238788" y="24481"/>
                    <a:pt x="238788" y="24652"/>
                    <a:pt x="238793" y="24822"/>
                  </a:cubicBezTo>
                  <a:moveTo>
                    <a:pt x="244118" y="20402"/>
                  </a:moveTo>
                  <a:cubicBezTo>
                    <a:pt x="245418" y="17542"/>
                    <a:pt x="248272" y="15708"/>
                    <a:pt x="251414" y="15716"/>
                  </a:cubicBezTo>
                  <a:cubicBezTo>
                    <a:pt x="254449" y="15711"/>
                    <a:pt x="257163" y="17604"/>
                    <a:pt x="258204" y="20455"/>
                  </a:cubicBezTo>
                  <a:cubicBezTo>
                    <a:pt x="258630" y="21627"/>
                    <a:pt x="257964" y="22399"/>
                    <a:pt x="256739" y="22399"/>
                  </a:cubicBezTo>
                  <a:lnTo>
                    <a:pt x="245476" y="22399"/>
                  </a:lnTo>
                  <a:cubicBezTo>
                    <a:pt x="244225" y="22399"/>
                    <a:pt x="243533" y="21574"/>
                    <a:pt x="244118" y="20455"/>
                  </a:cubicBezTo>
                  <a:moveTo>
                    <a:pt x="268082" y="24875"/>
                  </a:moveTo>
                  <a:cubicBezTo>
                    <a:pt x="267920" y="32064"/>
                    <a:pt x="273615" y="38026"/>
                    <a:pt x="280801" y="38188"/>
                  </a:cubicBezTo>
                  <a:cubicBezTo>
                    <a:pt x="281001" y="38194"/>
                    <a:pt x="281198" y="38194"/>
                    <a:pt x="281395" y="38188"/>
                  </a:cubicBezTo>
                  <a:cubicBezTo>
                    <a:pt x="288584" y="38351"/>
                    <a:pt x="294546" y="32658"/>
                    <a:pt x="294708" y="25469"/>
                  </a:cubicBezTo>
                  <a:cubicBezTo>
                    <a:pt x="294713" y="25269"/>
                    <a:pt x="294713" y="25072"/>
                    <a:pt x="294708" y="24875"/>
                  </a:cubicBezTo>
                  <a:cubicBezTo>
                    <a:pt x="294785" y="17774"/>
                    <a:pt x="289093" y="11954"/>
                    <a:pt x="281989" y="11874"/>
                  </a:cubicBezTo>
                  <a:cubicBezTo>
                    <a:pt x="281792" y="11871"/>
                    <a:pt x="281592" y="11874"/>
                    <a:pt x="281395" y="11882"/>
                  </a:cubicBezTo>
                  <a:cubicBezTo>
                    <a:pt x="274281" y="11647"/>
                    <a:pt x="268324" y="17223"/>
                    <a:pt x="268087" y="24335"/>
                  </a:cubicBezTo>
                  <a:cubicBezTo>
                    <a:pt x="268082" y="24516"/>
                    <a:pt x="268079" y="24694"/>
                    <a:pt x="268082" y="24875"/>
                  </a:cubicBezTo>
                  <a:moveTo>
                    <a:pt x="272662" y="25035"/>
                  </a:moveTo>
                  <a:cubicBezTo>
                    <a:pt x="272427" y="20189"/>
                    <a:pt x="276166" y="16067"/>
                    <a:pt x="281012" y="15833"/>
                  </a:cubicBezTo>
                  <a:cubicBezTo>
                    <a:pt x="281185" y="15825"/>
                    <a:pt x="281355" y="15820"/>
                    <a:pt x="281528" y="15822"/>
                  </a:cubicBezTo>
                  <a:cubicBezTo>
                    <a:pt x="286395" y="15817"/>
                    <a:pt x="290347" y="19760"/>
                    <a:pt x="290349" y="24628"/>
                  </a:cubicBezTo>
                  <a:cubicBezTo>
                    <a:pt x="290352" y="24764"/>
                    <a:pt x="290347" y="24899"/>
                    <a:pt x="290341" y="25035"/>
                  </a:cubicBezTo>
                  <a:cubicBezTo>
                    <a:pt x="290546" y="29913"/>
                    <a:pt x="286760" y="34035"/>
                    <a:pt x="281882" y="34240"/>
                  </a:cubicBezTo>
                  <a:cubicBezTo>
                    <a:pt x="281765" y="34245"/>
                    <a:pt x="281645" y="34248"/>
                    <a:pt x="281528" y="34248"/>
                  </a:cubicBezTo>
                  <a:cubicBezTo>
                    <a:pt x="276645" y="34266"/>
                    <a:pt x="272672" y="30326"/>
                    <a:pt x="272654" y="25442"/>
                  </a:cubicBezTo>
                  <a:cubicBezTo>
                    <a:pt x="272654" y="25307"/>
                    <a:pt x="272656" y="25171"/>
                    <a:pt x="272662" y="25035"/>
                  </a:cubicBezTo>
                  <a:moveTo>
                    <a:pt x="302749" y="48386"/>
                  </a:moveTo>
                  <a:lnTo>
                    <a:pt x="304533" y="48386"/>
                  </a:lnTo>
                  <a:cubicBezTo>
                    <a:pt x="305132" y="48463"/>
                    <a:pt x="305678" y="48040"/>
                    <a:pt x="305755" y="47444"/>
                  </a:cubicBezTo>
                  <a:cubicBezTo>
                    <a:pt x="305766" y="47359"/>
                    <a:pt x="305766" y="47273"/>
                    <a:pt x="305758" y="47188"/>
                  </a:cubicBezTo>
                  <a:lnTo>
                    <a:pt x="305758" y="37097"/>
                  </a:lnTo>
                  <a:cubicBezTo>
                    <a:pt x="305758" y="35686"/>
                    <a:pt x="306530" y="35393"/>
                    <a:pt x="307702" y="36218"/>
                  </a:cubicBezTo>
                  <a:cubicBezTo>
                    <a:pt x="309795" y="37560"/>
                    <a:pt x="312247" y="38236"/>
                    <a:pt x="314731" y="38162"/>
                  </a:cubicBezTo>
                  <a:cubicBezTo>
                    <a:pt x="321861" y="38077"/>
                    <a:pt x="327575" y="32227"/>
                    <a:pt x="327490" y="25096"/>
                  </a:cubicBezTo>
                  <a:cubicBezTo>
                    <a:pt x="327490" y="25014"/>
                    <a:pt x="327488" y="24931"/>
                    <a:pt x="327485" y="24849"/>
                  </a:cubicBezTo>
                  <a:cubicBezTo>
                    <a:pt x="327631" y="17793"/>
                    <a:pt x="322032" y="11951"/>
                    <a:pt x="314973" y="11805"/>
                  </a:cubicBezTo>
                  <a:cubicBezTo>
                    <a:pt x="314920" y="11802"/>
                    <a:pt x="314864" y="11802"/>
                    <a:pt x="314811" y="11802"/>
                  </a:cubicBezTo>
                  <a:cubicBezTo>
                    <a:pt x="312026" y="11725"/>
                    <a:pt x="309297" y="12587"/>
                    <a:pt x="307063" y="14252"/>
                  </a:cubicBezTo>
                  <a:cubicBezTo>
                    <a:pt x="305998" y="15077"/>
                    <a:pt x="305172" y="14891"/>
                    <a:pt x="304933" y="13506"/>
                  </a:cubicBezTo>
                  <a:lnTo>
                    <a:pt x="304933" y="13506"/>
                  </a:lnTo>
                  <a:cubicBezTo>
                    <a:pt x="304877" y="12840"/>
                    <a:pt x="304296" y="12342"/>
                    <a:pt x="303628" y="12388"/>
                  </a:cubicBezTo>
                  <a:lnTo>
                    <a:pt x="302749" y="12388"/>
                  </a:lnTo>
                  <a:cubicBezTo>
                    <a:pt x="302150" y="12310"/>
                    <a:pt x="301604" y="12734"/>
                    <a:pt x="301527" y="13330"/>
                  </a:cubicBezTo>
                  <a:cubicBezTo>
                    <a:pt x="301516" y="13415"/>
                    <a:pt x="301516" y="13501"/>
                    <a:pt x="301524" y="13586"/>
                  </a:cubicBezTo>
                  <a:lnTo>
                    <a:pt x="301524" y="47188"/>
                  </a:lnTo>
                  <a:cubicBezTo>
                    <a:pt x="301461" y="47787"/>
                    <a:pt x="301894" y="48325"/>
                    <a:pt x="302494" y="48389"/>
                  </a:cubicBezTo>
                  <a:cubicBezTo>
                    <a:pt x="302579" y="48397"/>
                    <a:pt x="302664" y="48397"/>
                    <a:pt x="302749" y="48386"/>
                  </a:cubicBezTo>
                  <a:moveTo>
                    <a:pt x="306104" y="28044"/>
                  </a:moveTo>
                  <a:lnTo>
                    <a:pt x="306104" y="21973"/>
                  </a:lnTo>
                  <a:cubicBezTo>
                    <a:pt x="306051" y="21233"/>
                    <a:pt x="306237" y="20495"/>
                    <a:pt x="306637" y="19870"/>
                  </a:cubicBezTo>
                  <a:cubicBezTo>
                    <a:pt x="308306" y="17282"/>
                    <a:pt x="311200" y="15748"/>
                    <a:pt x="314278" y="15822"/>
                  </a:cubicBezTo>
                  <a:cubicBezTo>
                    <a:pt x="319135" y="16012"/>
                    <a:pt x="322935" y="20072"/>
                    <a:pt x="322799" y="24929"/>
                  </a:cubicBezTo>
                  <a:cubicBezTo>
                    <a:pt x="323009" y="29852"/>
                    <a:pt x="319201" y="34019"/>
                    <a:pt x="314278" y="34248"/>
                  </a:cubicBezTo>
                  <a:cubicBezTo>
                    <a:pt x="311184" y="34338"/>
                    <a:pt x="308274" y="32775"/>
                    <a:pt x="306637" y="30147"/>
                  </a:cubicBezTo>
                  <a:cubicBezTo>
                    <a:pt x="306237" y="29522"/>
                    <a:pt x="306051" y="28784"/>
                    <a:pt x="306104" y="28044"/>
                  </a:cubicBezTo>
                  <a:moveTo>
                    <a:pt x="337496" y="-286"/>
                  </a:moveTo>
                  <a:lnTo>
                    <a:pt x="335366" y="-286"/>
                  </a:lnTo>
                  <a:cubicBezTo>
                    <a:pt x="334751" y="-348"/>
                    <a:pt x="334203" y="100"/>
                    <a:pt x="334141" y="715"/>
                  </a:cubicBezTo>
                  <a:cubicBezTo>
                    <a:pt x="334133" y="789"/>
                    <a:pt x="334133" y="864"/>
                    <a:pt x="334141" y="938"/>
                  </a:cubicBezTo>
                  <a:lnTo>
                    <a:pt x="334141" y="36484"/>
                  </a:lnTo>
                  <a:cubicBezTo>
                    <a:pt x="334078" y="37083"/>
                    <a:pt x="334511" y="37621"/>
                    <a:pt x="335111" y="37685"/>
                  </a:cubicBezTo>
                  <a:cubicBezTo>
                    <a:pt x="335196" y="37693"/>
                    <a:pt x="335281" y="37693"/>
                    <a:pt x="335366" y="37683"/>
                  </a:cubicBezTo>
                  <a:lnTo>
                    <a:pt x="337496" y="37683"/>
                  </a:lnTo>
                  <a:cubicBezTo>
                    <a:pt x="338095" y="37760"/>
                    <a:pt x="338641" y="37336"/>
                    <a:pt x="338718" y="36740"/>
                  </a:cubicBezTo>
                  <a:cubicBezTo>
                    <a:pt x="338729" y="36655"/>
                    <a:pt x="338729" y="36570"/>
                    <a:pt x="338721" y="36484"/>
                  </a:cubicBezTo>
                  <a:lnTo>
                    <a:pt x="338721" y="885"/>
                  </a:lnTo>
                  <a:cubicBezTo>
                    <a:pt x="338782" y="270"/>
                    <a:pt x="338335" y="-278"/>
                    <a:pt x="337720" y="-340"/>
                  </a:cubicBezTo>
                  <a:cubicBezTo>
                    <a:pt x="337645" y="-348"/>
                    <a:pt x="337571" y="-348"/>
                    <a:pt x="337496" y="-340"/>
                  </a:cubicBezTo>
                  <a:moveTo>
                    <a:pt x="345484" y="24822"/>
                  </a:moveTo>
                  <a:cubicBezTo>
                    <a:pt x="345159" y="31843"/>
                    <a:pt x="350588" y="37800"/>
                    <a:pt x="357612" y="38122"/>
                  </a:cubicBezTo>
                  <a:cubicBezTo>
                    <a:pt x="357855" y="38132"/>
                    <a:pt x="358100" y="38138"/>
                    <a:pt x="358345" y="38135"/>
                  </a:cubicBezTo>
                  <a:cubicBezTo>
                    <a:pt x="363113" y="38332"/>
                    <a:pt x="367483" y="35491"/>
                    <a:pt x="369235" y="31053"/>
                  </a:cubicBezTo>
                  <a:cubicBezTo>
                    <a:pt x="369528" y="30227"/>
                    <a:pt x="368995" y="29668"/>
                    <a:pt x="368170" y="29668"/>
                  </a:cubicBezTo>
                  <a:lnTo>
                    <a:pt x="366333" y="29668"/>
                  </a:lnTo>
                  <a:cubicBezTo>
                    <a:pt x="365699" y="29657"/>
                    <a:pt x="365129" y="30054"/>
                    <a:pt x="364921" y="30653"/>
                  </a:cubicBezTo>
                  <a:cubicBezTo>
                    <a:pt x="363651" y="33063"/>
                    <a:pt x="361058" y="34471"/>
                    <a:pt x="358345" y="34221"/>
                  </a:cubicBezTo>
                  <a:cubicBezTo>
                    <a:pt x="354561" y="34266"/>
                    <a:pt x="351249" y="31694"/>
                    <a:pt x="350357" y="28017"/>
                  </a:cubicBezTo>
                  <a:cubicBezTo>
                    <a:pt x="350064" y="26899"/>
                    <a:pt x="350756" y="26180"/>
                    <a:pt x="351928" y="26180"/>
                  </a:cubicBezTo>
                  <a:lnTo>
                    <a:pt x="368463" y="26180"/>
                  </a:lnTo>
                  <a:cubicBezTo>
                    <a:pt x="369315" y="26239"/>
                    <a:pt x="370052" y="25597"/>
                    <a:pt x="370111" y="24745"/>
                  </a:cubicBezTo>
                  <a:cubicBezTo>
                    <a:pt x="370113" y="24700"/>
                    <a:pt x="370113" y="24654"/>
                    <a:pt x="370113" y="24609"/>
                  </a:cubicBezTo>
                  <a:cubicBezTo>
                    <a:pt x="370483" y="17913"/>
                    <a:pt x="365358" y="12185"/>
                    <a:pt x="358661" y="11815"/>
                  </a:cubicBezTo>
                  <a:cubicBezTo>
                    <a:pt x="358566" y="11810"/>
                    <a:pt x="358467" y="11805"/>
                    <a:pt x="358371" y="11802"/>
                  </a:cubicBezTo>
                  <a:cubicBezTo>
                    <a:pt x="351371" y="11711"/>
                    <a:pt x="345625" y="17311"/>
                    <a:pt x="345535" y="24311"/>
                  </a:cubicBezTo>
                  <a:cubicBezTo>
                    <a:pt x="345532" y="24473"/>
                    <a:pt x="345532" y="24633"/>
                    <a:pt x="345538" y="24795"/>
                  </a:cubicBezTo>
                  <a:moveTo>
                    <a:pt x="350863" y="20376"/>
                  </a:moveTo>
                  <a:cubicBezTo>
                    <a:pt x="352165" y="17505"/>
                    <a:pt x="355032" y="15671"/>
                    <a:pt x="358185" y="15689"/>
                  </a:cubicBezTo>
                  <a:cubicBezTo>
                    <a:pt x="361215" y="15679"/>
                    <a:pt x="363923" y="17577"/>
                    <a:pt x="364948" y="20429"/>
                  </a:cubicBezTo>
                  <a:cubicBezTo>
                    <a:pt x="365401" y="21600"/>
                    <a:pt x="364708" y="22373"/>
                    <a:pt x="363484" y="22373"/>
                  </a:cubicBezTo>
                  <a:lnTo>
                    <a:pt x="352221" y="22373"/>
                  </a:lnTo>
                  <a:cubicBezTo>
                    <a:pt x="350969" y="22373"/>
                    <a:pt x="350277" y="21547"/>
                    <a:pt x="350863" y="20429"/>
                  </a:cubicBezTo>
                </a:path>
              </a:pathLst>
            </a:custGeom>
            <a:solidFill>
              <a:srgbClr val="FFFFFF"/>
            </a:solidFill>
            <a:ln w="2661" cap="flat">
              <a:noFill/>
              <a:prstDash val="solid"/>
              <a:miter/>
            </a:ln>
          </p:spPr>
          <p:txBody>
            <a:bodyPr rtlCol="0" anchor="ctr"/>
            <a:lstStyle/>
            <a:p>
              <a:endParaRPr lang="pl-PL"/>
            </a:p>
          </p:txBody>
        </p:sp>
        <p:sp>
          <p:nvSpPr>
            <p:cNvPr id="143" name="Freeform: Shape 142">
              <a:extLst>
                <a:ext uri="{FF2B5EF4-FFF2-40B4-BE49-F238E27FC236}">
                  <a16:creationId xmlns:a16="http://schemas.microsoft.com/office/drawing/2014/main" id="{9D9D9DA8-EF83-412D-BFA9-51B41C7705D8}"/>
                </a:ext>
              </a:extLst>
            </p:cNvPr>
            <p:cNvSpPr/>
            <p:nvPr/>
          </p:nvSpPr>
          <p:spPr>
            <a:xfrm>
              <a:off x="11848503" y="6635533"/>
              <a:ext cx="6855" cy="8973"/>
            </a:xfrm>
            <a:custGeom>
              <a:avLst/>
              <a:gdLst>
                <a:gd name="connsiteX0" fmla="*/ 992 w 12147"/>
                <a:gd name="connsiteY0" fmla="*/ 1467 h 15900"/>
                <a:gd name="connsiteX1" fmla="*/ 992 w 12147"/>
                <a:gd name="connsiteY1" fmla="*/ 295 h 15900"/>
                <a:gd name="connsiteX2" fmla="*/ 1519 w 12147"/>
                <a:gd name="connsiteY2" fmla="*/ -344 h 15900"/>
                <a:gd name="connsiteX3" fmla="*/ 1631 w 12147"/>
                <a:gd name="connsiteY3" fmla="*/ -344 h 15900"/>
                <a:gd name="connsiteX4" fmla="*/ 12521 w 12147"/>
                <a:gd name="connsiteY4" fmla="*/ -344 h 15900"/>
                <a:gd name="connsiteX5" fmla="*/ 13136 w 12147"/>
                <a:gd name="connsiteY5" fmla="*/ 213 h 15900"/>
                <a:gd name="connsiteX6" fmla="*/ 13133 w 12147"/>
                <a:gd name="connsiteY6" fmla="*/ 295 h 15900"/>
                <a:gd name="connsiteX7" fmla="*/ 13133 w 12147"/>
                <a:gd name="connsiteY7" fmla="*/ 1467 h 15900"/>
                <a:gd name="connsiteX8" fmla="*/ 12603 w 12147"/>
                <a:gd name="connsiteY8" fmla="*/ 2103 h 15900"/>
                <a:gd name="connsiteX9" fmla="*/ 12521 w 12147"/>
                <a:gd name="connsiteY9" fmla="*/ 2106 h 15900"/>
                <a:gd name="connsiteX10" fmla="*/ 8926 w 12147"/>
                <a:gd name="connsiteY10" fmla="*/ 2106 h 15900"/>
                <a:gd name="connsiteX11" fmla="*/ 8447 w 12147"/>
                <a:gd name="connsiteY11" fmla="*/ 2471 h 15900"/>
                <a:gd name="connsiteX12" fmla="*/ 8447 w 12147"/>
                <a:gd name="connsiteY12" fmla="*/ 2585 h 15900"/>
                <a:gd name="connsiteX13" fmla="*/ 8447 w 12147"/>
                <a:gd name="connsiteY13" fmla="*/ 14940 h 15900"/>
                <a:gd name="connsiteX14" fmla="*/ 7890 w 12147"/>
                <a:gd name="connsiteY14" fmla="*/ 15555 h 15900"/>
                <a:gd name="connsiteX15" fmla="*/ 7808 w 12147"/>
                <a:gd name="connsiteY15" fmla="*/ 15552 h 15900"/>
                <a:gd name="connsiteX16" fmla="*/ 6184 w 12147"/>
                <a:gd name="connsiteY16" fmla="*/ 15552 h 15900"/>
                <a:gd name="connsiteX17" fmla="*/ 5547 w 12147"/>
                <a:gd name="connsiteY17" fmla="*/ 15022 h 15900"/>
                <a:gd name="connsiteX18" fmla="*/ 5545 w 12147"/>
                <a:gd name="connsiteY18" fmla="*/ 14940 h 15900"/>
                <a:gd name="connsiteX19" fmla="*/ 5545 w 12147"/>
                <a:gd name="connsiteY19" fmla="*/ 2585 h 15900"/>
                <a:gd name="connsiteX20" fmla="*/ 5180 w 12147"/>
                <a:gd name="connsiteY20" fmla="*/ 2106 h 15900"/>
                <a:gd name="connsiteX21" fmla="*/ 5065 w 12147"/>
                <a:gd name="connsiteY21" fmla="*/ 2106 h 15900"/>
                <a:gd name="connsiteX22" fmla="*/ 1631 w 12147"/>
                <a:gd name="connsiteY22" fmla="*/ 2106 h 15900"/>
                <a:gd name="connsiteX23" fmla="*/ 992 w 12147"/>
                <a:gd name="connsiteY23" fmla="*/ 1579 h 15900"/>
                <a:gd name="connsiteX24" fmla="*/ 992 w 12147"/>
                <a:gd name="connsiteY24" fmla="*/ 1467 h 1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147" h="15900">
                  <a:moveTo>
                    <a:pt x="992" y="1467"/>
                  </a:moveTo>
                  <a:lnTo>
                    <a:pt x="992" y="295"/>
                  </a:lnTo>
                  <a:cubicBezTo>
                    <a:pt x="960" y="-27"/>
                    <a:pt x="1197" y="-312"/>
                    <a:pt x="1519" y="-344"/>
                  </a:cubicBezTo>
                  <a:cubicBezTo>
                    <a:pt x="1556" y="-346"/>
                    <a:pt x="1593" y="-346"/>
                    <a:pt x="1631" y="-344"/>
                  </a:cubicBezTo>
                  <a:lnTo>
                    <a:pt x="12521" y="-344"/>
                  </a:lnTo>
                  <a:cubicBezTo>
                    <a:pt x="12843" y="-360"/>
                    <a:pt x="13120" y="-112"/>
                    <a:pt x="13136" y="213"/>
                  </a:cubicBezTo>
                  <a:cubicBezTo>
                    <a:pt x="13136" y="240"/>
                    <a:pt x="13136" y="269"/>
                    <a:pt x="13133" y="295"/>
                  </a:cubicBezTo>
                  <a:lnTo>
                    <a:pt x="13133" y="1467"/>
                  </a:lnTo>
                  <a:cubicBezTo>
                    <a:pt x="13163" y="1789"/>
                    <a:pt x="12925" y="2074"/>
                    <a:pt x="12603" y="2103"/>
                  </a:cubicBezTo>
                  <a:cubicBezTo>
                    <a:pt x="12577" y="2106"/>
                    <a:pt x="12547" y="2109"/>
                    <a:pt x="12521" y="2106"/>
                  </a:cubicBezTo>
                  <a:lnTo>
                    <a:pt x="8926" y="2106"/>
                  </a:lnTo>
                  <a:cubicBezTo>
                    <a:pt x="8692" y="2074"/>
                    <a:pt x="8479" y="2239"/>
                    <a:pt x="8447" y="2471"/>
                  </a:cubicBezTo>
                  <a:cubicBezTo>
                    <a:pt x="8442" y="2508"/>
                    <a:pt x="8442" y="2548"/>
                    <a:pt x="8447" y="2585"/>
                  </a:cubicBezTo>
                  <a:lnTo>
                    <a:pt x="8447" y="14940"/>
                  </a:lnTo>
                  <a:cubicBezTo>
                    <a:pt x="8463" y="15262"/>
                    <a:pt x="8215" y="15539"/>
                    <a:pt x="7890" y="15555"/>
                  </a:cubicBezTo>
                  <a:cubicBezTo>
                    <a:pt x="7864" y="15555"/>
                    <a:pt x="7835" y="15555"/>
                    <a:pt x="7808" y="15552"/>
                  </a:cubicBezTo>
                  <a:lnTo>
                    <a:pt x="6184" y="15552"/>
                  </a:lnTo>
                  <a:cubicBezTo>
                    <a:pt x="5862" y="15581"/>
                    <a:pt x="5577" y="15345"/>
                    <a:pt x="5547" y="15022"/>
                  </a:cubicBezTo>
                  <a:cubicBezTo>
                    <a:pt x="5545" y="14996"/>
                    <a:pt x="5545" y="14966"/>
                    <a:pt x="5545" y="14940"/>
                  </a:cubicBezTo>
                  <a:lnTo>
                    <a:pt x="5545" y="2585"/>
                  </a:lnTo>
                  <a:cubicBezTo>
                    <a:pt x="5577" y="2351"/>
                    <a:pt x="5412" y="2138"/>
                    <a:pt x="5180" y="2106"/>
                  </a:cubicBezTo>
                  <a:cubicBezTo>
                    <a:pt x="5143" y="2101"/>
                    <a:pt x="5103" y="2101"/>
                    <a:pt x="5065" y="2106"/>
                  </a:cubicBezTo>
                  <a:lnTo>
                    <a:pt x="1631" y="2106"/>
                  </a:lnTo>
                  <a:cubicBezTo>
                    <a:pt x="1308" y="2138"/>
                    <a:pt x="1024" y="1901"/>
                    <a:pt x="992" y="1579"/>
                  </a:cubicBezTo>
                  <a:cubicBezTo>
                    <a:pt x="989" y="1542"/>
                    <a:pt x="989" y="1504"/>
                    <a:pt x="992" y="1467"/>
                  </a:cubicBezTo>
                </a:path>
              </a:pathLst>
            </a:custGeom>
            <a:solidFill>
              <a:srgbClr val="FFFFFF"/>
            </a:solidFill>
            <a:ln w="2661" cap="flat">
              <a:noFill/>
              <a:prstDash val="solid"/>
              <a:miter/>
            </a:ln>
          </p:spPr>
          <p:txBody>
            <a:bodyPr rtlCol="0" anchor="ctr"/>
            <a:lstStyle/>
            <a:p>
              <a:endParaRPr lang="pl-PL"/>
            </a:p>
          </p:txBody>
        </p:sp>
        <p:sp>
          <p:nvSpPr>
            <p:cNvPr id="144" name="Freeform: Shape 143">
              <a:extLst>
                <a:ext uri="{FF2B5EF4-FFF2-40B4-BE49-F238E27FC236}">
                  <a16:creationId xmlns:a16="http://schemas.microsoft.com/office/drawing/2014/main" id="{E1CC2A40-FD01-43C2-AD0F-00F67837E3E7}"/>
                </a:ext>
              </a:extLst>
            </p:cNvPr>
            <p:cNvSpPr/>
            <p:nvPr/>
          </p:nvSpPr>
          <p:spPr>
            <a:xfrm>
              <a:off x="11857776" y="6635662"/>
              <a:ext cx="8810" cy="8977"/>
            </a:xfrm>
            <a:custGeom>
              <a:avLst/>
              <a:gdLst>
                <a:gd name="connsiteX0" fmla="*/ 991 w 15611"/>
                <a:gd name="connsiteY0" fmla="*/ 14943 h 15907"/>
                <a:gd name="connsiteX1" fmla="*/ 991 w 15611"/>
                <a:gd name="connsiteY1" fmla="*/ 458 h 15907"/>
                <a:gd name="connsiteX2" fmla="*/ 1675 w 15611"/>
                <a:gd name="connsiteY2" fmla="*/ -343 h 15907"/>
                <a:gd name="connsiteX3" fmla="*/ 1816 w 15611"/>
                <a:gd name="connsiteY3" fmla="*/ -340 h 15907"/>
                <a:gd name="connsiteX4" fmla="*/ 2668 w 15611"/>
                <a:gd name="connsiteY4" fmla="*/ -340 h 15907"/>
                <a:gd name="connsiteX5" fmla="*/ 3627 w 15611"/>
                <a:gd name="connsiteY5" fmla="*/ 192 h 15907"/>
                <a:gd name="connsiteX6" fmla="*/ 8526 w 15611"/>
                <a:gd name="connsiteY6" fmla="*/ 7381 h 15907"/>
                <a:gd name="connsiteX7" fmla="*/ 8915 w 15611"/>
                <a:gd name="connsiteY7" fmla="*/ 7525 h 15907"/>
                <a:gd name="connsiteX8" fmla="*/ 9059 w 15611"/>
                <a:gd name="connsiteY8" fmla="*/ 7381 h 15907"/>
                <a:gd name="connsiteX9" fmla="*/ 14064 w 15611"/>
                <a:gd name="connsiteY9" fmla="*/ 166 h 15907"/>
                <a:gd name="connsiteX10" fmla="*/ 15050 w 15611"/>
                <a:gd name="connsiteY10" fmla="*/ -340 h 15907"/>
                <a:gd name="connsiteX11" fmla="*/ 15795 w 15611"/>
                <a:gd name="connsiteY11" fmla="*/ -340 h 15907"/>
                <a:gd name="connsiteX12" fmla="*/ 16594 w 15611"/>
                <a:gd name="connsiteY12" fmla="*/ 288 h 15907"/>
                <a:gd name="connsiteX13" fmla="*/ 16594 w 15611"/>
                <a:gd name="connsiteY13" fmla="*/ 458 h 15907"/>
                <a:gd name="connsiteX14" fmla="*/ 16594 w 15611"/>
                <a:gd name="connsiteY14" fmla="*/ 14943 h 15907"/>
                <a:gd name="connsiteX15" fmla="*/ 16035 w 15611"/>
                <a:gd name="connsiteY15" fmla="*/ 15556 h 15907"/>
                <a:gd name="connsiteX16" fmla="*/ 15982 w 15611"/>
                <a:gd name="connsiteY16" fmla="*/ 15556 h 15907"/>
                <a:gd name="connsiteX17" fmla="*/ 14677 w 15611"/>
                <a:gd name="connsiteY17" fmla="*/ 15556 h 15907"/>
                <a:gd name="connsiteX18" fmla="*/ 14064 w 15611"/>
                <a:gd name="connsiteY18" fmla="*/ 15055 h 15907"/>
                <a:gd name="connsiteX19" fmla="*/ 14064 w 15611"/>
                <a:gd name="connsiteY19" fmla="*/ 14943 h 15907"/>
                <a:gd name="connsiteX20" fmla="*/ 14064 w 15611"/>
                <a:gd name="connsiteY20" fmla="*/ 4878 h 15907"/>
                <a:gd name="connsiteX21" fmla="*/ 13585 w 15611"/>
                <a:gd name="connsiteY21" fmla="*/ 4745 h 15907"/>
                <a:gd name="connsiteX22" fmla="*/ 9804 w 15611"/>
                <a:gd name="connsiteY22" fmla="*/ 10284 h 15907"/>
                <a:gd name="connsiteX23" fmla="*/ 8846 w 15611"/>
                <a:gd name="connsiteY23" fmla="*/ 10789 h 15907"/>
                <a:gd name="connsiteX24" fmla="*/ 8846 w 15611"/>
                <a:gd name="connsiteY24" fmla="*/ 10789 h 15907"/>
                <a:gd name="connsiteX25" fmla="*/ 7914 w 15611"/>
                <a:gd name="connsiteY25" fmla="*/ 10284 h 15907"/>
                <a:gd name="connsiteX26" fmla="*/ 4133 w 15611"/>
                <a:gd name="connsiteY26" fmla="*/ 4745 h 15907"/>
                <a:gd name="connsiteX27" fmla="*/ 3654 w 15611"/>
                <a:gd name="connsiteY27" fmla="*/ 4905 h 15907"/>
                <a:gd name="connsiteX28" fmla="*/ 3654 w 15611"/>
                <a:gd name="connsiteY28" fmla="*/ 14943 h 15907"/>
                <a:gd name="connsiteX29" fmla="*/ 3097 w 15611"/>
                <a:gd name="connsiteY29" fmla="*/ 15558 h 15907"/>
                <a:gd name="connsiteX30" fmla="*/ 3015 w 15611"/>
                <a:gd name="connsiteY30" fmla="*/ 15556 h 15907"/>
                <a:gd name="connsiteX31" fmla="*/ 1736 w 15611"/>
                <a:gd name="connsiteY31" fmla="*/ 15556 h 15907"/>
                <a:gd name="connsiteX32" fmla="*/ 1100 w 15611"/>
                <a:gd name="connsiteY32" fmla="*/ 15087 h 15907"/>
                <a:gd name="connsiteX33" fmla="*/ 1097 w 15611"/>
                <a:gd name="connsiteY33" fmla="*/ 14943 h 15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611" h="15907">
                  <a:moveTo>
                    <a:pt x="991" y="14943"/>
                  </a:moveTo>
                  <a:lnTo>
                    <a:pt x="991" y="458"/>
                  </a:lnTo>
                  <a:cubicBezTo>
                    <a:pt x="959" y="48"/>
                    <a:pt x="1265" y="-311"/>
                    <a:pt x="1675" y="-343"/>
                  </a:cubicBezTo>
                  <a:cubicBezTo>
                    <a:pt x="1723" y="-346"/>
                    <a:pt x="1771" y="-346"/>
                    <a:pt x="1816" y="-340"/>
                  </a:cubicBezTo>
                  <a:lnTo>
                    <a:pt x="2668" y="-340"/>
                  </a:lnTo>
                  <a:cubicBezTo>
                    <a:pt x="3062" y="-359"/>
                    <a:pt x="3435" y="-154"/>
                    <a:pt x="3627" y="192"/>
                  </a:cubicBezTo>
                  <a:lnTo>
                    <a:pt x="8526" y="7381"/>
                  </a:lnTo>
                  <a:cubicBezTo>
                    <a:pt x="8593" y="7528"/>
                    <a:pt x="8768" y="7592"/>
                    <a:pt x="8915" y="7525"/>
                  </a:cubicBezTo>
                  <a:cubicBezTo>
                    <a:pt x="8979" y="7496"/>
                    <a:pt x="9029" y="7445"/>
                    <a:pt x="9059" y="7381"/>
                  </a:cubicBezTo>
                  <a:lnTo>
                    <a:pt x="14064" y="166"/>
                  </a:lnTo>
                  <a:cubicBezTo>
                    <a:pt x="14280" y="-165"/>
                    <a:pt x="14655" y="-356"/>
                    <a:pt x="15050" y="-340"/>
                  </a:cubicBezTo>
                  <a:lnTo>
                    <a:pt x="15795" y="-340"/>
                  </a:lnTo>
                  <a:cubicBezTo>
                    <a:pt x="16189" y="-388"/>
                    <a:pt x="16546" y="-106"/>
                    <a:pt x="16594" y="288"/>
                  </a:cubicBezTo>
                  <a:cubicBezTo>
                    <a:pt x="16602" y="344"/>
                    <a:pt x="16602" y="403"/>
                    <a:pt x="16594" y="458"/>
                  </a:cubicBezTo>
                  <a:lnTo>
                    <a:pt x="16594" y="14943"/>
                  </a:lnTo>
                  <a:cubicBezTo>
                    <a:pt x="16610" y="15265"/>
                    <a:pt x="16360" y="15540"/>
                    <a:pt x="16035" y="15556"/>
                  </a:cubicBezTo>
                  <a:cubicBezTo>
                    <a:pt x="16019" y="15556"/>
                    <a:pt x="16000" y="15556"/>
                    <a:pt x="15982" y="15556"/>
                  </a:cubicBezTo>
                  <a:lnTo>
                    <a:pt x="14677" y="15556"/>
                  </a:lnTo>
                  <a:cubicBezTo>
                    <a:pt x="14371" y="15587"/>
                    <a:pt x="14096" y="15364"/>
                    <a:pt x="14064" y="15055"/>
                  </a:cubicBezTo>
                  <a:cubicBezTo>
                    <a:pt x="14062" y="15018"/>
                    <a:pt x="14062" y="14980"/>
                    <a:pt x="14064" y="14943"/>
                  </a:cubicBezTo>
                  <a:lnTo>
                    <a:pt x="14064" y="4878"/>
                  </a:lnTo>
                  <a:cubicBezTo>
                    <a:pt x="14064" y="4506"/>
                    <a:pt x="13798" y="4399"/>
                    <a:pt x="13585" y="4745"/>
                  </a:cubicBezTo>
                  <a:lnTo>
                    <a:pt x="9804" y="10284"/>
                  </a:lnTo>
                  <a:cubicBezTo>
                    <a:pt x="9602" y="10614"/>
                    <a:pt x="9234" y="10808"/>
                    <a:pt x="8846" y="10789"/>
                  </a:cubicBezTo>
                  <a:lnTo>
                    <a:pt x="8846" y="10789"/>
                  </a:lnTo>
                  <a:cubicBezTo>
                    <a:pt x="8465" y="10803"/>
                    <a:pt x="8108" y="10611"/>
                    <a:pt x="7914" y="10284"/>
                  </a:cubicBezTo>
                  <a:lnTo>
                    <a:pt x="4133" y="4745"/>
                  </a:lnTo>
                  <a:cubicBezTo>
                    <a:pt x="3920" y="4452"/>
                    <a:pt x="3654" y="4532"/>
                    <a:pt x="3654" y="4905"/>
                  </a:cubicBezTo>
                  <a:lnTo>
                    <a:pt x="3654" y="14943"/>
                  </a:lnTo>
                  <a:cubicBezTo>
                    <a:pt x="3670" y="15265"/>
                    <a:pt x="3422" y="15542"/>
                    <a:pt x="3097" y="15558"/>
                  </a:cubicBezTo>
                  <a:cubicBezTo>
                    <a:pt x="3071" y="15558"/>
                    <a:pt x="3041" y="15558"/>
                    <a:pt x="3015" y="15556"/>
                  </a:cubicBezTo>
                  <a:lnTo>
                    <a:pt x="1736" y="15556"/>
                  </a:lnTo>
                  <a:cubicBezTo>
                    <a:pt x="1430" y="15601"/>
                    <a:pt x="1145" y="15390"/>
                    <a:pt x="1100" y="15087"/>
                  </a:cubicBezTo>
                  <a:cubicBezTo>
                    <a:pt x="1092" y="15039"/>
                    <a:pt x="1092" y="14991"/>
                    <a:pt x="1097" y="14943"/>
                  </a:cubicBezTo>
                </a:path>
              </a:pathLst>
            </a:custGeom>
            <a:solidFill>
              <a:srgbClr val="FFFFFF"/>
            </a:solidFill>
            <a:ln w="2661" cap="flat">
              <a:noFill/>
              <a:prstDash val="solid"/>
              <a:miter/>
            </a:ln>
          </p:spPr>
          <p:txBody>
            <a:bodyPr rtlCol="0" anchor="ctr"/>
            <a:lstStyle/>
            <a:p>
              <a:endParaRPr lang="pl-PL"/>
            </a:p>
          </p:txBody>
        </p:sp>
      </p:grpSp>
      <p:grpSp>
        <p:nvGrpSpPr>
          <p:cNvPr id="96" name="Group 95">
            <a:extLst>
              <a:ext uri="{FF2B5EF4-FFF2-40B4-BE49-F238E27FC236}">
                <a16:creationId xmlns:a16="http://schemas.microsoft.com/office/drawing/2014/main" id="{6EF68DC9-6FDA-4CB1-99C7-FD5AABDF02A1}"/>
              </a:ext>
            </a:extLst>
          </p:cNvPr>
          <p:cNvGrpSpPr/>
          <p:nvPr userDrawn="1"/>
        </p:nvGrpSpPr>
        <p:grpSpPr>
          <a:xfrm>
            <a:off x="10855488" y="6628477"/>
            <a:ext cx="218951" cy="162658"/>
            <a:chOff x="10506075" y="6628477"/>
            <a:chExt cx="218951" cy="162658"/>
          </a:xfrm>
        </p:grpSpPr>
        <p:sp>
          <p:nvSpPr>
            <p:cNvPr id="101" name="Rectangle: Rounded Corners 100">
              <a:hlinkClick r:id="" action="ppaction://noaction"/>
              <a:extLst>
                <a:ext uri="{FF2B5EF4-FFF2-40B4-BE49-F238E27FC236}">
                  <a16:creationId xmlns:a16="http://schemas.microsoft.com/office/drawing/2014/main" id="{45BAD32F-7C57-4934-90A5-547E75FC3529}"/>
                </a:ext>
              </a:extLst>
            </p:cNvPr>
            <p:cNvSpPr/>
            <p:nvPr userDrawn="1"/>
          </p:nvSpPr>
          <p:spPr>
            <a:xfrm>
              <a:off x="10506075" y="6628477"/>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02" name="Rectangle: Rounded Corners 101">
              <a:hlinkClick r:id="" action="ppaction://noaction"/>
              <a:extLst>
                <a:ext uri="{FF2B5EF4-FFF2-40B4-BE49-F238E27FC236}">
                  <a16:creationId xmlns:a16="http://schemas.microsoft.com/office/drawing/2014/main" id="{50F7372E-FEC1-489C-BC45-B261038CED33}"/>
                </a:ext>
              </a:extLst>
            </p:cNvPr>
            <p:cNvSpPr/>
            <p:nvPr userDrawn="1"/>
          </p:nvSpPr>
          <p:spPr>
            <a:xfrm>
              <a:off x="10506075" y="6691806"/>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03" name="Rectangle: Rounded Corners 102">
              <a:hlinkClick r:id="" action="ppaction://noaction"/>
              <a:extLst>
                <a:ext uri="{FF2B5EF4-FFF2-40B4-BE49-F238E27FC236}">
                  <a16:creationId xmlns:a16="http://schemas.microsoft.com/office/drawing/2014/main" id="{15FCEE39-0EAD-427C-B6CE-D2861D50EFA5}"/>
                </a:ext>
              </a:extLst>
            </p:cNvPr>
            <p:cNvSpPr/>
            <p:nvPr userDrawn="1"/>
          </p:nvSpPr>
          <p:spPr>
            <a:xfrm>
              <a:off x="10506075" y="6755135"/>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grpSp>
      <p:sp>
        <p:nvSpPr>
          <p:cNvPr id="97" name="Rectangle 96">
            <a:hlinkClick r:id="" action="ppaction://noaction"/>
            <a:extLst>
              <a:ext uri="{FF2B5EF4-FFF2-40B4-BE49-F238E27FC236}">
                <a16:creationId xmlns:a16="http://schemas.microsoft.com/office/drawing/2014/main" id="{6E18E4C8-19C4-492F-B0F7-2E55F36ED283}"/>
              </a:ext>
            </a:extLst>
          </p:cNvPr>
          <p:cNvSpPr/>
          <p:nvPr userDrawn="1"/>
        </p:nvSpPr>
        <p:spPr>
          <a:xfrm>
            <a:off x="10760869" y="6579908"/>
            <a:ext cx="406177" cy="273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cxnSp>
        <p:nvCxnSpPr>
          <p:cNvPr id="98" name="Straight Connector 97">
            <a:extLst>
              <a:ext uri="{FF2B5EF4-FFF2-40B4-BE49-F238E27FC236}">
                <a16:creationId xmlns:a16="http://schemas.microsoft.com/office/drawing/2014/main" id="{81877F37-9FA2-4AE3-94B9-144B441F5DC2}"/>
              </a:ext>
            </a:extLst>
          </p:cNvPr>
          <p:cNvCxnSpPr/>
          <p:nvPr userDrawn="1"/>
        </p:nvCxnSpPr>
        <p:spPr>
          <a:xfrm>
            <a:off x="521472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98">
            <a:hlinkClick r:id="" action="ppaction://noaction"/>
            <a:hlinkHover r:id="" action="ppaction://noaction" highlightClick="1"/>
            <a:extLst>
              <a:ext uri="{FF2B5EF4-FFF2-40B4-BE49-F238E27FC236}">
                <a16:creationId xmlns:a16="http://schemas.microsoft.com/office/drawing/2014/main" id="{4B9C2ADE-5A3C-4E75-BD44-3DDC9A62E0E7}"/>
              </a:ext>
            </a:extLst>
          </p:cNvPr>
          <p:cNvSpPr/>
          <p:nvPr userDrawn="1"/>
        </p:nvSpPr>
        <p:spPr>
          <a:xfrm>
            <a:off x="9539162" y="6570000"/>
            <a:ext cx="1200924"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endParaRPr lang="en-GB" sz="800" b="0" noProof="0">
              <a:solidFill>
                <a:schemeClr val="bg1">
                  <a:alpha val="50000"/>
                </a:schemeClr>
              </a:solidFill>
              <a:latin typeface="Leelawadee" panose="020B0502040204020203" pitchFamily="34" charset="-34"/>
              <a:cs typeface="Leelawadee" panose="020B0502040204020203" pitchFamily="34" charset="-34"/>
            </a:endParaRPr>
          </a:p>
        </p:txBody>
      </p:sp>
      <p:cxnSp>
        <p:nvCxnSpPr>
          <p:cNvPr id="100" name="Straight Connector 99">
            <a:extLst>
              <a:ext uri="{FF2B5EF4-FFF2-40B4-BE49-F238E27FC236}">
                <a16:creationId xmlns:a16="http://schemas.microsoft.com/office/drawing/2014/main" id="{65730CC7-5E3B-4FF4-9C32-6155A9E38E6B}"/>
              </a:ext>
            </a:extLst>
          </p:cNvPr>
          <p:cNvCxnSpPr/>
          <p:nvPr userDrawn="1"/>
        </p:nvCxnSpPr>
        <p:spPr>
          <a:xfrm>
            <a:off x="10737865"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25" name="Text Placeholder 13">
            <a:extLst>
              <a:ext uri="{FF2B5EF4-FFF2-40B4-BE49-F238E27FC236}">
                <a16:creationId xmlns:a16="http://schemas.microsoft.com/office/drawing/2014/main" id="{C5C2C756-4887-4DBC-9325-80D683CDBE55}"/>
              </a:ext>
            </a:extLst>
          </p:cNvPr>
          <p:cNvSpPr>
            <a:spLocks noGrp="1"/>
          </p:cNvSpPr>
          <p:nvPr userDrawn="1">
            <p:ph type="body" sz="quarter" idx="16"/>
          </p:nvPr>
        </p:nvSpPr>
        <p:spPr>
          <a:xfrm>
            <a:off x="300038" y="1323077"/>
            <a:ext cx="11591925" cy="4985648"/>
          </a:xfrm>
          <a:prstGeom prst="rect">
            <a:avLst/>
          </a:prstGeom>
        </p:spPr>
        <p:txBody>
          <a:bodyPr lIns="0">
            <a:normAutofit/>
          </a:bodyPr>
          <a:lstStyle>
            <a:lvl1pPr marL="0" indent="0" rtl="0">
              <a:buNone/>
              <a:defRPr sz="1200">
                <a:solidFill>
                  <a:schemeClr val="accent2">
                    <a:lumMod val="50000"/>
                  </a:schemeClr>
                </a:solidFill>
                <a:latin typeface="Leelawadee" panose="020B0502040204020203" pitchFamily="34" charset="-34"/>
                <a:cs typeface="Leelawadee" panose="020B0502040204020203" pitchFamily="34" charset="-34"/>
              </a:defRPr>
            </a:lvl1pPr>
          </a:lstStyle>
          <a:p>
            <a:pPr lvl="0"/>
            <a:endParaRPr lang="en-US" noProof="0"/>
          </a:p>
        </p:txBody>
      </p:sp>
      <p:sp>
        <p:nvSpPr>
          <p:cNvPr id="77" name="Title 76">
            <a:extLst>
              <a:ext uri="{FF2B5EF4-FFF2-40B4-BE49-F238E27FC236}">
                <a16:creationId xmlns:a16="http://schemas.microsoft.com/office/drawing/2014/main" id="{18A436BD-7AF5-481F-8E93-328F1A4F9248}"/>
              </a:ext>
            </a:extLst>
          </p:cNvPr>
          <p:cNvSpPr>
            <a:spLocks noGrp="1"/>
          </p:cNvSpPr>
          <p:nvPr userDrawn="1">
            <p:ph type="title"/>
          </p:nvPr>
        </p:nvSpPr>
        <p:spPr>
          <a:xfrm>
            <a:off x="300037" y="296863"/>
            <a:ext cx="11591925" cy="387798"/>
          </a:xfrm>
          <a:prstGeom prst="rect">
            <a:avLst/>
          </a:prstGeom>
        </p:spPr>
        <p:txBody>
          <a:bodyPr vert="horz" wrap="square" lIns="0" tIns="0" rIns="0" bIns="0">
            <a:spAutoFit/>
          </a:bodyPr>
          <a:lstStyle>
            <a:lvl1pPr>
              <a:defRPr lang="pl-PL" sz="2800" b="1" i="0" kern="1200" dirty="0">
                <a:solidFill>
                  <a:schemeClr val="accent2">
                    <a:lumMod val="50000"/>
                  </a:schemeClr>
                </a:solidFill>
                <a:latin typeface="Leelawadee" panose="020B0502040204020203" pitchFamily="34" charset="-34"/>
                <a:ea typeface="+mn-ea"/>
                <a:cs typeface="Leelawadee" panose="020B0502040204020203" pitchFamily="34" charset="-34"/>
              </a:defRPr>
            </a:lvl1pPr>
          </a:lstStyle>
          <a:p>
            <a:r>
              <a:rPr lang="en-US"/>
              <a:t>Click to edit Master title style</a:t>
            </a:r>
            <a:endParaRPr lang="pl-PL"/>
          </a:p>
        </p:txBody>
      </p:sp>
      <p:sp>
        <p:nvSpPr>
          <p:cNvPr id="7" name="TextBox 6">
            <a:extLst>
              <a:ext uri="{FF2B5EF4-FFF2-40B4-BE49-F238E27FC236}">
                <a16:creationId xmlns:a16="http://schemas.microsoft.com/office/drawing/2014/main" id="{3DBFEDF0-EADA-4411-9FF7-F85A7F0E7EBC}"/>
              </a:ext>
            </a:extLst>
          </p:cNvPr>
          <p:cNvSpPr txBox="1"/>
          <p:nvPr userDrawn="1"/>
        </p:nvSpPr>
        <p:spPr>
          <a:xfrm>
            <a:off x="208348" y="6587078"/>
            <a:ext cx="428589" cy="261610"/>
          </a:xfrm>
          <a:prstGeom prst="rect">
            <a:avLst/>
          </a:prstGeom>
          <a:noFill/>
        </p:spPr>
        <p:txBody>
          <a:bodyPr wrap="square" rtlCol="0">
            <a:spAutoFit/>
          </a:bodyPr>
          <a:lstStyle/>
          <a:p>
            <a:fld id="{2AD15D81-AC1A-4BFA-95F9-38C1BF89B685}" type="slidenum">
              <a:rPr lang="pl-PL" sz="1050" smtClean="0">
                <a:solidFill>
                  <a:schemeClr val="bg1"/>
                </a:solidFill>
                <a:latin typeface="Leelawadee" panose="020B0502040204020203" pitchFamily="34" charset="-34"/>
                <a:cs typeface="Leelawadee" panose="020B0502040204020203" pitchFamily="34" charset="-34"/>
              </a:rPr>
              <a:t>‹#›</a:t>
            </a:fld>
            <a:endParaRPr lang="pl-PL" sz="1200">
              <a:solidFill>
                <a:schemeClr val="bg1"/>
              </a:solidFill>
              <a:latin typeface="Leelawadee" panose="020B0502040204020203" pitchFamily="34" charset="-34"/>
              <a:cs typeface="Leelawadee" panose="020B0502040204020203" pitchFamily="34" charset="-34"/>
            </a:endParaRPr>
          </a:p>
        </p:txBody>
      </p:sp>
    </p:spTree>
    <p:extLst>
      <p:ext uri="{BB962C8B-B14F-4D97-AF65-F5344CB8AC3E}">
        <p14:creationId xmlns:p14="http://schemas.microsoft.com/office/powerpoint/2010/main" val="1498783801"/>
      </p:ext>
    </p:extLst>
  </p:cSld>
  <p:clrMapOvr>
    <a:masterClrMapping/>
  </p:clrMapOvr>
  <p:hf hdr="0" ftr="0" dt="0"/>
  <p:extLst>
    <p:ext uri="{DCECCB84-F9BA-43D5-87BE-67443E8EF086}">
      <p15:sldGuideLst xmlns:p15="http://schemas.microsoft.com/office/powerpoint/2012/main">
        <p15:guide id="1" pos="189">
          <p15:clr>
            <a:srgbClr val="FBAE40"/>
          </p15:clr>
        </p15:guide>
        <p15:guide id="4" pos="7491">
          <p15:clr>
            <a:srgbClr val="FBAE40"/>
          </p15:clr>
        </p15:guide>
        <p15:guide id="5" orient="horz" pos="187">
          <p15:clr>
            <a:srgbClr val="FBAE40"/>
          </p15:clr>
        </p15:guide>
        <p15:guide id="6" orient="horz" pos="3974">
          <p15:clr>
            <a:srgbClr val="FBAE40"/>
          </p15:clr>
        </p15:guide>
        <p15:guide id="7" orient="horz" pos="82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0-Base-PeP+-Sid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BEE2250-657D-4F69-894E-9C87094AE811}"/>
              </a:ext>
            </a:extLst>
          </p:cNvPr>
          <p:cNvGraphicFramePr>
            <a:graphicFrameLocks noChangeAspect="1"/>
          </p:cNvGraphicFramePr>
          <p:nvPr userDrawn="1">
            <p:custDataLst>
              <p:tags r:id="rId1"/>
            </p:custDataLst>
            <p:extLst>
              <p:ext uri="{D42A27DB-BD31-4B8C-83A1-F6EECF244321}">
                <p14:modId xmlns:p14="http://schemas.microsoft.com/office/powerpoint/2010/main" val="90133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1" name="Object 10" hidden="1">
                        <a:extLst>
                          <a:ext uri="{FF2B5EF4-FFF2-40B4-BE49-F238E27FC236}">
                            <a16:creationId xmlns:a16="http://schemas.microsoft.com/office/drawing/2014/main" id="{5BEE2250-657D-4F69-894E-9C87094AE8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41AE193C-3E02-4E71-9164-FCB51E1FAE7B}"/>
              </a:ext>
            </a:extLst>
          </p:cNvPr>
          <p:cNvGrpSpPr/>
          <p:nvPr userDrawn="1"/>
        </p:nvGrpSpPr>
        <p:grpSpPr>
          <a:xfrm>
            <a:off x="-433" y="-2180"/>
            <a:ext cx="843047" cy="6860180"/>
            <a:chOff x="-433" y="-2180"/>
            <a:chExt cx="843047" cy="6860180"/>
          </a:xfrm>
        </p:grpSpPr>
        <p:sp>
          <p:nvSpPr>
            <p:cNvPr id="41" name="Rectangle 40">
              <a:extLst>
                <a:ext uri="{FF2B5EF4-FFF2-40B4-BE49-F238E27FC236}">
                  <a16:creationId xmlns:a16="http://schemas.microsoft.com/office/drawing/2014/main" id="{EA11ACCD-D2C0-4B60-A5BF-8B8F95A5DD8A}"/>
                </a:ext>
              </a:extLst>
            </p:cNvPr>
            <p:cNvSpPr/>
            <p:nvPr userDrawn="1"/>
          </p:nvSpPr>
          <p:spPr>
            <a:xfrm rot="16200000">
              <a:off x="-711389" y="5304430"/>
              <a:ext cx="2264961" cy="842180"/>
            </a:xfrm>
            <a:prstGeom prst="rect">
              <a:avLst/>
            </a:prstGeom>
            <a:solidFill>
              <a:srgbClr val="91DA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42" name="Freeform: Shape 41">
              <a:extLst>
                <a:ext uri="{FF2B5EF4-FFF2-40B4-BE49-F238E27FC236}">
                  <a16:creationId xmlns:a16="http://schemas.microsoft.com/office/drawing/2014/main" id="{4426DA49-4A1D-4D9A-8EEE-4BC761E803D0}"/>
                </a:ext>
              </a:extLst>
            </p:cNvPr>
            <p:cNvSpPr/>
            <p:nvPr userDrawn="1"/>
          </p:nvSpPr>
          <p:spPr>
            <a:xfrm rot="16200000">
              <a:off x="-470776" y="5548671"/>
              <a:ext cx="1780103" cy="838550"/>
            </a:xfrm>
            <a:custGeom>
              <a:avLst/>
              <a:gdLst>
                <a:gd name="connsiteX0" fmla="*/ 1780103 w 1780103"/>
                <a:gd name="connsiteY0" fmla="*/ 0 h 838550"/>
                <a:gd name="connsiteX1" fmla="*/ 1773789 w 1780103"/>
                <a:gd name="connsiteY1" fmla="*/ 8444 h 838550"/>
                <a:gd name="connsiteX2" fmla="*/ 263954 w 1780103"/>
                <a:gd name="connsiteY2" fmla="*/ 829967 h 838550"/>
                <a:gd name="connsiteX3" fmla="*/ 163651 w 1780103"/>
                <a:gd name="connsiteY3" fmla="*/ 838550 h 838550"/>
                <a:gd name="connsiteX4" fmla="*/ 0 w 1780103"/>
                <a:gd name="connsiteY4" fmla="*/ 838550 h 838550"/>
                <a:gd name="connsiteX5" fmla="*/ 0 w 1780103"/>
                <a:gd name="connsiteY5" fmla="*/ 0 h 838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0103" h="838550">
                  <a:moveTo>
                    <a:pt x="1780103" y="0"/>
                  </a:moveTo>
                  <a:lnTo>
                    <a:pt x="1773789" y="8444"/>
                  </a:lnTo>
                  <a:cubicBezTo>
                    <a:pt x="1404876" y="455463"/>
                    <a:pt x="870248" y="760654"/>
                    <a:pt x="263954" y="829967"/>
                  </a:cubicBezTo>
                  <a:lnTo>
                    <a:pt x="163651" y="838550"/>
                  </a:lnTo>
                  <a:lnTo>
                    <a:pt x="0" y="838550"/>
                  </a:lnTo>
                  <a:lnTo>
                    <a:pt x="0" y="0"/>
                  </a:lnTo>
                  <a:close/>
                </a:path>
              </a:pathLst>
            </a:custGeom>
            <a:solidFill>
              <a:srgbClr val="4FE2F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43" name="Rectangle 42">
              <a:extLst>
                <a:ext uri="{FF2B5EF4-FFF2-40B4-BE49-F238E27FC236}">
                  <a16:creationId xmlns:a16="http://schemas.microsoft.com/office/drawing/2014/main" id="{70B8C6E6-C586-4F5C-B65B-F46B5E5D797E}"/>
                </a:ext>
              </a:extLst>
            </p:cNvPr>
            <p:cNvSpPr/>
            <p:nvPr userDrawn="1"/>
          </p:nvSpPr>
          <p:spPr>
            <a:xfrm>
              <a:off x="-1" y="-2180"/>
              <a:ext cx="838551" cy="2298700"/>
            </a:xfrm>
            <a:prstGeom prst="rect">
              <a:avLst/>
            </a:prstGeom>
            <a:solidFill>
              <a:srgbClr val="FFC4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45" name="Rectangle 44">
              <a:extLst>
                <a:ext uri="{FF2B5EF4-FFF2-40B4-BE49-F238E27FC236}">
                  <a16:creationId xmlns:a16="http://schemas.microsoft.com/office/drawing/2014/main" id="{E441711E-6DFB-4FDA-8571-0BFB25421CBA}"/>
                </a:ext>
              </a:extLst>
            </p:cNvPr>
            <p:cNvSpPr/>
            <p:nvPr userDrawn="1"/>
          </p:nvSpPr>
          <p:spPr>
            <a:xfrm rot="16200000">
              <a:off x="-729032" y="3026188"/>
              <a:ext cx="2300248" cy="842180"/>
            </a:xfrm>
            <a:prstGeom prst="rect">
              <a:avLst/>
            </a:prstGeom>
            <a:solidFill>
              <a:srgbClr val="006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46" name="Freeform: Shape 45">
              <a:extLst>
                <a:ext uri="{FF2B5EF4-FFF2-40B4-BE49-F238E27FC236}">
                  <a16:creationId xmlns:a16="http://schemas.microsoft.com/office/drawing/2014/main" id="{28953365-91F1-4F6D-A3EE-D82C649ABF8A}"/>
                </a:ext>
              </a:extLst>
            </p:cNvPr>
            <p:cNvSpPr/>
            <p:nvPr userDrawn="1"/>
          </p:nvSpPr>
          <p:spPr>
            <a:xfrm rot="16200000">
              <a:off x="-295536" y="2592693"/>
              <a:ext cx="1433258" cy="842183"/>
            </a:xfrm>
            <a:custGeom>
              <a:avLst/>
              <a:gdLst>
                <a:gd name="connsiteX0" fmla="*/ 1433258 w 1433258"/>
                <a:gd name="connsiteY0" fmla="*/ 0 h 855327"/>
                <a:gd name="connsiteX1" fmla="*/ 1433258 w 1433258"/>
                <a:gd name="connsiteY1" fmla="*/ 855327 h 855327"/>
                <a:gd name="connsiteX2" fmla="*/ 1408956 w 1433258"/>
                <a:gd name="connsiteY2" fmla="*/ 855327 h 855327"/>
                <a:gd name="connsiteX3" fmla="*/ 0 w 1433258"/>
                <a:gd name="connsiteY3" fmla="*/ 0 h 855327"/>
              </a:gdLst>
              <a:ahLst/>
              <a:cxnLst>
                <a:cxn ang="0">
                  <a:pos x="connsiteX0" y="connsiteY0"/>
                </a:cxn>
                <a:cxn ang="0">
                  <a:pos x="connsiteX1" y="connsiteY1"/>
                </a:cxn>
                <a:cxn ang="0">
                  <a:pos x="connsiteX2" y="connsiteY2"/>
                </a:cxn>
                <a:cxn ang="0">
                  <a:pos x="connsiteX3" y="connsiteY3"/>
                </a:cxn>
              </a:cxnLst>
              <a:rect l="l" t="t" r="r" b="b"/>
              <a:pathLst>
                <a:path w="1433258" h="855327">
                  <a:moveTo>
                    <a:pt x="1433258" y="0"/>
                  </a:moveTo>
                  <a:lnTo>
                    <a:pt x="1433258" y="855327"/>
                  </a:lnTo>
                  <a:lnTo>
                    <a:pt x="1408956" y="855327"/>
                  </a:lnTo>
                  <a:lnTo>
                    <a:pt x="0" y="0"/>
                  </a:lnTo>
                  <a:close/>
                </a:path>
              </a:pathLst>
            </a:custGeom>
            <a:solidFill>
              <a:srgbClr val="00C14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47" name="Freeform: Shape 46">
              <a:extLst>
                <a:ext uri="{FF2B5EF4-FFF2-40B4-BE49-F238E27FC236}">
                  <a16:creationId xmlns:a16="http://schemas.microsoft.com/office/drawing/2014/main" id="{7F73D5CE-CC04-4409-AB0F-DD4549864671}"/>
                </a:ext>
              </a:extLst>
            </p:cNvPr>
            <p:cNvSpPr/>
            <p:nvPr userDrawn="1"/>
          </p:nvSpPr>
          <p:spPr>
            <a:xfrm>
              <a:off x="-433" y="0"/>
              <a:ext cx="843047" cy="2298700"/>
            </a:xfrm>
            <a:custGeom>
              <a:avLst/>
              <a:gdLst>
                <a:gd name="connsiteX0" fmla="*/ 0 w 873660"/>
                <a:gd name="connsiteY0" fmla="*/ 0 h 2298700"/>
                <a:gd name="connsiteX1" fmla="*/ 873660 w 873660"/>
                <a:gd name="connsiteY1" fmla="*/ 0 h 2298700"/>
                <a:gd name="connsiteX2" fmla="*/ 873660 w 873660"/>
                <a:gd name="connsiteY2" fmla="*/ 2298700 h 2298700"/>
                <a:gd name="connsiteX3" fmla="*/ 0 w 873660"/>
                <a:gd name="connsiteY3" fmla="*/ 2298700 h 2298700"/>
                <a:gd name="connsiteX4" fmla="*/ 0 w 873660"/>
                <a:gd name="connsiteY4" fmla="*/ 1797162 h 2298700"/>
                <a:gd name="connsiteX5" fmla="*/ 29186 w 873660"/>
                <a:gd name="connsiteY5" fmla="*/ 1775338 h 2298700"/>
                <a:gd name="connsiteX6" fmla="*/ 865699 w 873660"/>
                <a:gd name="connsiteY6" fmla="*/ 1549 h 2298700"/>
                <a:gd name="connsiteX7" fmla="*/ 0 w 873660"/>
                <a:gd name="connsiteY7" fmla="*/ 1549 h 229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3660" h="2298700">
                  <a:moveTo>
                    <a:pt x="0" y="0"/>
                  </a:moveTo>
                  <a:lnTo>
                    <a:pt x="873660" y="0"/>
                  </a:lnTo>
                  <a:lnTo>
                    <a:pt x="873660" y="2298700"/>
                  </a:lnTo>
                  <a:lnTo>
                    <a:pt x="0" y="2298700"/>
                  </a:lnTo>
                  <a:lnTo>
                    <a:pt x="0" y="1797162"/>
                  </a:lnTo>
                  <a:lnTo>
                    <a:pt x="29186" y="1775338"/>
                  </a:lnTo>
                  <a:cubicBezTo>
                    <a:pt x="540065" y="1353722"/>
                    <a:pt x="865699" y="715664"/>
                    <a:pt x="865699" y="1549"/>
                  </a:cubicBezTo>
                  <a:lnTo>
                    <a:pt x="0" y="1549"/>
                  </a:lnTo>
                  <a:close/>
                </a:path>
              </a:pathLst>
            </a:custGeom>
            <a:solidFill>
              <a:srgbClr val="91DA4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48" name="Freeform: Shape 47">
              <a:extLst>
                <a:ext uri="{FF2B5EF4-FFF2-40B4-BE49-F238E27FC236}">
                  <a16:creationId xmlns:a16="http://schemas.microsoft.com/office/drawing/2014/main" id="{BC70A6FA-494A-4E9A-947A-2291668C5A68}"/>
                </a:ext>
              </a:extLst>
            </p:cNvPr>
            <p:cNvSpPr/>
            <p:nvPr userDrawn="1"/>
          </p:nvSpPr>
          <p:spPr>
            <a:xfrm>
              <a:off x="0" y="1"/>
              <a:ext cx="827060" cy="171741"/>
            </a:xfrm>
            <a:custGeom>
              <a:avLst/>
              <a:gdLst>
                <a:gd name="connsiteX0" fmla="*/ 0 w 800000"/>
                <a:gd name="connsiteY0" fmla="*/ 0 h 174984"/>
                <a:gd name="connsiteX1" fmla="*/ 800000 w 800000"/>
                <a:gd name="connsiteY1" fmla="*/ 0 h 174984"/>
                <a:gd name="connsiteX2" fmla="*/ 656959 w 800000"/>
                <a:gd name="connsiteY2" fmla="*/ 7223 h 174984"/>
                <a:gd name="connsiteX3" fmla="*/ 208425 w 800000"/>
                <a:gd name="connsiteY3" fmla="*/ 98700 h 174984"/>
                <a:gd name="connsiteX4" fmla="*/ 0 w 800000"/>
                <a:gd name="connsiteY4" fmla="*/ 174984 h 174984"/>
                <a:gd name="connsiteX5" fmla="*/ 0 w 800000"/>
                <a:gd name="connsiteY5" fmla="*/ 0 h 17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0000" h="174984">
                  <a:moveTo>
                    <a:pt x="0" y="0"/>
                  </a:moveTo>
                  <a:lnTo>
                    <a:pt x="800000" y="0"/>
                  </a:lnTo>
                  <a:lnTo>
                    <a:pt x="656959" y="7223"/>
                  </a:lnTo>
                  <a:cubicBezTo>
                    <a:pt x="502408" y="22918"/>
                    <a:pt x="352383" y="53924"/>
                    <a:pt x="208425" y="98700"/>
                  </a:cubicBezTo>
                  <a:lnTo>
                    <a:pt x="0" y="174984"/>
                  </a:lnTo>
                  <a:lnTo>
                    <a:pt x="0" y="0"/>
                  </a:lnTo>
                  <a:close/>
                </a:path>
              </a:pathLst>
            </a:custGeom>
            <a:solidFill>
              <a:srgbClr val="91DA4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grpSp>
      <p:sp>
        <p:nvSpPr>
          <p:cNvPr id="14" name="Text Placeholder 13">
            <a:extLst>
              <a:ext uri="{FF2B5EF4-FFF2-40B4-BE49-F238E27FC236}">
                <a16:creationId xmlns:a16="http://schemas.microsoft.com/office/drawing/2014/main" id="{08BDE832-F45A-42CD-81EE-6B4384BECDE1}"/>
              </a:ext>
            </a:extLst>
          </p:cNvPr>
          <p:cNvSpPr>
            <a:spLocks noGrp="1"/>
          </p:cNvSpPr>
          <p:nvPr>
            <p:ph type="body" sz="quarter" idx="16"/>
          </p:nvPr>
        </p:nvSpPr>
        <p:spPr>
          <a:xfrm>
            <a:off x="1127125" y="1323077"/>
            <a:ext cx="10764837" cy="4985648"/>
          </a:xfrm>
          <a:prstGeom prst="rect">
            <a:avLst/>
          </a:prstGeom>
        </p:spPr>
        <p:txBody>
          <a:bodyPr lIns="0">
            <a:normAutofit/>
          </a:bodyPr>
          <a:lstStyle>
            <a:lvl1pPr marL="0" indent="0" rtl="0">
              <a:buNone/>
              <a:defRPr sz="1200">
                <a:solidFill>
                  <a:schemeClr val="accent2">
                    <a:lumMod val="50000"/>
                  </a:schemeClr>
                </a:solidFill>
                <a:latin typeface="Leelawadee" panose="020B0502040204020203" pitchFamily="34" charset="-34"/>
                <a:cs typeface="Leelawadee" panose="020B0502040204020203" pitchFamily="34" charset="-34"/>
              </a:defRPr>
            </a:lvl1pPr>
          </a:lstStyle>
          <a:p>
            <a:pPr lvl="0"/>
            <a:endParaRPr lang="en-US" noProof="0"/>
          </a:p>
        </p:txBody>
      </p:sp>
      <p:sp>
        <p:nvSpPr>
          <p:cNvPr id="2" name="Title 1">
            <a:extLst>
              <a:ext uri="{FF2B5EF4-FFF2-40B4-BE49-F238E27FC236}">
                <a16:creationId xmlns:a16="http://schemas.microsoft.com/office/drawing/2014/main" id="{849FCE2A-9753-4545-A158-BD1998A6C2C4}"/>
              </a:ext>
            </a:extLst>
          </p:cNvPr>
          <p:cNvSpPr>
            <a:spLocks noGrp="1"/>
          </p:cNvSpPr>
          <p:nvPr>
            <p:ph type="title"/>
          </p:nvPr>
        </p:nvSpPr>
        <p:spPr>
          <a:xfrm>
            <a:off x="1123517" y="296863"/>
            <a:ext cx="10768445" cy="387798"/>
          </a:xfrm>
          <a:prstGeom prst="rect">
            <a:avLst/>
          </a:prstGeom>
        </p:spPr>
        <p:txBody>
          <a:bodyPr vert="horz" wrap="square" lIns="0" tIns="0" rIns="0" bIns="0">
            <a:spAutoFit/>
          </a:bodyPr>
          <a:lstStyle>
            <a:lvl1pPr>
              <a:defRPr lang="pl-PL" sz="2800" b="1" i="0" kern="1200" dirty="0">
                <a:solidFill>
                  <a:schemeClr val="accent2">
                    <a:lumMod val="50000"/>
                  </a:schemeClr>
                </a:solidFill>
                <a:latin typeface="Leelawadee" panose="020B0502040204020203" pitchFamily="34" charset="-34"/>
                <a:ea typeface="+mn-ea"/>
                <a:cs typeface="Leelawadee" panose="020B0502040204020203" pitchFamily="34" charset="-34"/>
              </a:defRPr>
            </a:lvl1pPr>
          </a:lstStyle>
          <a:p>
            <a:r>
              <a:rPr lang="en-US"/>
              <a:t>Click to edit Master title style</a:t>
            </a:r>
            <a:endParaRPr lang="pl-PL"/>
          </a:p>
        </p:txBody>
      </p:sp>
      <p:sp>
        <p:nvSpPr>
          <p:cNvPr id="168" name="Rectangle 167">
            <a:extLst>
              <a:ext uri="{FF2B5EF4-FFF2-40B4-BE49-F238E27FC236}">
                <a16:creationId xmlns:a16="http://schemas.microsoft.com/office/drawing/2014/main" id="{2196F8FD-2DB2-4BEC-8C23-D5B9E899C4AE}"/>
              </a:ext>
            </a:extLst>
          </p:cNvPr>
          <p:cNvSpPr/>
          <p:nvPr userDrawn="1"/>
        </p:nvSpPr>
        <p:spPr>
          <a:xfrm>
            <a:off x="0" y="6570000"/>
            <a:ext cx="12192000"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100" noProof="0"/>
          </a:p>
        </p:txBody>
      </p:sp>
      <p:cxnSp>
        <p:nvCxnSpPr>
          <p:cNvPr id="169" name="Straight Connector 168">
            <a:extLst>
              <a:ext uri="{FF2B5EF4-FFF2-40B4-BE49-F238E27FC236}">
                <a16:creationId xmlns:a16="http://schemas.microsoft.com/office/drawing/2014/main" id="{67FFE990-C28C-46D3-8237-7FF55858B44A}"/>
              </a:ext>
            </a:extLst>
          </p:cNvPr>
          <p:cNvCxnSpPr/>
          <p:nvPr userDrawn="1"/>
        </p:nvCxnSpPr>
        <p:spPr>
          <a:xfrm>
            <a:off x="634587" y="6570000"/>
            <a:ext cx="0" cy="288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70" name="TextBox 169">
            <a:extLst>
              <a:ext uri="{FF2B5EF4-FFF2-40B4-BE49-F238E27FC236}">
                <a16:creationId xmlns:a16="http://schemas.microsoft.com/office/drawing/2014/main" id="{C48AFF10-1546-4780-8419-38693288A1FD}"/>
              </a:ext>
            </a:extLst>
          </p:cNvPr>
          <p:cNvSpPr txBox="1"/>
          <p:nvPr userDrawn="1"/>
        </p:nvSpPr>
        <p:spPr>
          <a:xfrm>
            <a:off x="806034" y="6650942"/>
            <a:ext cx="3896596" cy="123111"/>
          </a:xfrm>
          <a:prstGeom prst="rect">
            <a:avLst/>
          </a:prstGeom>
          <a:noFill/>
        </p:spPr>
        <p:txBody>
          <a:bodyPr wrap="square" lIns="0" tIns="0" rIns="0" bIns="0" rtlCol="0">
            <a:spAutoFit/>
          </a:bodyPr>
          <a:lstStyle/>
          <a:p>
            <a:pPr rtl="0"/>
            <a:r>
              <a:rPr lang="en-US" sz="800" spc="300" baseline="0" noProof="0">
                <a:solidFill>
                  <a:schemeClr val="bg1"/>
                </a:solidFill>
                <a:latin typeface="Leelawadee" panose="020B0502040204020203" pitchFamily="34" charset="-34"/>
                <a:cs typeface="Leelawadee" panose="020B0502040204020203" pitchFamily="34" charset="-34"/>
              </a:rPr>
              <a:t>CONFIDENTIAL &amp; PROPRIETARY</a:t>
            </a:r>
          </a:p>
        </p:txBody>
      </p:sp>
      <p:sp>
        <p:nvSpPr>
          <p:cNvPr id="208" name="Rectangle 207">
            <a:hlinkClick r:id="" action="ppaction://noaction"/>
            <a:extLst>
              <a:ext uri="{FF2B5EF4-FFF2-40B4-BE49-F238E27FC236}">
                <a16:creationId xmlns:a16="http://schemas.microsoft.com/office/drawing/2014/main" id="{DF9E46A6-AB95-4FFE-8E79-829B6BCB9D96}"/>
              </a:ext>
            </a:extLst>
          </p:cNvPr>
          <p:cNvSpPr/>
          <p:nvPr userDrawn="1"/>
        </p:nvSpPr>
        <p:spPr>
          <a:xfrm>
            <a:off x="5214721" y="6579908"/>
            <a:ext cx="1147937"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lnSpc>
                <a:spcPct val="90000"/>
              </a:lnSpc>
            </a:pPr>
            <a:endParaRPr lang="en-GB" sz="800" b="0">
              <a:solidFill>
                <a:schemeClr val="bg1">
                  <a:alpha val="50000"/>
                </a:schemeClr>
              </a:solidFill>
              <a:latin typeface="Leelawadee" panose="020B0502040204020203" pitchFamily="34" charset="-34"/>
              <a:cs typeface="Leelawadee" panose="020B0502040204020203" pitchFamily="34" charset="-34"/>
            </a:endParaRPr>
          </a:p>
        </p:txBody>
      </p:sp>
      <p:sp>
        <p:nvSpPr>
          <p:cNvPr id="210" name="Rectangle 209">
            <a:hlinkClick r:id="rId5" action="ppaction://hlinksldjump"/>
            <a:extLst>
              <a:ext uri="{FF2B5EF4-FFF2-40B4-BE49-F238E27FC236}">
                <a16:creationId xmlns:a16="http://schemas.microsoft.com/office/drawing/2014/main" id="{3D649761-33E5-4CC7-8AA8-E67031581F73}"/>
              </a:ext>
            </a:extLst>
          </p:cNvPr>
          <p:cNvSpPr/>
          <p:nvPr userDrawn="1"/>
        </p:nvSpPr>
        <p:spPr>
          <a:xfrm>
            <a:off x="6367021" y="6579908"/>
            <a:ext cx="1126055"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endParaRPr lang="en-US" sz="800" b="0" noProof="0">
              <a:solidFill>
                <a:schemeClr val="bg1">
                  <a:alpha val="50000"/>
                </a:schemeClr>
              </a:solidFill>
              <a:latin typeface="Leelawadee" panose="020B0502040204020203" pitchFamily="34" charset="-34"/>
              <a:cs typeface="Leelawadee" panose="020B0502040204020203" pitchFamily="34" charset="-34"/>
            </a:endParaRPr>
          </a:p>
        </p:txBody>
      </p:sp>
      <p:sp>
        <p:nvSpPr>
          <p:cNvPr id="211" name="Rectangle 210">
            <a:hlinkClick r:id="" action="ppaction://noaction"/>
            <a:extLst>
              <a:ext uri="{FF2B5EF4-FFF2-40B4-BE49-F238E27FC236}">
                <a16:creationId xmlns:a16="http://schemas.microsoft.com/office/drawing/2014/main" id="{8DA402D8-8F30-4D7E-BCAA-DC8C11701083}"/>
              </a:ext>
            </a:extLst>
          </p:cNvPr>
          <p:cNvSpPr/>
          <p:nvPr userDrawn="1"/>
        </p:nvSpPr>
        <p:spPr>
          <a:xfrm>
            <a:off x="7510981" y="6579908"/>
            <a:ext cx="967705"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endParaRPr lang="en-US" sz="800" b="0" noProof="0">
              <a:solidFill>
                <a:schemeClr val="bg1">
                  <a:alpha val="50000"/>
                </a:schemeClr>
              </a:solidFill>
              <a:latin typeface="Leelawadee" panose="020B0502040204020203" pitchFamily="34" charset="-34"/>
              <a:cs typeface="Leelawadee" panose="020B0502040204020203" pitchFamily="34" charset="-34"/>
            </a:endParaRPr>
          </a:p>
        </p:txBody>
      </p:sp>
      <p:sp>
        <p:nvSpPr>
          <p:cNvPr id="212" name="Rectangle 211">
            <a:hlinkClick r:id="" action="ppaction://noaction"/>
            <a:hlinkHover r:id="" action="ppaction://noaction" highlightClick="1"/>
            <a:extLst>
              <a:ext uri="{FF2B5EF4-FFF2-40B4-BE49-F238E27FC236}">
                <a16:creationId xmlns:a16="http://schemas.microsoft.com/office/drawing/2014/main" id="{B627BCE0-AB58-4188-A1D0-C2E22239E599}"/>
              </a:ext>
            </a:extLst>
          </p:cNvPr>
          <p:cNvSpPr/>
          <p:nvPr userDrawn="1"/>
        </p:nvSpPr>
        <p:spPr>
          <a:xfrm>
            <a:off x="8544692" y="6579908"/>
            <a:ext cx="994577"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endParaRPr lang="en-GB" sz="800" b="0" noProof="0">
              <a:solidFill>
                <a:schemeClr val="bg1">
                  <a:alpha val="50000"/>
                </a:schemeClr>
              </a:solidFill>
              <a:latin typeface="Leelawadee" panose="020B0502040204020203" pitchFamily="34" charset="-34"/>
              <a:cs typeface="Leelawadee" panose="020B0502040204020203" pitchFamily="34" charset="-34"/>
            </a:endParaRPr>
          </a:p>
        </p:txBody>
      </p:sp>
      <p:cxnSp>
        <p:nvCxnSpPr>
          <p:cNvPr id="213" name="Straight Connector 212">
            <a:extLst>
              <a:ext uri="{FF2B5EF4-FFF2-40B4-BE49-F238E27FC236}">
                <a16:creationId xmlns:a16="http://schemas.microsoft.com/office/drawing/2014/main" id="{187D52BA-BDE3-415A-AEFB-83CC1724F62C}"/>
              </a:ext>
            </a:extLst>
          </p:cNvPr>
          <p:cNvCxnSpPr/>
          <p:nvPr userDrawn="1"/>
        </p:nvCxnSpPr>
        <p:spPr>
          <a:xfrm>
            <a:off x="9539270"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F8642A9C-6F6A-4ED1-BED4-9AF84CA129F5}"/>
              </a:ext>
            </a:extLst>
          </p:cNvPr>
          <p:cNvCxnSpPr/>
          <p:nvPr userDrawn="1"/>
        </p:nvCxnSpPr>
        <p:spPr>
          <a:xfrm>
            <a:off x="848143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C1B97F16-3396-4342-801B-3DBEDB58DCC8}"/>
              </a:ext>
            </a:extLst>
          </p:cNvPr>
          <p:cNvCxnSpPr/>
          <p:nvPr userDrawn="1"/>
        </p:nvCxnSpPr>
        <p:spPr>
          <a:xfrm>
            <a:off x="7493596"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EE468229-F79B-496A-BFC1-68C828600411}"/>
              </a:ext>
            </a:extLst>
          </p:cNvPr>
          <p:cNvCxnSpPr/>
          <p:nvPr userDrawn="1"/>
        </p:nvCxnSpPr>
        <p:spPr>
          <a:xfrm>
            <a:off x="636702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8B1D5755-ADCB-472C-85AE-458992AD688F}"/>
              </a:ext>
            </a:extLst>
          </p:cNvPr>
          <p:cNvCxnSpPr/>
          <p:nvPr userDrawn="1"/>
        </p:nvCxnSpPr>
        <p:spPr>
          <a:xfrm>
            <a:off x="11186336"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nvGrpSpPr>
          <p:cNvPr id="218" name="Group 217">
            <a:extLst>
              <a:ext uri="{FF2B5EF4-FFF2-40B4-BE49-F238E27FC236}">
                <a16:creationId xmlns:a16="http://schemas.microsoft.com/office/drawing/2014/main" id="{5B2B6E0C-D500-4A56-B6B8-2C6547905786}"/>
              </a:ext>
            </a:extLst>
          </p:cNvPr>
          <p:cNvGrpSpPr/>
          <p:nvPr userDrawn="1"/>
        </p:nvGrpSpPr>
        <p:grpSpPr>
          <a:xfrm>
            <a:off x="11393217" y="6628477"/>
            <a:ext cx="473369" cy="183554"/>
            <a:chOff x="11393217" y="6628477"/>
            <a:chExt cx="473369" cy="183554"/>
          </a:xfrm>
        </p:grpSpPr>
        <p:sp>
          <p:nvSpPr>
            <p:cNvPr id="219" name="Freeform: Shape 218">
              <a:extLst>
                <a:ext uri="{FF2B5EF4-FFF2-40B4-BE49-F238E27FC236}">
                  <a16:creationId xmlns:a16="http://schemas.microsoft.com/office/drawing/2014/main" id="{6603F098-5D88-4FE1-AA36-1FD7A7E6E091}"/>
                </a:ext>
              </a:extLst>
            </p:cNvPr>
            <p:cNvSpPr/>
            <p:nvPr/>
          </p:nvSpPr>
          <p:spPr>
            <a:xfrm>
              <a:off x="11432435" y="6628477"/>
              <a:ext cx="90651" cy="18332"/>
            </a:xfrm>
            <a:custGeom>
              <a:avLst/>
              <a:gdLst>
                <a:gd name="connsiteX0" fmla="*/ 11746 w 160635"/>
                <a:gd name="connsiteY0" fmla="*/ 19438 h 32484"/>
                <a:gd name="connsiteX1" fmla="*/ 53842 w 160635"/>
                <a:gd name="connsiteY1" fmla="*/ 32138 h 32484"/>
                <a:gd name="connsiteX2" fmla="*/ 96443 w 160635"/>
                <a:gd name="connsiteY2" fmla="*/ 19438 h 32484"/>
                <a:gd name="connsiteX3" fmla="*/ 138646 w 160635"/>
                <a:gd name="connsiteY3" fmla="*/ 32138 h 32484"/>
                <a:gd name="connsiteX4" fmla="*/ 161624 w 160635"/>
                <a:gd name="connsiteY4" fmla="*/ 25721 h 32484"/>
                <a:gd name="connsiteX5" fmla="*/ 78205 w 160635"/>
                <a:gd name="connsiteY5" fmla="*/ -345 h 32484"/>
                <a:gd name="connsiteX6" fmla="*/ 989 w 160635"/>
                <a:gd name="connsiteY6" fmla="*/ 21648 h 32484"/>
                <a:gd name="connsiteX7" fmla="*/ 11879 w 160635"/>
                <a:gd name="connsiteY7" fmla="*/ 19438 h 3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635" h="32484">
                  <a:moveTo>
                    <a:pt x="11746" y="19438"/>
                  </a:moveTo>
                  <a:cubicBezTo>
                    <a:pt x="29798" y="19438"/>
                    <a:pt x="34671" y="32138"/>
                    <a:pt x="53842" y="32138"/>
                  </a:cubicBezTo>
                  <a:cubicBezTo>
                    <a:pt x="73012" y="32138"/>
                    <a:pt x="77645" y="19438"/>
                    <a:pt x="96443" y="19438"/>
                  </a:cubicBezTo>
                  <a:cubicBezTo>
                    <a:pt x="113644" y="19438"/>
                    <a:pt x="120700" y="32138"/>
                    <a:pt x="138646" y="32138"/>
                  </a:cubicBezTo>
                  <a:cubicBezTo>
                    <a:pt x="146732" y="32029"/>
                    <a:pt x="154651" y="29819"/>
                    <a:pt x="161624" y="25721"/>
                  </a:cubicBezTo>
                  <a:cubicBezTo>
                    <a:pt x="137136" y="8707"/>
                    <a:pt x="108023" y="-388"/>
                    <a:pt x="78205" y="-345"/>
                  </a:cubicBezTo>
                  <a:cubicBezTo>
                    <a:pt x="50915" y="-377"/>
                    <a:pt x="24164" y="7240"/>
                    <a:pt x="989" y="21648"/>
                  </a:cubicBezTo>
                  <a:cubicBezTo>
                    <a:pt x="4440" y="20210"/>
                    <a:pt x="8140" y="19459"/>
                    <a:pt x="11879" y="19438"/>
                  </a:cubicBezTo>
                </a:path>
              </a:pathLst>
            </a:custGeom>
            <a:solidFill>
              <a:srgbClr val="4FE3F2"/>
            </a:solidFill>
            <a:ln w="2661" cap="flat">
              <a:noFill/>
              <a:prstDash val="solid"/>
              <a:miter/>
            </a:ln>
          </p:spPr>
          <p:txBody>
            <a:bodyPr rtlCol="0" anchor="ctr"/>
            <a:lstStyle/>
            <a:p>
              <a:endParaRPr lang="pl-PL"/>
            </a:p>
          </p:txBody>
        </p:sp>
        <p:sp>
          <p:nvSpPr>
            <p:cNvPr id="220" name="Freeform: Shape 219">
              <a:extLst>
                <a:ext uri="{FF2B5EF4-FFF2-40B4-BE49-F238E27FC236}">
                  <a16:creationId xmlns:a16="http://schemas.microsoft.com/office/drawing/2014/main" id="{CF6F68CE-AABE-4486-920B-AAE6C04D37A6}"/>
                </a:ext>
              </a:extLst>
            </p:cNvPr>
            <p:cNvSpPr/>
            <p:nvPr/>
          </p:nvSpPr>
          <p:spPr>
            <a:xfrm>
              <a:off x="11432374" y="6628522"/>
              <a:ext cx="90726" cy="18332"/>
            </a:xfrm>
            <a:custGeom>
              <a:avLst/>
              <a:gdLst>
                <a:gd name="connsiteX0" fmla="*/ 78205 w 160768"/>
                <a:gd name="connsiteY0" fmla="*/ -345 h 32484"/>
                <a:gd name="connsiteX1" fmla="*/ 989 w 160768"/>
                <a:gd name="connsiteY1" fmla="*/ 21648 h 32484"/>
                <a:gd name="connsiteX2" fmla="*/ 11879 w 160768"/>
                <a:gd name="connsiteY2" fmla="*/ 19438 h 32484"/>
                <a:gd name="connsiteX3" fmla="*/ 53975 w 160768"/>
                <a:gd name="connsiteY3" fmla="*/ 32138 h 32484"/>
                <a:gd name="connsiteX4" fmla="*/ 96577 w 160768"/>
                <a:gd name="connsiteY4" fmla="*/ 19438 h 32484"/>
                <a:gd name="connsiteX5" fmla="*/ 138806 w 160768"/>
                <a:gd name="connsiteY5" fmla="*/ 32138 h 32484"/>
                <a:gd name="connsiteX6" fmla="*/ 161757 w 160768"/>
                <a:gd name="connsiteY6" fmla="*/ 25722 h 32484"/>
                <a:gd name="connsiteX7" fmla="*/ 78338 w 160768"/>
                <a:gd name="connsiteY7" fmla="*/ -345 h 3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68" h="32484">
                  <a:moveTo>
                    <a:pt x="78205" y="-345"/>
                  </a:moveTo>
                  <a:cubicBezTo>
                    <a:pt x="50915" y="-377"/>
                    <a:pt x="24164" y="7240"/>
                    <a:pt x="989" y="21648"/>
                  </a:cubicBezTo>
                  <a:cubicBezTo>
                    <a:pt x="4439" y="20210"/>
                    <a:pt x="8140" y="19459"/>
                    <a:pt x="11879" y="19438"/>
                  </a:cubicBezTo>
                  <a:cubicBezTo>
                    <a:pt x="29931" y="19438"/>
                    <a:pt x="34804" y="32138"/>
                    <a:pt x="53975" y="32138"/>
                  </a:cubicBezTo>
                  <a:cubicBezTo>
                    <a:pt x="73146" y="32138"/>
                    <a:pt x="77778" y="19438"/>
                    <a:pt x="96577" y="19438"/>
                  </a:cubicBezTo>
                  <a:cubicBezTo>
                    <a:pt x="113777" y="19438"/>
                    <a:pt x="120833" y="32138"/>
                    <a:pt x="138806" y="32138"/>
                  </a:cubicBezTo>
                  <a:cubicBezTo>
                    <a:pt x="146884" y="32027"/>
                    <a:pt x="154792" y="29814"/>
                    <a:pt x="161757" y="25722"/>
                  </a:cubicBezTo>
                  <a:cubicBezTo>
                    <a:pt x="137269" y="8707"/>
                    <a:pt x="108156" y="-388"/>
                    <a:pt x="78338" y="-345"/>
                  </a:cubicBezTo>
                </a:path>
              </a:pathLst>
            </a:custGeom>
            <a:solidFill>
              <a:srgbClr val="BAF2FA"/>
            </a:solidFill>
            <a:ln w="2661" cap="flat">
              <a:noFill/>
              <a:prstDash val="solid"/>
              <a:miter/>
            </a:ln>
          </p:spPr>
          <p:txBody>
            <a:bodyPr rtlCol="0" anchor="ctr"/>
            <a:lstStyle/>
            <a:p>
              <a:endParaRPr lang="pl-PL"/>
            </a:p>
          </p:txBody>
        </p:sp>
        <p:sp>
          <p:nvSpPr>
            <p:cNvPr id="221" name="Freeform: Shape 220">
              <a:extLst>
                <a:ext uri="{FF2B5EF4-FFF2-40B4-BE49-F238E27FC236}">
                  <a16:creationId xmlns:a16="http://schemas.microsoft.com/office/drawing/2014/main" id="{34CD57F0-B8C5-4A4E-8D94-A66B166798BC}"/>
                </a:ext>
              </a:extLst>
            </p:cNvPr>
            <p:cNvSpPr/>
            <p:nvPr/>
          </p:nvSpPr>
          <p:spPr>
            <a:xfrm>
              <a:off x="11427415" y="6639597"/>
              <a:ext cx="108562" cy="21802"/>
            </a:xfrm>
            <a:custGeom>
              <a:avLst/>
              <a:gdLst>
                <a:gd name="connsiteX0" fmla="*/ 105230 w 192373"/>
                <a:gd name="connsiteY0" fmla="*/ -266 h 38634"/>
                <a:gd name="connsiteX1" fmla="*/ 62628 w 192373"/>
                <a:gd name="connsiteY1" fmla="*/ 12435 h 38634"/>
                <a:gd name="connsiteX2" fmla="*/ 20532 w 192373"/>
                <a:gd name="connsiteY2" fmla="*/ -266 h 38634"/>
                <a:gd name="connsiteX3" fmla="*/ 9642 w 192373"/>
                <a:gd name="connsiteY3" fmla="*/ 1944 h 38634"/>
                <a:gd name="connsiteX4" fmla="*/ 989 w 192373"/>
                <a:gd name="connsiteY4" fmla="*/ 7775 h 38634"/>
                <a:gd name="connsiteX5" fmla="*/ 21171 w 192373"/>
                <a:gd name="connsiteY5" fmla="*/ 25615 h 38634"/>
                <a:gd name="connsiteX6" fmla="*/ 62628 w 192373"/>
                <a:gd name="connsiteY6" fmla="*/ 38289 h 38634"/>
                <a:gd name="connsiteX7" fmla="*/ 105230 w 192373"/>
                <a:gd name="connsiteY7" fmla="*/ 25588 h 38634"/>
                <a:gd name="connsiteX8" fmla="*/ 147459 w 192373"/>
                <a:gd name="connsiteY8" fmla="*/ 38289 h 38634"/>
                <a:gd name="connsiteX9" fmla="*/ 190700 w 192373"/>
                <a:gd name="connsiteY9" fmla="*/ 25588 h 38634"/>
                <a:gd name="connsiteX10" fmla="*/ 193363 w 192373"/>
                <a:gd name="connsiteY10" fmla="*/ 25588 h 38634"/>
                <a:gd name="connsiteX11" fmla="*/ 170438 w 192373"/>
                <a:gd name="connsiteY11" fmla="*/ 5938 h 38634"/>
                <a:gd name="connsiteX12" fmla="*/ 147486 w 192373"/>
                <a:gd name="connsiteY12" fmla="*/ 12355 h 38634"/>
                <a:gd name="connsiteX13" fmla="*/ 105257 w 192373"/>
                <a:gd name="connsiteY13" fmla="*/ -346 h 38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2373" h="38634">
                  <a:moveTo>
                    <a:pt x="105230" y="-266"/>
                  </a:moveTo>
                  <a:cubicBezTo>
                    <a:pt x="86592" y="-266"/>
                    <a:pt x="81799" y="12435"/>
                    <a:pt x="62628" y="12435"/>
                  </a:cubicBezTo>
                  <a:cubicBezTo>
                    <a:pt x="43457" y="12435"/>
                    <a:pt x="38665" y="-266"/>
                    <a:pt x="20532" y="-266"/>
                  </a:cubicBezTo>
                  <a:cubicBezTo>
                    <a:pt x="16794" y="-244"/>
                    <a:pt x="13093" y="506"/>
                    <a:pt x="9642" y="1944"/>
                  </a:cubicBezTo>
                  <a:cubicBezTo>
                    <a:pt x="6687" y="3781"/>
                    <a:pt x="3785" y="5725"/>
                    <a:pt x="989" y="7775"/>
                  </a:cubicBezTo>
                  <a:cubicBezTo>
                    <a:pt x="8031" y="13356"/>
                    <a:pt x="14768" y="19312"/>
                    <a:pt x="21171" y="25615"/>
                  </a:cubicBezTo>
                  <a:cubicBezTo>
                    <a:pt x="38691" y="25908"/>
                    <a:pt x="43697" y="38289"/>
                    <a:pt x="62628" y="38289"/>
                  </a:cubicBezTo>
                  <a:cubicBezTo>
                    <a:pt x="81559" y="38289"/>
                    <a:pt x="86432" y="25588"/>
                    <a:pt x="105230" y="25588"/>
                  </a:cubicBezTo>
                  <a:cubicBezTo>
                    <a:pt x="122431" y="25588"/>
                    <a:pt x="129487" y="38289"/>
                    <a:pt x="147459" y="38289"/>
                  </a:cubicBezTo>
                  <a:cubicBezTo>
                    <a:pt x="167456" y="38289"/>
                    <a:pt x="173872" y="25588"/>
                    <a:pt x="190700" y="25588"/>
                  </a:cubicBezTo>
                  <a:cubicBezTo>
                    <a:pt x="191632" y="25588"/>
                    <a:pt x="192484" y="25588"/>
                    <a:pt x="193363" y="25588"/>
                  </a:cubicBezTo>
                  <a:cubicBezTo>
                    <a:pt x="186416" y="18269"/>
                    <a:pt x="178734" y="11684"/>
                    <a:pt x="170438" y="5938"/>
                  </a:cubicBezTo>
                  <a:cubicBezTo>
                    <a:pt x="163472" y="10031"/>
                    <a:pt x="155564" y="12243"/>
                    <a:pt x="147486" y="12355"/>
                  </a:cubicBezTo>
                  <a:cubicBezTo>
                    <a:pt x="129513" y="12355"/>
                    <a:pt x="122457" y="-346"/>
                    <a:pt x="105257" y="-346"/>
                  </a:cubicBezTo>
                </a:path>
              </a:pathLst>
            </a:custGeom>
            <a:solidFill>
              <a:srgbClr val="4FE3F2"/>
            </a:solidFill>
            <a:ln w="2661" cap="flat">
              <a:noFill/>
              <a:prstDash val="solid"/>
              <a:miter/>
            </a:ln>
          </p:spPr>
          <p:txBody>
            <a:bodyPr rtlCol="0" anchor="ctr"/>
            <a:lstStyle/>
            <a:p>
              <a:endParaRPr lang="pl-PL"/>
            </a:p>
          </p:txBody>
        </p:sp>
        <p:sp>
          <p:nvSpPr>
            <p:cNvPr id="222" name="Freeform: Shape 221">
              <a:extLst>
                <a:ext uri="{FF2B5EF4-FFF2-40B4-BE49-F238E27FC236}">
                  <a16:creationId xmlns:a16="http://schemas.microsoft.com/office/drawing/2014/main" id="{FE126DE7-1FFD-40AA-8223-8DC5E5D3255C}"/>
                </a:ext>
              </a:extLst>
            </p:cNvPr>
            <p:cNvSpPr/>
            <p:nvPr/>
          </p:nvSpPr>
          <p:spPr>
            <a:xfrm>
              <a:off x="11438745" y="6654277"/>
              <a:ext cx="111537" cy="22389"/>
            </a:xfrm>
            <a:custGeom>
              <a:avLst/>
              <a:gdLst>
                <a:gd name="connsiteX0" fmla="*/ 127250 w 197645"/>
                <a:gd name="connsiteY0" fmla="*/ 12355 h 39673"/>
                <a:gd name="connsiteX1" fmla="*/ 85048 w 197645"/>
                <a:gd name="connsiteY1" fmla="*/ -346 h 39673"/>
                <a:gd name="connsiteX2" fmla="*/ 42446 w 197645"/>
                <a:gd name="connsiteY2" fmla="*/ 12355 h 39673"/>
                <a:gd name="connsiteX3" fmla="*/ 989 w 197645"/>
                <a:gd name="connsiteY3" fmla="*/ -319 h 39673"/>
                <a:gd name="connsiteX4" fmla="*/ 24233 w 197645"/>
                <a:gd name="connsiteY4" fmla="*/ 25881 h 39673"/>
                <a:gd name="connsiteX5" fmla="*/ 33100 w 197645"/>
                <a:gd name="connsiteY5" fmla="*/ 38209 h 39673"/>
                <a:gd name="connsiteX6" fmla="*/ 42446 w 197645"/>
                <a:gd name="connsiteY6" fmla="*/ 39327 h 39673"/>
                <a:gd name="connsiteX7" fmla="*/ 85048 w 197645"/>
                <a:gd name="connsiteY7" fmla="*/ 26627 h 39673"/>
                <a:gd name="connsiteX8" fmla="*/ 127250 w 197645"/>
                <a:gd name="connsiteY8" fmla="*/ 39327 h 39673"/>
                <a:gd name="connsiteX9" fmla="*/ 170517 w 197645"/>
                <a:gd name="connsiteY9" fmla="*/ 26627 h 39673"/>
                <a:gd name="connsiteX10" fmla="*/ 198635 w 197645"/>
                <a:gd name="connsiteY10" fmla="*/ 36478 h 39673"/>
                <a:gd name="connsiteX11" fmla="*/ 173153 w 197645"/>
                <a:gd name="connsiteY11" fmla="*/ -266 h 39673"/>
                <a:gd name="connsiteX12" fmla="*/ 170491 w 197645"/>
                <a:gd name="connsiteY12" fmla="*/ -266 h 39673"/>
                <a:gd name="connsiteX13" fmla="*/ 127223 w 197645"/>
                <a:gd name="connsiteY13" fmla="*/ 12435 h 39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7645" h="39673">
                  <a:moveTo>
                    <a:pt x="127250" y="12355"/>
                  </a:moveTo>
                  <a:cubicBezTo>
                    <a:pt x="109304" y="12355"/>
                    <a:pt x="102248" y="-346"/>
                    <a:pt x="85048" y="-346"/>
                  </a:cubicBezTo>
                  <a:cubicBezTo>
                    <a:pt x="66409" y="-346"/>
                    <a:pt x="61616" y="12355"/>
                    <a:pt x="42446" y="12355"/>
                  </a:cubicBezTo>
                  <a:cubicBezTo>
                    <a:pt x="23275" y="12355"/>
                    <a:pt x="18482" y="-26"/>
                    <a:pt x="989" y="-319"/>
                  </a:cubicBezTo>
                  <a:cubicBezTo>
                    <a:pt x="9333" y="7866"/>
                    <a:pt x="17100" y="16621"/>
                    <a:pt x="24233" y="25881"/>
                  </a:cubicBezTo>
                  <a:cubicBezTo>
                    <a:pt x="27295" y="29902"/>
                    <a:pt x="30277" y="34002"/>
                    <a:pt x="33100" y="38209"/>
                  </a:cubicBezTo>
                  <a:cubicBezTo>
                    <a:pt x="36157" y="38971"/>
                    <a:pt x="39296" y="39346"/>
                    <a:pt x="42446" y="39327"/>
                  </a:cubicBezTo>
                  <a:cubicBezTo>
                    <a:pt x="61510" y="39327"/>
                    <a:pt x="66249" y="26627"/>
                    <a:pt x="85048" y="26627"/>
                  </a:cubicBezTo>
                  <a:cubicBezTo>
                    <a:pt x="102248" y="26627"/>
                    <a:pt x="109304" y="39327"/>
                    <a:pt x="127250" y="39327"/>
                  </a:cubicBezTo>
                  <a:cubicBezTo>
                    <a:pt x="147273" y="39327"/>
                    <a:pt x="153690" y="26627"/>
                    <a:pt x="170517" y="26627"/>
                  </a:cubicBezTo>
                  <a:cubicBezTo>
                    <a:pt x="184283" y="26627"/>
                    <a:pt x="189635" y="32245"/>
                    <a:pt x="198635" y="36478"/>
                  </a:cubicBezTo>
                  <a:cubicBezTo>
                    <a:pt x="192063" y="23003"/>
                    <a:pt x="183471" y="10611"/>
                    <a:pt x="173153" y="-266"/>
                  </a:cubicBezTo>
                  <a:cubicBezTo>
                    <a:pt x="172301" y="-266"/>
                    <a:pt x="171449" y="-266"/>
                    <a:pt x="170491" y="-266"/>
                  </a:cubicBezTo>
                  <a:cubicBezTo>
                    <a:pt x="153663" y="-266"/>
                    <a:pt x="147246" y="12435"/>
                    <a:pt x="127223" y="12435"/>
                  </a:cubicBezTo>
                </a:path>
              </a:pathLst>
            </a:custGeom>
            <a:solidFill>
              <a:srgbClr val="0066E5"/>
            </a:solidFill>
            <a:ln w="2661" cap="flat">
              <a:noFill/>
              <a:prstDash val="solid"/>
              <a:miter/>
            </a:ln>
          </p:spPr>
          <p:txBody>
            <a:bodyPr rtlCol="0" anchor="ctr"/>
            <a:lstStyle/>
            <a:p>
              <a:endParaRPr lang="pl-PL"/>
            </a:p>
          </p:txBody>
        </p:sp>
        <p:sp>
          <p:nvSpPr>
            <p:cNvPr id="223" name="Freeform: Shape 222">
              <a:extLst>
                <a:ext uri="{FF2B5EF4-FFF2-40B4-BE49-F238E27FC236}">
                  <a16:creationId xmlns:a16="http://schemas.microsoft.com/office/drawing/2014/main" id="{B4358C46-F35C-4880-824C-A4D50C1E2A87}"/>
                </a:ext>
              </a:extLst>
            </p:cNvPr>
            <p:cNvSpPr/>
            <p:nvPr/>
          </p:nvSpPr>
          <p:spPr>
            <a:xfrm>
              <a:off x="11456867" y="6669498"/>
              <a:ext cx="99186" cy="29390"/>
            </a:xfrm>
            <a:custGeom>
              <a:avLst/>
              <a:gdLst>
                <a:gd name="connsiteX0" fmla="*/ 95139 w 175759"/>
                <a:gd name="connsiteY0" fmla="*/ 12355 h 52080"/>
                <a:gd name="connsiteX1" fmla="*/ 52936 w 175759"/>
                <a:gd name="connsiteY1" fmla="*/ -346 h 52080"/>
                <a:gd name="connsiteX2" fmla="*/ 10335 w 175759"/>
                <a:gd name="connsiteY2" fmla="*/ 12355 h 52080"/>
                <a:gd name="connsiteX3" fmla="*/ 989 w 175759"/>
                <a:gd name="connsiteY3" fmla="*/ 11210 h 52080"/>
                <a:gd name="connsiteX4" fmla="*/ 23248 w 175759"/>
                <a:gd name="connsiteY4" fmla="*/ 51735 h 52080"/>
                <a:gd name="connsiteX5" fmla="*/ 22929 w 175759"/>
                <a:gd name="connsiteY5" fmla="*/ 50963 h 52080"/>
                <a:gd name="connsiteX6" fmla="*/ 110183 w 175759"/>
                <a:gd name="connsiteY6" fmla="*/ 22633 h 52080"/>
                <a:gd name="connsiteX7" fmla="*/ 176748 w 175759"/>
                <a:gd name="connsiteY7" fmla="*/ 38262 h 52080"/>
                <a:gd name="connsiteX8" fmla="*/ 166310 w 175759"/>
                <a:gd name="connsiteY8" fmla="*/ 9506 h 52080"/>
                <a:gd name="connsiteX9" fmla="*/ 138193 w 175759"/>
                <a:gd name="connsiteY9" fmla="*/ -346 h 52080"/>
                <a:gd name="connsiteX10" fmla="*/ 94926 w 175759"/>
                <a:gd name="connsiteY10" fmla="*/ 12355 h 52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5759" h="52080">
                  <a:moveTo>
                    <a:pt x="95139" y="12355"/>
                  </a:moveTo>
                  <a:cubicBezTo>
                    <a:pt x="77193" y="12355"/>
                    <a:pt x="70137" y="-346"/>
                    <a:pt x="52936" y="-346"/>
                  </a:cubicBezTo>
                  <a:cubicBezTo>
                    <a:pt x="34298" y="-346"/>
                    <a:pt x="29505" y="12355"/>
                    <a:pt x="10335" y="12355"/>
                  </a:cubicBezTo>
                  <a:cubicBezTo>
                    <a:pt x="7182" y="12379"/>
                    <a:pt x="4043" y="11993"/>
                    <a:pt x="989" y="11210"/>
                  </a:cubicBezTo>
                  <a:cubicBezTo>
                    <a:pt x="9634" y="24007"/>
                    <a:pt x="17087" y="37573"/>
                    <a:pt x="23248" y="51735"/>
                  </a:cubicBezTo>
                  <a:lnTo>
                    <a:pt x="22929" y="50963"/>
                  </a:lnTo>
                  <a:cubicBezTo>
                    <a:pt x="48205" y="32375"/>
                    <a:pt x="78806" y="22438"/>
                    <a:pt x="110183" y="22633"/>
                  </a:cubicBezTo>
                  <a:cubicBezTo>
                    <a:pt x="133286" y="22574"/>
                    <a:pt x="156083" y="27926"/>
                    <a:pt x="176748" y="38262"/>
                  </a:cubicBezTo>
                  <a:cubicBezTo>
                    <a:pt x="174298" y="28333"/>
                    <a:pt x="170800" y="18695"/>
                    <a:pt x="166310" y="9506"/>
                  </a:cubicBezTo>
                  <a:cubicBezTo>
                    <a:pt x="157311" y="5273"/>
                    <a:pt x="151959" y="-346"/>
                    <a:pt x="138193" y="-346"/>
                  </a:cubicBezTo>
                  <a:cubicBezTo>
                    <a:pt x="121365" y="-346"/>
                    <a:pt x="114949" y="12355"/>
                    <a:pt x="94926" y="12355"/>
                  </a:cubicBezTo>
                </a:path>
              </a:pathLst>
            </a:custGeom>
            <a:solidFill>
              <a:srgbClr val="143DCF"/>
            </a:solidFill>
            <a:ln w="2661" cap="flat">
              <a:noFill/>
              <a:prstDash val="solid"/>
              <a:miter/>
            </a:ln>
          </p:spPr>
          <p:txBody>
            <a:bodyPr rtlCol="0" anchor="ctr"/>
            <a:lstStyle/>
            <a:p>
              <a:endParaRPr lang="pl-PL"/>
            </a:p>
          </p:txBody>
        </p:sp>
        <p:sp>
          <p:nvSpPr>
            <p:cNvPr id="224" name="Freeform: Shape 223">
              <a:extLst>
                <a:ext uri="{FF2B5EF4-FFF2-40B4-BE49-F238E27FC236}">
                  <a16:creationId xmlns:a16="http://schemas.microsoft.com/office/drawing/2014/main" id="{3A994DF6-054F-40F6-869D-5DCF92AF54E8}"/>
                </a:ext>
              </a:extLst>
            </p:cNvPr>
            <p:cNvSpPr/>
            <p:nvPr/>
          </p:nvSpPr>
          <p:spPr>
            <a:xfrm>
              <a:off x="11469428" y="6682464"/>
              <a:ext cx="88352" cy="28821"/>
            </a:xfrm>
            <a:custGeom>
              <a:avLst/>
              <a:gdLst>
                <a:gd name="connsiteX0" fmla="*/ 154808 w 156561"/>
                <a:gd name="connsiteY0" fmla="*/ 15287 h 51071"/>
                <a:gd name="connsiteX1" fmla="*/ 88243 w 156561"/>
                <a:gd name="connsiteY1" fmla="*/ -343 h 51071"/>
                <a:gd name="connsiteX2" fmla="*/ 989 w 156561"/>
                <a:gd name="connsiteY2" fmla="*/ 27987 h 51071"/>
                <a:gd name="connsiteX3" fmla="*/ 1308 w 156561"/>
                <a:gd name="connsiteY3" fmla="*/ 28760 h 51071"/>
                <a:gd name="connsiteX4" fmla="*/ 2533 w 156561"/>
                <a:gd name="connsiteY4" fmla="*/ 31635 h 51071"/>
                <a:gd name="connsiteX5" fmla="*/ 3172 w 156561"/>
                <a:gd name="connsiteY5" fmla="*/ 33153 h 51071"/>
                <a:gd name="connsiteX6" fmla="*/ 5568 w 156561"/>
                <a:gd name="connsiteY6" fmla="*/ 39170 h 51071"/>
                <a:gd name="connsiteX7" fmla="*/ 5888 w 156561"/>
                <a:gd name="connsiteY7" fmla="*/ 40049 h 51071"/>
                <a:gd name="connsiteX8" fmla="*/ 6740 w 156561"/>
                <a:gd name="connsiteY8" fmla="*/ 42339 h 51071"/>
                <a:gd name="connsiteX9" fmla="*/ 7619 w 156561"/>
                <a:gd name="connsiteY9" fmla="*/ 44709 h 51071"/>
                <a:gd name="connsiteX10" fmla="*/ 8364 w 156561"/>
                <a:gd name="connsiteY10" fmla="*/ 46892 h 51071"/>
                <a:gd name="connsiteX11" fmla="*/ 9269 w 156561"/>
                <a:gd name="connsiteY11" fmla="*/ 49555 h 51071"/>
                <a:gd name="connsiteX12" fmla="*/ 9669 w 156561"/>
                <a:gd name="connsiteY12" fmla="*/ 50726 h 51071"/>
                <a:gd name="connsiteX13" fmla="*/ 88243 w 156561"/>
                <a:gd name="connsiteY13" fmla="*/ 28360 h 51071"/>
                <a:gd name="connsiteX14" fmla="*/ 109544 w 156561"/>
                <a:gd name="connsiteY14" fmla="*/ 29825 h 51071"/>
                <a:gd name="connsiteX15" fmla="*/ 112606 w 156561"/>
                <a:gd name="connsiteY15" fmla="*/ 30038 h 51071"/>
                <a:gd name="connsiteX16" fmla="*/ 112925 w 156561"/>
                <a:gd name="connsiteY16" fmla="*/ 30038 h 51071"/>
                <a:gd name="connsiteX17" fmla="*/ 113378 w 156561"/>
                <a:gd name="connsiteY17" fmla="*/ 30038 h 51071"/>
                <a:gd name="connsiteX18" fmla="*/ 116040 w 156561"/>
                <a:gd name="connsiteY18" fmla="*/ 30677 h 51071"/>
                <a:gd name="connsiteX19" fmla="*/ 116040 w 156561"/>
                <a:gd name="connsiteY19" fmla="*/ 30677 h 51071"/>
                <a:gd name="connsiteX20" fmla="*/ 123256 w 156561"/>
                <a:gd name="connsiteY20" fmla="*/ 18722 h 51071"/>
                <a:gd name="connsiteX21" fmla="*/ 139232 w 156561"/>
                <a:gd name="connsiteY21" fmla="*/ 15873 h 51071"/>
                <a:gd name="connsiteX22" fmla="*/ 139232 w 156561"/>
                <a:gd name="connsiteY22" fmla="*/ 15873 h 51071"/>
                <a:gd name="connsiteX23" fmla="*/ 140536 w 156561"/>
                <a:gd name="connsiteY23" fmla="*/ 37520 h 51071"/>
                <a:gd name="connsiteX24" fmla="*/ 150015 w 156561"/>
                <a:gd name="connsiteY24" fmla="*/ 29691 h 51071"/>
                <a:gd name="connsiteX25" fmla="*/ 157550 w 156561"/>
                <a:gd name="connsiteY25" fmla="*/ 29212 h 51071"/>
                <a:gd name="connsiteX26" fmla="*/ 154888 w 156561"/>
                <a:gd name="connsiteY26" fmla="*/ 15180 h 5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6561" h="51071">
                  <a:moveTo>
                    <a:pt x="154808" y="15287"/>
                  </a:moveTo>
                  <a:cubicBezTo>
                    <a:pt x="134143" y="4950"/>
                    <a:pt x="111346" y="-401"/>
                    <a:pt x="88243" y="-343"/>
                  </a:cubicBezTo>
                  <a:cubicBezTo>
                    <a:pt x="56866" y="-537"/>
                    <a:pt x="26265" y="9400"/>
                    <a:pt x="989" y="27987"/>
                  </a:cubicBezTo>
                  <a:lnTo>
                    <a:pt x="1308" y="28760"/>
                  </a:lnTo>
                  <a:cubicBezTo>
                    <a:pt x="1734" y="29718"/>
                    <a:pt x="2134" y="30677"/>
                    <a:pt x="2533" y="31635"/>
                  </a:cubicBezTo>
                  <a:lnTo>
                    <a:pt x="3172" y="33153"/>
                  </a:lnTo>
                  <a:cubicBezTo>
                    <a:pt x="3997" y="35150"/>
                    <a:pt x="4796" y="37147"/>
                    <a:pt x="5568" y="39170"/>
                  </a:cubicBezTo>
                  <a:lnTo>
                    <a:pt x="5888" y="40049"/>
                  </a:lnTo>
                  <a:cubicBezTo>
                    <a:pt x="6181" y="40821"/>
                    <a:pt x="6474" y="41593"/>
                    <a:pt x="6740" y="42339"/>
                  </a:cubicBezTo>
                  <a:lnTo>
                    <a:pt x="7619" y="44709"/>
                  </a:lnTo>
                  <a:cubicBezTo>
                    <a:pt x="7858" y="45454"/>
                    <a:pt x="8124" y="46173"/>
                    <a:pt x="8364" y="46892"/>
                  </a:cubicBezTo>
                  <a:cubicBezTo>
                    <a:pt x="8604" y="47611"/>
                    <a:pt x="8977" y="48649"/>
                    <a:pt x="9269" y="49555"/>
                  </a:cubicBezTo>
                  <a:lnTo>
                    <a:pt x="9669" y="50726"/>
                  </a:lnTo>
                  <a:cubicBezTo>
                    <a:pt x="33212" y="35978"/>
                    <a:pt x="60461" y="28222"/>
                    <a:pt x="88243" y="28360"/>
                  </a:cubicBezTo>
                  <a:cubicBezTo>
                    <a:pt x="95368" y="28358"/>
                    <a:pt x="102485" y="28847"/>
                    <a:pt x="109544" y="29825"/>
                  </a:cubicBezTo>
                  <a:cubicBezTo>
                    <a:pt x="110569" y="29835"/>
                    <a:pt x="111591" y="29907"/>
                    <a:pt x="112606" y="30038"/>
                  </a:cubicBezTo>
                  <a:lnTo>
                    <a:pt x="112925" y="30038"/>
                  </a:lnTo>
                  <a:lnTo>
                    <a:pt x="113378" y="30038"/>
                  </a:lnTo>
                  <a:cubicBezTo>
                    <a:pt x="114278" y="30189"/>
                    <a:pt x="115170" y="30402"/>
                    <a:pt x="116040" y="30677"/>
                  </a:cubicBezTo>
                  <a:lnTo>
                    <a:pt x="116040" y="30677"/>
                  </a:lnTo>
                  <a:cubicBezTo>
                    <a:pt x="116123" y="25684"/>
                    <a:pt x="118879" y="21121"/>
                    <a:pt x="123256" y="18722"/>
                  </a:cubicBezTo>
                  <a:cubicBezTo>
                    <a:pt x="129460" y="14994"/>
                    <a:pt x="139232" y="15873"/>
                    <a:pt x="139232" y="15873"/>
                  </a:cubicBezTo>
                  <a:lnTo>
                    <a:pt x="139232" y="15873"/>
                  </a:lnTo>
                  <a:cubicBezTo>
                    <a:pt x="140068" y="23059"/>
                    <a:pt x="140504" y="30285"/>
                    <a:pt x="140536" y="37520"/>
                  </a:cubicBezTo>
                  <a:cubicBezTo>
                    <a:pt x="142291" y="33566"/>
                    <a:pt x="145800" y="30666"/>
                    <a:pt x="150015" y="29691"/>
                  </a:cubicBezTo>
                  <a:cubicBezTo>
                    <a:pt x="152483" y="29124"/>
                    <a:pt x="155029" y="28962"/>
                    <a:pt x="157550" y="29212"/>
                  </a:cubicBezTo>
                  <a:cubicBezTo>
                    <a:pt x="156858" y="24446"/>
                    <a:pt x="155953" y="19787"/>
                    <a:pt x="154888" y="15180"/>
                  </a:cubicBezTo>
                </a:path>
              </a:pathLst>
            </a:custGeom>
            <a:solidFill>
              <a:srgbClr val="00A652"/>
            </a:solidFill>
            <a:ln w="2661" cap="flat">
              <a:noFill/>
              <a:prstDash val="solid"/>
              <a:miter/>
            </a:ln>
          </p:spPr>
          <p:txBody>
            <a:bodyPr rtlCol="0" anchor="ctr"/>
            <a:lstStyle/>
            <a:p>
              <a:endParaRPr lang="pl-PL"/>
            </a:p>
          </p:txBody>
        </p:sp>
        <p:sp>
          <p:nvSpPr>
            <p:cNvPr id="225" name="Freeform: Shape 224">
              <a:extLst>
                <a:ext uri="{FF2B5EF4-FFF2-40B4-BE49-F238E27FC236}">
                  <a16:creationId xmlns:a16="http://schemas.microsoft.com/office/drawing/2014/main" id="{96BDED57-2C5E-4269-B465-D1303724C33A}"/>
                </a:ext>
              </a:extLst>
            </p:cNvPr>
            <p:cNvSpPr/>
            <p:nvPr/>
          </p:nvSpPr>
          <p:spPr>
            <a:xfrm>
              <a:off x="11474267" y="6698648"/>
              <a:ext cx="56271" cy="28174"/>
            </a:xfrm>
            <a:custGeom>
              <a:avLst/>
              <a:gdLst>
                <a:gd name="connsiteX0" fmla="*/ 79563 w 99714"/>
                <a:gd name="connsiteY0" fmla="*/ -344 h 49925"/>
                <a:gd name="connsiteX1" fmla="*/ 989 w 99714"/>
                <a:gd name="connsiteY1" fmla="*/ 22022 h 49925"/>
                <a:gd name="connsiteX2" fmla="*/ 1228 w 99714"/>
                <a:gd name="connsiteY2" fmla="*/ 22821 h 49925"/>
                <a:gd name="connsiteX3" fmla="*/ 2373 w 99714"/>
                <a:gd name="connsiteY3" fmla="*/ 26442 h 49925"/>
                <a:gd name="connsiteX4" fmla="*/ 2773 w 99714"/>
                <a:gd name="connsiteY4" fmla="*/ 27694 h 49925"/>
                <a:gd name="connsiteX5" fmla="*/ 4184 w 99714"/>
                <a:gd name="connsiteY5" fmla="*/ 32540 h 49925"/>
                <a:gd name="connsiteX6" fmla="*/ 4610 w 99714"/>
                <a:gd name="connsiteY6" fmla="*/ 34137 h 49925"/>
                <a:gd name="connsiteX7" fmla="*/ 5515 w 99714"/>
                <a:gd name="connsiteY7" fmla="*/ 37545 h 49925"/>
                <a:gd name="connsiteX8" fmla="*/ 6021 w 99714"/>
                <a:gd name="connsiteY8" fmla="*/ 39542 h 49925"/>
                <a:gd name="connsiteX9" fmla="*/ 6767 w 99714"/>
                <a:gd name="connsiteY9" fmla="*/ 42658 h 49925"/>
                <a:gd name="connsiteX10" fmla="*/ 7246 w 99714"/>
                <a:gd name="connsiteY10" fmla="*/ 44708 h 49925"/>
                <a:gd name="connsiteX11" fmla="*/ 8231 w 99714"/>
                <a:gd name="connsiteY11" fmla="*/ 49128 h 49925"/>
                <a:gd name="connsiteX12" fmla="*/ 8231 w 99714"/>
                <a:gd name="connsiteY12" fmla="*/ 49580 h 49925"/>
                <a:gd name="connsiteX13" fmla="*/ 61936 w 99714"/>
                <a:gd name="connsiteY13" fmla="*/ 32566 h 49925"/>
                <a:gd name="connsiteX14" fmla="*/ 65877 w 99714"/>
                <a:gd name="connsiteY14" fmla="*/ 29904 h 49925"/>
                <a:gd name="connsiteX15" fmla="*/ 78125 w 99714"/>
                <a:gd name="connsiteY15" fmla="*/ 28732 h 49925"/>
                <a:gd name="connsiteX16" fmla="*/ 81373 w 99714"/>
                <a:gd name="connsiteY16" fmla="*/ 29478 h 49925"/>
                <a:gd name="connsiteX17" fmla="*/ 82278 w 99714"/>
                <a:gd name="connsiteY17" fmla="*/ 24339 h 49925"/>
                <a:gd name="connsiteX18" fmla="*/ 88509 w 99714"/>
                <a:gd name="connsiteY18" fmla="*/ 6579 h 49925"/>
                <a:gd name="connsiteX19" fmla="*/ 100704 w 99714"/>
                <a:gd name="connsiteY19" fmla="*/ 1254 h 49925"/>
                <a:gd name="connsiteX20" fmla="*/ 79403 w 99714"/>
                <a:gd name="connsiteY20" fmla="*/ -211 h 49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9714" h="49925">
                  <a:moveTo>
                    <a:pt x="79563" y="-344"/>
                  </a:moveTo>
                  <a:cubicBezTo>
                    <a:pt x="51781" y="-482"/>
                    <a:pt x="24532" y="7274"/>
                    <a:pt x="989" y="22022"/>
                  </a:cubicBezTo>
                  <a:lnTo>
                    <a:pt x="1228" y="22821"/>
                  </a:lnTo>
                  <a:cubicBezTo>
                    <a:pt x="1628" y="24019"/>
                    <a:pt x="2001" y="25244"/>
                    <a:pt x="2373" y="26442"/>
                  </a:cubicBezTo>
                  <a:lnTo>
                    <a:pt x="2773" y="27694"/>
                  </a:lnTo>
                  <a:cubicBezTo>
                    <a:pt x="3252" y="29318"/>
                    <a:pt x="3731" y="30915"/>
                    <a:pt x="4184" y="32540"/>
                  </a:cubicBezTo>
                  <a:cubicBezTo>
                    <a:pt x="4317" y="33072"/>
                    <a:pt x="4450" y="33605"/>
                    <a:pt x="4610" y="34137"/>
                  </a:cubicBezTo>
                  <a:cubicBezTo>
                    <a:pt x="4903" y="35282"/>
                    <a:pt x="5222" y="36400"/>
                    <a:pt x="5515" y="37545"/>
                  </a:cubicBezTo>
                  <a:cubicBezTo>
                    <a:pt x="5675" y="38211"/>
                    <a:pt x="5861" y="38877"/>
                    <a:pt x="6021" y="39542"/>
                  </a:cubicBezTo>
                  <a:cubicBezTo>
                    <a:pt x="6181" y="40208"/>
                    <a:pt x="6527" y="41619"/>
                    <a:pt x="6767" y="42658"/>
                  </a:cubicBezTo>
                  <a:lnTo>
                    <a:pt x="7246" y="44708"/>
                  </a:lnTo>
                  <a:cubicBezTo>
                    <a:pt x="7592" y="46172"/>
                    <a:pt x="7912" y="47663"/>
                    <a:pt x="8231" y="49128"/>
                  </a:cubicBezTo>
                  <a:lnTo>
                    <a:pt x="8231" y="49580"/>
                  </a:lnTo>
                  <a:cubicBezTo>
                    <a:pt x="24862" y="40482"/>
                    <a:pt x="43101" y="34704"/>
                    <a:pt x="61936" y="32566"/>
                  </a:cubicBezTo>
                  <a:cubicBezTo>
                    <a:pt x="63078" y="31451"/>
                    <a:pt x="64415" y="30548"/>
                    <a:pt x="65877" y="29904"/>
                  </a:cubicBezTo>
                  <a:cubicBezTo>
                    <a:pt x="69748" y="28287"/>
                    <a:pt x="74016" y="27880"/>
                    <a:pt x="78125" y="28732"/>
                  </a:cubicBezTo>
                  <a:cubicBezTo>
                    <a:pt x="79227" y="28892"/>
                    <a:pt x="80313" y="29139"/>
                    <a:pt x="81373" y="29478"/>
                  </a:cubicBezTo>
                  <a:cubicBezTo>
                    <a:pt x="81719" y="27773"/>
                    <a:pt x="82012" y="26069"/>
                    <a:pt x="82278" y="24339"/>
                  </a:cubicBezTo>
                  <a:cubicBezTo>
                    <a:pt x="82278" y="24339"/>
                    <a:pt x="84355" y="11558"/>
                    <a:pt x="88509" y="6579"/>
                  </a:cubicBezTo>
                  <a:cubicBezTo>
                    <a:pt x="91555" y="3043"/>
                    <a:pt x="96042" y="1086"/>
                    <a:pt x="100704" y="1254"/>
                  </a:cubicBezTo>
                  <a:cubicBezTo>
                    <a:pt x="93645" y="277"/>
                    <a:pt x="86528" y="-213"/>
                    <a:pt x="79403" y="-211"/>
                  </a:cubicBezTo>
                </a:path>
              </a:pathLst>
            </a:custGeom>
            <a:solidFill>
              <a:srgbClr val="8FD942"/>
            </a:solidFill>
            <a:ln w="2661" cap="flat">
              <a:noFill/>
              <a:prstDash val="solid"/>
              <a:miter/>
            </a:ln>
          </p:spPr>
          <p:txBody>
            <a:bodyPr rtlCol="0" anchor="ctr"/>
            <a:lstStyle/>
            <a:p>
              <a:endParaRPr lang="pl-PL"/>
            </a:p>
          </p:txBody>
        </p:sp>
        <p:sp>
          <p:nvSpPr>
            <p:cNvPr id="226" name="Freeform: Shape 225">
              <a:extLst>
                <a:ext uri="{FF2B5EF4-FFF2-40B4-BE49-F238E27FC236}">
                  <a16:creationId xmlns:a16="http://schemas.microsoft.com/office/drawing/2014/main" id="{901F0EBD-5060-47E5-8380-3A634030A4BD}"/>
                </a:ext>
              </a:extLst>
            </p:cNvPr>
            <p:cNvSpPr/>
            <p:nvPr/>
          </p:nvSpPr>
          <p:spPr>
            <a:xfrm>
              <a:off x="11478444" y="6717190"/>
              <a:ext cx="30172" cy="26310"/>
            </a:xfrm>
            <a:custGeom>
              <a:avLst/>
              <a:gdLst>
                <a:gd name="connsiteX0" fmla="*/ 989 w 53465"/>
                <a:gd name="connsiteY0" fmla="*/ 16669 h 46622"/>
                <a:gd name="connsiteX1" fmla="*/ 1415 w 53465"/>
                <a:gd name="connsiteY1" fmla="*/ 18878 h 46622"/>
                <a:gd name="connsiteX2" fmla="*/ 1921 w 53465"/>
                <a:gd name="connsiteY2" fmla="*/ 21541 h 46622"/>
                <a:gd name="connsiteX3" fmla="*/ 2426 w 53465"/>
                <a:gd name="connsiteY3" fmla="*/ 24337 h 46622"/>
                <a:gd name="connsiteX4" fmla="*/ 2719 w 53465"/>
                <a:gd name="connsiteY4" fmla="*/ 26014 h 46622"/>
                <a:gd name="connsiteX5" fmla="*/ 2719 w 53465"/>
                <a:gd name="connsiteY5" fmla="*/ 26361 h 46622"/>
                <a:gd name="connsiteX6" fmla="*/ 2719 w 53465"/>
                <a:gd name="connsiteY6" fmla="*/ 26573 h 46622"/>
                <a:gd name="connsiteX7" fmla="*/ 3199 w 53465"/>
                <a:gd name="connsiteY7" fmla="*/ 29449 h 46622"/>
                <a:gd name="connsiteX8" fmla="*/ 3651 w 53465"/>
                <a:gd name="connsiteY8" fmla="*/ 32484 h 46622"/>
                <a:gd name="connsiteX9" fmla="*/ 3891 w 53465"/>
                <a:gd name="connsiteY9" fmla="*/ 34268 h 46622"/>
                <a:gd name="connsiteX10" fmla="*/ 4370 w 53465"/>
                <a:gd name="connsiteY10" fmla="*/ 38103 h 46622"/>
                <a:gd name="connsiteX11" fmla="*/ 4743 w 53465"/>
                <a:gd name="connsiteY11" fmla="*/ 41165 h 46622"/>
                <a:gd name="connsiteX12" fmla="*/ 4743 w 53465"/>
                <a:gd name="connsiteY12" fmla="*/ 41324 h 46622"/>
                <a:gd name="connsiteX13" fmla="*/ 4743 w 53465"/>
                <a:gd name="connsiteY13" fmla="*/ 41324 h 46622"/>
                <a:gd name="connsiteX14" fmla="*/ 4743 w 53465"/>
                <a:gd name="connsiteY14" fmla="*/ 41324 h 46622"/>
                <a:gd name="connsiteX15" fmla="*/ 4743 w 53465"/>
                <a:gd name="connsiteY15" fmla="*/ 41671 h 46622"/>
                <a:gd name="connsiteX16" fmla="*/ 4743 w 53465"/>
                <a:gd name="connsiteY16" fmla="*/ 42443 h 46622"/>
                <a:gd name="connsiteX17" fmla="*/ 4743 w 53465"/>
                <a:gd name="connsiteY17" fmla="*/ 42949 h 46622"/>
                <a:gd name="connsiteX18" fmla="*/ 5063 w 53465"/>
                <a:gd name="connsiteY18" fmla="*/ 46277 h 46622"/>
                <a:gd name="connsiteX19" fmla="*/ 5063 w 53465"/>
                <a:gd name="connsiteY19" fmla="*/ 46037 h 46622"/>
                <a:gd name="connsiteX20" fmla="*/ 24313 w 53465"/>
                <a:gd name="connsiteY20" fmla="*/ 38049 h 46622"/>
                <a:gd name="connsiteX21" fmla="*/ 36668 w 53465"/>
                <a:gd name="connsiteY21" fmla="*/ 34481 h 46622"/>
                <a:gd name="connsiteX22" fmla="*/ 44416 w 53465"/>
                <a:gd name="connsiteY22" fmla="*/ 21168 h 46622"/>
                <a:gd name="connsiteX23" fmla="*/ 50460 w 53465"/>
                <a:gd name="connsiteY23" fmla="*/ 6737 h 46622"/>
                <a:gd name="connsiteX24" fmla="*/ 50833 w 53465"/>
                <a:gd name="connsiteY24" fmla="*/ 5592 h 46622"/>
                <a:gd name="connsiteX25" fmla="*/ 54454 w 53465"/>
                <a:gd name="connsiteY25" fmla="*/ -346 h 46622"/>
                <a:gd name="connsiteX26" fmla="*/ 989 w 53465"/>
                <a:gd name="connsiteY26" fmla="*/ 16669 h 4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3465" h="46622">
                  <a:moveTo>
                    <a:pt x="989" y="16669"/>
                  </a:moveTo>
                  <a:cubicBezTo>
                    <a:pt x="1148" y="17414"/>
                    <a:pt x="1282" y="18160"/>
                    <a:pt x="1415" y="18878"/>
                  </a:cubicBezTo>
                  <a:cubicBezTo>
                    <a:pt x="1548" y="19597"/>
                    <a:pt x="1761" y="20609"/>
                    <a:pt x="1921" y="21541"/>
                  </a:cubicBezTo>
                  <a:cubicBezTo>
                    <a:pt x="2080" y="22473"/>
                    <a:pt x="2267" y="23405"/>
                    <a:pt x="2426" y="24337"/>
                  </a:cubicBezTo>
                  <a:cubicBezTo>
                    <a:pt x="2586" y="25269"/>
                    <a:pt x="2613" y="25455"/>
                    <a:pt x="2719" y="26014"/>
                  </a:cubicBezTo>
                  <a:cubicBezTo>
                    <a:pt x="2719" y="26147"/>
                    <a:pt x="2719" y="26254"/>
                    <a:pt x="2719" y="26361"/>
                  </a:cubicBezTo>
                  <a:lnTo>
                    <a:pt x="2719" y="26573"/>
                  </a:lnTo>
                  <a:lnTo>
                    <a:pt x="3199" y="29449"/>
                  </a:lnTo>
                  <a:cubicBezTo>
                    <a:pt x="3358" y="30461"/>
                    <a:pt x="3492" y="31473"/>
                    <a:pt x="3651" y="32484"/>
                  </a:cubicBezTo>
                  <a:lnTo>
                    <a:pt x="3891" y="34268"/>
                  </a:lnTo>
                  <a:cubicBezTo>
                    <a:pt x="4077" y="35546"/>
                    <a:pt x="4211" y="36931"/>
                    <a:pt x="4370" y="38103"/>
                  </a:cubicBezTo>
                  <a:cubicBezTo>
                    <a:pt x="4530" y="39274"/>
                    <a:pt x="4610" y="40153"/>
                    <a:pt x="4743" y="41165"/>
                  </a:cubicBezTo>
                  <a:lnTo>
                    <a:pt x="4743" y="41324"/>
                  </a:lnTo>
                  <a:lnTo>
                    <a:pt x="4743" y="41324"/>
                  </a:lnTo>
                  <a:lnTo>
                    <a:pt x="4743" y="41324"/>
                  </a:lnTo>
                  <a:cubicBezTo>
                    <a:pt x="4743" y="41324"/>
                    <a:pt x="4743" y="41564"/>
                    <a:pt x="4743" y="41671"/>
                  </a:cubicBezTo>
                  <a:lnTo>
                    <a:pt x="4743" y="42443"/>
                  </a:lnTo>
                  <a:cubicBezTo>
                    <a:pt x="4756" y="42610"/>
                    <a:pt x="4756" y="42781"/>
                    <a:pt x="4743" y="42949"/>
                  </a:cubicBezTo>
                  <a:cubicBezTo>
                    <a:pt x="4743" y="44067"/>
                    <a:pt x="4983" y="45185"/>
                    <a:pt x="5063" y="46277"/>
                  </a:cubicBezTo>
                  <a:lnTo>
                    <a:pt x="5063" y="46037"/>
                  </a:lnTo>
                  <a:cubicBezTo>
                    <a:pt x="11274" y="42906"/>
                    <a:pt x="17710" y="40235"/>
                    <a:pt x="24313" y="38049"/>
                  </a:cubicBezTo>
                  <a:cubicBezTo>
                    <a:pt x="28360" y="36691"/>
                    <a:pt x="32487" y="35387"/>
                    <a:pt x="36668" y="34481"/>
                  </a:cubicBezTo>
                  <a:cubicBezTo>
                    <a:pt x="39546" y="30224"/>
                    <a:pt x="42134" y="25775"/>
                    <a:pt x="44416" y="21168"/>
                  </a:cubicBezTo>
                  <a:cubicBezTo>
                    <a:pt x="46735" y="16493"/>
                    <a:pt x="48756" y="11671"/>
                    <a:pt x="50460" y="6737"/>
                  </a:cubicBezTo>
                  <a:cubicBezTo>
                    <a:pt x="50460" y="6338"/>
                    <a:pt x="50700" y="5965"/>
                    <a:pt x="50833" y="5592"/>
                  </a:cubicBezTo>
                  <a:cubicBezTo>
                    <a:pt x="51589" y="3371"/>
                    <a:pt x="52825" y="1343"/>
                    <a:pt x="54454" y="-346"/>
                  </a:cubicBezTo>
                  <a:cubicBezTo>
                    <a:pt x="35701" y="1822"/>
                    <a:pt x="17545" y="7600"/>
                    <a:pt x="989" y="16669"/>
                  </a:cubicBezTo>
                </a:path>
              </a:pathLst>
            </a:custGeom>
            <a:solidFill>
              <a:srgbClr val="00A652"/>
            </a:solidFill>
            <a:ln w="2661" cap="flat">
              <a:noFill/>
              <a:prstDash val="solid"/>
              <a:miter/>
            </a:ln>
          </p:spPr>
          <p:txBody>
            <a:bodyPr rtlCol="0" anchor="ctr"/>
            <a:lstStyle/>
            <a:p>
              <a:endParaRPr lang="pl-PL"/>
            </a:p>
          </p:txBody>
        </p:sp>
        <p:sp>
          <p:nvSpPr>
            <p:cNvPr id="227" name="Freeform: Shape 226">
              <a:extLst>
                <a:ext uri="{FF2B5EF4-FFF2-40B4-BE49-F238E27FC236}">
                  <a16:creationId xmlns:a16="http://schemas.microsoft.com/office/drawing/2014/main" id="{7621378C-C8E7-4BCC-955E-2148BC1DF58F}"/>
                </a:ext>
              </a:extLst>
            </p:cNvPr>
            <p:cNvSpPr/>
            <p:nvPr/>
          </p:nvSpPr>
          <p:spPr>
            <a:xfrm>
              <a:off x="11480833" y="6736694"/>
              <a:ext cx="17385" cy="17249"/>
            </a:xfrm>
            <a:custGeom>
              <a:avLst/>
              <a:gdLst>
                <a:gd name="connsiteX0" fmla="*/ 20239 w 30806"/>
                <a:gd name="connsiteY0" fmla="*/ 3409 h 30566"/>
                <a:gd name="connsiteX1" fmla="*/ 989 w 30806"/>
                <a:gd name="connsiteY1" fmla="*/ 11397 h 30566"/>
                <a:gd name="connsiteX2" fmla="*/ 989 w 30806"/>
                <a:gd name="connsiteY2" fmla="*/ 11636 h 30566"/>
                <a:gd name="connsiteX3" fmla="*/ 989 w 30806"/>
                <a:gd name="connsiteY3" fmla="*/ 13154 h 30566"/>
                <a:gd name="connsiteX4" fmla="*/ 989 w 30806"/>
                <a:gd name="connsiteY4" fmla="*/ 13314 h 30566"/>
                <a:gd name="connsiteX5" fmla="*/ 1122 w 30806"/>
                <a:gd name="connsiteY5" fmla="*/ 15550 h 30566"/>
                <a:gd name="connsiteX6" fmla="*/ 1122 w 30806"/>
                <a:gd name="connsiteY6" fmla="*/ 16029 h 30566"/>
                <a:gd name="connsiteX7" fmla="*/ 1122 w 30806"/>
                <a:gd name="connsiteY7" fmla="*/ 16029 h 30566"/>
                <a:gd name="connsiteX8" fmla="*/ 1122 w 30806"/>
                <a:gd name="connsiteY8" fmla="*/ 16269 h 30566"/>
                <a:gd name="connsiteX9" fmla="*/ 1122 w 30806"/>
                <a:gd name="connsiteY9" fmla="*/ 18186 h 30566"/>
                <a:gd name="connsiteX10" fmla="*/ 1122 w 30806"/>
                <a:gd name="connsiteY10" fmla="*/ 19731 h 30566"/>
                <a:gd name="connsiteX11" fmla="*/ 1122 w 30806"/>
                <a:gd name="connsiteY11" fmla="*/ 19917 h 30566"/>
                <a:gd name="connsiteX12" fmla="*/ 1122 w 30806"/>
                <a:gd name="connsiteY12" fmla="*/ 21674 h 30566"/>
                <a:gd name="connsiteX13" fmla="*/ 1122 w 30806"/>
                <a:gd name="connsiteY13" fmla="*/ 23219 h 30566"/>
                <a:gd name="connsiteX14" fmla="*/ 1122 w 30806"/>
                <a:gd name="connsiteY14" fmla="*/ 23538 h 30566"/>
                <a:gd name="connsiteX15" fmla="*/ 1122 w 30806"/>
                <a:gd name="connsiteY15" fmla="*/ 23538 h 30566"/>
                <a:gd name="connsiteX16" fmla="*/ 1122 w 30806"/>
                <a:gd name="connsiteY16" fmla="*/ 24710 h 30566"/>
                <a:gd name="connsiteX17" fmla="*/ 1122 w 30806"/>
                <a:gd name="connsiteY17" fmla="*/ 26174 h 30566"/>
                <a:gd name="connsiteX18" fmla="*/ 1122 w 30806"/>
                <a:gd name="connsiteY18" fmla="*/ 26174 h 30566"/>
                <a:gd name="connsiteX19" fmla="*/ 1122 w 30806"/>
                <a:gd name="connsiteY19" fmla="*/ 26307 h 30566"/>
                <a:gd name="connsiteX20" fmla="*/ 1122 w 30806"/>
                <a:gd name="connsiteY20" fmla="*/ 27266 h 30566"/>
                <a:gd name="connsiteX21" fmla="*/ 1122 w 30806"/>
                <a:gd name="connsiteY21" fmla="*/ 29023 h 30566"/>
                <a:gd name="connsiteX22" fmla="*/ 1122 w 30806"/>
                <a:gd name="connsiteY22" fmla="*/ 30221 h 30566"/>
                <a:gd name="connsiteX23" fmla="*/ 1122 w 30806"/>
                <a:gd name="connsiteY23" fmla="*/ 30221 h 30566"/>
                <a:gd name="connsiteX24" fmla="*/ 2852 w 30806"/>
                <a:gd name="connsiteY24" fmla="*/ 29050 h 30566"/>
                <a:gd name="connsiteX25" fmla="*/ 12172 w 30806"/>
                <a:gd name="connsiteY25" fmla="*/ 22020 h 30566"/>
                <a:gd name="connsiteX26" fmla="*/ 27988 w 30806"/>
                <a:gd name="connsiteY26" fmla="*/ 5060 h 30566"/>
                <a:gd name="connsiteX27" fmla="*/ 29345 w 30806"/>
                <a:gd name="connsiteY27" fmla="*/ 3222 h 30566"/>
                <a:gd name="connsiteX28" fmla="*/ 31795 w 30806"/>
                <a:gd name="connsiteY28" fmla="*/ -346 h 30566"/>
                <a:gd name="connsiteX29" fmla="*/ 19441 w 30806"/>
                <a:gd name="connsiteY29" fmla="*/ 3222 h 30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0806" h="30566">
                  <a:moveTo>
                    <a:pt x="20239" y="3409"/>
                  </a:moveTo>
                  <a:cubicBezTo>
                    <a:pt x="13636" y="5600"/>
                    <a:pt x="7203" y="8268"/>
                    <a:pt x="989" y="11397"/>
                  </a:cubicBezTo>
                  <a:lnTo>
                    <a:pt x="989" y="11636"/>
                  </a:lnTo>
                  <a:cubicBezTo>
                    <a:pt x="989" y="12142"/>
                    <a:pt x="989" y="12648"/>
                    <a:pt x="989" y="13154"/>
                  </a:cubicBezTo>
                  <a:lnTo>
                    <a:pt x="989" y="13314"/>
                  </a:lnTo>
                  <a:cubicBezTo>
                    <a:pt x="989" y="14059"/>
                    <a:pt x="989" y="14805"/>
                    <a:pt x="1122" y="15550"/>
                  </a:cubicBezTo>
                  <a:lnTo>
                    <a:pt x="1122" y="16029"/>
                  </a:lnTo>
                  <a:lnTo>
                    <a:pt x="1122" y="16029"/>
                  </a:lnTo>
                  <a:lnTo>
                    <a:pt x="1122" y="16269"/>
                  </a:lnTo>
                  <a:cubicBezTo>
                    <a:pt x="1122" y="16908"/>
                    <a:pt x="1122" y="17547"/>
                    <a:pt x="1122" y="18186"/>
                  </a:cubicBezTo>
                  <a:cubicBezTo>
                    <a:pt x="1122" y="18825"/>
                    <a:pt x="1122" y="19225"/>
                    <a:pt x="1122" y="19731"/>
                  </a:cubicBezTo>
                  <a:lnTo>
                    <a:pt x="1122" y="19917"/>
                  </a:lnTo>
                  <a:lnTo>
                    <a:pt x="1122" y="21674"/>
                  </a:lnTo>
                  <a:cubicBezTo>
                    <a:pt x="1122" y="22207"/>
                    <a:pt x="1122" y="22713"/>
                    <a:pt x="1122" y="23219"/>
                  </a:cubicBezTo>
                  <a:cubicBezTo>
                    <a:pt x="1135" y="23325"/>
                    <a:pt x="1135" y="23432"/>
                    <a:pt x="1122" y="23538"/>
                  </a:cubicBezTo>
                  <a:lnTo>
                    <a:pt x="1122" y="23538"/>
                  </a:lnTo>
                  <a:cubicBezTo>
                    <a:pt x="1122" y="23937"/>
                    <a:pt x="1122" y="24310"/>
                    <a:pt x="1122" y="24710"/>
                  </a:cubicBezTo>
                  <a:cubicBezTo>
                    <a:pt x="1122" y="25109"/>
                    <a:pt x="1122" y="25695"/>
                    <a:pt x="1122" y="26174"/>
                  </a:cubicBezTo>
                  <a:lnTo>
                    <a:pt x="1122" y="26174"/>
                  </a:lnTo>
                  <a:lnTo>
                    <a:pt x="1122" y="26307"/>
                  </a:lnTo>
                  <a:cubicBezTo>
                    <a:pt x="1122" y="26627"/>
                    <a:pt x="1122" y="26946"/>
                    <a:pt x="1122" y="27266"/>
                  </a:cubicBezTo>
                  <a:cubicBezTo>
                    <a:pt x="1122" y="27585"/>
                    <a:pt x="1122" y="28437"/>
                    <a:pt x="1122" y="29023"/>
                  </a:cubicBezTo>
                  <a:cubicBezTo>
                    <a:pt x="1122" y="29609"/>
                    <a:pt x="1122" y="29822"/>
                    <a:pt x="1122" y="30221"/>
                  </a:cubicBezTo>
                  <a:lnTo>
                    <a:pt x="1122" y="30221"/>
                  </a:lnTo>
                  <a:lnTo>
                    <a:pt x="2852" y="29050"/>
                  </a:lnTo>
                  <a:cubicBezTo>
                    <a:pt x="6090" y="26888"/>
                    <a:pt x="9203" y="24539"/>
                    <a:pt x="12172" y="22020"/>
                  </a:cubicBezTo>
                  <a:cubicBezTo>
                    <a:pt x="18035" y="16948"/>
                    <a:pt x="23336" y="11263"/>
                    <a:pt x="27988" y="5060"/>
                  </a:cubicBezTo>
                  <a:lnTo>
                    <a:pt x="29345" y="3222"/>
                  </a:lnTo>
                  <a:cubicBezTo>
                    <a:pt x="30198" y="2024"/>
                    <a:pt x="31023" y="853"/>
                    <a:pt x="31795" y="-346"/>
                  </a:cubicBezTo>
                  <a:cubicBezTo>
                    <a:pt x="27615" y="666"/>
                    <a:pt x="23488" y="1864"/>
                    <a:pt x="19441" y="3222"/>
                  </a:cubicBezTo>
                </a:path>
              </a:pathLst>
            </a:custGeom>
            <a:solidFill>
              <a:srgbClr val="8FD942"/>
            </a:solidFill>
            <a:ln w="2661" cap="flat">
              <a:noFill/>
              <a:prstDash val="solid"/>
              <a:miter/>
            </a:ln>
          </p:spPr>
          <p:txBody>
            <a:bodyPr rtlCol="0" anchor="ctr"/>
            <a:lstStyle/>
            <a:p>
              <a:endParaRPr lang="pl-PL"/>
            </a:p>
          </p:txBody>
        </p:sp>
        <p:sp>
          <p:nvSpPr>
            <p:cNvPr id="228" name="Freeform: Shape 227">
              <a:extLst>
                <a:ext uri="{FF2B5EF4-FFF2-40B4-BE49-F238E27FC236}">
                  <a16:creationId xmlns:a16="http://schemas.microsoft.com/office/drawing/2014/main" id="{F71DD78F-FBB0-4927-898A-0296C1ACD77D}"/>
                </a:ext>
              </a:extLst>
            </p:cNvPr>
            <p:cNvSpPr/>
            <p:nvPr/>
          </p:nvSpPr>
          <p:spPr>
            <a:xfrm>
              <a:off x="11402788" y="6644225"/>
              <a:ext cx="49180" cy="59563"/>
            </a:xfrm>
            <a:custGeom>
              <a:avLst/>
              <a:gdLst>
                <a:gd name="connsiteX0" fmla="*/ 64918 w 87147"/>
                <a:gd name="connsiteY0" fmla="*/ 17494 h 105546"/>
                <a:gd name="connsiteX1" fmla="*/ 44735 w 87147"/>
                <a:gd name="connsiteY1" fmla="*/ -346 h 105546"/>
                <a:gd name="connsiteX2" fmla="*/ 14302 w 87147"/>
                <a:gd name="connsiteY2" fmla="*/ 29263 h 105546"/>
                <a:gd name="connsiteX3" fmla="*/ 989 w 87147"/>
                <a:gd name="connsiteY3" fmla="*/ 50111 h 105546"/>
                <a:gd name="connsiteX4" fmla="*/ 2160 w 87147"/>
                <a:gd name="connsiteY4" fmla="*/ 51602 h 105546"/>
                <a:gd name="connsiteX5" fmla="*/ 36774 w 87147"/>
                <a:gd name="connsiteY5" fmla="*/ 105200 h 105546"/>
                <a:gd name="connsiteX6" fmla="*/ 80015 w 87147"/>
                <a:gd name="connsiteY6" fmla="*/ 49286 h 105546"/>
                <a:gd name="connsiteX7" fmla="*/ 80894 w 87147"/>
                <a:gd name="connsiteY7" fmla="*/ 48647 h 105546"/>
                <a:gd name="connsiteX8" fmla="*/ 88136 w 87147"/>
                <a:gd name="connsiteY8" fmla="*/ 43641 h 105546"/>
                <a:gd name="connsiteX9" fmla="*/ 64891 w 87147"/>
                <a:gd name="connsiteY9" fmla="*/ 17441 h 105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147" h="105546">
                  <a:moveTo>
                    <a:pt x="64918" y="17494"/>
                  </a:moveTo>
                  <a:cubicBezTo>
                    <a:pt x="58514" y="11192"/>
                    <a:pt x="51778" y="5235"/>
                    <a:pt x="44735" y="-346"/>
                  </a:cubicBezTo>
                  <a:cubicBezTo>
                    <a:pt x="33206" y="7994"/>
                    <a:pt x="22955" y="17968"/>
                    <a:pt x="14302" y="29263"/>
                  </a:cubicBezTo>
                  <a:cubicBezTo>
                    <a:pt x="9269" y="35815"/>
                    <a:pt x="4815" y="42791"/>
                    <a:pt x="989" y="50111"/>
                  </a:cubicBezTo>
                  <a:cubicBezTo>
                    <a:pt x="1388" y="50590"/>
                    <a:pt x="1761" y="51096"/>
                    <a:pt x="2160" y="51602"/>
                  </a:cubicBezTo>
                  <a:cubicBezTo>
                    <a:pt x="15061" y="68552"/>
                    <a:pt x="26632" y="86472"/>
                    <a:pt x="36774" y="105200"/>
                  </a:cubicBezTo>
                  <a:cubicBezTo>
                    <a:pt x="45936" y="83034"/>
                    <a:pt x="60868" y="63728"/>
                    <a:pt x="80015" y="49286"/>
                  </a:cubicBezTo>
                  <a:lnTo>
                    <a:pt x="80894" y="48647"/>
                  </a:lnTo>
                  <a:cubicBezTo>
                    <a:pt x="83263" y="46916"/>
                    <a:pt x="85660" y="45238"/>
                    <a:pt x="88136" y="43641"/>
                  </a:cubicBezTo>
                  <a:cubicBezTo>
                    <a:pt x="81003" y="34380"/>
                    <a:pt x="73236" y="25626"/>
                    <a:pt x="64891" y="17441"/>
                  </a:cubicBezTo>
                </a:path>
              </a:pathLst>
            </a:custGeom>
            <a:solidFill>
              <a:srgbClr val="FAC200"/>
            </a:solidFill>
            <a:ln w="2661" cap="flat">
              <a:noFill/>
              <a:prstDash val="solid"/>
              <a:miter/>
            </a:ln>
          </p:spPr>
          <p:txBody>
            <a:bodyPr rtlCol="0" anchor="ctr"/>
            <a:lstStyle/>
            <a:p>
              <a:endParaRPr lang="pl-PL"/>
            </a:p>
          </p:txBody>
        </p:sp>
        <p:sp>
          <p:nvSpPr>
            <p:cNvPr id="229" name="Freeform: Shape 228">
              <a:extLst>
                <a:ext uri="{FF2B5EF4-FFF2-40B4-BE49-F238E27FC236}">
                  <a16:creationId xmlns:a16="http://schemas.microsoft.com/office/drawing/2014/main" id="{21265FB2-1A9C-4F0B-93E0-E5D30113C2FB}"/>
                </a:ext>
              </a:extLst>
            </p:cNvPr>
            <p:cNvSpPr/>
            <p:nvPr/>
          </p:nvSpPr>
          <p:spPr>
            <a:xfrm>
              <a:off x="11393217" y="6700272"/>
              <a:ext cx="51283" cy="56601"/>
            </a:xfrm>
            <a:custGeom>
              <a:avLst/>
              <a:gdLst>
                <a:gd name="connsiteX0" fmla="*/ 90133 w 90874"/>
                <a:gd name="connsiteY0" fmla="*/ 93882 h 100298"/>
                <a:gd name="connsiteX1" fmla="*/ 81613 w 90874"/>
                <a:gd name="connsiteY1" fmla="*/ 68055 h 100298"/>
                <a:gd name="connsiteX2" fmla="*/ 53762 w 90874"/>
                <a:gd name="connsiteY2" fmla="*/ 5909 h 100298"/>
                <a:gd name="connsiteX3" fmla="*/ 53762 w 90874"/>
                <a:gd name="connsiteY3" fmla="*/ 5909 h 100298"/>
                <a:gd name="connsiteX4" fmla="*/ 34165 w 90874"/>
                <a:gd name="connsiteY4" fmla="*/ 1276 h 100298"/>
                <a:gd name="connsiteX5" fmla="*/ 2213 w 90874"/>
                <a:gd name="connsiteY5" fmla="*/ 132 h 100298"/>
                <a:gd name="connsiteX6" fmla="*/ 989 w 90874"/>
                <a:gd name="connsiteY6" fmla="*/ 19089 h 100298"/>
                <a:gd name="connsiteX7" fmla="*/ 9376 w 90874"/>
                <a:gd name="connsiteY7" fmla="*/ 68081 h 100298"/>
                <a:gd name="connsiteX8" fmla="*/ 14888 w 90874"/>
                <a:gd name="connsiteY8" fmla="*/ 81395 h 100298"/>
                <a:gd name="connsiteX9" fmla="*/ 27854 w 90874"/>
                <a:gd name="connsiteY9" fmla="*/ 81182 h 100298"/>
                <a:gd name="connsiteX10" fmla="*/ 80388 w 90874"/>
                <a:gd name="connsiteY10" fmla="*/ 93829 h 100298"/>
                <a:gd name="connsiteX11" fmla="*/ 91864 w 90874"/>
                <a:gd name="connsiteY11" fmla="*/ 99953 h 100298"/>
                <a:gd name="connsiteX12" fmla="*/ 90080 w 90874"/>
                <a:gd name="connsiteY12" fmla="*/ 93829 h 10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874" h="100298">
                  <a:moveTo>
                    <a:pt x="90133" y="93882"/>
                  </a:moveTo>
                  <a:cubicBezTo>
                    <a:pt x="87470" y="85008"/>
                    <a:pt x="84629" y="76397"/>
                    <a:pt x="81613" y="68055"/>
                  </a:cubicBezTo>
                  <a:cubicBezTo>
                    <a:pt x="73918" y="46663"/>
                    <a:pt x="64607" y="25890"/>
                    <a:pt x="53762" y="5909"/>
                  </a:cubicBezTo>
                  <a:lnTo>
                    <a:pt x="53762" y="5909"/>
                  </a:lnTo>
                  <a:cubicBezTo>
                    <a:pt x="47353" y="3883"/>
                    <a:pt x="40803" y="2336"/>
                    <a:pt x="34165" y="1276"/>
                  </a:cubicBezTo>
                  <a:cubicBezTo>
                    <a:pt x="23600" y="-390"/>
                    <a:pt x="12872" y="-774"/>
                    <a:pt x="2213" y="132"/>
                  </a:cubicBezTo>
                  <a:cubicBezTo>
                    <a:pt x="1401" y="6418"/>
                    <a:pt x="991" y="12750"/>
                    <a:pt x="989" y="19089"/>
                  </a:cubicBezTo>
                  <a:cubicBezTo>
                    <a:pt x="973" y="35779"/>
                    <a:pt x="3808" y="52348"/>
                    <a:pt x="9376" y="68081"/>
                  </a:cubicBezTo>
                  <a:cubicBezTo>
                    <a:pt x="10992" y="72627"/>
                    <a:pt x="12829" y="77063"/>
                    <a:pt x="14888" y="81395"/>
                  </a:cubicBezTo>
                  <a:cubicBezTo>
                    <a:pt x="19174" y="81128"/>
                    <a:pt x="23488" y="81048"/>
                    <a:pt x="27854" y="81182"/>
                  </a:cubicBezTo>
                  <a:cubicBezTo>
                    <a:pt x="46046" y="81775"/>
                    <a:pt x="63920" y="86078"/>
                    <a:pt x="80388" y="93829"/>
                  </a:cubicBezTo>
                  <a:cubicBezTo>
                    <a:pt x="84329" y="95605"/>
                    <a:pt x="88155" y="97645"/>
                    <a:pt x="91864" y="99953"/>
                  </a:cubicBezTo>
                  <a:cubicBezTo>
                    <a:pt x="91278" y="97903"/>
                    <a:pt x="90692" y="95853"/>
                    <a:pt x="90080" y="93829"/>
                  </a:cubicBezTo>
                </a:path>
              </a:pathLst>
            </a:custGeom>
            <a:solidFill>
              <a:srgbClr val="FAC200"/>
            </a:solidFill>
            <a:ln w="2661" cap="flat">
              <a:noFill/>
              <a:prstDash val="solid"/>
              <a:miter/>
            </a:ln>
          </p:spPr>
          <p:txBody>
            <a:bodyPr rtlCol="0" anchor="ctr"/>
            <a:lstStyle/>
            <a:p>
              <a:endParaRPr lang="pl-PL"/>
            </a:p>
          </p:txBody>
        </p:sp>
        <p:sp>
          <p:nvSpPr>
            <p:cNvPr id="230" name="Freeform: Shape 229">
              <a:extLst>
                <a:ext uri="{FF2B5EF4-FFF2-40B4-BE49-F238E27FC236}">
                  <a16:creationId xmlns:a16="http://schemas.microsoft.com/office/drawing/2014/main" id="{D8CABE6E-BE2F-4B63-A88E-93C7C6FB2FA1}"/>
                </a:ext>
              </a:extLst>
            </p:cNvPr>
            <p:cNvSpPr/>
            <p:nvPr/>
          </p:nvSpPr>
          <p:spPr>
            <a:xfrm>
              <a:off x="11444530" y="6711466"/>
              <a:ext cx="36834" cy="78871"/>
            </a:xfrm>
            <a:custGeom>
              <a:avLst/>
              <a:gdLst>
                <a:gd name="connsiteX0" fmla="*/ 64785 w 65270"/>
                <a:gd name="connsiteY0" fmla="*/ 76205 h 139760"/>
                <a:gd name="connsiteX1" fmla="*/ 66249 w 65270"/>
                <a:gd name="connsiteY1" fmla="*/ 75246 h 139760"/>
                <a:gd name="connsiteX2" fmla="*/ 66249 w 65270"/>
                <a:gd name="connsiteY2" fmla="*/ 74048 h 139760"/>
                <a:gd name="connsiteX3" fmla="*/ 66249 w 65270"/>
                <a:gd name="connsiteY3" fmla="*/ 72291 h 139760"/>
                <a:gd name="connsiteX4" fmla="*/ 66249 w 65270"/>
                <a:gd name="connsiteY4" fmla="*/ 71332 h 139760"/>
                <a:gd name="connsiteX5" fmla="*/ 66249 w 65270"/>
                <a:gd name="connsiteY5" fmla="*/ 71199 h 139760"/>
                <a:gd name="connsiteX6" fmla="*/ 66249 w 65270"/>
                <a:gd name="connsiteY6" fmla="*/ 71199 h 139760"/>
                <a:gd name="connsiteX7" fmla="*/ 66249 w 65270"/>
                <a:gd name="connsiteY7" fmla="*/ 69734 h 139760"/>
                <a:gd name="connsiteX8" fmla="*/ 66249 w 65270"/>
                <a:gd name="connsiteY8" fmla="*/ 68563 h 139760"/>
                <a:gd name="connsiteX9" fmla="*/ 66249 w 65270"/>
                <a:gd name="connsiteY9" fmla="*/ 68563 h 139760"/>
                <a:gd name="connsiteX10" fmla="*/ 66249 w 65270"/>
                <a:gd name="connsiteY10" fmla="*/ 68243 h 139760"/>
                <a:gd name="connsiteX11" fmla="*/ 66249 w 65270"/>
                <a:gd name="connsiteY11" fmla="*/ 66699 h 139760"/>
                <a:gd name="connsiteX12" fmla="*/ 66249 w 65270"/>
                <a:gd name="connsiteY12" fmla="*/ 64942 h 139760"/>
                <a:gd name="connsiteX13" fmla="*/ 66249 w 65270"/>
                <a:gd name="connsiteY13" fmla="*/ 64755 h 139760"/>
                <a:gd name="connsiteX14" fmla="*/ 66249 w 65270"/>
                <a:gd name="connsiteY14" fmla="*/ 63211 h 139760"/>
                <a:gd name="connsiteX15" fmla="*/ 66249 w 65270"/>
                <a:gd name="connsiteY15" fmla="*/ 61294 h 139760"/>
                <a:gd name="connsiteX16" fmla="*/ 66249 w 65270"/>
                <a:gd name="connsiteY16" fmla="*/ 61054 h 139760"/>
                <a:gd name="connsiteX17" fmla="*/ 66249 w 65270"/>
                <a:gd name="connsiteY17" fmla="*/ 61054 h 139760"/>
                <a:gd name="connsiteX18" fmla="*/ 66249 w 65270"/>
                <a:gd name="connsiteY18" fmla="*/ 60575 h 139760"/>
                <a:gd name="connsiteX19" fmla="*/ 66116 w 65270"/>
                <a:gd name="connsiteY19" fmla="*/ 58338 h 139760"/>
                <a:gd name="connsiteX20" fmla="*/ 66116 w 65270"/>
                <a:gd name="connsiteY20" fmla="*/ 58179 h 139760"/>
                <a:gd name="connsiteX21" fmla="*/ 66116 w 65270"/>
                <a:gd name="connsiteY21" fmla="*/ 56661 h 139760"/>
                <a:gd name="connsiteX22" fmla="*/ 65797 w 65270"/>
                <a:gd name="connsiteY22" fmla="*/ 53333 h 139760"/>
                <a:gd name="connsiteX23" fmla="*/ 65797 w 65270"/>
                <a:gd name="connsiteY23" fmla="*/ 52827 h 139760"/>
                <a:gd name="connsiteX24" fmla="*/ 65797 w 65270"/>
                <a:gd name="connsiteY24" fmla="*/ 51868 h 139760"/>
                <a:gd name="connsiteX25" fmla="*/ 65797 w 65270"/>
                <a:gd name="connsiteY25" fmla="*/ 51442 h 139760"/>
                <a:gd name="connsiteX26" fmla="*/ 65424 w 65270"/>
                <a:gd name="connsiteY26" fmla="*/ 48380 h 139760"/>
                <a:gd name="connsiteX27" fmla="*/ 64971 w 65270"/>
                <a:gd name="connsiteY27" fmla="*/ 44546 h 139760"/>
                <a:gd name="connsiteX28" fmla="*/ 64705 w 65270"/>
                <a:gd name="connsiteY28" fmla="*/ 42762 h 139760"/>
                <a:gd name="connsiteX29" fmla="*/ 64705 w 65270"/>
                <a:gd name="connsiteY29" fmla="*/ 41830 h 139760"/>
                <a:gd name="connsiteX30" fmla="*/ 64386 w 65270"/>
                <a:gd name="connsiteY30" fmla="*/ 39753 h 139760"/>
                <a:gd name="connsiteX31" fmla="*/ 64386 w 65270"/>
                <a:gd name="connsiteY31" fmla="*/ 39753 h 139760"/>
                <a:gd name="connsiteX32" fmla="*/ 63906 w 65270"/>
                <a:gd name="connsiteY32" fmla="*/ 36878 h 139760"/>
                <a:gd name="connsiteX33" fmla="*/ 63906 w 65270"/>
                <a:gd name="connsiteY33" fmla="*/ 36665 h 139760"/>
                <a:gd name="connsiteX34" fmla="*/ 63640 w 65270"/>
                <a:gd name="connsiteY34" fmla="*/ 35094 h 139760"/>
                <a:gd name="connsiteX35" fmla="*/ 63640 w 65270"/>
                <a:gd name="connsiteY35" fmla="*/ 34641 h 139760"/>
                <a:gd name="connsiteX36" fmla="*/ 63640 w 65270"/>
                <a:gd name="connsiteY36" fmla="*/ 33816 h 139760"/>
                <a:gd name="connsiteX37" fmla="*/ 63294 w 65270"/>
                <a:gd name="connsiteY37" fmla="*/ 31979 h 139760"/>
                <a:gd name="connsiteX38" fmla="*/ 63294 w 65270"/>
                <a:gd name="connsiteY38" fmla="*/ 31845 h 139760"/>
                <a:gd name="connsiteX39" fmla="*/ 62815 w 65270"/>
                <a:gd name="connsiteY39" fmla="*/ 29183 h 139760"/>
                <a:gd name="connsiteX40" fmla="*/ 62362 w 65270"/>
                <a:gd name="connsiteY40" fmla="*/ 26973 h 139760"/>
                <a:gd name="connsiteX41" fmla="*/ 62362 w 65270"/>
                <a:gd name="connsiteY41" fmla="*/ 26520 h 139760"/>
                <a:gd name="connsiteX42" fmla="*/ 61377 w 65270"/>
                <a:gd name="connsiteY42" fmla="*/ 22100 h 139760"/>
                <a:gd name="connsiteX43" fmla="*/ 61377 w 65270"/>
                <a:gd name="connsiteY43" fmla="*/ 22100 h 139760"/>
                <a:gd name="connsiteX44" fmla="*/ 60951 w 65270"/>
                <a:gd name="connsiteY44" fmla="*/ 20316 h 139760"/>
                <a:gd name="connsiteX45" fmla="*/ 60951 w 65270"/>
                <a:gd name="connsiteY45" fmla="*/ 20130 h 139760"/>
                <a:gd name="connsiteX46" fmla="*/ 60205 w 65270"/>
                <a:gd name="connsiteY46" fmla="*/ 17015 h 139760"/>
                <a:gd name="connsiteX47" fmla="*/ 60205 w 65270"/>
                <a:gd name="connsiteY47" fmla="*/ 17015 h 139760"/>
                <a:gd name="connsiteX48" fmla="*/ 59753 w 65270"/>
                <a:gd name="connsiteY48" fmla="*/ 15177 h 139760"/>
                <a:gd name="connsiteX49" fmla="*/ 59753 w 65270"/>
                <a:gd name="connsiteY49" fmla="*/ 15177 h 139760"/>
                <a:gd name="connsiteX50" fmla="*/ 58847 w 65270"/>
                <a:gd name="connsiteY50" fmla="*/ 11769 h 139760"/>
                <a:gd name="connsiteX51" fmla="*/ 58421 w 65270"/>
                <a:gd name="connsiteY51" fmla="*/ 10172 h 139760"/>
                <a:gd name="connsiteX52" fmla="*/ 57010 w 65270"/>
                <a:gd name="connsiteY52" fmla="*/ 5326 h 139760"/>
                <a:gd name="connsiteX53" fmla="*/ 57010 w 65270"/>
                <a:gd name="connsiteY53" fmla="*/ 5166 h 139760"/>
                <a:gd name="connsiteX54" fmla="*/ 56691 w 65270"/>
                <a:gd name="connsiteY54" fmla="*/ 4208 h 139760"/>
                <a:gd name="connsiteX55" fmla="*/ 56691 w 65270"/>
                <a:gd name="connsiteY55" fmla="*/ 4074 h 139760"/>
                <a:gd name="connsiteX56" fmla="*/ 55546 w 65270"/>
                <a:gd name="connsiteY56" fmla="*/ 453 h 139760"/>
                <a:gd name="connsiteX57" fmla="*/ 55306 w 65270"/>
                <a:gd name="connsiteY57" fmla="*/ -346 h 139760"/>
                <a:gd name="connsiteX58" fmla="*/ 55306 w 65270"/>
                <a:gd name="connsiteY58" fmla="*/ -346 h 139760"/>
                <a:gd name="connsiteX59" fmla="*/ 32141 w 65270"/>
                <a:gd name="connsiteY59" fmla="*/ 19597 h 139760"/>
                <a:gd name="connsiteX60" fmla="*/ 11293 w 65270"/>
                <a:gd name="connsiteY60" fmla="*/ 48114 h 139760"/>
                <a:gd name="connsiteX61" fmla="*/ 2320 w 65270"/>
                <a:gd name="connsiteY61" fmla="*/ 73941 h 139760"/>
                <a:gd name="connsiteX62" fmla="*/ 989 w 65270"/>
                <a:gd name="connsiteY62" fmla="*/ 80065 h 139760"/>
                <a:gd name="connsiteX63" fmla="*/ 5355 w 65270"/>
                <a:gd name="connsiteY63" fmla="*/ 96467 h 139760"/>
                <a:gd name="connsiteX64" fmla="*/ 6447 w 65270"/>
                <a:gd name="connsiteY64" fmla="*/ 100940 h 139760"/>
                <a:gd name="connsiteX65" fmla="*/ 14142 w 65270"/>
                <a:gd name="connsiteY65" fmla="*/ 139415 h 139760"/>
                <a:gd name="connsiteX66" fmla="*/ 35443 w 65270"/>
                <a:gd name="connsiteY66" fmla="*/ 100940 h 139760"/>
                <a:gd name="connsiteX67" fmla="*/ 64732 w 65270"/>
                <a:gd name="connsiteY67" fmla="*/ 76098 h 13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5270" h="139760">
                  <a:moveTo>
                    <a:pt x="64785" y="76205"/>
                  </a:moveTo>
                  <a:lnTo>
                    <a:pt x="66249" y="75246"/>
                  </a:lnTo>
                  <a:cubicBezTo>
                    <a:pt x="66249" y="74847"/>
                    <a:pt x="66249" y="74447"/>
                    <a:pt x="66249" y="74048"/>
                  </a:cubicBezTo>
                  <a:cubicBezTo>
                    <a:pt x="66249" y="73648"/>
                    <a:pt x="66249" y="72876"/>
                    <a:pt x="66249" y="72291"/>
                  </a:cubicBezTo>
                  <a:cubicBezTo>
                    <a:pt x="66249" y="71705"/>
                    <a:pt x="66249" y="71652"/>
                    <a:pt x="66249" y="71332"/>
                  </a:cubicBezTo>
                  <a:lnTo>
                    <a:pt x="66249" y="71199"/>
                  </a:lnTo>
                  <a:lnTo>
                    <a:pt x="66249" y="71199"/>
                  </a:lnTo>
                  <a:cubicBezTo>
                    <a:pt x="66249" y="70720"/>
                    <a:pt x="66249" y="70214"/>
                    <a:pt x="66249" y="69734"/>
                  </a:cubicBezTo>
                  <a:cubicBezTo>
                    <a:pt x="66249" y="69255"/>
                    <a:pt x="66249" y="68962"/>
                    <a:pt x="66249" y="68563"/>
                  </a:cubicBezTo>
                  <a:lnTo>
                    <a:pt x="66249" y="68563"/>
                  </a:lnTo>
                  <a:cubicBezTo>
                    <a:pt x="66263" y="68456"/>
                    <a:pt x="66263" y="68350"/>
                    <a:pt x="66249" y="68243"/>
                  </a:cubicBezTo>
                  <a:cubicBezTo>
                    <a:pt x="66249" y="67737"/>
                    <a:pt x="66249" y="67232"/>
                    <a:pt x="66249" y="66699"/>
                  </a:cubicBezTo>
                  <a:lnTo>
                    <a:pt x="66249" y="64942"/>
                  </a:lnTo>
                  <a:lnTo>
                    <a:pt x="66249" y="64755"/>
                  </a:lnTo>
                  <a:cubicBezTo>
                    <a:pt x="66249" y="64249"/>
                    <a:pt x="66249" y="63744"/>
                    <a:pt x="66249" y="63211"/>
                  </a:cubicBezTo>
                  <a:cubicBezTo>
                    <a:pt x="66249" y="62679"/>
                    <a:pt x="66249" y="61933"/>
                    <a:pt x="66249" y="61294"/>
                  </a:cubicBezTo>
                  <a:lnTo>
                    <a:pt x="66249" y="61054"/>
                  </a:lnTo>
                  <a:lnTo>
                    <a:pt x="66249" y="61054"/>
                  </a:lnTo>
                  <a:lnTo>
                    <a:pt x="66249" y="60575"/>
                  </a:lnTo>
                  <a:cubicBezTo>
                    <a:pt x="66249" y="59830"/>
                    <a:pt x="66249" y="59084"/>
                    <a:pt x="66116" y="58338"/>
                  </a:cubicBezTo>
                  <a:lnTo>
                    <a:pt x="66116" y="58179"/>
                  </a:lnTo>
                  <a:cubicBezTo>
                    <a:pt x="66116" y="57673"/>
                    <a:pt x="66116" y="57167"/>
                    <a:pt x="66116" y="56661"/>
                  </a:cubicBezTo>
                  <a:cubicBezTo>
                    <a:pt x="66116" y="55543"/>
                    <a:pt x="65930" y="54451"/>
                    <a:pt x="65797" y="53333"/>
                  </a:cubicBezTo>
                  <a:cubicBezTo>
                    <a:pt x="65797" y="53146"/>
                    <a:pt x="65797" y="52987"/>
                    <a:pt x="65797" y="52827"/>
                  </a:cubicBezTo>
                  <a:cubicBezTo>
                    <a:pt x="65797" y="52667"/>
                    <a:pt x="65797" y="52188"/>
                    <a:pt x="65797" y="51868"/>
                  </a:cubicBezTo>
                  <a:lnTo>
                    <a:pt x="65797" y="51442"/>
                  </a:lnTo>
                  <a:cubicBezTo>
                    <a:pt x="65797" y="50430"/>
                    <a:pt x="65557" y="49392"/>
                    <a:pt x="65424" y="48380"/>
                  </a:cubicBezTo>
                  <a:cubicBezTo>
                    <a:pt x="65291" y="47368"/>
                    <a:pt x="65131" y="45718"/>
                    <a:pt x="64971" y="44546"/>
                  </a:cubicBezTo>
                  <a:cubicBezTo>
                    <a:pt x="64971" y="43960"/>
                    <a:pt x="64785" y="43348"/>
                    <a:pt x="64705" y="42762"/>
                  </a:cubicBezTo>
                  <a:cubicBezTo>
                    <a:pt x="64625" y="42176"/>
                    <a:pt x="64705" y="42150"/>
                    <a:pt x="64705" y="41830"/>
                  </a:cubicBezTo>
                  <a:lnTo>
                    <a:pt x="64386" y="39753"/>
                  </a:lnTo>
                  <a:lnTo>
                    <a:pt x="64386" y="39753"/>
                  </a:lnTo>
                  <a:lnTo>
                    <a:pt x="63906" y="36878"/>
                  </a:lnTo>
                  <a:lnTo>
                    <a:pt x="63906" y="36665"/>
                  </a:lnTo>
                  <a:cubicBezTo>
                    <a:pt x="63906" y="36132"/>
                    <a:pt x="63720" y="35600"/>
                    <a:pt x="63640" y="35094"/>
                  </a:cubicBezTo>
                  <a:lnTo>
                    <a:pt x="63640" y="34641"/>
                  </a:lnTo>
                  <a:cubicBezTo>
                    <a:pt x="63640" y="34348"/>
                    <a:pt x="63640" y="34082"/>
                    <a:pt x="63640" y="33816"/>
                  </a:cubicBezTo>
                  <a:cubicBezTo>
                    <a:pt x="63640" y="33550"/>
                    <a:pt x="63400" y="32591"/>
                    <a:pt x="63294" y="31979"/>
                  </a:cubicBezTo>
                  <a:lnTo>
                    <a:pt x="63294" y="31845"/>
                  </a:lnTo>
                  <a:lnTo>
                    <a:pt x="62815" y="29183"/>
                  </a:lnTo>
                  <a:cubicBezTo>
                    <a:pt x="62655" y="28437"/>
                    <a:pt x="62522" y="27718"/>
                    <a:pt x="62362" y="26973"/>
                  </a:cubicBezTo>
                  <a:lnTo>
                    <a:pt x="62362" y="26520"/>
                  </a:lnTo>
                  <a:cubicBezTo>
                    <a:pt x="62042" y="25056"/>
                    <a:pt x="61723" y="23565"/>
                    <a:pt x="61377" y="22100"/>
                  </a:cubicBezTo>
                  <a:lnTo>
                    <a:pt x="61377" y="22100"/>
                  </a:lnTo>
                  <a:cubicBezTo>
                    <a:pt x="61244" y="21515"/>
                    <a:pt x="61084" y="20902"/>
                    <a:pt x="60951" y="20316"/>
                  </a:cubicBezTo>
                  <a:lnTo>
                    <a:pt x="60951" y="20130"/>
                  </a:lnTo>
                  <a:cubicBezTo>
                    <a:pt x="60711" y="19092"/>
                    <a:pt x="60472" y="18053"/>
                    <a:pt x="60205" y="17015"/>
                  </a:cubicBezTo>
                  <a:lnTo>
                    <a:pt x="60205" y="17015"/>
                  </a:lnTo>
                  <a:cubicBezTo>
                    <a:pt x="60046" y="16402"/>
                    <a:pt x="59912" y="15790"/>
                    <a:pt x="59753" y="15177"/>
                  </a:cubicBezTo>
                  <a:lnTo>
                    <a:pt x="59753" y="15177"/>
                  </a:lnTo>
                  <a:cubicBezTo>
                    <a:pt x="59460" y="14033"/>
                    <a:pt x="59140" y="12914"/>
                    <a:pt x="58847" y="11769"/>
                  </a:cubicBezTo>
                  <a:cubicBezTo>
                    <a:pt x="58688" y="11237"/>
                    <a:pt x="58554" y="10704"/>
                    <a:pt x="58421" y="10172"/>
                  </a:cubicBezTo>
                  <a:cubicBezTo>
                    <a:pt x="57969" y="8548"/>
                    <a:pt x="57489" y="6950"/>
                    <a:pt x="57010" y="5326"/>
                  </a:cubicBezTo>
                  <a:lnTo>
                    <a:pt x="57010" y="5166"/>
                  </a:lnTo>
                  <a:lnTo>
                    <a:pt x="56691" y="4208"/>
                  </a:lnTo>
                  <a:lnTo>
                    <a:pt x="56691" y="4074"/>
                  </a:lnTo>
                  <a:cubicBezTo>
                    <a:pt x="56318" y="2876"/>
                    <a:pt x="55945" y="1651"/>
                    <a:pt x="55546" y="453"/>
                  </a:cubicBezTo>
                  <a:lnTo>
                    <a:pt x="55306" y="-346"/>
                  </a:lnTo>
                  <a:lnTo>
                    <a:pt x="55306" y="-346"/>
                  </a:lnTo>
                  <a:cubicBezTo>
                    <a:pt x="46772" y="5297"/>
                    <a:pt x="38990" y="11998"/>
                    <a:pt x="32141" y="19597"/>
                  </a:cubicBezTo>
                  <a:cubicBezTo>
                    <a:pt x="23791" y="27995"/>
                    <a:pt x="16762" y="37610"/>
                    <a:pt x="11293" y="48114"/>
                  </a:cubicBezTo>
                  <a:cubicBezTo>
                    <a:pt x="7430" y="56395"/>
                    <a:pt x="4423" y="65048"/>
                    <a:pt x="2320" y="73941"/>
                  </a:cubicBezTo>
                  <a:cubicBezTo>
                    <a:pt x="1814" y="76071"/>
                    <a:pt x="1362" y="78122"/>
                    <a:pt x="989" y="80065"/>
                  </a:cubicBezTo>
                  <a:cubicBezTo>
                    <a:pt x="2533" y="85391"/>
                    <a:pt x="3971" y="90876"/>
                    <a:pt x="5355" y="96467"/>
                  </a:cubicBezTo>
                  <a:cubicBezTo>
                    <a:pt x="5728" y="97932"/>
                    <a:pt x="6101" y="99449"/>
                    <a:pt x="6447" y="100940"/>
                  </a:cubicBezTo>
                  <a:cubicBezTo>
                    <a:pt x="9376" y="113215"/>
                    <a:pt x="11985" y="126022"/>
                    <a:pt x="14142" y="139415"/>
                  </a:cubicBezTo>
                  <a:cubicBezTo>
                    <a:pt x="18559" y="125279"/>
                    <a:pt x="25807" y="112187"/>
                    <a:pt x="35443" y="100940"/>
                  </a:cubicBezTo>
                  <a:cubicBezTo>
                    <a:pt x="44062" y="91398"/>
                    <a:pt x="53911" y="83045"/>
                    <a:pt x="64732" y="76098"/>
                  </a:cubicBezTo>
                </a:path>
              </a:pathLst>
            </a:custGeom>
            <a:solidFill>
              <a:srgbClr val="FAC200"/>
            </a:solidFill>
            <a:ln w="2661" cap="flat">
              <a:noFill/>
              <a:prstDash val="solid"/>
              <a:miter/>
            </a:ln>
          </p:spPr>
          <p:txBody>
            <a:bodyPr rtlCol="0" anchor="ctr"/>
            <a:lstStyle/>
            <a:p>
              <a:endParaRPr lang="pl-PL"/>
            </a:p>
          </p:txBody>
        </p:sp>
        <p:sp>
          <p:nvSpPr>
            <p:cNvPr id="231" name="Freeform: Shape 230">
              <a:extLst>
                <a:ext uri="{FF2B5EF4-FFF2-40B4-BE49-F238E27FC236}">
                  <a16:creationId xmlns:a16="http://schemas.microsoft.com/office/drawing/2014/main" id="{F6B78197-0C1C-4179-B8FC-55C4891964DC}"/>
                </a:ext>
              </a:extLst>
            </p:cNvPr>
            <p:cNvSpPr/>
            <p:nvPr/>
          </p:nvSpPr>
          <p:spPr>
            <a:xfrm>
              <a:off x="11422998" y="6669063"/>
              <a:ext cx="51268" cy="87781"/>
            </a:xfrm>
            <a:custGeom>
              <a:avLst/>
              <a:gdLst>
                <a:gd name="connsiteX0" fmla="*/ 91837 w 90848"/>
                <a:gd name="connsiteY0" fmla="*/ 74447 h 155549"/>
                <a:gd name="connsiteX1" fmla="*/ 91438 w 90848"/>
                <a:gd name="connsiteY1" fmla="*/ 73276 h 155549"/>
                <a:gd name="connsiteX2" fmla="*/ 90532 w 90848"/>
                <a:gd name="connsiteY2" fmla="*/ 70613 h 155549"/>
                <a:gd name="connsiteX3" fmla="*/ 89787 w 90848"/>
                <a:gd name="connsiteY3" fmla="*/ 68430 h 155549"/>
                <a:gd name="connsiteX4" fmla="*/ 88908 w 90848"/>
                <a:gd name="connsiteY4" fmla="*/ 66060 h 155549"/>
                <a:gd name="connsiteX5" fmla="*/ 88056 w 90848"/>
                <a:gd name="connsiteY5" fmla="*/ 63770 h 155549"/>
                <a:gd name="connsiteX6" fmla="*/ 87737 w 90848"/>
                <a:gd name="connsiteY6" fmla="*/ 62892 h 155549"/>
                <a:gd name="connsiteX7" fmla="*/ 85341 w 90848"/>
                <a:gd name="connsiteY7" fmla="*/ 56874 h 155549"/>
                <a:gd name="connsiteX8" fmla="*/ 84701 w 90848"/>
                <a:gd name="connsiteY8" fmla="*/ 55356 h 155549"/>
                <a:gd name="connsiteX9" fmla="*/ 83477 w 90848"/>
                <a:gd name="connsiteY9" fmla="*/ 52481 h 155549"/>
                <a:gd name="connsiteX10" fmla="*/ 61217 w 90848"/>
                <a:gd name="connsiteY10" fmla="*/ 11956 h 155549"/>
                <a:gd name="connsiteX11" fmla="*/ 52351 w 90848"/>
                <a:gd name="connsiteY11" fmla="*/ -346 h 155549"/>
                <a:gd name="connsiteX12" fmla="*/ 45108 w 90848"/>
                <a:gd name="connsiteY12" fmla="*/ 4660 h 155549"/>
                <a:gd name="connsiteX13" fmla="*/ 44230 w 90848"/>
                <a:gd name="connsiteY13" fmla="*/ 5299 h 155549"/>
                <a:gd name="connsiteX14" fmla="*/ 989 w 90848"/>
                <a:gd name="connsiteY14" fmla="*/ 61214 h 155549"/>
                <a:gd name="connsiteX15" fmla="*/ 989 w 90848"/>
                <a:gd name="connsiteY15" fmla="*/ 61214 h 155549"/>
                <a:gd name="connsiteX16" fmla="*/ 28840 w 90848"/>
                <a:gd name="connsiteY16" fmla="*/ 123253 h 155549"/>
                <a:gd name="connsiteX17" fmla="*/ 37360 w 90848"/>
                <a:gd name="connsiteY17" fmla="*/ 149080 h 155549"/>
                <a:gd name="connsiteX18" fmla="*/ 39144 w 90848"/>
                <a:gd name="connsiteY18" fmla="*/ 155204 h 155549"/>
                <a:gd name="connsiteX19" fmla="*/ 40475 w 90848"/>
                <a:gd name="connsiteY19" fmla="*/ 149080 h 155549"/>
                <a:gd name="connsiteX20" fmla="*/ 49448 w 90848"/>
                <a:gd name="connsiteY20" fmla="*/ 123253 h 155549"/>
                <a:gd name="connsiteX21" fmla="*/ 68646 w 90848"/>
                <a:gd name="connsiteY21" fmla="*/ 94284 h 155549"/>
                <a:gd name="connsiteX22" fmla="*/ 91811 w 90848"/>
                <a:gd name="connsiteY22" fmla="*/ 74341 h 155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0848" h="155549">
                  <a:moveTo>
                    <a:pt x="91837" y="74447"/>
                  </a:moveTo>
                  <a:lnTo>
                    <a:pt x="91438" y="73276"/>
                  </a:lnTo>
                  <a:cubicBezTo>
                    <a:pt x="91145" y="72397"/>
                    <a:pt x="90852" y="71518"/>
                    <a:pt x="90532" y="70613"/>
                  </a:cubicBezTo>
                  <a:lnTo>
                    <a:pt x="89787" y="68430"/>
                  </a:lnTo>
                  <a:lnTo>
                    <a:pt x="88908" y="66060"/>
                  </a:lnTo>
                  <a:cubicBezTo>
                    <a:pt x="88642" y="65288"/>
                    <a:pt x="88349" y="64516"/>
                    <a:pt x="88056" y="63770"/>
                  </a:cubicBezTo>
                  <a:lnTo>
                    <a:pt x="87737" y="62892"/>
                  </a:lnTo>
                  <a:cubicBezTo>
                    <a:pt x="86965" y="60868"/>
                    <a:pt x="86166" y="58871"/>
                    <a:pt x="85341" y="56874"/>
                  </a:cubicBezTo>
                  <a:lnTo>
                    <a:pt x="84701" y="55356"/>
                  </a:lnTo>
                  <a:cubicBezTo>
                    <a:pt x="84302" y="54398"/>
                    <a:pt x="83903" y="53439"/>
                    <a:pt x="83477" y="52481"/>
                  </a:cubicBezTo>
                  <a:cubicBezTo>
                    <a:pt x="77315" y="38318"/>
                    <a:pt x="69863" y="24752"/>
                    <a:pt x="61217" y="11956"/>
                  </a:cubicBezTo>
                  <a:cubicBezTo>
                    <a:pt x="58395" y="7775"/>
                    <a:pt x="55413" y="3675"/>
                    <a:pt x="52351" y="-346"/>
                  </a:cubicBezTo>
                  <a:cubicBezTo>
                    <a:pt x="49874" y="1252"/>
                    <a:pt x="47478" y="2929"/>
                    <a:pt x="45108" y="4660"/>
                  </a:cubicBezTo>
                  <a:lnTo>
                    <a:pt x="44230" y="5299"/>
                  </a:lnTo>
                  <a:cubicBezTo>
                    <a:pt x="25083" y="19741"/>
                    <a:pt x="10151" y="39048"/>
                    <a:pt x="989" y="61214"/>
                  </a:cubicBezTo>
                  <a:lnTo>
                    <a:pt x="989" y="61214"/>
                  </a:lnTo>
                  <a:cubicBezTo>
                    <a:pt x="11823" y="81162"/>
                    <a:pt x="21134" y="101901"/>
                    <a:pt x="28840" y="123253"/>
                  </a:cubicBezTo>
                  <a:cubicBezTo>
                    <a:pt x="31822" y="131534"/>
                    <a:pt x="34698" y="140134"/>
                    <a:pt x="37360" y="149080"/>
                  </a:cubicBezTo>
                  <a:cubicBezTo>
                    <a:pt x="37972" y="151104"/>
                    <a:pt x="38558" y="153154"/>
                    <a:pt x="39144" y="155204"/>
                  </a:cubicBezTo>
                  <a:cubicBezTo>
                    <a:pt x="39517" y="153261"/>
                    <a:pt x="39969" y="151210"/>
                    <a:pt x="40475" y="149080"/>
                  </a:cubicBezTo>
                  <a:cubicBezTo>
                    <a:pt x="42579" y="140187"/>
                    <a:pt x="45585" y="131534"/>
                    <a:pt x="49448" y="123253"/>
                  </a:cubicBezTo>
                  <a:cubicBezTo>
                    <a:pt x="54372" y="112696"/>
                    <a:pt x="60842" y="102932"/>
                    <a:pt x="68646" y="94284"/>
                  </a:cubicBezTo>
                  <a:cubicBezTo>
                    <a:pt x="75494" y="86685"/>
                    <a:pt x="83277" y="79983"/>
                    <a:pt x="91811" y="74341"/>
                  </a:cubicBezTo>
                  <a:close/>
                </a:path>
              </a:pathLst>
            </a:custGeom>
            <a:solidFill>
              <a:srgbClr val="E09C00"/>
            </a:solidFill>
            <a:ln w="2661" cap="flat">
              <a:noFill/>
              <a:prstDash val="solid"/>
              <a:miter/>
            </a:ln>
          </p:spPr>
          <p:txBody>
            <a:bodyPr rtlCol="0" anchor="ctr"/>
            <a:lstStyle/>
            <a:p>
              <a:endParaRPr lang="pl-PL"/>
            </a:p>
          </p:txBody>
        </p:sp>
        <p:sp>
          <p:nvSpPr>
            <p:cNvPr id="232" name="Freeform: Shape 231">
              <a:extLst>
                <a:ext uri="{FF2B5EF4-FFF2-40B4-BE49-F238E27FC236}">
                  <a16:creationId xmlns:a16="http://schemas.microsoft.com/office/drawing/2014/main" id="{BA4C586C-8502-4947-8EA9-1C9F35A35EF4}"/>
                </a:ext>
              </a:extLst>
            </p:cNvPr>
            <p:cNvSpPr/>
            <p:nvPr/>
          </p:nvSpPr>
          <p:spPr>
            <a:xfrm>
              <a:off x="11393940" y="6672699"/>
              <a:ext cx="29090" cy="31088"/>
            </a:xfrm>
            <a:custGeom>
              <a:avLst/>
              <a:gdLst>
                <a:gd name="connsiteX0" fmla="*/ 17790 w 51548"/>
                <a:gd name="connsiteY0" fmla="*/ 1145 h 55089"/>
                <a:gd name="connsiteX1" fmla="*/ 16618 w 51548"/>
                <a:gd name="connsiteY1" fmla="*/ -346 h 55089"/>
                <a:gd name="connsiteX2" fmla="*/ 16272 w 51548"/>
                <a:gd name="connsiteY2" fmla="*/ 293 h 55089"/>
                <a:gd name="connsiteX3" fmla="*/ 989 w 51548"/>
                <a:gd name="connsiteY3" fmla="*/ 48939 h 55089"/>
                <a:gd name="connsiteX4" fmla="*/ 32940 w 51548"/>
                <a:gd name="connsiteY4" fmla="*/ 50111 h 55089"/>
                <a:gd name="connsiteX5" fmla="*/ 52537 w 51548"/>
                <a:gd name="connsiteY5" fmla="*/ 54744 h 55089"/>
                <a:gd name="connsiteX6" fmla="*/ 17923 w 51548"/>
                <a:gd name="connsiteY6" fmla="*/ 1145 h 55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48" h="55089">
                  <a:moveTo>
                    <a:pt x="17790" y="1145"/>
                  </a:moveTo>
                  <a:cubicBezTo>
                    <a:pt x="17390" y="640"/>
                    <a:pt x="17018" y="134"/>
                    <a:pt x="16618" y="-346"/>
                  </a:cubicBezTo>
                  <a:cubicBezTo>
                    <a:pt x="16618" y="-133"/>
                    <a:pt x="16405" y="80"/>
                    <a:pt x="16272" y="293"/>
                  </a:cubicBezTo>
                  <a:cubicBezTo>
                    <a:pt x="8353" y="15484"/>
                    <a:pt x="3180" y="31952"/>
                    <a:pt x="989" y="48939"/>
                  </a:cubicBezTo>
                  <a:cubicBezTo>
                    <a:pt x="11647" y="48055"/>
                    <a:pt x="22375" y="48449"/>
                    <a:pt x="32940" y="50111"/>
                  </a:cubicBezTo>
                  <a:cubicBezTo>
                    <a:pt x="39578" y="51171"/>
                    <a:pt x="46128" y="52718"/>
                    <a:pt x="52537" y="54744"/>
                  </a:cubicBezTo>
                  <a:cubicBezTo>
                    <a:pt x="42395" y="36015"/>
                    <a:pt x="30823" y="18096"/>
                    <a:pt x="17923" y="1145"/>
                  </a:cubicBezTo>
                </a:path>
              </a:pathLst>
            </a:custGeom>
            <a:solidFill>
              <a:srgbClr val="E09C00"/>
            </a:solidFill>
            <a:ln w="2661" cap="flat">
              <a:noFill/>
              <a:prstDash val="solid"/>
              <a:miter/>
            </a:ln>
          </p:spPr>
          <p:txBody>
            <a:bodyPr rtlCol="0" anchor="ctr"/>
            <a:lstStyle/>
            <a:p>
              <a:endParaRPr lang="pl-PL"/>
            </a:p>
          </p:txBody>
        </p:sp>
        <p:sp>
          <p:nvSpPr>
            <p:cNvPr id="233" name="Freeform: Shape 232">
              <a:extLst>
                <a:ext uri="{FF2B5EF4-FFF2-40B4-BE49-F238E27FC236}">
                  <a16:creationId xmlns:a16="http://schemas.microsoft.com/office/drawing/2014/main" id="{3A35EDBC-7B64-4E47-BBC2-2F7872C18374}"/>
                </a:ext>
              </a:extLst>
            </p:cNvPr>
            <p:cNvSpPr/>
            <p:nvPr/>
          </p:nvSpPr>
          <p:spPr>
            <a:xfrm>
              <a:off x="11401092" y="6746296"/>
              <a:ext cx="50862" cy="44116"/>
            </a:xfrm>
            <a:custGeom>
              <a:avLst/>
              <a:gdLst>
                <a:gd name="connsiteX0" fmla="*/ 83423 w 90129"/>
                <a:gd name="connsiteY0" fmla="*/ 39327 h 78174"/>
                <a:gd name="connsiteX1" fmla="*/ 82332 w 90129"/>
                <a:gd name="connsiteY1" fmla="*/ 34854 h 78174"/>
                <a:gd name="connsiteX2" fmla="*/ 77965 w 90129"/>
                <a:gd name="connsiteY2" fmla="*/ 18453 h 78174"/>
                <a:gd name="connsiteX3" fmla="*/ 66489 w 90129"/>
                <a:gd name="connsiteY3" fmla="*/ 12328 h 78174"/>
                <a:gd name="connsiteX4" fmla="*/ 13956 w 90129"/>
                <a:gd name="connsiteY4" fmla="*/ -292 h 78174"/>
                <a:gd name="connsiteX5" fmla="*/ 989 w 90129"/>
                <a:gd name="connsiteY5" fmla="*/ -79 h 78174"/>
                <a:gd name="connsiteX6" fmla="*/ 7619 w 90129"/>
                <a:gd name="connsiteY6" fmla="*/ 12355 h 78174"/>
                <a:gd name="connsiteX7" fmla="*/ 28227 w 90129"/>
                <a:gd name="connsiteY7" fmla="*/ 39354 h 78174"/>
                <a:gd name="connsiteX8" fmla="*/ 91118 w 90129"/>
                <a:gd name="connsiteY8" fmla="*/ 77829 h 78174"/>
                <a:gd name="connsiteX9" fmla="*/ 83423 w 90129"/>
                <a:gd name="connsiteY9" fmla="*/ 39354 h 78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129" h="78174">
                  <a:moveTo>
                    <a:pt x="83423" y="39327"/>
                  </a:moveTo>
                  <a:cubicBezTo>
                    <a:pt x="83077" y="37836"/>
                    <a:pt x="82704" y="36319"/>
                    <a:pt x="82332" y="34854"/>
                  </a:cubicBezTo>
                  <a:cubicBezTo>
                    <a:pt x="80947" y="29263"/>
                    <a:pt x="79509" y="23804"/>
                    <a:pt x="77965" y="18453"/>
                  </a:cubicBezTo>
                  <a:cubicBezTo>
                    <a:pt x="74272" y="16235"/>
                    <a:pt x="70448" y="14192"/>
                    <a:pt x="66489" y="12328"/>
                  </a:cubicBezTo>
                  <a:cubicBezTo>
                    <a:pt x="50021" y="4588"/>
                    <a:pt x="32144" y="293"/>
                    <a:pt x="13956" y="-292"/>
                  </a:cubicBezTo>
                  <a:cubicBezTo>
                    <a:pt x="9589" y="-425"/>
                    <a:pt x="5275" y="-292"/>
                    <a:pt x="989" y="-79"/>
                  </a:cubicBezTo>
                  <a:cubicBezTo>
                    <a:pt x="3012" y="4181"/>
                    <a:pt x="5222" y="8327"/>
                    <a:pt x="7619" y="12355"/>
                  </a:cubicBezTo>
                  <a:cubicBezTo>
                    <a:pt x="13418" y="22122"/>
                    <a:pt x="20335" y="31182"/>
                    <a:pt x="28227" y="39354"/>
                  </a:cubicBezTo>
                  <a:cubicBezTo>
                    <a:pt x="45566" y="57332"/>
                    <a:pt x="67216" y="70576"/>
                    <a:pt x="91118" y="77829"/>
                  </a:cubicBezTo>
                  <a:cubicBezTo>
                    <a:pt x="88961" y="64516"/>
                    <a:pt x="86352" y="51629"/>
                    <a:pt x="83423" y="39354"/>
                  </a:cubicBezTo>
                </a:path>
              </a:pathLst>
            </a:custGeom>
            <a:solidFill>
              <a:srgbClr val="E09C00"/>
            </a:solidFill>
            <a:ln w="2661" cap="flat">
              <a:noFill/>
              <a:prstDash val="solid"/>
              <a:miter/>
            </a:ln>
          </p:spPr>
          <p:txBody>
            <a:bodyPr rtlCol="0" anchor="ctr"/>
            <a:lstStyle/>
            <a:p>
              <a:endParaRPr lang="pl-PL"/>
            </a:p>
          </p:txBody>
        </p:sp>
        <p:sp>
          <p:nvSpPr>
            <p:cNvPr id="234" name="Freeform: Shape 233">
              <a:extLst>
                <a:ext uri="{FF2B5EF4-FFF2-40B4-BE49-F238E27FC236}">
                  <a16:creationId xmlns:a16="http://schemas.microsoft.com/office/drawing/2014/main" id="{1CC412CC-E534-4A2D-A48F-BD138ED3B592}"/>
                </a:ext>
              </a:extLst>
            </p:cNvPr>
            <p:cNvSpPr/>
            <p:nvPr/>
          </p:nvSpPr>
          <p:spPr>
            <a:xfrm>
              <a:off x="11451983" y="6691629"/>
              <a:ext cx="106699" cy="102254"/>
            </a:xfrm>
            <a:custGeom>
              <a:avLst/>
              <a:gdLst>
                <a:gd name="connsiteX0" fmla="*/ 189954 w 189072"/>
                <a:gd name="connsiteY0" fmla="*/ 30014 h 181196"/>
                <a:gd name="connsiteX1" fmla="*/ 188463 w 189072"/>
                <a:gd name="connsiteY1" fmla="*/ 13159 h 181196"/>
                <a:gd name="connsiteX2" fmla="*/ 180928 w 189072"/>
                <a:gd name="connsiteY2" fmla="*/ 13639 h 181196"/>
                <a:gd name="connsiteX3" fmla="*/ 171449 w 189072"/>
                <a:gd name="connsiteY3" fmla="*/ 21467 h 181196"/>
                <a:gd name="connsiteX4" fmla="*/ 171449 w 189072"/>
                <a:gd name="connsiteY4" fmla="*/ 21467 h 181196"/>
                <a:gd name="connsiteX5" fmla="*/ 171449 w 189072"/>
                <a:gd name="connsiteY5" fmla="*/ 21467 h 181196"/>
                <a:gd name="connsiteX6" fmla="*/ 169080 w 189072"/>
                <a:gd name="connsiteY6" fmla="*/ 52513 h 181196"/>
                <a:gd name="connsiteX7" fmla="*/ 162370 w 189072"/>
                <a:gd name="connsiteY7" fmla="*/ 81988 h 181196"/>
                <a:gd name="connsiteX8" fmla="*/ 161944 w 189072"/>
                <a:gd name="connsiteY8" fmla="*/ 83373 h 181196"/>
                <a:gd name="connsiteX9" fmla="*/ 151773 w 189072"/>
                <a:gd name="connsiteY9" fmla="*/ 109200 h 181196"/>
                <a:gd name="connsiteX10" fmla="*/ 145169 w 189072"/>
                <a:gd name="connsiteY10" fmla="*/ 120649 h 181196"/>
                <a:gd name="connsiteX11" fmla="*/ 143785 w 189072"/>
                <a:gd name="connsiteY11" fmla="*/ 121395 h 181196"/>
                <a:gd name="connsiteX12" fmla="*/ 142853 w 189072"/>
                <a:gd name="connsiteY12" fmla="*/ 121102 h 181196"/>
                <a:gd name="connsiteX13" fmla="*/ 142400 w 189072"/>
                <a:gd name="connsiteY13" fmla="*/ 118785 h 181196"/>
                <a:gd name="connsiteX14" fmla="*/ 147992 w 189072"/>
                <a:gd name="connsiteY14" fmla="*/ 109200 h 181196"/>
                <a:gd name="connsiteX15" fmla="*/ 158323 w 189072"/>
                <a:gd name="connsiteY15" fmla="*/ 83373 h 181196"/>
                <a:gd name="connsiteX16" fmla="*/ 159042 w 189072"/>
                <a:gd name="connsiteY16" fmla="*/ 81030 h 181196"/>
                <a:gd name="connsiteX17" fmla="*/ 165725 w 189072"/>
                <a:gd name="connsiteY17" fmla="*/ 51315 h 181196"/>
                <a:gd name="connsiteX18" fmla="*/ 168121 w 189072"/>
                <a:gd name="connsiteY18" fmla="*/ 20215 h 181196"/>
                <a:gd name="connsiteX19" fmla="*/ 166763 w 189072"/>
                <a:gd name="connsiteY19" fmla="*/ -340 h 181196"/>
                <a:gd name="connsiteX20" fmla="*/ 166763 w 189072"/>
                <a:gd name="connsiteY20" fmla="*/ -340 h 181196"/>
                <a:gd name="connsiteX21" fmla="*/ 166763 w 189072"/>
                <a:gd name="connsiteY21" fmla="*/ -340 h 181196"/>
                <a:gd name="connsiteX22" fmla="*/ 154062 w 189072"/>
                <a:gd name="connsiteY22" fmla="*/ 2589 h 181196"/>
                <a:gd name="connsiteX23" fmla="*/ 146847 w 189072"/>
                <a:gd name="connsiteY23" fmla="*/ 14544 h 181196"/>
                <a:gd name="connsiteX24" fmla="*/ 146847 w 189072"/>
                <a:gd name="connsiteY24" fmla="*/ 14544 h 181196"/>
                <a:gd name="connsiteX25" fmla="*/ 144371 w 189072"/>
                <a:gd name="connsiteY25" fmla="*/ 46016 h 181196"/>
                <a:gd name="connsiteX26" fmla="*/ 137181 w 189072"/>
                <a:gd name="connsiteY26" fmla="*/ 76636 h 181196"/>
                <a:gd name="connsiteX27" fmla="*/ 134972 w 189072"/>
                <a:gd name="connsiteY27" fmla="*/ 83293 h 181196"/>
                <a:gd name="connsiteX28" fmla="*/ 123070 w 189072"/>
                <a:gd name="connsiteY28" fmla="*/ 109120 h 181196"/>
                <a:gd name="connsiteX29" fmla="*/ 120167 w 189072"/>
                <a:gd name="connsiteY29" fmla="*/ 113700 h 181196"/>
                <a:gd name="connsiteX30" fmla="*/ 118783 w 189072"/>
                <a:gd name="connsiteY30" fmla="*/ 114445 h 181196"/>
                <a:gd name="connsiteX31" fmla="*/ 117851 w 189072"/>
                <a:gd name="connsiteY31" fmla="*/ 114152 h 181196"/>
                <a:gd name="connsiteX32" fmla="*/ 117409 w 189072"/>
                <a:gd name="connsiteY32" fmla="*/ 111860 h 181196"/>
                <a:gd name="connsiteX33" fmla="*/ 117425 w 189072"/>
                <a:gd name="connsiteY33" fmla="*/ 111836 h 181196"/>
                <a:gd name="connsiteX34" fmla="*/ 119156 w 189072"/>
                <a:gd name="connsiteY34" fmla="*/ 109173 h 181196"/>
                <a:gd name="connsiteX35" fmla="*/ 131430 w 189072"/>
                <a:gd name="connsiteY35" fmla="*/ 83346 h 181196"/>
                <a:gd name="connsiteX36" fmla="*/ 133827 w 189072"/>
                <a:gd name="connsiteY36" fmla="*/ 76343 h 181196"/>
                <a:gd name="connsiteX37" fmla="*/ 141069 w 189072"/>
                <a:gd name="connsiteY37" fmla="*/ 45590 h 181196"/>
                <a:gd name="connsiteX38" fmla="*/ 143465 w 189072"/>
                <a:gd name="connsiteY38" fmla="*/ 14038 h 181196"/>
                <a:gd name="connsiteX39" fmla="*/ 143465 w 189072"/>
                <a:gd name="connsiteY39" fmla="*/ 13798 h 181196"/>
                <a:gd name="connsiteX40" fmla="*/ 143465 w 189072"/>
                <a:gd name="connsiteY40" fmla="*/ 13798 h 181196"/>
                <a:gd name="connsiteX41" fmla="*/ 140403 w 189072"/>
                <a:gd name="connsiteY41" fmla="*/ 13585 h 181196"/>
                <a:gd name="connsiteX42" fmla="*/ 128208 w 189072"/>
                <a:gd name="connsiteY42" fmla="*/ 18911 h 181196"/>
                <a:gd name="connsiteX43" fmla="*/ 121978 w 189072"/>
                <a:gd name="connsiteY43" fmla="*/ 36670 h 181196"/>
                <a:gd name="connsiteX44" fmla="*/ 121073 w 189072"/>
                <a:gd name="connsiteY44" fmla="*/ 41809 h 181196"/>
                <a:gd name="connsiteX45" fmla="*/ 120673 w 189072"/>
                <a:gd name="connsiteY45" fmla="*/ 43993 h 181196"/>
                <a:gd name="connsiteX46" fmla="*/ 110901 w 189072"/>
                <a:gd name="connsiteY46" fmla="*/ 75944 h 181196"/>
                <a:gd name="connsiteX47" fmla="*/ 107546 w 189072"/>
                <a:gd name="connsiteY47" fmla="*/ 83453 h 181196"/>
                <a:gd name="connsiteX48" fmla="*/ 93807 w 189072"/>
                <a:gd name="connsiteY48" fmla="*/ 106218 h 181196"/>
                <a:gd name="connsiteX49" fmla="*/ 92476 w 189072"/>
                <a:gd name="connsiteY49" fmla="*/ 106883 h 181196"/>
                <a:gd name="connsiteX50" fmla="*/ 91464 w 189072"/>
                <a:gd name="connsiteY50" fmla="*/ 106564 h 181196"/>
                <a:gd name="connsiteX51" fmla="*/ 91118 w 189072"/>
                <a:gd name="connsiteY51" fmla="*/ 104221 h 181196"/>
                <a:gd name="connsiteX52" fmla="*/ 103792 w 189072"/>
                <a:gd name="connsiteY52" fmla="*/ 83266 h 181196"/>
                <a:gd name="connsiteX53" fmla="*/ 107147 w 189072"/>
                <a:gd name="connsiteY53" fmla="*/ 76024 h 181196"/>
                <a:gd name="connsiteX54" fmla="*/ 117105 w 189072"/>
                <a:gd name="connsiteY54" fmla="*/ 44019 h 181196"/>
                <a:gd name="connsiteX55" fmla="*/ 117691 w 189072"/>
                <a:gd name="connsiteY55" fmla="*/ 41064 h 181196"/>
                <a:gd name="connsiteX56" fmla="*/ 105470 w 189072"/>
                <a:gd name="connsiteY56" fmla="*/ 42235 h 181196"/>
                <a:gd name="connsiteX57" fmla="*/ 101502 w 189072"/>
                <a:gd name="connsiteY57" fmla="*/ 44898 h 181196"/>
                <a:gd name="connsiteX58" fmla="*/ 97881 w 189072"/>
                <a:gd name="connsiteY58" fmla="*/ 50835 h 181196"/>
                <a:gd name="connsiteX59" fmla="*/ 97509 w 189072"/>
                <a:gd name="connsiteY59" fmla="*/ 51980 h 181196"/>
                <a:gd name="connsiteX60" fmla="*/ 91491 w 189072"/>
                <a:gd name="connsiteY60" fmla="*/ 66412 h 181196"/>
                <a:gd name="connsiteX61" fmla="*/ 83716 w 189072"/>
                <a:gd name="connsiteY61" fmla="*/ 79725 h 181196"/>
                <a:gd name="connsiteX62" fmla="*/ 81266 w 189072"/>
                <a:gd name="connsiteY62" fmla="*/ 83293 h 181196"/>
                <a:gd name="connsiteX63" fmla="*/ 79909 w 189072"/>
                <a:gd name="connsiteY63" fmla="*/ 85130 h 181196"/>
                <a:gd name="connsiteX64" fmla="*/ 64093 w 189072"/>
                <a:gd name="connsiteY64" fmla="*/ 102091 h 181196"/>
                <a:gd name="connsiteX65" fmla="*/ 54774 w 189072"/>
                <a:gd name="connsiteY65" fmla="*/ 109120 h 181196"/>
                <a:gd name="connsiteX66" fmla="*/ 53043 w 189072"/>
                <a:gd name="connsiteY66" fmla="*/ 110292 h 181196"/>
                <a:gd name="connsiteX67" fmla="*/ 53043 w 189072"/>
                <a:gd name="connsiteY67" fmla="*/ 110292 h 181196"/>
                <a:gd name="connsiteX68" fmla="*/ 51578 w 189072"/>
                <a:gd name="connsiteY68" fmla="*/ 111250 h 181196"/>
                <a:gd name="connsiteX69" fmla="*/ 22290 w 189072"/>
                <a:gd name="connsiteY69" fmla="*/ 136092 h 181196"/>
                <a:gd name="connsiteX70" fmla="*/ 989 w 189072"/>
                <a:gd name="connsiteY70" fmla="*/ 174567 h 181196"/>
                <a:gd name="connsiteX71" fmla="*/ 1468 w 189072"/>
                <a:gd name="connsiteY71" fmla="*/ 174700 h 181196"/>
                <a:gd name="connsiteX72" fmla="*/ 21065 w 189072"/>
                <a:gd name="connsiteY72" fmla="*/ 179120 h 181196"/>
                <a:gd name="connsiteX73" fmla="*/ 43511 w 189072"/>
                <a:gd name="connsiteY73" fmla="*/ 180851 h 181196"/>
                <a:gd name="connsiteX74" fmla="*/ 43910 w 189072"/>
                <a:gd name="connsiteY74" fmla="*/ 180851 h 181196"/>
                <a:gd name="connsiteX75" fmla="*/ 148924 w 189072"/>
                <a:gd name="connsiteY75" fmla="*/ 136119 h 181196"/>
                <a:gd name="connsiteX76" fmla="*/ 169559 w 189072"/>
                <a:gd name="connsiteY76" fmla="*/ 109120 h 181196"/>
                <a:gd name="connsiteX77" fmla="*/ 179783 w 189072"/>
                <a:gd name="connsiteY77" fmla="*/ 88325 h 181196"/>
                <a:gd name="connsiteX78" fmla="*/ 181674 w 189072"/>
                <a:gd name="connsiteY78" fmla="*/ 83293 h 181196"/>
                <a:gd name="connsiteX79" fmla="*/ 187718 w 189072"/>
                <a:gd name="connsiteY79" fmla="*/ 60527 h 181196"/>
                <a:gd name="connsiteX80" fmla="*/ 190061 w 189072"/>
                <a:gd name="connsiteY80" fmla="*/ 34301 h 181196"/>
                <a:gd name="connsiteX81" fmla="*/ 190061 w 189072"/>
                <a:gd name="connsiteY81" fmla="*/ 29854 h 181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89072" h="181196">
                  <a:moveTo>
                    <a:pt x="189954" y="30014"/>
                  </a:moveTo>
                  <a:cubicBezTo>
                    <a:pt x="189784" y="24372"/>
                    <a:pt x="189286" y="18743"/>
                    <a:pt x="188463" y="13159"/>
                  </a:cubicBezTo>
                  <a:cubicBezTo>
                    <a:pt x="185942" y="12909"/>
                    <a:pt x="183396" y="13072"/>
                    <a:pt x="180928" y="13639"/>
                  </a:cubicBezTo>
                  <a:cubicBezTo>
                    <a:pt x="176713" y="14613"/>
                    <a:pt x="173204" y="17513"/>
                    <a:pt x="171449" y="21467"/>
                  </a:cubicBezTo>
                  <a:lnTo>
                    <a:pt x="171449" y="21467"/>
                  </a:lnTo>
                  <a:lnTo>
                    <a:pt x="171449" y="21467"/>
                  </a:lnTo>
                  <a:cubicBezTo>
                    <a:pt x="171487" y="31862"/>
                    <a:pt x="170693" y="42243"/>
                    <a:pt x="169080" y="52513"/>
                  </a:cubicBezTo>
                  <a:cubicBezTo>
                    <a:pt x="167522" y="62479"/>
                    <a:pt x="165280" y="72328"/>
                    <a:pt x="162370" y="81988"/>
                  </a:cubicBezTo>
                  <a:cubicBezTo>
                    <a:pt x="162210" y="82441"/>
                    <a:pt x="162077" y="82893"/>
                    <a:pt x="161944" y="83373"/>
                  </a:cubicBezTo>
                  <a:cubicBezTo>
                    <a:pt x="159260" y="92244"/>
                    <a:pt x="155860" y="100882"/>
                    <a:pt x="151773" y="109200"/>
                  </a:cubicBezTo>
                  <a:cubicBezTo>
                    <a:pt x="149821" y="113154"/>
                    <a:pt x="147614" y="116980"/>
                    <a:pt x="145169" y="120649"/>
                  </a:cubicBezTo>
                  <a:cubicBezTo>
                    <a:pt x="144860" y="121112"/>
                    <a:pt x="144341" y="121392"/>
                    <a:pt x="143785" y="121395"/>
                  </a:cubicBezTo>
                  <a:cubicBezTo>
                    <a:pt x="143452" y="121387"/>
                    <a:pt x="143130" y="121286"/>
                    <a:pt x="142853" y="121102"/>
                  </a:cubicBezTo>
                  <a:cubicBezTo>
                    <a:pt x="142091" y="120585"/>
                    <a:pt x="141892" y="119552"/>
                    <a:pt x="142400" y="118785"/>
                  </a:cubicBezTo>
                  <a:cubicBezTo>
                    <a:pt x="144458" y="115707"/>
                    <a:pt x="146325" y="112507"/>
                    <a:pt x="147992" y="109200"/>
                  </a:cubicBezTo>
                  <a:cubicBezTo>
                    <a:pt x="152161" y="100898"/>
                    <a:pt x="155617" y="92258"/>
                    <a:pt x="158323" y="83373"/>
                  </a:cubicBezTo>
                  <a:lnTo>
                    <a:pt x="159042" y="81030"/>
                  </a:lnTo>
                  <a:cubicBezTo>
                    <a:pt x="161944" y="71290"/>
                    <a:pt x="164178" y="61361"/>
                    <a:pt x="165725" y="51315"/>
                  </a:cubicBezTo>
                  <a:cubicBezTo>
                    <a:pt x="167306" y="41024"/>
                    <a:pt x="168108" y="30626"/>
                    <a:pt x="168121" y="20215"/>
                  </a:cubicBezTo>
                  <a:cubicBezTo>
                    <a:pt x="168116" y="13341"/>
                    <a:pt x="167663" y="6474"/>
                    <a:pt x="166763" y="-340"/>
                  </a:cubicBezTo>
                  <a:lnTo>
                    <a:pt x="166763" y="-340"/>
                  </a:lnTo>
                  <a:lnTo>
                    <a:pt x="166763" y="-340"/>
                  </a:lnTo>
                  <a:cubicBezTo>
                    <a:pt x="162351" y="-431"/>
                    <a:pt x="157987" y="576"/>
                    <a:pt x="154062" y="2589"/>
                  </a:cubicBezTo>
                  <a:cubicBezTo>
                    <a:pt x="149685" y="4988"/>
                    <a:pt x="146929" y="9552"/>
                    <a:pt x="146847" y="14544"/>
                  </a:cubicBezTo>
                  <a:lnTo>
                    <a:pt x="146847" y="14544"/>
                  </a:lnTo>
                  <a:cubicBezTo>
                    <a:pt x="146868" y="25085"/>
                    <a:pt x="146040" y="35608"/>
                    <a:pt x="144371" y="46016"/>
                  </a:cubicBezTo>
                  <a:cubicBezTo>
                    <a:pt x="142752" y="56390"/>
                    <a:pt x="140347" y="66625"/>
                    <a:pt x="137181" y="76636"/>
                  </a:cubicBezTo>
                  <a:cubicBezTo>
                    <a:pt x="136489" y="78899"/>
                    <a:pt x="135744" y="81109"/>
                    <a:pt x="134972" y="83293"/>
                  </a:cubicBezTo>
                  <a:cubicBezTo>
                    <a:pt x="131840" y="92263"/>
                    <a:pt x="127854" y="100911"/>
                    <a:pt x="123070" y="109120"/>
                  </a:cubicBezTo>
                  <a:cubicBezTo>
                    <a:pt x="122111" y="110744"/>
                    <a:pt x="121153" y="112262"/>
                    <a:pt x="120167" y="113700"/>
                  </a:cubicBezTo>
                  <a:cubicBezTo>
                    <a:pt x="119861" y="114166"/>
                    <a:pt x="119342" y="114448"/>
                    <a:pt x="118783" y="114445"/>
                  </a:cubicBezTo>
                  <a:cubicBezTo>
                    <a:pt x="118450" y="114437"/>
                    <a:pt x="118128" y="114336"/>
                    <a:pt x="117851" y="114152"/>
                  </a:cubicBezTo>
                  <a:cubicBezTo>
                    <a:pt x="117095" y="113641"/>
                    <a:pt x="116898" y="112616"/>
                    <a:pt x="117409" y="111860"/>
                  </a:cubicBezTo>
                  <a:cubicBezTo>
                    <a:pt x="117414" y="111852"/>
                    <a:pt x="117419" y="111844"/>
                    <a:pt x="117425" y="111836"/>
                  </a:cubicBezTo>
                  <a:cubicBezTo>
                    <a:pt x="118011" y="110957"/>
                    <a:pt x="118570" y="110052"/>
                    <a:pt x="119156" y="109173"/>
                  </a:cubicBezTo>
                  <a:cubicBezTo>
                    <a:pt x="124127" y="101010"/>
                    <a:pt x="128240" y="92356"/>
                    <a:pt x="131430" y="83346"/>
                  </a:cubicBezTo>
                  <a:cubicBezTo>
                    <a:pt x="132256" y="81056"/>
                    <a:pt x="133054" y="78713"/>
                    <a:pt x="133827" y="76343"/>
                  </a:cubicBezTo>
                  <a:cubicBezTo>
                    <a:pt x="137027" y="66292"/>
                    <a:pt x="139447" y="56012"/>
                    <a:pt x="141069" y="45590"/>
                  </a:cubicBezTo>
                  <a:cubicBezTo>
                    <a:pt x="142738" y="35158"/>
                    <a:pt x="143540" y="24603"/>
                    <a:pt x="143465" y="14038"/>
                  </a:cubicBezTo>
                  <a:lnTo>
                    <a:pt x="143465" y="13798"/>
                  </a:lnTo>
                  <a:lnTo>
                    <a:pt x="143465" y="13798"/>
                  </a:lnTo>
                  <a:cubicBezTo>
                    <a:pt x="142451" y="13655"/>
                    <a:pt x="141428" y="13583"/>
                    <a:pt x="140403" y="13585"/>
                  </a:cubicBezTo>
                  <a:cubicBezTo>
                    <a:pt x="135741" y="13418"/>
                    <a:pt x="131255" y="15375"/>
                    <a:pt x="128208" y="18911"/>
                  </a:cubicBezTo>
                  <a:cubicBezTo>
                    <a:pt x="124055" y="23890"/>
                    <a:pt x="121978" y="36670"/>
                    <a:pt x="121978" y="36670"/>
                  </a:cubicBezTo>
                  <a:cubicBezTo>
                    <a:pt x="121712" y="38401"/>
                    <a:pt x="121419" y="40105"/>
                    <a:pt x="121073" y="41809"/>
                  </a:cubicBezTo>
                  <a:cubicBezTo>
                    <a:pt x="121073" y="41809"/>
                    <a:pt x="121073" y="42608"/>
                    <a:pt x="120673" y="43993"/>
                  </a:cubicBezTo>
                  <a:cubicBezTo>
                    <a:pt x="118469" y="54936"/>
                    <a:pt x="115196" y="65640"/>
                    <a:pt x="110901" y="75944"/>
                  </a:cubicBezTo>
                  <a:cubicBezTo>
                    <a:pt x="109871" y="78394"/>
                    <a:pt x="108753" y="80896"/>
                    <a:pt x="107546" y="83453"/>
                  </a:cubicBezTo>
                  <a:cubicBezTo>
                    <a:pt x="103744" y="91483"/>
                    <a:pt x="99141" y="99111"/>
                    <a:pt x="93807" y="106218"/>
                  </a:cubicBezTo>
                  <a:cubicBezTo>
                    <a:pt x="93488" y="106633"/>
                    <a:pt x="92998" y="106878"/>
                    <a:pt x="92476" y="106883"/>
                  </a:cubicBezTo>
                  <a:cubicBezTo>
                    <a:pt x="92114" y="106886"/>
                    <a:pt x="91760" y="106774"/>
                    <a:pt x="91464" y="106564"/>
                  </a:cubicBezTo>
                  <a:cubicBezTo>
                    <a:pt x="90724" y="106013"/>
                    <a:pt x="90567" y="104964"/>
                    <a:pt x="91118" y="104221"/>
                  </a:cubicBezTo>
                  <a:cubicBezTo>
                    <a:pt x="95956" y="97626"/>
                    <a:pt x="100198" y="90615"/>
                    <a:pt x="103792" y="83266"/>
                  </a:cubicBezTo>
                  <a:cubicBezTo>
                    <a:pt x="104964" y="80896"/>
                    <a:pt x="106082" y="78473"/>
                    <a:pt x="107147" y="76024"/>
                  </a:cubicBezTo>
                  <a:cubicBezTo>
                    <a:pt x="111572" y="65733"/>
                    <a:pt x="114911" y="55005"/>
                    <a:pt x="117105" y="44019"/>
                  </a:cubicBezTo>
                  <a:cubicBezTo>
                    <a:pt x="117318" y="43034"/>
                    <a:pt x="117505" y="42049"/>
                    <a:pt x="117691" y="41064"/>
                  </a:cubicBezTo>
                  <a:cubicBezTo>
                    <a:pt x="113593" y="40212"/>
                    <a:pt x="109333" y="40619"/>
                    <a:pt x="105470" y="42235"/>
                  </a:cubicBezTo>
                  <a:cubicBezTo>
                    <a:pt x="103995" y="42872"/>
                    <a:pt x="102650" y="43774"/>
                    <a:pt x="101502" y="44898"/>
                  </a:cubicBezTo>
                  <a:cubicBezTo>
                    <a:pt x="99868" y="46583"/>
                    <a:pt x="98632" y="48612"/>
                    <a:pt x="97881" y="50835"/>
                  </a:cubicBezTo>
                  <a:cubicBezTo>
                    <a:pt x="97881" y="51208"/>
                    <a:pt x="97615" y="51581"/>
                    <a:pt x="97509" y="51980"/>
                  </a:cubicBezTo>
                  <a:cubicBezTo>
                    <a:pt x="95812" y="56914"/>
                    <a:pt x="93802" y="61734"/>
                    <a:pt x="91491" y="66412"/>
                  </a:cubicBezTo>
                  <a:cubicBezTo>
                    <a:pt x="89190" y="71013"/>
                    <a:pt x="86594" y="75459"/>
                    <a:pt x="83716" y="79725"/>
                  </a:cubicBezTo>
                  <a:cubicBezTo>
                    <a:pt x="82944" y="80923"/>
                    <a:pt x="82119" y="82095"/>
                    <a:pt x="81266" y="83293"/>
                  </a:cubicBezTo>
                  <a:lnTo>
                    <a:pt x="79909" y="85130"/>
                  </a:lnTo>
                  <a:cubicBezTo>
                    <a:pt x="75257" y="91334"/>
                    <a:pt x="69956" y="97019"/>
                    <a:pt x="64093" y="102091"/>
                  </a:cubicBezTo>
                  <a:cubicBezTo>
                    <a:pt x="61124" y="104610"/>
                    <a:pt x="58011" y="106958"/>
                    <a:pt x="54774" y="109120"/>
                  </a:cubicBezTo>
                  <a:lnTo>
                    <a:pt x="53043" y="110292"/>
                  </a:lnTo>
                  <a:lnTo>
                    <a:pt x="53043" y="110292"/>
                  </a:lnTo>
                  <a:lnTo>
                    <a:pt x="51578" y="111250"/>
                  </a:lnTo>
                  <a:cubicBezTo>
                    <a:pt x="40757" y="118197"/>
                    <a:pt x="30909" y="126550"/>
                    <a:pt x="22290" y="136092"/>
                  </a:cubicBezTo>
                  <a:cubicBezTo>
                    <a:pt x="12654" y="147339"/>
                    <a:pt x="5406" y="160429"/>
                    <a:pt x="989" y="174567"/>
                  </a:cubicBezTo>
                  <a:lnTo>
                    <a:pt x="1468" y="174700"/>
                  </a:lnTo>
                  <a:cubicBezTo>
                    <a:pt x="7888" y="176636"/>
                    <a:pt x="14435" y="178114"/>
                    <a:pt x="21065" y="179120"/>
                  </a:cubicBezTo>
                  <a:cubicBezTo>
                    <a:pt x="28491" y="180278"/>
                    <a:pt x="35994" y="180856"/>
                    <a:pt x="43511" y="180851"/>
                  </a:cubicBezTo>
                  <a:lnTo>
                    <a:pt x="43910" y="180851"/>
                  </a:lnTo>
                  <a:cubicBezTo>
                    <a:pt x="83532" y="180798"/>
                    <a:pt x="121432" y="164652"/>
                    <a:pt x="148924" y="136119"/>
                  </a:cubicBezTo>
                  <a:cubicBezTo>
                    <a:pt x="156824" y="127947"/>
                    <a:pt x="163749" y="118889"/>
                    <a:pt x="169559" y="109120"/>
                  </a:cubicBezTo>
                  <a:cubicBezTo>
                    <a:pt x="173507" y="102466"/>
                    <a:pt x="176926" y="95514"/>
                    <a:pt x="179783" y="88325"/>
                  </a:cubicBezTo>
                  <a:cubicBezTo>
                    <a:pt x="180449" y="86674"/>
                    <a:pt x="181088" y="84970"/>
                    <a:pt x="181674" y="83293"/>
                  </a:cubicBezTo>
                  <a:cubicBezTo>
                    <a:pt x="184304" y="75880"/>
                    <a:pt x="186325" y="68268"/>
                    <a:pt x="187718" y="60527"/>
                  </a:cubicBezTo>
                  <a:cubicBezTo>
                    <a:pt x="189283" y="51874"/>
                    <a:pt x="190066" y="43095"/>
                    <a:pt x="190061" y="34301"/>
                  </a:cubicBezTo>
                  <a:cubicBezTo>
                    <a:pt x="190061" y="32810"/>
                    <a:pt x="190061" y="31318"/>
                    <a:pt x="190061" y="29854"/>
                  </a:cubicBezTo>
                </a:path>
              </a:pathLst>
            </a:custGeom>
            <a:solidFill>
              <a:srgbClr val="143DCF"/>
            </a:solidFill>
            <a:ln w="2661" cap="flat">
              <a:noFill/>
              <a:prstDash val="solid"/>
              <a:miter/>
            </a:ln>
          </p:spPr>
          <p:txBody>
            <a:bodyPr rtlCol="0" anchor="ctr"/>
            <a:lstStyle/>
            <a:p>
              <a:endParaRPr lang="pl-PL"/>
            </a:p>
          </p:txBody>
        </p:sp>
        <p:sp>
          <p:nvSpPr>
            <p:cNvPr id="235" name="Freeform: Shape 234">
              <a:extLst>
                <a:ext uri="{FF2B5EF4-FFF2-40B4-BE49-F238E27FC236}">
                  <a16:creationId xmlns:a16="http://schemas.microsoft.com/office/drawing/2014/main" id="{1C44DB8B-7A13-4663-9E37-285C405E8642}"/>
                </a:ext>
              </a:extLst>
            </p:cNvPr>
            <p:cNvSpPr/>
            <p:nvPr/>
          </p:nvSpPr>
          <p:spPr>
            <a:xfrm>
              <a:off x="11502581" y="6714997"/>
              <a:ext cx="17090" cy="37099"/>
            </a:xfrm>
            <a:custGeom>
              <a:avLst/>
              <a:gdLst>
                <a:gd name="connsiteX0" fmla="*/ 31273 w 30283"/>
                <a:gd name="connsiteY0" fmla="*/ 400 h 65740"/>
                <a:gd name="connsiteX1" fmla="*/ 28024 w 30283"/>
                <a:gd name="connsiteY1" fmla="*/ -346 h 65740"/>
                <a:gd name="connsiteX2" fmla="*/ 27438 w 30283"/>
                <a:gd name="connsiteY2" fmla="*/ 2610 h 65740"/>
                <a:gd name="connsiteX3" fmla="*/ 17374 w 30283"/>
                <a:gd name="connsiteY3" fmla="*/ 34721 h 65740"/>
                <a:gd name="connsiteX4" fmla="*/ 13992 w 30283"/>
                <a:gd name="connsiteY4" fmla="*/ 41963 h 65740"/>
                <a:gd name="connsiteX5" fmla="*/ 1318 w 30283"/>
                <a:gd name="connsiteY5" fmla="*/ 62732 h 65740"/>
                <a:gd name="connsiteX6" fmla="*/ 1664 w 30283"/>
                <a:gd name="connsiteY6" fmla="*/ 65075 h 65740"/>
                <a:gd name="connsiteX7" fmla="*/ 2650 w 30283"/>
                <a:gd name="connsiteY7" fmla="*/ 65394 h 65740"/>
                <a:gd name="connsiteX8" fmla="*/ 4007 w 30283"/>
                <a:gd name="connsiteY8" fmla="*/ 64729 h 65740"/>
                <a:gd name="connsiteX9" fmla="*/ 17747 w 30283"/>
                <a:gd name="connsiteY9" fmla="*/ 41963 h 65740"/>
                <a:gd name="connsiteX10" fmla="*/ 21101 w 30283"/>
                <a:gd name="connsiteY10" fmla="*/ 34481 h 65740"/>
                <a:gd name="connsiteX11" fmla="*/ 30873 w 30283"/>
                <a:gd name="connsiteY11" fmla="*/ 2530 h 65740"/>
                <a:gd name="connsiteX12" fmla="*/ 31273 w 30283"/>
                <a:gd name="connsiteY12" fmla="*/ 347 h 6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283" h="65740">
                  <a:moveTo>
                    <a:pt x="31273" y="400"/>
                  </a:moveTo>
                  <a:cubicBezTo>
                    <a:pt x="30213" y="62"/>
                    <a:pt x="29126" y="-186"/>
                    <a:pt x="28024" y="-346"/>
                  </a:cubicBezTo>
                  <a:cubicBezTo>
                    <a:pt x="27838" y="640"/>
                    <a:pt x="27652" y="1625"/>
                    <a:pt x="27438" y="2610"/>
                  </a:cubicBezTo>
                  <a:cubicBezTo>
                    <a:pt x="25218" y="13636"/>
                    <a:pt x="21844" y="24398"/>
                    <a:pt x="17374" y="34721"/>
                  </a:cubicBezTo>
                  <a:cubicBezTo>
                    <a:pt x="16309" y="37171"/>
                    <a:pt x="15190" y="39594"/>
                    <a:pt x="13992" y="41963"/>
                  </a:cubicBezTo>
                  <a:cubicBezTo>
                    <a:pt x="10400" y="49254"/>
                    <a:pt x="6159" y="56203"/>
                    <a:pt x="1318" y="62732"/>
                  </a:cubicBezTo>
                  <a:cubicBezTo>
                    <a:pt x="767" y="63475"/>
                    <a:pt x="924" y="64524"/>
                    <a:pt x="1664" y="65075"/>
                  </a:cubicBezTo>
                  <a:cubicBezTo>
                    <a:pt x="1952" y="65283"/>
                    <a:pt x="2295" y="65394"/>
                    <a:pt x="2650" y="65394"/>
                  </a:cubicBezTo>
                  <a:cubicBezTo>
                    <a:pt x="3182" y="65405"/>
                    <a:pt x="3688" y="65157"/>
                    <a:pt x="4007" y="64729"/>
                  </a:cubicBezTo>
                  <a:cubicBezTo>
                    <a:pt x="9341" y="57622"/>
                    <a:pt x="13944" y="49994"/>
                    <a:pt x="17747" y="41963"/>
                  </a:cubicBezTo>
                  <a:cubicBezTo>
                    <a:pt x="18945" y="39301"/>
                    <a:pt x="20063" y="36931"/>
                    <a:pt x="21101" y="34481"/>
                  </a:cubicBezTo>
                  <a:cubicBezTo>
                    <a:pt x="25380" y="24172"/>
                    <a:pt x="28653" y="13471"/>
                    <a:pt x="30873" y="2530"/>
                  </a:cubicBezTo>
                  <a:cubicBezTo>
                    <a:pt x="31140" y="1145"/>
                    <a:pt x="31273" y="347"/>
                    <a:pt x="31273" y="347"/>
                  </a:cubicBezTo>
                </a:path>
              </a:pathLst>
            </a:custGeom>
            <a:solidFill>
              <a:srgbClr val="8FD942"/>
            </a:solidFill>
            <a:ln w="2661" cap="flat">
              <a:noFill/>
              <a:prstDash val="solid"/>
              <a:miter/>
            </a:ln>
          </p:spPr>
          <p:txBody>
            <a:bodyPr rtlCol="0" anchor="ctr"/>
            <a:lstStyle/>
            <a:p>
              <a:endParaRPr lang="pl-PL"/>
            </a:p>
          </p:txBody>
        </p:sp>
        <p:sp>
          <p:nvSpPr>
            <p:cNvPr id="236" name="Freeform: Shape 235">
              <a:extLst>
                <a:ext uri="{FF2B5EF4-FFF2-40B4-BE49-F238E27FC236}">
                  <a16:creationId xmlns:a16="http://schemas.microsoft.com/office/drawing/2014/main" id="{E63ECC55-4C52-4424-99B0-984AEDB09B41}"/>
                </a:ext>
              </a:extLst>
            </p:cNvPr>
            <p:cNvSpPr/>
            <p:nvPr/>
          </p:nvSpPr>
          <p:spPr>
            <a:xfrm>
              <a:off x="11517500" y="6699685"/>
              <a:ext cx="16773" cy="56738"/>
            </a:xfrm>
            <a:custGeom>
              <a:avLst/>
              <a:gdLst>
                <a:gd name="connsiteX0" fmla="*/ 27995 w 29722"/>
                <a:gd name="connsiteY0" fmla="*/ -239 h 100540"/>
                <a:gd name="connsiteX1" fmla="*/ 27542 w 29722"/>
                <a:gd name="connsiteY1" fmla="*/ -239 h 100540"/>
                <a:gd name="connsiteX2" fmla="*/ 27356 w 29722"/>
                <a:gd name="connsiteY2" fmla="*/ -239 h 100540"/>
                <a:gd name="connsiteX3" fmla="*/ 27356 w 29722"/>
                <a:gd name="connsiteY3" fmla="*/ -239 h 100540"/>
                <a:gd name="connsiteX4" fmla="*/ 24959 w 29722"/>
                <a:gd name="connsiteY4" fmla="*/ 31313 h 100540"/>
                <a:gd name="connsiteX5" fmla="*/ 17691 w 29722"/>
                <a:gd name="connsiteY5" fmla="*/ 62093 h 100540"/>
                <a:gd name="connsiteX6" fmla="*/ 15294 w 29722"/>
                <a:gd name="connsiteY6" fmla="*/ 69095 h 100540"/>
                <a:gd name="connsiteX7" fmla="*/ 3020 w 29722"/>
                <a:gd name="connsiteY7" fmla="*/ 94923 h 100540"/>
                <a:gd name="connsiteX8" fmla="*/ 1289 w 29722"/>
                <a:gd name="connsiteY8" fmla="*/ 97585 h 100540"/>
                <a:gd name="connsiteX9" fmla="*/ 1691 w 29722"/>
                <a:gd name="connsiteY9" fmla="*/ 99886 h 100540"/>
                <a:gd name="connsiteX10" fmla="*/ 1715 w 29722"/>
                <a:gd name="connsiteY10" fmla="*/ 99902 h 100540"/>
                <a:gd name="connsiteX11" fmla="*/ 2647 w 29722"/>
                <a:gd name="connsiteY11" fmla="*/ 100195 h 100540"/>
                <a:gd name="connsiteX12" fmla="*/ 4031 w 29722"/>
                <a:gd name="connsiteY12" fmla="*/ 99449 h 100540"/>
                <a:gd name="connsiteX13" fmla="*/ 6933 w 29722"/>
                <a:gd name="connsiteY13" fmla="*/ 94870 h 100540"/>
                <a:gd name="connsiteX14" fmla="*/ 18835 w 29722"/>
                <a:gd name="connsiteY14" fmla="*/ 69042 h 100540"/>
                <a:gd name="connsiteX15" fmla="*/ 21045 w 29722"/>
                <a:gd name="connsiteY15" fmla="*/ 62386 h 100540"/>
                <a:gd name="connsiteX16" fmla="*/ 28234 w 29722"/>
                <a:gd name="connsiteY16" fmla="*/ 31766 h 100540"/>
                <a:gd name="connsiteX17" fmla="*/ 30711 w 29722"/>
                <a:gd name="connsiteY17" fmla="*/ 293 h 100540"/>
                <a:gd name="connsiteX18" fmla="*/ 30711 w 29722"/>
                <a:gd name="connsiteY18" fmla="*/ 293 h 100540"/>
                <a:gd name="connsiteX19" fmla="*/ 30711 w 29722"/>
                <a:gd name="connsiteY19" fmla="*/ 293 h 100540"/>
                <a:gd name="connsiteX20" fmla="*/ 28048 w 29722"/>
                <a:gd name="connsiteY20" fmla="*/ -346 h 100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722" h="100540">
                  <a:moveTo>
                    <a:pt x="27995" y="-239"/>
                  </a:moveTo>
                  <a:lnTo>
                    <a:pt x="27542" y="-239"/>
                  </a:lnTo>
                  <a:lnTo>
                    <a:pt x="27356" y="-239"/>
                  </a:lnTo>
                  <a:lnTo>
                    <a:pt x="27356" y="-239"/>
                  </a:lnTo>
                  <a:cubicBezTo>
                    <a:pt x="27430" y="10326"/>
                    <a:pt x="26629" y="20881"/>
                    <a:pt x="24959" y="31313"/>
                  </a:cubicBezTo>
                  <a:cubicBezTo>
                    <a:pt x="23330" y="41745"/>
                    <a:pt x="20899" y="52033"/>
                    <a:pt x="17691" y="62093"/>
                  </a:cubicBezTo>
                  <a:cubicBezTo>
                    <a:pt x="16918" y="64462"/>
                    <a:pt x="16120" y="66806"/>
                    <a:pt x="15294" y="69095"/>
                  </a:cubicBezTo>
                  <a:cubicBezTo>
                    <a:pt x="12104" y="78106"/>
                    <a:pt x="7991" y="86759"/>
                    <a:pt x="3020" y="94923"/>
                  </a:cubicBezTo>
                  <a:cubicBezTo>
                    <a:pt x="2434" y="95855"/>
                    <a:pt x="1875" y="96760"/>
                    <a:pt x="1289" y="97585"/>
                  </a:cubicBezTo>
                  <a:cubicBezTo>
                    <a:pt x="764" y="98331"/>
                    <a:pt x="945" y="99361"/>
                    <a:pt x="1691" y="99886"/>
                  </a:cubicBezTo>
                  <a:cubicBezTo>
                    <a:pt x="1699" y="99891"/>
                    <a:pt x="1707" y="99897"/>
                    <a:pt x="1715" y="99902"/>
                  </a:cubicBezTo>
                  <a:cubicBezTo>
                    <a:pt x="1992" y="100086"/>
                    <a:pt x="2314" y="100187"/>
                    <a:pt x="2647" y="100195"/>
                  </a:cubicBezTo>
                  <a:cubicBezTo>
                    <a:pt x="3203" y="100195"/>
                    <a:pt x="3725" y="99915"/>
                    <a:pt x="4031" y="99449"/>
                  </a:cubicBezTo>
                  <a:cubicBezTo>
                    <a:pt x="5016" y="98011"/>
                    <a:pt x="5975" y="96494"/>
                    <a:pt x="6933" y="94870"/>
                  </a:cubicBezTo>
                  <a:cubicBezTo>
                    <a:pt x="11718" y="86661"/>
                    <a:pt x="15704" y="78013"/>
                    <a:pt x="18835" y="69042"/>
                  </a:cubicBezTo>
                  <a:cubicBezTo>
                    <a:pt x="19608" y="66859"/>
                    <a:pt x="20327" y="64649"/>
                    <a:pt x="21045" y="62386"/>
                  </a:cubicBezTo>
                  <a:cubicBezTo>
                    <a:pt x="24211" y="52374"/>
                    <a:pt x="26616" y="42139"/>
                    <a:pt x="28234" y="31766"/>
                  </a:cubicBezTo>
                  <a:cubicBezTo>
                    <a:pt x="29904" y="21357"/>
                    <a:pt x="30732" y="10835"/>
                    <a:pt x="30711" y="293"/>
                  </a:cubicBezTo>
                  <a:lnTo>
                    <a:pt x="30711" y="293"/>
                  </a:lnTo>
                  <a:lnTo>
                    <a:pt x="30711" y="293"/>
                  </a:lnTo>
                  <a:cubicBezTo>
                    <a:pt x="29840" y="19"/>
                    <a:pt x="28948" y="-194"/>
                    <a:pt x="28048" y="-346"/>
                  </a:cubicBezTo>
                </a:path>
              </a:pathLst>
            </a:custGeom>
            <a:solidFill>
              <a:srgbClr val="8FD942"/>
            </a:solidFill>
            <a:ln w="2661" cap="flat">
              <a:noFill/>
              <a:prstDash val="solid"/>
              <a:miter/>
            </a:ln>
          </p:spPr>
          <p:txBody>
            <a:bodyPr rtlCol="0" anchor="ctr"/>
            <a:lstStyle/>
            <a:p>
              <a:endParaRPr lang="pl-PL"/>
            </a:p>
          </p:txBody>
        </p:sp>
        <p:sp>
          <p:nvSpPr>
            <p:cNvPr id="237" name="Freeform: Shape 236">
              <a:extLst>
                <a:ext uri="{FF2B5EF4-FFF2-40B4-BE49-F238E27FC236}">
                  <a16:creationId xmlns:a16="http://schemas.microsoft.com/office/drawing/2014/main" id="{893D4198-394F-4D61-97B2-E50A67E56986}"/>
                </a:ext>
              </a:extLst>
            </p:cNvPr>
            <p:cNvSpPr/>
            <p:nvPr/>
          </p:nvSpPr>
          <p:spPr>
            <a:xfrm>
              <a:off x="11531661" y="6691648"/>
              <a:ext cx="16507" cy="68726"/>
            </a:xfrm>
            <a:custGeom>
              <a:avLst/>
              <a:gdLst>
                <a:gd name="connsiteX0" fmla="*/ 30239 w 29251"/>
                <a:gd name="connsiteY0" fmla="*/ 21351 h 121784"/>
                <a:gd name="connsiteX1" fmla="*/ 28934 w 29251"/>
                <a:gd name="connsiteY1" fmla="*/ -296 h 121784"/>
                <a:gd name="connsiteX2" fmla="*/ 25526 w 29251"/>
                <a:gd name="connsiteY2" fmla="*/ -296 h 121784"/>
                <a:gd name="connsiteX3" fmla="*/ 26911 w 29251"/>
                <a:gd name="connsiteY3" fmla="*/ 20313 h 121784"/>
                <a:gd name="connsiteX4" fmla="*/ 24514 w 29251"/>
                <a:gd name="connsiteY4" fmla="*/ 51412 h 121784"/>
                <a:gd name="connsiteX5" fmla="*/ 17911 w 29251"/>
                <a:gd name="connsiteY5" fmla="*/ 81074 h 121784"/>
                <a:gd name="connsiteX6" fmla="*/ 17192 w 29251"/>
                <a:gd name="connsiteY6" fmla="*/ 83417 h 121784"/>
                <a:gd name="connsiteX7" fmla="*/ 6861 w 29251"/>
                <a:gd name="connsiteY7" fmla="*/ 109244 h 121784"/>
                <a:gd name="connsiteX8" fmla="*/ 1270 w 29251"/>
                <a:gd name="connsiteY8" fmla="*/ 118830 h 121784"/>
                <a:gd name="connsiteX9" fmla="*/ 1722 w 29251"/>
                <a:gd name="connsiteY9" fmla="*/ 121146 h 121784"/>
                <a:gd name="connsiteX10" fmla="*/ 2654 w 29251"/>
                <a:gd name="connsiteY10" fmla="*/ 121439 h 121784"/>
                <a:gd name="connsiteX11" fmla="*/ 4039 w 29251"/>
                <a:gd name="connsiteY11" fmla="*/ 120694 h 121784"/>
                <a:gd name="connsiteX12" fmla="*/ 10642 w 29251"/>
                <a:gd name="connsiteY12" fmla="*/ 109244 h 121784"/>
                <a:gd name="connsiteX13" fmla="*/ 20813 w 29251"/>
                <a:gd name="connsiteY13" fmla="*/ 83417 h 121784"/>
                <a:gd name="connsiteX14" fmla="*/ 21239 w 29251"/>
                <a:gd name="connsiteY14" fmla="*/ 82032 h 121784"/>
                <a:gd name="connsiteX15" fmla="*/ 27869 w 29251"/>
                <a:gd name="connsiteY15" fmla="*/ 52557 h 121784"/>
                <a:gd name="connsiteX16" fmla="*/ 30239 w 29251"/>
                <a:gd name="connsiteY16" fmla="*/ 21511 h 121784"/>
                <a:gd name="connsiteX17" fmla="*/ 30239 w 29251"/>
                <a:gd name="connsiteY17" fmla="*/ 21511 h 121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251" h="121784">
                  <a:moveTo>
                    <a:pt x="30239" y="21351"/>
                  </a:moveTo>
                  <a:cubicBezTo>
                    <a:pt x="30207" y="14117"/>
                    <a:pt x="29770" y="6891"/>
                    <a:pt x="28934" y="-296"/>
                  </a:cubicBezTo>
                  <a:cubicBezTo>
                    <a:pt x="27800" y="-362"/>
                    <a:pt x="26660" y="-362"/>
                    <a:pt x="25526" y="-296"/>
                  </a:cubicBezTo>
                  <a:cubicBezTo>
                    <a:pt x="26448" y="6534"/>
                    <a:pt x="26911" y="13419"/>
                    <a:pt x="26911" y="20313"/>
                  </a:cubicBezTo>
                  <a:cubicBezTo>
                    <a:pt x="26898" y="30724"/>
                    <a:pt x="26096" y="41121"/>
                    <a:pt x="24514" y="51412"/>
                  </a:cubicBezTo>
                  <a:cubicBezTo>
                    <a:pt x="22991" y="61437"/>
                    <a:pt x="20784" y="71347"/>
                    <a:pt x="17911" y="81074"/>
                  </a:cubicBezTo>
                  <a:lnTo>
                    <a:pt x="17192" y="83417"/>
                  </a:lnTo>
                  <a:cubicBezTo>
                    <a:pt x="14487" y="92302"/>
                    <a:pt x="11031" y="100942"/>
                    <a:pt x="6861" y="109244"/>
                  </a:cubicBezTo>
                  <a:cubicBezTo>
                    <a:pt x="5189" y="112549"/>
                    <a:pt x="3323" y="115749"/>
                    <a:pt x="1270" y="118830"/>
                  </a:cubicBezTo>
                  <a:cubicBezTo>
                    <a:pt x="761" y="119596"/>
                    <a:pt x="961" y="120630"/>
                    <a:pt x="1722" y="121146"/>
                  </a:cubicBezTo>
                  <a:cubicBezTo>
                    <a:pt x="1999" y="121330"/>
                    <a:pt x="2321" y="121431"/>
                    <a:pt x="2654" y="121439"/>
                  </a:cubicBezTo>
                  <a:cubicBezTo>
                    <a:pt x="3211" y="121436"/>
                    <a:pt x="3730" y="121157"/>
                    <a:pt x="4039" y="120694"/>
                  </a:cubicBezTo>
                  <a:cubicBezTo>
                    <a:pt x="6483" y="117024"/>
                    <a:pt x="8691" y="113198"/>
                    <a:pt x="10642" y="109244"/>
                  </a:cubicBezTo>
                  <a:cubicBezTo>
                    <a:pt x="14729" y="100926"/>
                    <a:pt x="18129" y="92289"/>
                    <a:pt x="20813" y="83417"/>
                  </a:cubicBezTo>
                  <a:cubicBezTo>
                    <a:pt x="20813" y="82938"/>
                    <a:pt x="21080" y="82485"/>
                    <a:pt x="21239" y="82032"/>
                  </a:cubicBezTo>
                  <a:cubicBezTo>
                    <a:pt x="24123" y="72370"/>
                    <a:pt x="26338" y="62523"/>
                    <a:pt x="27869" y="52557"/>
                  </a:cubicBezTo>
                  <a:cubicBezTo>
                    <a:pt x="29483" y="42287"/>
                    <a:pt x="30276" y="31906"/>
                    <a:pt x="30239" y="21511"/>
                  </a:cubicBezTo>
                  <a:lnTo>
                    <a:pt x="30239" y="21511"/>
                  </a:lnTo>
                  <a:close/>
                </a:path>
              </a:pathLst>
            </a:custGeom>
            <a:solidFill>
              <a:srgbClr val="8FD942"/>
            </a:solidFill>
            <a:ln w="2661" cap="flat">
              <a:noFill/>
              <a:prstDash val="solid"/>
              <a:miter/>
            </a:ln>
          </p:spPr>
          <p:txBody>
            <a:bodyPr rtlCol="0" anchor="ctr"/>
            <a:lstStyle/>
            <a:p>
              <a:endParaRPr lang="pl-PL"/>
            </a:p>
          </p:txBody>
        </p:sp>
        <p:sp>
          <p:nvSpPr>
            <p:cNvPr id="238" name="Freeform: Shape 237">
              <a:extLst>
                <a:ext uri="{FF2B5EF4-FFF2-40B4-BE49-F238E27FC236}">
                  <a16:creationId xmlns:a16="http://schemas.microsoft.com/office/drawing/2014/main" id="{3205DAAF-7DAC-4BE2-8B29-FE1C526D2316}"/>
                </a:ext>
              </a:extLst>
            </p:cNvPr>
            <p:cNvSpPr/>
            <p:nvPr/>
          </p:nvSpPr>
          <p:spPr>
            <a:xfrm>
              <a:off x="11646242" y="6644465"/>
              <a:ext cx="64654" cy="65032"/>
            </a:xfrm>
            <a:custGeom>
              <a:avLst/>
              <a:gdLst>
                <a:gd name="connsiteX0" fmla="*/ 989 w 114568"/>
                <a:gd name="connsiteY0" fmla="*/ 56475 h 115237"/>
                <a:gd name="connsiteX1" fmla="*/ 60738 w 114568"/>
                <a:gd name="connsiteY1" fmla="*/ 114892 h 115237"/>
                <a:gd name="connsiteX2" fmla="*/ 112233 w 114568"/>
                <a:gd name="connsiteY2" fmla="*/ 83340 h 115237"/>
                <a:gd name="connsiteX3" fmla="*/ 105550 w 114568"/>
                <a:gd name="connsiteY3" fmla="*/ 75219 h 115237"/>
                <a:gd name="connsiteX4" fmla="*/ 87870 w 114568"/>
                <a:gd name="connsiteY4" fmla="*/ 75219 h 115237"/>
                <a:gd name="connsiteX5" fmla="*/ 79057 w 114568"/>
                <a:gd name="connsiteY5" fmla="*/ 80545 h 115237"/>
                <a:gd name="connsiteX6" fmla="*/ 59833 w 114568"/>
                <a:gd name="connsiteY6" fmla="*/ 87361 h 115237"/>
                <a:gd name="connsiteX7" fmla="*/ 37440 w 114568"/>
                <a:gd name="connsiteY7" fmla="*/ 72850 h 115237"/>
                <a:gd name="connsiteX8" fmla="*/ 35523 w 114568"/>
                <a:gd name="connsiteY8" fmla="*/ 66646 h 115237"/>
                <a:gd name="connsiteX9" fmla="*/ 109011 w 114568"/>
                <a:gd name="connsiteY9" fmla="*/ 66646 h 115237"/>
                <a:gd name="connsiteX10" fmla="*/ 115447 w 114568"/>
                <a:gd name="connsiteY10" fmla="*/ 61488 h 115237"/>
                <a:gd name="connsiteX11" fmla="*/ 115481 w 114568"/>
                <a:gd name="connsiteY11" fmla="*/ 60895 h 115237"/>
                <a:gd name="connsiteX12" fmla="*/ 60685 w 114568"/>
                <a:gd name="connsiteY12" fmla="*/ -346 h 115237"/>
                <a:gd name="connsiteX13" fmla="*/ 989 w 114568"/>
                <a:gd name="connsiteY13" fmla="*/ 56368 h 115237"/>
                <a:gd name="connsiteX14" fmla="*/ 59380 w 114568"/>
                <a:gd name="connsiteY14" fmla="*/ 26946 h 115237"/>
                <a:gd name="connsiteX15" fmla="*/ 81533 w 114568"/>
                <a:gd name="connsiteY15" fmla="*/ 46303 h 115237"/>
                <a:gd name="connsiteX16" fmla="*/ 42605 w 114568"/>
                <a:gd name="connsiteY16" fmla="*/ 46303 h 115237"/>
                <a:gd name="connsiteX17" fmla="*/ 35683 w 114568"/>
                <a:gd name="connsiteY17" fmla="*/ 46303 h 115237"/>
                <a:gd name="connsiteX18" fmla="*/ 59380 w 114568"/>
                <a:gd name="connsiteY18" fmla="*/ 26973 h 11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4568" h="115237">
                  <a:moveTo>
                    <a:pt x="989" y="56475"/>
                  </a:moveTo>
                  <a:cubicBezTo>
                    <a:pt x="989" y="91089"/>
                    <a:pt x="27322" y="114892"/>
                    <a:pt x="60738" y="114892"/>
                  </a:cubicBezTo>
                  <a:cubicBezTo>
                    <a:pt x="87364" y="114892"/>
                    <a:pt x="105789" y="101446"/>
                    <a:pt x="112233" y="83340"/>
                  </a:cubicBezTo>
                  <a:cubicBezTo>
                    <a:pt x="113963" y="78415"/>
                    <a:pt x="110742" y="75219"/>
                    <a:pt x="105550" y="75219"/>
                  </a:cubicBezTo>
                  <a:lnTo>
                    <a:pt x="87870" y="75219"/>
                  </a:lnTo>
                  <a:cubicBezTo>
                    <a:pt x="83796" y="75219"/>
                    <a:pt x="81639" y="77350"/>
                    <a:pt x="79057" y="80545"/>
                  </a:cubicBezTo>
                  <a:cubicBezTo>
                    <a:pt x="75808" y="84379"/>
                    <a:pt x="69098" y="87361"/>
                    <a:pt x="59833" y="87361"/>
                  </a:cubicBezTo>
                  <a:cubicBezTo>
                    <a:pt x="50034" y="87806"/>
                    <a:pt x="41037" y="81975"/>
                    <a:pt x="37440" y="72850"/>
                  </a:cubicBezTo>
                  <a:cubicBezTo>
                    <a:pt x="36641" y="70834"/>
                    <a:pt x="35999" y="68760"/>
                    <a:pt x="35523" y="66646"/>
                  </a:cubicBezTo>
                  <a:lnTo>
                    <a:pt x="109011" y="66646"/>
                  </a:lnTo>
                  <a:cubicBezTo>
                    <a:pt x="112212" y="67000"/>
                    <a:pt x="115092" y="64689"/>
                    <a:pt x="115447" y="61488"/>
                  </a:cubicBezTo>
                  <a:cubicBezTo>
                    <a:pt x="115468" y="61291"/>
                    <a:pt x="115479" y="61094"/>
                    <a:pt x="115481" y="60895"/>
                  </a:cubicBezTo>
                  <a:cubicBezTo>
                    <a:pt x="117185" y="22926"/>
                    <a:pt x="89787" y="-346"/>
                    <a:pt x="60685" y="-346"/>
                  </a:cubicBezTo>
                  <a:cubicBezTo>
                    <a:pt x="26070" y="-346"/>
                    <a:pt x="989" y="22233"/>
                    <a:pt x="989" y="56368"/>
                  </a:cubicBezTo>
                  <a:moveTo>
                    <a:pt x="59380" y="26946"/>
                  </a:moveTo>
                  <a:cubicBezTo>
                    <a:pt x="79616" y="26946"/>
                    <a:pt x="81533" y="46303"/>
                    <a:pt x="81533" y="46303"/>
                  </a:cubicBezTo>
                  <a:lnTo>
                    <a:pt x="42605" y="46303"/>
                  </a:lnTo>
                  <a:lnTo>
                    <a:pt x="35683" y="46303"/>
                  </a:lnTo>
                  <a:cubicBezTo>
                    <a:pt x="35683" y="46303"/>
                    <a:pt x="39171" y="26973"/>
                    <a:pt x="59380" y="26973"/>
                  </a:cubicBezTo>
                </a:path>
              </a:pathLst>
            </a:custGeom>
            <a:solidFill>
              <a:srgbClr val="FFFFFF"/>
            </a:solidFill>
            <a:ln w="2661" cap="flat">
              <a:noFill/>
              <a:prstDash val="solid"/>
              <a:miter/>
            </a:ln>
          </p:spPr>
          <p:txBody>
            <a:bodyPr rtlCol="0" anchor="ctr"/>
            <a:lstStyle/>
            <a:p>
              <a:endParaRPr lang="pl-PL"/>
            </a:p>
          </p:txBody>
        </p:sp>
        <p:sp>
          <p:nvSpPr>
            <p:cNvPr id="239" name="Freeform: Shape 238">
              <a:extLst>
                <a:ext uri="{FF2B5EF4-FFF2-40B4-BE49-F238E27FC236}">
                  <a16:creationId xmlns:a16="http://schemas.microsoft.com/office/drawing/2014/main" id="{ABB58A2B-B001-490A-932A-7BD5D2D35F77}"/>
                </a:ext>
              </a:extLst>
            </p:cNvPr>
            <p:cNvSpPr/>
            <p:nvPr/>
          </p:nvSpPr>
          <p:spPr>
            <a:xfrm>
              <a:off x="11719462" y="6644495"/>
              <a:ext cx="64897" cy="89810"/>
            </a:xfrm>
            <a:custGeom>
              <a:avLst/>
              <a:gdLst>
                <a:gd name="connsiteX0" fmla="*/ 115987 w 114998"/>
                <a:gd name="connsiteY0" fmla="*/ 57140 h 159144"/>
                <a:gd name="connsiteX1" fmla="*/ 58501 w 114998"/>
                <a:gd name="connsiteY1" fmla="*/ -346 h 159144"/>
                <a:gd name="connsiteX2" fmla="*/ 58475 w 114998"/>
                <a:gd name="connsiteY2" fmla="*/ -346 h 159144"/>
                <a:gd name="connsiteX3" fmla="*/ 29958 w 114998"/>
                <a:gd name="connsiteY3" fmla="*/ 7269 h 159144"/>
                <a:gd name="connsiteX4" fmla="*/ 23142 w 114998"/>
                <a:gd name="connsiteY4" fmla="*/ 1784 h 159144"/>
                <a:gd name="connsiteX5" fmla="*/ 8178 w 114998"/>
                <a:gd name="connsiteY5" fmla="*/ 1784 h 159144"/>
                <a:gd name="connsiteX6" fmla="*/ 989 w 114998"/>
                <a:gd name="connsiteY6" fmla="*/ 8947 h 159144"/>
                <a:gd name="connsiteX7" fmla="*/ 989 w 114998"/>
                <a:gd name="connsiteY7" fmla="*/ 57114 h 159144"/>
                <a:gd name="connsiteX8" fmla="*/ 989 w 114998"/>
                <a:gd name="connsiteY8" fmla="*/ 57114 h 159144"/>
                <a:gd name="connsiteX9" fmla="*/ 989 w 114998"/>
                <a:gd name="connsiteY9" fmla="*/ 151610 h 159144"/>
                <a:gd name="connsiteX10" fmla="*/ 8178 w 114998"/>
                <a:gd name="connsiteY10" fmla="*/ 158799 h 159144"/>
                <a:gd name="connsiteX11" fmla="*/ 23142 w 114998"/>
                <a:gd name="connsiteY11" fmla="*/ 158799 h 159144"/>
                <a:gd name="connsiteX12" fmla="*/ 30304 w 114998"/>
                <a:gd name="connsiteY12" fmla="*/ 151610 h 159144"/>
                <a:gd name="connsiteX13" fmla="*/ 30304 w 114998"/>
                <a:gd name="connsiteY13" fmla="*/ 107197 h 159144"/>
                <a:gd name="connsiteX14" fmla="*/ 58475 w 114998"/>
                <a:gd name="connsiteY14" fmla="*/ 114599 h 159144"/>
                <a:gd name="connsiteX15" fmla="*/ 115934 w 114998"/>
                <a:gd name="connsiteY15" fmla="*/ 57140 h 159144"/>
                <a:gd name="connsiteX16" fmla="*/ 86432 w 114998"/>
                <a:gd name="connsiteY16" fmla="*/ 57140 h 159144"/>
                <a:gd name="connsiteX17" fmla="*/ 58475 w 114998"/>
                <a:gd name="connsiteY17" fmla="*/ 85098 h 159144"/>
                <a:gd name="connsiteX18" fmla="*/ 30491 w 114998"/>
                <a:gd name="connsiteY18" fmla="*/ 57140 h 159144"/>
                <a:gd name="connsiteX19" fmla="*/ 58475 w 114998"/>
                <a:gd name="connsiteY19" fmla="*/ 29156 h 159144"/>
                <a:gd name="connsiteX20" fmla="*/ 86432 w 114998"/>
                <a:gd name="connsiteY20" fmla="*/ 57140 h 159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998" h="159144">
                  <a:moveTo>
                    <a:pt x="115987" y="57140"/>
                  </a:moveTo>
                  <a:cubicBezTo>
                    <a:pt x="115987" y="25391"/>
                    <a:pt x="90250" y="-346"/>
                    <a:pt x="58501" y="-346"/>
                  </a:cubicBezTo>
                  <a:cubicBezTo>
                    <a:pt x="58493" y="-346"/>
                    <a:pt x="58483" y="-346"/>
                    <a:pt x="58475" y="-346"/>
                  </a:cubicBezTo>
                  <a:cubicBezTo>
                    <a:pt x="48466" y="-346"/>
                    <a:pt x="38633" y="2280"/>
                    <a:pt x="29958" y="7269"/>
                  </a:cubicBezTo>
                  <a:cubicBezTo>
                    <a:pt x="29220" y="4088"/>
                    <a:pt x="26406" y="1824"/>
                    <a:pt x="23142" y="1784"/>
                  </a:cubicBezTo>
                  <a:lnTo>
                    <a:pt x="8178" y="1784"/>
                  </a:lnTo>
                  <a:cubicBezTo>
                    <a:pt x="4224" y="1798"/>
                    <a:pt x="1018" y="4993"/>
                    <a:pt x="989" y="8947"/>
                  </a:cubicBezTo>
                  <a:lnTo>
                    <a:pt x="989" y="57114"/>
                  </a:lnTo>
                  <a:lnTo>
                    <a:pt x="989" y="57114"/>
                  </a:lnTo>
                  <a:lnTo>
                    <a:pt x="989" y="151610"/>
                  </a:lnTo>
                  <a:cubicBezTo>
                    <a:pt x="1002" y="155574"/>
                    <a:pt x="4213" y="158786"/>
                    <a:pt x="8178" y="158799"/>
                  </a:cubicBezTo>
                  <a:lnTo>
                    <a:pt x="23142" y="158799"/>
                  </a:lnTo>
                  <a:cubicBezTo>
                    <a:pt x="27096" y="158770"/>
                    <a:pt x="30291" y="155564"/>
                    <a:pt x="30304" y="151610"/>
                  </a:cubicBezTo>
                  <a:lnTo>
                    <a:pt x="30304" y="107197"/>
                  </a:lnTo>
                  <a:cubicBezTo>
                    <a:pt x="38899" y="112051"/>
                    <a:pt x="48604" y="114602"/>
                    <a:pt x="58475" y="114599"/>
                  </a:cubicBezTo>
                  <a:cubicBezTo>
                    <a:pt x="90208" y="114599"/>
                    <a:pt x="115934" y="88873"/>
                    <a:pt x="115934" y="57140"/>
                  </a:cubicBezTo>
                  <a:moveTo>
                    <a:pt x="86432" y="57140"/>
                  </a:moveTo>
                  <a:cubicBezTo>
                    <a:pt x="86432" y="72581"/>
                    <a:pt x="73915" y="85098"/>
                    <a:pt x="58475" y="85098"/>
                  </a:cubicBezTo>
                  <a:cubicBezTo>
                    <a:pt x="43029" y="85098"/>
                    <a:pt x="30506" y="72586"/>
                    <a:pt x="30491" y="57140"/>
                  </a:cubicBezTo>
                  <a:cubicBezTo>
                    <a:pt x="30504" y="41692"/>
                    <a:pt x="43026" y="29172"/>
                    <a:pt x="58475" y="29156"/>
                  </a:cubicBezTo>
                  <a:cubicBezTo>
                    <a:pt x="73921" y="29172"/>
                    <a:pt x="86432" y="41694"/>
                    <a:pt x="86432" y="57140"/>
                  </a:cubicBezTo>
                </a:path>
              </a:pathLst>
            </a:custGeom>
            <a:solidFill>
              <a:srgbClr val="FFFFFF"/>
            </a:solidFill>
            <a:ln w="2661" cap="flat">
              <a:noFill/>
              <a:prstDash val="solid"/>
              <a:miter/>
            </a:ln>
          </p:spPr>
          <p:txBody>
            <a:bodyPr rtlCol="0" anchor="ctr"/>
            <a:lstStyle/>
            <a:p>
              <a:endParaRPr lang="pl-PL"/>
            </a:p>
          </p:txBody>
        </p:sp>
        <p:sp>
          <p:nvSpPr>
            <p:cNvPr id="240" name="Freeform: Shape 239">
              <a:extLst>
                <a:ext uri="{FF2B5EF4-FFF2-40B4-BE49-F238E27FC236}">
                  <a16:creationId xmlns:a16="http://schemas.microsoft.com/office/drawing/2014/main" id="{D8378B23-3116-4604-8A2C-4C877BBD94B9}"/>
                </a:ext>
              </a:extLst>
            </p:cNvPr>
            <p:cNvSpPr/>
            <p:nvPr/>
          </p:nvSpPr>
          <p:spPr>
            <a:xfrm>
              <a:off x="11792669" y="6644495"/>
              <a:ext cx="64867" cy="64867"/>
            </a:xfrm>
            <a:custGeom>
              <a:avLst/>
              <a:gdLst>
                <a:gd name="connsiteX0" fmla="*/ 115934 w 114945"/>
                <a:gd name="connsiteY0" fmla="*/ 64596 h 114945"/>
                <a:gd name="connsiteX1" fmla="*/ 115934 w 114945"/>
                <a:gd name="connsiteY1" fmla="*/ 49632 h 114945"/>
                <a:gd name="connsiteX2" fmla="*/ 108745 w 114945"/>
                <a:gd name="connsiteY2" fmla="*/ 42443 h 114945"/>
                <a:gd name="connsiteX3" fmla="*/ 73119 w 114945"/>
                <a:gd name="connsiteY3" fmla="*/ 42443 h 114945"/>
                <a:gd name="connsiteX4" fmla="*/ 73119 w 114945"/>
                <a:gd name="connsiteY4" fmla="*/ 6843 h 114945"/>
                <a:gd name="connsiteX5" fmla="*/ 65930 w 114945"/>
                <a:gd name="connsiteY5" fmla="*/ -346 h 114945"/>
                <a:gd name="connsiteX6" fmla="*/ 50993 w 114945"/>
                <a:gd name="connsiteY6" fmla="*/ -346 h 114945"/>
                <a:gd name="connsiteX7" fmla="*/ 43804 w 114945"/>
                <a:gd name="connsiteY7" fmla="*/ 6843 h 114945"/>
                <a:gd name="connsiteX8" fmla="*/ 43804 w 114945"/>
                <a:gd name="connsiteY8" fmla="*/ 42469 h 114945"/>
                <a:gd name="connsiteX9" fmla="*/ 8178 w 114945"/>
                <a:gd name="connsiteY9" fmla="*/ 42469 h 114945"/>
                <a:gd name="connsiteX10" fmla="*/ 989 w 114945"/>
                <a:gd name="connsiteY10" fmla="*/ 49658 h 114945"/>
                <a:gd name="connsiteX11" fmla="*/ 989 w 114945"/>
                <a:gd name="connsiteY11" fmla="*/ 64596 h 114945"/>
                <a:gd name="connsiteX12" fmla="*/ 8178 w 114945"/>
                <a:gd name="connsiteY12" fmla="*/ 71785 h 114945"/>
                <a:gd name="connsiteX13" fmla="*/ 43804 w 114945"/>
                <a:gd name="connsiteY13" fmla="*/ 71785 h 114945"/>
                <a:gd name="connsiteX14" fmla="*/ 43804 w 114945"/>
                <a:gd name="connsiteY14" fmla="*/ 107410 h 114945"/>
                <a:gd name="connsiteX15" fmla="*/ 50993 w 114945"/>
                <a:gd name="connsiteY15" fmla="*/ 114599 h 114945"/>
                <a:gd name="connsiteX16" fmla="*/ 65930 w 114945"/>
                <a:gd name="connsiteY16" fmla="*/ 114599 h 114945"/>
                <a:gd name="connsiteX17" fmla="*/ 73119 w 114945"/>
                <a:gd name="connsiteY17" fmla="*/ 107410 h 114945"/>
                <a:gd name="connsiteX18" fmla="*/ 73119 w 114945"/>
                <a:gd name="connsiteY18" fmla="*/ 71785 h 114945"/>
                <a:gd name="connsiteX19" fmla="*/ 108745 w 114945"/>
                <a:gd name="connsiteY19" fmla="*/ 71785 h 114945"/>
                <a:gd name="connsiteX20" fmla="*/ 115934 w 114945"/>
                <a:gd name="connsiteY20" fmla="*/ 64596 h 114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945" h="114945">
                  <a:moveTo>
                    <a:pt x="115934" y="64596"/>
                  </a:moveTo>
                  <a:lnTo>
                    <a:pt x="115934" y="49632"/>
                  </a:lnTo>
                  <a:cubicBezTo>
                    <a:pt x="115918" y="45667"/>
                    <a:pt x="112709" y="42456"/>
                    <a:pt x="108745" y="42443"/>
                  </a:cubicBezTo>
                  <a:lnTo>
                    <a:pt x="73119" y="42443"/>
                  </a:lnTo>
                  <a:lnTo>
                    <a:pt x="73119" y="6843"/>
                  </a:lnTo>
                  <a:cubicBezTo>
                    <a:pt x="73103" y="2879"/>
                    <a:pt x="69894" y="-332"/>
                    <a:pt x="65930" y="-346"/>
                  </a:cubicBezTo>
                  <a:lnTo>
                    <a:pt x="50993" y="-346"/>
                  </a:lnTo>
                  <a:cubicBezTo>
                    <a:pt x="47028" y="-330"/>
                    <a:pt x="43817" y="2879"/>
                    <a:pt x="43804" y="6843"/>
                  </a:cubicBezTo>
                  <a:lnTo>
                    <a:pt x="43804" y="42469"/>
                  </a:lnTo>
                  <a:lnTo>
                    <a:pt x="8178" y="42469"/>
                  </a:lnTo>
                  <a:cubicBezTo>
                    <a:pt x="4213" y="42483"/>
                    <a:pt x="1002" y="45694"/>
                    <a:pt x="989" y="49658"/>
                  </a:cubicBezTo>
                  <a:lnTo>
                    <a:pt x="989" y="64596"/>
                  </a:lnTo>
                  <a:cubicBezTo>
                    <a:pt x="1002" y="68560"/>
                    <a:pt x="4213" y="71771"/>
                    <a:pt x="8178" y="71785"/>
                  </a:cubicBezTo>
                  <a:lnTo>
                    <a:pt x="43804" y="71785"/>
                  </a:lnTo>
                  <a:lnTo>
                    <a:pt x="43804" y="107410"/>
                  </a:lnTo>
                  <a:cubicBezTo>
                    <a:pt x="43820" y="111375"/>
                    <a:pt x="47028" y="114586"/>
                    <a:pt x="50993" y="114599"/>
                  </a:cubicBezTo>
                  <a:lnTo>
                    <a:pt x="65930" y="114599"/>
                  </a:lnTo>
                  <a:cubicBezTo>
                    <a:pt x="69900" y="114599"/>
                    <a:pt x="73119" y="111380"/>
                    <a:pt x="73119" y="107410"/>
                  </a:cubicBezTo>
                  <a:lnTo>
                    <a:pt x="73119" y="71785"/>
                  </a:lnTo>
                  <a:lnTo>
                    <a:pt x="108745" y="71785"/>
                  </a:lnTo>
                  <a:cubicBezTo>
                    <a:pt x="112709" y="71771"/>
                    <a:pt x="115918" y="68560"/>
                    <a:pt x="115934" y="64596"/>
                  </a:cubicBezTo>
                </a:path>
              </a:pathLst>
            </a:custGeom>
            <a:solidFill>
              <a:srgbClr val="8FDB42"/>
            </a:solidFill>
            <a:ln w="2661" cap="flat">
              <a:noFill/>
              <a:prstDash val="solid"/>
              <a:miter/>
            </a:ln>
          </p:spPr>
          <p:txBody>
            <a:bodyPr rtlCol="0" anchor="ctr"/>
            <a:lstStyle/>
            <a:p>
              <a:endParaRPr lang="pl-PL"/>
            </a:p>
          </p:txBody>
        </p:sp>
        <p:sp>
          <p:nvSpPr>
            <p:cNvPr id="241" name="Freeform: Shape 240">
              <a:extLst>
                <a:ext uri="{FF2B5EF4-FFF2-40B4-BE49-F238E27FC236}">
                  <a16:creationId xmlns:a16="http://schemas.microsoft.com/office/drawing/2014/main" id="{5BAEB80C-9E13-41F4-B45C-054756A069B2}"/>
                </a:ext>
              </a:extLst>
            </p:cNvPr>
            <p:cNvSpPr/>
            <p:nvPr/>
          </p:nvSpPr>
          <p:spPr>
            <a:xfrm>
              <a:off x="11574954" y="6644781"/>
              <a:ext cx="64867" cy="89524"/>
            </a:xfrm>
            <a:custGeom>
              <a:avLst/>
              <a:gdLst>
                <a:gd name="connsiteX0" fmla="*/ 115934 w 114945"/>
                <a:gd name="connsiteY0" fmla="*/ 57114 h 158638"/>
                <a:gd name="connsiteX1" fmla="*/ 58475 w 114945"/>
                <a:gd name="connsiteY1" fmla="*/ -346 h 158638"/>
                <a:gd name="connsiteX2" fmla="*/ 29905 w 114945"/>
                <a:gd name="connsiteY2" fmla="*/ 7296 h 158638"/>
                <a:gd name="connsiteX3" fmla="*/ 23115 w 114945"/>
                <a:gd name="connsiteY3" fmla="*/ 2131 h 158638"/>
                <a:gd name="connsiteX4" fmla="*/ 8178 w 114945"/>
                <a:gd name="connsiteY4" fmla="*/ 2131 h 158638"/>
                <a:gd name="connsiteX5" fmla="*/ 989 w 114945"/>
                <a:gd name="connsiteY5" fmla="*/ 9320 h 158638"/>
                <a:gd name="connsiteX6" fmla="*/ 989 w 114945"/>
                <a:gd name="connsiteY6" fmla="*/ 57114 h 158638"/>
                <a:gd name="connsiteX7" fmla="*/ 989 w 114945"/>
                <a:gd name="connsiteY7" fmla="*/ 57114 h 158638"/>
                <a:gd name="connsiteX8" fmla="*/ 989 w 114945"/>
                <a:gd name="connsiteY8" fmla="*/ 151104 h 158638"/>
                <a:gd name="connsiteX9" fmla="*/ 8178 w 114945"/>
                <a:gd name="connsiteY9" fmla="*/ 158293 h 158638"/>
                <a:gd name="connsiteX10" fmla="*/ 23115 w 114945"/>
                <a:gd name="connsiteY10" fmla="*/ 158293 h 158638"/>
                <a:gd name="connsiteX11" fmla="*/ 30304 w 114945"/>
                <a:gd name="connsiteY11" fmla="*/ 151104 h 158638"/>
                <a:gd name="connsiteX12" fmla="*/ 30304 w 114945"/>
                <a:gd name="connsiteY12" fmla="*/ 107171 h 158638"/>
                <a:gd name="connsiteX13" fmla="*/ 58475 w 114945"/>
                <a:gd name="connsiteY13" fmla="*/ 114573 h 158638"/>
                <a:gd name="connsiteX14" fmla="*/ 115934 w 114945"/>
                <a:gd name="connsiteY14" fmla="*/ 57114 h 158638"/>
                <a:gd name="connsiteX15" fmla="*/ 86432 w 114945"/>
                <a:gd name="connsiteY15" fmla="*/ 57114 h 158638"/>
                <a:gd name="connsiteX16" fmla="*/ 58475 w 114945"/>
                <a:gd name="connsiteY16" fmla="*/ 85098 h 158638"/>
                <a:gd name="connsiteX17" fmla="*/ 30491 w 114945"/>
                <a:gd name="connsiteY17" fmla="*/ 57114 h 158638"/>
                <a:gd name="connsiteX18" fmla="*/ 58475 w 114945"/>
                <a:gd name="connsiteY18" fmla="*/ 29156 h 158638"/>
                <a:gd name="connsiteX19" fmla="*/ 86432 w 114945"/>
                <a:gd name="connsiteY19" fmla="*/ 57114 h 158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4945" h="158638">
                  <a:moveTo>
                    <a:pt x="115934" y="57114"/>
                  </a:moveTo>
                  <a:cubicBezTo>
                    <a:pt x="115934" y="25381"/>
                    <a:pt x="90208" y="-346"/>
                    <a:pt x="58475" y="-346"/>
                  </a:cubicBezTo>
                  <a:cubicBezTo>
                    <a:pt x="48447" y="-340"/>
                    <a:pt x="38596" y="2293"/>
                    <a:pt x="29905" y="7296"/>
                  </a:cubicBezTo>
                  <a:cubicBezTo>
                    <a:pt x="29034" y="4261"/>
                    <a:pt x="26273" y="2160"/>
                    <a:pt x="23115" y="2131"/>
                  </a:cubicBezTo>
                  <a:lnTo>
                    <a:pt x="8178" y="2131"/>
                  </a:lnTo>
                  <a:cubicBezTo>
                    <a:pt x="4213" y="2144"/>
                    <a:pt x="1002" y="5355"/>
                    <a:pt x="989" y="9320"/>
                  </a:cubicBezTo>
                  <a:lnTo>
                    <a:pt x="989" y="57114"/>
                  </a:lnTo>
                  <a:lnTo>
                    <a:pt x="989" y="57114"/>
                  </a:lnTo>
                  <a:lnTo>
                    <a:pt x="989" y="151104"/>
                  </a:lnTo>
                  <a:cubicBezTo>
                    <a:pt x="1002" y="155069"/>
                    <a:pt x="4213" y="158280"/>
                    <a:pt x="8178" y="158293"/>
                  </a:cubicBezTo>
                  <a:lnTo>
                    <a:pt x="23115" y="158293"/>
                  </a:lnTo>
                  <a:cubicBezTo>
                    <a:pt x="27080" y="158280"/>
                    <a:pt x="30291" y="155069"/>
                    <a:pt x="30304" y="151104"/>
                  </a:cubicBezTo>
                  <a:lnTo>
                    <a:pt x="30304" y="107171"/>
                  </a:lnTo>
                  <a:cubicBezTo>
                    <a:pt x="38899" y="112025"/>
                    <a:pt x="48604" y="114575"/>
                    <a:pt x="58475" y="114573"/>
                  </a:cubicBezTo>
                  <a:cubicBezTo>
                    <a:pt x="90202" y="114557"/>
                    <a:pt x="115918" y="88841"/>
                    <a:pt x="115934" y="57114"/>
                  </a:cubicBezTo>
                  <a:moveTo>
                    <a:pt x="86432" y="57114"/>
                  </a:moveTo>
                  <a:cubicBezTo>
                    <a:pt x="86432" y="72559"/>
                    <a:pt x="73920" y="85082"/>
                    <a:pt x="58475" y="85098"/>
                  </a:cubicBezTo>
                  <a:cubicBezTo>
                    <a:pt x="43026" y="85082"/>
                    <a:pt x="30506" y="72562"/>
                    <a:pt x="30491" y="57114"/>
                  </a:cubicBezTo>
                  <a:cubicBezTo>
                    <a:pt x="30506" y="41668"/>
                    <a:pt x="43029" y="29156"/>
                    <a:pt x="58475" y="29156"/>
                  </a:cubicBezTo>
                  <a:cubicBezTo>
                    <a:pt x="73915" y="29156"/>
                    <a:pt x="86432" y="41673"/>
                    <a:pt x="86432" y="57114"/>
                  </a:cubicBezTo>
                </a:path>
              </a:pathLst>
            </a:custGeom>
            <a:solidFill>
              <a:srgbClr val="FFFFFF"/>
            </a:solidFill>
            <a:ln w="2661" cap="flat">
              <a:noFill/>
              <a:prstDash val="solid"/>
              <a:miter/>
            </a:ln>
          </p:spPr>
          <p:txBody>
            <a:bodyPr rtlCol="0" anchor="ctr"/>
            <a:lstStyle/>
            <a:p>
              <a:endParaRPr lang="pl-PL"/>
            </a:p>
          </p:txBody>
        </p:sp>
        <p:sp>
          <p:nvSpPr>
            <p:cNvPr id="242" name="Freeform: Shape 241">
              <a:extLst>
                <a:ext uri="{FF2B5EF4-FFF2-40B4-BE49-F238E27FC236}">
                  <a16:creationId xmlns:a16="http://schemas.microsoft.com/office/drawing/2014/main" id="{239C94DB-A143-4D0D-94F3-A85ADBB1437C}"/>
                </a:ext>
              </a:extLst>
            </p:cNvPr>
            <p:cNvSpPr/>
            <p:nvPr/>
          </p:nvSpPr>
          <p:spPr>
            <a:xfrm>
              <a:off x="11574969" y="6750860"/>
              <a:ext cx="19691" cy="26558"/>
            </a:xfrm>
            <a:custGeom>
              <a:avLst/>
              <a:gdLst>
                <a:gd name="connsiteX0" fmla="*/ 1103 w 34893"/>
                <a:gd name="connsiteY0" fmla="*/ 44632 h 47062"/>
                <a:gd name="connsiteX1" fmla="*/ 1103 w 34893"/>
                <a:gd name="connsiteY1" fmla="*/ 2270 h 47062"/>
                <a:gd name="connsiteX2" fmla="*/ 2765 w 34893"/>
                <a:gd name="connsiteY2" fmla="*/ 273 h 47062"/>
                <a:gd name="connsiteX3" fmla="*/ 3100 w 34893"/>
                <a:gd name="connsiteY3" fmla="*/ 273 h 47062"/>
                <a:gd name="connsiteX4" fmla="*/ 5124 w 34893"/>
                <a:gd name="connsiteY4" fmla="*/ 273 h 47062"/>
                <a:gd name="connsiteX5" fmla="*/ 7387 w 34893"/>
                <a:gd name="connsiteY5" fmla="*/ 1897 h 47062"/>
                <a:gd name="connsiteX6" fmla="*/ 9704 w 34893"/>
                <a:gd name="connsiteY6" fmla="*/ 2589 h 47062"/>
                <a:gd name="connsiteX7" fmla="*/ 19316 w 34893"/>
                <a:gd name="connsiteY7" fmla="*/ -339 h 47062"/>
                <a:gd name="connsiteX8" fmla="*/ 35880 w 34893"/>
                <a:gd name="connsiteY8" fmla="*/ 16060 h 47062"/>
                <a:gd name="connsiteX9" fmla="*/ 35877 w 34893"/>
                <a:gd name="connsiteY9" fmla="*/ 16462 h 47062"/>
                <a:gd name="connsiteX10" fmla="*/ 19667 w 34893"/>
                <a:gd name="connsiteY10" fmla="*/ 33524 h 47062"/>
                <a:gd name="connsiteX11" fmla="*/ 19182 w 34893"/>
                <a:gd name="connsiteY11" fmla="*/ 33529 h 47062"/>
                <a:gd name="connsiteX12" fmla="*/ 11195 w 34893"/>
                <a:gd name="connsiteY12" fmla="*/ 31585 h 47062"/>
                <a:gd name="connsiteX13" fmla="*/ 9118 w 34893"/>
                <a:gd name="connsiteY13" fmla="*/ 32597 h 47062"/>
                <a:gd name="connsiteX14" fmla="*/ 9118 w 34893"/>
                <a:gd name="connsiteY14" fmla="*/ 44712 h 47062"/>
                <a:gd name="connsiteX15" fmla="*/ 7456 w 34893"/>
                <a:gd name="connsiteY15" fmla="*/ 46709 h 47062"/>
                <a:gd name="connsiteX16" fmla="*/ 7121 w 34893"/>
                <a:gd name="connsiteY16" fmla="*/ 46709 h 47062"/>
                <a:gd name="connsiteX17" fmla="*/ 2994 w 34893"/>
                <a:gd name="connsiteY17" fmla="*/ 46709 h 47062"/>
                <a:gd name="connsiteX18" fmla="*/ 997 w 34893"/>
                <a:gd name="connsiteY18" fmla="*/ 45048 h 47062"/>
                <a:gd name="connsiteX19" fmla="*/ 997 w 34893"/>
                <a:gd name="connsiteY19" fmla="*/ 44712 h 47062"/>
                <a:gd name="connsiteX20" fmla="*/ 10236 w 34893"/>
                <a:gd name="connsiteY20" fmla="*/ 22106 h 47062"/>
                <a:gd name="connsiteX21" fmla="*/ 18224 w 34893"/>
                <a:gd name="connsiteY21" fmla="*/ 26127 h 47062"/>
                <a:gd name="connsiteX22" fmla="*/ 26968 w 34893"/>
                <a:gd name="connsiteY22" fmla="*/ 16571 h 47062"/>
                <a:gd name="connsiteX23" fmla="*/ 26957 w 34893"/>
                <a:gd name="connsiteY23" fmla="*/ 16382 h 47062"/>
                <a:gd name="connsiteX24" fmla="*/ 18250 w 34893"/>
                <a:gd name="connsiteY24" fmla="*/ 6983 h 47062"/>
                <a:gd name="connsiteX25" fmla="*/ 10263 w 34893"/>
                <a:gd name="connsiteY25" fmla="*/ 10977 h 47062"/>
                <a:gd name="connsiteX26" fmla="*/ 9677 w 34893"/>
                <a:gd name="connsiteY26" fmla="*/ 13133 h 47062"/>
                <a:gd name="connsiteX27" fmla="*/ 9677 w 34893"/>
                <a:gd name="connsiteY27" fmla="*/ 19896 h 47062"/>
                <a:gd name="connsiteX28" fmla="*/ 10263 w 34893"/>
                <a:gd name="connsiteY28" fmla="*/ 22027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893" h="47062">
                  <a:moveTo>
                    <a:pt x="1103" y="44632"/>
                  </a:moveTo>
                  <a:lnTo>
                    <a:pt x="1103" y="2270"/>
                  </a:lnTo>
                  <a:cubicBezTo>
                    <a:pt x="1010" y="1261"/>
                    <a:pt x="1756" y="366"/>
                    <a:pt x="2765" y="273"/>
                  </a:cubicBezTo>
                  <a:cubicBezTo>
                    <a:pt x="2877" y="262"/>
                    <a:pt x="2988" y="262"/>
                    <a:pt x="3100" y="273"/>
                  </a:cubicBezTo>
                  <a:lnTo>
                    <a:pt x="5124" y="273"/>
                  </a:lnTo>
                  <a:cubicBezTo>
                    <a:pt x="6170" y="201"/>
                    <a:pt x="7121" y="883"/>
                    <a:pt x="7387" y="1897"/>
                  </a:cubicBezTo>
                  <a:cubicBezTo>
                    <a:pt x="7707" y="3228"/>
                    <a:pt x="8638" y="3415"/>
                    <a:pt x="9704" y="2589"/>
                  </a:cubicBezTo>
                  <a:cubicBezTo>
                    <a:pt x="12502" y="592"/>
                    <a:pt x="15878" y="-435"/>
                    <a:pt x="19316" y="-339"/>
                  </a:cubicBezTo>
                  <a:cubicBezTo>
                    <a:pt x="28419" y="-385"/>
                    <a:pt x="35834" y="6956"/>
                    <a:pt x="35880" y="16060"/>
                  </a:cubicBezTo>
                  <a:cubicBezTo>
                    <a:pt x="35880" y="16193"/>
                    <a:pt x="35880" y="16329"/>
                    <a:pt x="35877" y="16462"/>
                  </a:cubicBezTo>
                  <a:cubicBezTo>
                    <a:pt x="36111" y="25650"/>
                    <a:pt x="28856" y="33289"/>
                    <a:pt x="19667" y="33524"/>
                  </a:cubicBezTo>
                  <a:cubicBezTo>
                    <a:pt x="19505" y="33529"/>
                    <a:pt x="19345" y="33529"/>
                    <a:pt x="19182" y="33529"/>
                  </a:cubicBezTo>
                  <a:cubicBezTo>
                    <a:pt x="16397" y="33582"/>
                    <a:pt x="13644" y="32914"/>
                    <a:pt x="11195" y="31585"/>
                  </a:cubicBezTo>
                  <a:cubicBezTo>
                    <a:pt x="9943" y="30840"/>
                    <a:pt x="9118" y="31213"/>
                    <a:pt x="9118" y="32597"/>
                  </a:cubicBezTo>
                  <a:lnTo>
                    <a:pt x="9118" y="44712"/>
                  </a:lnTo>
                  <a:cubicBezTo>
                    <a:pt x="9211" y="45721"/>
                    <a:pt x="8465" y="46616"/>
                    <a:pt x="7456" y="46709"/>
                  </a:cubicBezTo>
                  <a:cubicBezTo>
                    <a:pt x="7344" y="46720"/>
                    <a:pt x="7233" y="46720"/>
                    <a:pt x="7121" y="46709"/>
                  </a:cubicBezTo>
                  <a:lnTo>
                    <a:pt x="2994" y="46709"/>
                  </a:lnTo>
                  <a:cubicBezTo>
                    <a:pt x="1982" y="46802"/>
                    <a:pt x="1090" y="46057"/>
                    <a:pt x="997" y="45048"/>
                  </a:cubicBezTo>
                  <a:cubicBezTo>
                    <a:pt x="986" y="44936"/>
                    <a:pt x="986" y="44824"/>
                    <a:pt x="997" y="44712"/>
                  </a:cubicBezTo>
                  <a:moveTo>
                    <a:pt x="10236" y="22106"/>
                  </a:moveTo>
                  <a:cubicBezTo>
                    <a:pt x="12039" y="24721"/>
                    <a:pt x="15050" y="26236"/>
                    <a:pt x="18224" y="26127"/>
                  </a:cubicBezTo>
                  <a:cubicBezTo>
                    <a:pt x="23277" y="25903"/>
                    <a:pt x="27192" y="21625"/>
                    <a:pt x="26968" y="16571"/>
                  </a:cubicBezTo>
                  <a:cubicBezTo>
                    <a:pt x="26965" y="16507"/>
                    <a:pt x="26963" y="16446"/>
                    <a:pt x="26957" y="16382"/>
                  </a:cubicBezTo>
                  <a:cubicBezTo>
                    <a:pt x="27122" y="11392"/>
                    <a:pt x="23238" y="7198"/>
                    <a:pt x="18250" y="6983"/>
                  </a:cubicBezTo>
                  <a:cubicBezTo>
                    <a:pt x="15085" y="6884"/>
                    <a:pt x="12081" y="8386"/>
                    <a:pt x="10263" y="10977"/>
                  </a:cubicBezTo>
                  <a:cubicBezTo>
                    <a:pt x="9837" y="11613"/>
                    <a:pt x="9632" y="12369"/>
                    <a:pt x="9677" y="13133"/>
                  </a:cubicBezTo>
                  <a:lnTo>
                    <a:pt x="9677" y="19896"/>
                  </a:lnTo>
                  <a:cubicBezTo>
                    <a:pt x="9650" y="20650"/>
                    <a:pt x="9855" y="21393"/>
                    <a:pt x="10263" y="22027"/>
                  </a:cubicBezTo>
                </a:path>
              </a:pathLst>
            </a:custGeom>
            <a:solidFill>
              <a:srgbClr val="FFFFFF"/>
            </a:solidFill>
            <a:ln w="2661" cap="flat">
              <a:noFill/>
              <a:prstDash val="solid"/>
              <a:miter/>
            </a:ln>
          </p:spPr>
          <p:txBody>
            <a:bodyPr rtlCol="0" anchor="ctr"/>
            <a:lstStyle/>
            <a:p>
              <a:endParaRPr lang="pl-PL"/>
            </a:p>
          </p:txBody>
        </p:sp>
        <p:sp>
          <p:nvSpPr>
            <p:cNvPr id="243" name="Freeform: Shape 242">
              <a:extLst>
                <a:ext uri="{FF2B5EF4-FFF2-40B4-BE49-F238E27FC236}">
                  <a16:creationId xmlns:a16="http://schemas.microsoft.com/office/drawing/2014/main" id="{FBFE9D7D-DA7D-4037-B7E5-C1321AF940E4}"/>
                </a:ext>
              </a:extLst>
            </p:cNvPr>
            <p:cNvSpPr/>
            <p:nvPr/>
          </p:nvSpPr>
          <p:spPr>
            <a:xfrm>
              <a:off x="11597252" y="6750822"/>
              <a:ext cx="18514" cy="19157"/>
            </a:xfrm>
            <a:custGeom>
              <a:avLst/>
              <a:gdLst>
                <a:gd name="connsiteX0" fmla="*/ 18038 w 32808"/>
                <a:gd name="connsiteY0" fmla="*/ -324 h 33946"/>
                <a:gd name="connsiteX1" fmla="*/ 33795 w 32808"/>
                <a:gd name="connsiteY1" fmla="*/ 15867 h 33946"/>
                <a:gd name="connsiteX2" fmla="*/ 33721 w 32808"/>
                <a:gd name="connsiteY2" fmla="*/ 17196 h 33946"/>
                <a:gd name="connsiteX3" fmla="*/ 31915 w 32808"/>
                <a:gd name="connsiteY3" fmla="*/ 19012 h 33946"/>
                <a:gd name="connsiteX4" fmla="*/ 31777 w 32808"/>
                <a:gd name="connsiteY4" fmla="*/ 19006 h 33946"/>
                <a:gd name="connsiteX5" fmla="*/ 11568 w 32808"/>
                <a:gd name="connsiteY5" fmla="*/ 19006 h 33946"/>
                <a:gd name="connsiteX6" fmla="*/ 10130 w 32808"/>
                <a:gd name="connsiteY6" fmla="*/ 20950 h 33946"/>
                <a:gd name="connsiteX7" fmla="*/ 18118 w 32808"/>
                <a:gd name="connsiteY7" fmla="*/ 26488 h 33946"/>
                <a:gd name="connsiteX8" fmla="*/ 24455 w 32808"/>
                <a:gd name="connsiteY8" fmla="*/ 23613 h 33946"/>
                <a:gd name="connsiteX9" fmla="*/ 26771 w 32808"/>
                <a:gd name="connsiteY9" fmla="*/ 22148 h 33946"/>
                <a:gd name="connsiteX10" fmla="*/ 31058 w 32808"/>
                <a:gd name="connsiteY10" fmla="*/ 22148 h 33946"/>
                <a:gd name="connsiteX11" fmla="*/ 32815 w 32808"/>
                <a:gd name="connsiteY11" fmla="*/ 24358 h 33946"/>
                <a:gd name="connsiteX12" fmla="*/ 18118 w 32808"/>
                <a:gd name="connsiteY12" fmla="*/ 33571 h 33946"/>
                <a:gd name="connsiteX13" fmla="*/ 994 w 32808"/>
                <a:gd name="connsiteY13" fmla="*/ 17371 h 33946"/>
                <a:gd name="connsiteX14" fmla="*/ 997 w 32808"/>
                <a:gd name="connsiteY14" fmla="*/ 16370 h 33946"/>
                <a:gd name="connsiteX15" fmla="*/ 16866 w 32808"/>
                <a:gd name="connsiteY15" fmla="*/ -340 h 33946"/>
                <a:gd name="connsiteX16" fmla="*/ 18118 w 32808"/>
                <a:gd name="connsiteY16" fmla="*/ -324 h 33946"/>
                <a:gd name="connsiteX17" fmla="*/ 12020 w 32808"/>
                <a:gd name="connsiteY17" fmla="*/ 13362 h 33946"/>
                <a:gd name="connsiteX18" fmla="*/ 23257 w 32808"/>
                <a:gd name="connsiteY18" fmla="*/ 13362 h 33946"/>
                <a:gd name="connsiteX19" fmla="*/ 24774 w 32808"/>
                <a:gd name="connsiteY19" fmla="*/ 11365 h 33946"/>
                <a:gd name="connsiteX20" fmla="*/ 17985 w 32808"/>
                <a:gd name="connsiteY20" fmla="*/ 6705 h 33946"/>
                <a:gd name="connsiteX21" fmla="*/ 10582 w 32808"/>
                <a:gd name="connsiteY21" fmla="*/ 11285 h 33946"/>
                <a:gd name="connsiteX22" fmla="*/ 12020 w 32808"/>
                <a:gd name="connsiteY22" fmla="*/ 13362 h 3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808" h="33946">
                  <a:moveTo>
                    <a:pt x="18038" y="-324"/>
                  </a:moveTo>
                  <a:cubicBezTo>
                    <a:pt x="26859" y="-204"/>
                    <a:pt x="33915" y="7046"/>
                    <a:pt x="33795" y="15867"/>
                  </a:cubicBezTo>
                  <a:cubicBezTo>
                    <a:pt x="33787" y="16312"/>
                    <a:pt x="33763" y="16754"/>
                    <a:pt x="33721" y="17196"/>
                  </a:cubicBezTo>
                  <a:cubicBezTo>
                    <a:pt x="33723" y="18197"/>
                    <a:pt x="32914" y="19009"/>
                    <a:pt x="31915" y="19012"/>
                  </a:cubicBezTo>
                  <a:cubicBezTo>
                    <a:pt x="31870" y="19012"/>
                    <a:pt x="31822" y="19009"/>
                    <a:pt x="31777" y="19006"/>
                  </a:cubicBezTo>
                  <a:lnTo>
                    <a:pt x="11568" y="19006"/>
                  </a:lnTo>
                  <a:cubicBezTo>
                    <a:pt x="10396" y="19006"/>
                    <a:pt x="9624" y="19778"/>
                    <a:pt x="10130" y="20950"/>
                  </a:cubicBezTo>
                  <a:cubicBezTo>
                    <a:pt x="11272" y="24361"/>
                    <a:pt x="14523" y="26616"/>
                    <a:pt x="18118" y="26488"/>
                  </a:cubicBezTo>
                  <a:cubicBezTo>
                    <a:pt x="20589" y="26709"/>
                    <a:pt x="22996" y="25618"/>
                    <a:pt x="24455" y="23613"/>
                  </a:cubicBezTo>
                  <a:cubicBezTo>
                    <a:pt x="24897" y="22734"/>
                    <a:pt x="25789" y="22172"/>
                    <a:pt x="26771" y="22148"/>
                  </a:cubicBezTo>
                  <a:lnTo>
                    <a:pt x="31058" y="22148"/>
                  </a:lnTo>
                  <a:cubicBezTo>
                    <a:pt x="32443" y="22148"/>
                    <a:pt x="33295" y="23027"/>
                    <a:pt x="32815" y="24358"/>
                  </a:cubicBezTo>
                  <a:cubicBezTo>
                    <a:pt x="30403" y="30267"/>
                    <a:pt x="24487" y="33975"/>
                    <a:pt x="18118" y="33571"/>
                  </a:cubicBezTo>
                  <a:cubicBezTo>
                    <a:pt x="8916" y="33826"/>
                    <a:pt x="1250" y="26573"/>
                    <a:pt x="994" y="17371"/>
                  </a:cubicBezTo>
                  <a:cubicBezTo>
                    <a:pt x="986" y="17036"/>
                    <a:pt x="986" y="16703"/>
                    <a:pt x="997" y="16370"/>
                  </a:cubicBezTo>
                  <a:cubicBezTo>
                    <a:pt x="765" y="7373"/>
                    <a:pt x="7869" y="-109"/>
                    <a:pt x="16866" y="-340"/>
                  </a:cubicBezTo>
                  <a:cubicBezTo>
                    <a:pt x="17284" y="-351"/>
                    <a:pt x="17702" y="-346"/>
                    <a:pt x="18118" y="-324"/>
                  </a:cubicBezTo>
                  <a:moveTo>
                    <a:pt x="12020" y="13362"/>
                  </a:moveTo>
                  <a:lnTo>
                    <a:pt x="23257" y="13362"/>
                  </a:lnTo>
                  <a:cubicBezTo>
                    <a:pt x="24508" y="13362"/>
                    <a:pt x="25280" y="12616"/>
                    <a:pt x="24774" y="11365"/>
                  </a:cubicBezTo>
                  <a:cubicBezTo>
                    <a:pt x="23707" y="8545"/>
                    <a:pt x="20999" y="6686"/>
                    <a:pt x="17985" y="6705"/>
                  </a:cubicBezTo>
                  <a:cubicBezTo>
                    <a:pt x="14859" y="6737"/>
                    <a:pt x="12007" y="8502"/>
                    <a:pt x="10582" y="11285"/>
                  </a:cubicBezTo>
                  <a:cubicBezTo>
                    <a:pt x="10023" y="12483"/>
                    <a:pt x="10716" y="13362"/>
                    <a:pt x="12020" y="13362"/>
                  </a:cubicBezTo>
                </a:path>
              </a:pathLst>
            </a:custGeom>
            <a:solidFill>
              <a:srgbClr val="FFFFFF"/>
            </a:solidFill>
            <a:ln w="2661" cap="flat">
              <a:noFill/>
              <a:prstDash val="solid"/>
              <a:miter/>
            </a:ln>
          </p:spPr>
          <p:txBody>
            <a:bodyPr rtlCol="0" anchor="ctr"/>
            <a:lstStyle/>
            <a:p>
              <a:endParaRPr lang="pl-PL"/>
            </a:p>
          </p:txBody>
        </p:sp>
        <p:sp>
          <p:nvSpPr>
            <p:cNvPr id="244" name="Freeform: Shape 243">
              <a:extLst>
                <a:ext uri="{FF2B5EF4-FFF2-40B4-BE49-F238E27FC236}">
                  <a16:creationId xmlns:a16="http://schemas.microsoft.com/office/drawing/2014/main" id="{490D02C7-1AF2-42A7-BB54-88D123241802}"/>
                </a:ext>
              </a:extLst>
            </p:cNvPr>
            <p:cNvSpPr/>
            <p:nvPr/>
          </p:nvSpPr>
          <p:spPr>
            <a:xfrm>
              <a:off x="11619475" y="6750860"/>
              <a:ext cx="19631" cy="26558"/>
            </a:xfrm>
            <a:custGeom>
              <a:avLst/>
              <a:gdLst>
                <a:gd name="connsiteX0" fmla="*/ 997 w 34787"/>
                <a:gd name="connsiteY0" fmla="*/ 44632 h 47062"/>
                <a:gd name="connsiteX1" fmla="*/ 997 w 34787"/>
                <a:gd name="connsiteY1" fmla="*/ 2270 h 47062"/>
                <a:gd name="connsiteX2" fmla="*/ 2658 w 34787"/>
                <a:gd name="connsiteY2" fmla="*/ 273 h 47062"/>
                <a:gd name="connsiteX3" fmla="*/ 2994 w 34787"/>
                <a:gd name="connsiteY3" fmla="*/ 273 h 47062"/>
                <a:gd name="connsiteX4" fmla="*/ 5017 w 34787"/>
                <a:gd name="connsiteY4" fmla="*/ 273 h 47062"/>
                <a:gd name="connsiteX5" fmla="*/ 7280 w 34787"/>
                <a:gd name="connsiteY5" fmla="*/ 1897 h 47062"/>
                <a:gd name="connsiteX6" fmla="*/ 9597 w 34787"/>
                <a:gd name="connsiteY6" fmla="*/ 2589 h 47062"/>
                <a:gd name="connsiteX7" fmla="*/ 19209 w 34787"/>
                <a:gd name="connsiteY7" fmla="*/ -339 h 47062"/>
                <a:gd name="connsiteX8" fmla="*/ 35773 w 34787"/>
                <a:gd name="connsiteY8" fmla="*/ 16060 h 47062"/>
                <a:gd name="connsiteX9" fmla="*/ 35770 w 34787"/>
                <a:gd name="connsiteY9" fmla="*/ 16462 h 47062"/>
                <a:gd name="connsiteX10" fmla="*/ 19560 w 34787"/>
                <a:gd name="connsiteY10" fmla="*/ 33524 h 47062"/>
                <a:gd name="connsiteX11" fmla="*/ 19076 w 34787"/>
                <a:gd name="connsiteY11" fmla="*/ 33529 h 47062"/>
                <a:gd name="connsiteX12" fmla="*/ 11088 w 34787"/>
                <a:gd name="connsiteY12" fmla="*/ 31585 h 47062"/>
                <a:gd name="connsiteX13" fmla="*/ 9011 w 34787"/>
                <a:gd name="connsiteY13" fmla="*/ 32597 h 47062"/>
                <a:gd name="connsiteX14" fmla="*/ 9011 w 34787"/>
                <a:gd name="connsiteY14" fmla="*/ 44712 h 47062"/>
                <a:gd name="connsiteX15" fmla="*/ 7350 w 34787"/>
                <a:gd name="connsiteY15" fmla="*/ 46709 h 47062"/>
                <a:gd name="connsiteX16" fmla="*/ 7014 w 34787"/>
                <a:gd name="connsiteY16" fmla="*/ 46709 h 47062"/>
                <a:gd name="connsiteX17" fmla="*/ 3100 w 34787"/>
                <a:gd name="connsiteY17" fmla="*/ 46709 h 47062"/>
                <a:gd name="connsiteX18" fmla="*/ 1103 w 34787"/>
                <a:gd name="connsiteY18" fmla="*/ 45048 h 47062"/>
                <a:gd name="connsiteX19" fmla="*/ 1103 w 34787"/>
                <a:gd name="connsiteY19" fmla="*/ 44712 h 47062"/>
                <a:gd name="connsiteX20" fmla="*/ 10342 w 34787"/>
                <a:gd name="connsiteY20" fmla="*/ 22106 h 47062"/>
                <a:gd name="connsiteX21" fmla="*/ 18330 w 34787"/>
                <a:gd name="connsiteY21" fmla="*/ 26127 h 47062"/>
                <a:gd name="connsiteX22" fmla="*/ 27042 w 34787"/>
                <a:gd name="connsiteY22" fmla="*/ 16539 h 47062"/>
                <a:gd name="connsiteX23" fmla="*/ 27037 w 34787"/>
                <a:gd name="connsiteY23" fmla="*/ 16462 h 47062"/>
                <a:gd name="connsiteX24" fmla="*/ 18330 w 34787"/>
                <a:gd name="connsiteY24" fmla="*/ 7063 h 47062"/>
                <a:gd name="connsiteX25" fmla="*/ 10342 w 34787"/>
                <a:gd name="connsiteY25" fmla="*/ 11057 h 47062"/>
                <a:gd name="connsiteX26" fmla="*/ 9757 w 34787"/>
                <a:gd name="connsiteY26" fmla="*/ 13213 h 47062"/>
                <a:gd name="connsiteX27" fmla="*/ 9757 w 34787"/>
                <a:gd name="connsiteY27" fmla="*/ 19976 h 47062"/>
                <a:gd name="connsiteX28" fmla="*/ 10342 w 34787"/>
                <a:gd name="connsiteY28" fmla="*/ 22106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787" h="47062">
                  <a:moveTo>
                    <a:pt x="997" y="44632"/>
                  </a:moveTo>
                  <a:lnTo>
                    <a:pt x="997" y="2270"/>
                  </a:lnTo>
                  <a:cubicBezTo>
                    <a:pt x="903" y="1261"/>
                    <a:pt x="1649" y="366"/>
                    <a:pt x="2658" y="273"/>
                  </a:cubicBezTo>
                  <a:cubicBezTo>
                    <a:pt x="2770" y="262"/>
                    <a:pt x="2882" y="262"/>
                    <a:pt x="2994" y="273"/>
                  </a:cubicBezTo>
                  <a:lnTo>
                    <a:pt x="5017" y="273"/>
                  </a:lnTo>
                  <a:cubicBezTo>
                    <a:pt x="6064" y="201"/>
                    <a:pt x="7014" y="883"/>
                    <a:pt x="7280" y="1897"/>
                  </a:cubicBezTo>
                  <a:cubicBezTo>
                    <a:pt x="7600" y="3228"/>
                    <a:pt x="8532" y="3415"/>
                    <a:pt x="9597" y="2589"/>
                  </a:cubicBezTo>
                  <a:cubicBezTo>
                    <a:pt x="12395" y="592"/>
                    <a:pt x="15771" y="-435"/>
                    <a:pt x="19209" y="-339"/>
                  </a:cubicBezTo>
                  <a:cubicBezTo>
                    <a:pt x="28312" y="-385"/>
                    <a:pt x="35728" y="6956"/>
                    <a:pt x="35773" y="16060"/>
                  </a:cubicBezTo>
                  <a:cubicBezTo>
                    <a:pt x="35773" y="16193"/>
                    <a:pt x="35773" y="16329"/>
                    <a:pt x="35770" y="16462"/>
                  </a:cubicBezTo>
                  <a:cubicBezTo>
                    <a:pt x="36005" y="25650"/>
                    <a:pt x="28749" y="33289"/>
                    <a:pt x="19560" y="33524"/>
                  </a:cubicBezTo>
                  <a:cubicBezTo>
                    <a:pt x="19398" y="33529"/>
                    <a:pt x="19238" y="33529"/>
                    <a:pt x="19076" y="33529"/>
                  </a:cubicBezTo>
                  <a:cubicBezTo>
                    <a:pt x="16291" y="33582"/>
                    <a:pt x="13538" y="32914"/>
                    <a:pt x="11088" y="31585"/>
                  </a:cubicBezTo>
                  <a:cubicBezTo>
                    <a:pt x="9836" y="30840"/>
                    <a:pt x="9011" y="31213"/>
                    <a:pt x="9011" y="32597"/>
                  </a:cubicBezTo>
                  <a:lnTo>
                    <a:pt x="9011" y="44712"/>
                  </a:lnTo>
                  <a:cubicBezTo>
                    <a:pt x="9104" y="45721"/>
                    <a:pt x="8359" y="46616"/>
                    <a:pt x="7350" y="46709"/>
                  </a:cubicBezTo>
                  <a:cubicBezTo>
                    <a:pt x="7238" y="46720"/>
                    <a:pt x="7126" y="46720"/>
                    <a:pt x="7014" y="46709"/>
                  </a:cubicBezTo>
                  <a:lnTo>
                    <a:pt x="3100" y="46709"/>
                  </a:lnTo>
                  <a:cubicBezTo>
                    <a:pt x="2088" y="46802"/>
                    <a:pt x="1196" y="46057"/>
                    <a:pt x="1103" y="45048"/>
                  </a:cubicBezTo>
                  <a:cubicBezTo>
                    <a:pt x="1092" y="44936"/>
                    <a:pt x="1092" y="44824"/>
                    <a:pt x="1103" y="44712"/>
                  </a:cubicBezTo>
                  <a:moveTo>
                    <a:pt x="10342" y="22106"/>
                  </a:moveTo>
                  <a:cubicBezTo>
                    <a:pt x="12145" y="24721"/>
                    <a:pt x="15156" y="26236"/>
                    <a:pt x="18330" y="26127"/>
                  </a:cubicBezTo>
                  <a:cubicBezTo>
                    <a:pt x="23384" y="25885"/>
                    <a:pt x="27282" y="21592"/>
                    <a:pt x="27042" y="16539"/>
                  </a:cubicBezTo>
                  <a:cubicBezTo>
                    <a:pt x="27040" y="16515"/>
                    <a:pt x="27040" y="16488"/>
                    <a:pt x="27037" y="16462"/>
                  </a:cubicBezTo>
                  <a:cubicBezTo>
                    <a:pt x="27202" y="11472"/>
                    <a:pt x="23317" y="7278"/>
                    <a:pt x="18330" y="7063"/>
                  </a:cubicBezTo>
                  <a:cubicBezTo>
                    <a:pt x="15164" y="6964"/>
                    <a:pt x="12161" y="8466"/>
                    <a:pt x="10342" y="11057"/>
                  </a:cubicBezTo>
                  <a:cubicBezTo>
                    <a:pt x="9919" y="11693"/>
                    <a:pt x="9711" y="12449"/>
                    <a:pt x="9757" y="13213"/>
                  </a:cubicBezTo>
                  <a:lnTo>
                    <a:pt x="9757" y="19976"/>
                  </a:lnTo>
                  <a:cubicBezTo>
                    <a:pt x="9730" y="20730"/>
                    <a:pt x="9935" y="21473"/>
                    <a:pt x="10342" y="22106"/>
                  </a:cubicBezTo>
                </a:path>
              </a:pathLst>
            </a:custGeom>
            <a:solidFill>
              <a:srgbClr val="FFFFFF"/>
            </a:solidFill>
            <a:ln w="2661" cap="flat">
              <a:noFill/>
              <a:prstDash val="solid"/>
              <a:miter/>
            </a:ln>
          </p:spPr>
          <p:txBody>
            <a:bodyPr rtlCol="0" anchor="ctr"/>
            <a:lstStyle/>
            <a:p>
              <a:endParaRPr lang="pl-PL"/>
            </a:p>
          </p:txBody>
        </p:sp>
        <p:sp>
          <p:nvSpPr>
            <p:cNvPr id="245" name="Freeform: Shape 244">
              <a:extLst>
                <a:ext uri="{FF2B5EF4-FFF2-40B4-BE49-F238E27FC236}">
                  <a16:creationId xmlns:a16="http://schemas.microsoft.com/office/drawing/2014/main" id="{730242BF-E15D-40B1-B50C-D9CC266C93F5}"/>
                </a:ext>
              </a:extLst>
            </p:cNvPr>
            <p:cNvSpPr/>
            <p:nvPr/>
          </p:nvSpPr>
          <p:spPr>
            <a:xfrm>
              <a:off x="11641544" y="6750833"/>
              <a:ext cx="16868" cy="19128"/>
            </a:xfrm>
            <a:custGeom>
              <a:avLst/>
              <a:gdLst>
                <a:gd name="connsiteX0" fmla="*/ 16181 w 29890"/>
                <a:gd name="connsiteY0" fmla="*/ -346 h 33895"/>
                <a:gd name="connsiteX1" fmla="*/ 30186 w 29890"/>
                <a:gd name="connsiteY1" fmla="*/ 9400 h 33895"/>
                <a:gd name="connsiteX2" fmla="*/ 28296 w 29890"/>
                <a:gd name="connsiteY2" fmla="*/ 11476 h 33895"/>
                <a:gd name="connsiteX3" fmla="*/ 24275 w 29890"/>
                <a:gd name="connsiteY3" fmla="*/ 11476 h 33895"/>
                <a:gd name="connsiteX4" fmla="*/ 22092 w 29890"/>
                <a:gd name="connsiteY4" fmla="*/ 9719 h 33895"/>
                <a:gd name="connsiteX5" fmla="*/ 16048 w 29890"/>
                <a:gd name="connsiteY5" fmla="*/ 6444 h 33895"/>
                <a:gd name="connsiteX6" fmla="*/ 10723 w 29890"/>
                <a:gd name="connsiteY6" fmla="*/ 9266 h 33895"/>
                <a:gd name="connsiteX7" fmla="*/ 30879 w 29890"/>
                <a:gd name="connsiteY7" fmla="*/ 23591 h 33895"/>
                <a:gd name="connsiteX8" fmla="*/ 16687 w 29890"/>
                <a:gd name="connsiteY8" fmla="*/ 33550 h 33895"/>
                <a:gd name="connsiteX9" fmla="*/ 1057 w 29890"/>
                <a:gd name="connsiteY9" fmla="*/ 23511 h 33895"/>
                <a:gd name="connsiteX10" fmla="*/ 2895 w 29890"/>
                <a:gd name="connsiteY10" fmla="*/ 21381 h 33895"/>
                <a:gd name="connsiteX11" fmla="*/ 7155 w 29890"/>
                <a:gd name="connsiteY11" fmla="*/ 21381 h 33895"/>
                <a:gd name="connsiteX12" fmla="*/ 9338 w 29890"/>
                <a:gd name="connsiteY12" fmla="*/ 23006 h 33895"/>
                <a:gd name="connsiteX13" fmla="*/ 16873 w 29890"/>
                <a:gd name="connsiteY13" fmla="*/ 26786 h 33895"/>
                <a:gd name="connsiteX14" fmla="*/ 22411 w 29890"/>
                <a:gd name="connsiteY14" fmla="*/ 23645 h 33895"/>
                <a:gd name="connsiteX15" fmla="*/ 2256 w 29890"/>
                <a:gd name="connsiteY15" fmla="*/ 9453 h 33895"/>
                <a:gd name="connsiteX16" fmla="*/ 16128 w 29890"/>
                <a:gd name="connsiteY16" fmla="*/ -346 h 3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890" h="33895">
                  <a:moveTo>
                    <a:pt x="16181" y="-346"/>
                  </a:moveTo>
                  <a:cubicBezTo>
                    <a:pt x="24169" y="-346"/>
                    <a:pt x="28855" y="3622"/>
                    <a:pt x="30186" y="9400"/>
                  </a:cubicBezTo>
                  <a:cubicBezTo>
                    <a:pt x="30479" y="10704"/>
                    <a:pt x="29681" y="11476"/>
                    <a:pt x="28296" y="11476"/>
                  </a:cubicBezTo>
                  <a:lnTo>
                    <a:pt x="24275" y="11476"/>
                  </a:lnTo>
                  <a:cubicBezTo>
                    <a:pt x="23077" y="11476"/>
                    <a:pt x="22518" y="10837"/>
                    <a:pt x="22092" y="9719"/>
                  </a:cubicBezTo>
                  <a:cubicBezTo>
                    <a:pt x="21320" y="7642"/>
                    <a:pt x="19429" y="6444"/>
                    <a:pt x="16048" y="6444"/>
                  </a:cubicBezTo>
                  <a:cubicBezTo>
                    <a:pt x="12666" y="6444"/>
                    <a:pt x="10723" y="7562"/>
                    <a:pt x="10723" y="9266"/>
                  </a:cubicBezTo>
                  <a:cubicBezTo>
                    <a:pt x="10723" y="15364"/>
                    <a:pt x="30879" y="10971"/>
                    <a:pt x="30879" y="23591"/>
                  </a:cubicBezTo>
                  <a:cubicBezTo>
                    <a:pt x="30879" y="29982"/>
                    <a:pt x="25048" y="33550"/>
                    <a:pt x="16687" y="33550"/>
                  </a:cubicBezTo>
                  <a:cubicBezTo>
                    <a:pt x="8326" y="33550"/>
                    <a:pt x="2389" y="29928"/>
                    <a:pt x="1057" y="23511"/>
                  </a:cubicBezTo>
                  <a:cubicBezTo>
                    <a:pt x="738" y="22127"/>
                    <a:pt x="1563" y="21381"/>
                    <a:pt x="2895" y="21381"/>
                  </a:cubicBezTo>
                  <a:lnTo>
                    <a:pt x="7155" y="21381"/>
                  </a:lnTo>
                  <a:cubicBezTo>
                    <a:pt x="8172" y="21347"/>
                    <a:pt x="9077" y="22020"/>
                    <a:pt x="9338" y="23006"/>
                  </a:cubicBezTo>
                  <a:cubicBezTo>
                    <a:pt x="10858" y="25668"/>
                    <a:pt x="13830" y="27159"/>
                    <a:pt x="16873" y="26786"/>
                  </a:cubicBezTo>
                  <a:cubicBezTo>
                    <a:pt x="20281" y="26786"/>
                    <a:pt x="22411" y="25721"/>
                    <a:pt x="22411" y="23645"/>
                  </a:cubicBezTo>
                  <a:cubicBezTo>
                    <a:pt x="22411" y="17494"/>
                    <a:pt x="2256" y="22127"/>
                    <a:pt x="2256" y="9453"/>
                  </a:cubicBezTo>
                  <a:cubicBezTo>
                    <a:pt x="2256" y="3808"/>
                    <a:pt x="7101" y="-346"/>
                    <a:pt x="16128" y="-346"/>
                  </a:cubicBezTo>
                </a:path>
              </a:pathLst>
            </a:custGeom>
            <a:solidFill>
              <a:srgbClr val="FFFFFF"/>
            </a:solidFill>
            <a:ln w="2661" cap="flat">
              <a:noFill/>
              <a:prstDash val="solid"/>
              <a:miter/>
            </a:ln>
          </p:spPr>
          <p:txBody>
            <a:bodyPr rtlCol="0" anchor="ctr"/>
            <a:lstStyle/>
            <a:p>
              <a:endParaRPr lang="pl-PL"/>
            </a:p>
          </p:txBody>
        </p:sp>
        <p:sp>
          <p:nvSpPr>
            <p:cNvPr id="246" name="Freeform: Shape 245">
              <a:extLst>
                <a:ext uri="{FF2B5EF4-FFF2-40B4-BE49-F238E27FC236}">
                  <a16:creationId xmlns:a16="http://schemas.microsoft.com/office/drawing/2014/main" id="{6F1CAE5C-E91F-43B9-86AB-5131C965F758}"/>
                </a:ext>
              </a:extLst>
            </p:cNvPr>
            <p:cNvSpPr/>
            <p:nvPr/>
          </p:nvSpPr>
          <p:spPr>
            <a:xfrm>
              <a:off x="11661657" y="6742209"/>
              <a:ext cx="6551" cy="27381"/>
            </a:xfrm>
            <a:custGeom>
              <a:avLst/>
              <a:gdLst>
                <a:gd name="connsiteX0" fmla="*/ 989 w 11609"/>
                <a:gd name="connsiteY0" fmla="*/ 5352 h 48520"/>
                <a:gd name="connsiteX1" fmla="*/ 6687 w 11609"/>
                <a:gd name="connsiteY1" fmla="*/ -346 h 48520"/>
                <a:gd name="connsiteX2" fmla="*/ 6767 w 11609"/>
                <a:gd name="connsiteY2" fmla="*/ -346 h 48520"/>
                <a:gd name="connsiteX3" fmla="*/ 12598 w 11609"/>
                <a:gd name="connsiteY3" fmla="*/ 5352 h 48520"/>
                <a:gd name="connsiteX4" fmla="*/ 6767 w 11609"/>
                <a:gd name="connsiteY4" fmla="*/ 11263 h 48520"/>
                <a:gd name="connsiteX5" fmla="*/ 989 w 11609"/>
                <a:gd name="connsiteY5" fmla="*/ 5432 h 48520"/>
                <a:gd name="connsiteX6" fmla="*/ 989 w 11609"/>
                <a:gd name="connsiteY6" fmla="*/ 5352 h 48520"/>
                <a:gd name="connsiteX7" fmla="*/ 10734 w 11609"/>
                <a:gd name="connsiteY7" fmla="*/ 17521 h 48520"/>
                <a:gd name="connsiteX8" fmla="*/ 10734 w 11609"/>
                <a:gd name="connsiteY8" fmla="*/ 46144 h 48520"/>
                <a:gd name="connsiteX9" fmla="*/ 9046 w 11609"/>
                <a:gd name="connsiteY9" fmla="*/ 48167 h 48520"/>
                <a:gd name="connsiteX10" fmla="*/ 8710 w 11609"/>
                <a:gd name="connsiteY10" fmla="*/ 48167 h 48520"/>
                <a:gd name="connsiteX11" fmla="*/ 3998 w 11609"/>
                <a:gd name="connsiteY11" fmla="*/ 48167 h 48520"/>
                <a:gd name="connsiteX12" fmla="*/ 1998 w 11609"/>
                <a:gd name="connsiteY12" fmla="*/ 46450 h 48520"/>
                <a:gd name="connsiteX13" fmla="*/ 2001 w 11609"/>
                <a:gd name="connsiteY13" fmla="*/ 46144 h 48520"/>
                <a:gd name="connsiteX14" fmla="*/ 2001 w 11609"/>
                <a:gd name="connsiteY14" fmla="*/ 17600 h 48520"/>
                <a:gd name="connsiteX15" fmla="*/ 3662 w 11609"/>
                <a:gd name="connsiteY15" fmla="*/ 15603 h 48520"/>
                <a:gd name="connsiteX16" fmla="*/ 3998 w 11609"/>
                <a:gd name="connsiteY16" fmla="*/ 15603 h 48520"/>
                <a:gd name="connsiteX17" fmla="*/ 8710 w 11609"/>
                <a:gd name="connsiteY17" fmla="*/ 15603 h 48520"/>
                <a:gd name="connsiteX18" fmla="*/ 10731 w 11609"/>
                <a:gd name="connsiteY18" fmla="*/ 17294 h 48520"/>
                <a:gd name="connsiteX19" fmla="*/ 10734 w 11609"/>
                <a:gd name="connsiteY19" fmla="*/ 17600 h 48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09" h="48520">
                  <a:moveTo>
                    <a:pt x="989" y="5352"/>
                  </a:moveTo>
                  <a:cubicBezTo>
                    <a:pt x="989" y="2205"/>
                    <a:pt x="3540" y="-346"/>
                    <a:pt x="6687" y="-346"/>
                  </a:cubicBezTo>
                  <a:cubicBezTo>
                    <a:pt x="6713" y="-346"/>
                    <a:pt x="6740" y="-346"/>
                    <a:pt x="6767" y="-346"/>
                  </a:cubicBezTo>
                  <a:cubicBezTo>
                    <a:pt x="9935" y="-346"/>
                    <a:pt x="12526" y="2184"/>
                    <a:pt x="12598" y="5352"/>
                  </a:cubicBezTo>
                  <a:cubicBezTo>
                    <a:pt x="12598" y="8585"/>
                    <a:pt x="9999" y="11221"/>
                    <a:pt x="6767" y="11263"/>
                  </a:cubicBezTo>
                  <a:cubicBezTo>
                    <a:pt x="3561" y="11250"/>
                    <a:pt x="973" y="8638"/>
                    <a:pt x="989" y="5432"/>
                  </a:cubicBezTo>
                  <a:cubicBezTo>
                    <a:pt x="989" y="5406"/>
                    <a:pt x="989" y="5379"/>
                    <a:pt x="989" y="5352"/>
                  </a:cubicBezTo>
                  <a:moveTo>
                    <a:pt x="10734" y="17521"/>
                  </a:moveTo>
                  <a:lnTo>
                    <a:pt x="10734" y="46144"/>
                  </a:lnTo>
                  <a:cubicBezTo>
                    <a:pt x="10827" y="47169"/>
                    <a:pt x="10071" y="48074"/>
                    <a:pt x="9046" y="48167"/>
                  </a:cubicBezTo>
                  <a:cubicBezTo>
                    <a:pt x="8934" y="48178"/>
                    <a:pt x="8822" y="48178"/>
                    <a:pt x="8710" y="48167"/>
                  </a:cubicBezTo>
                  <a:lnTo>
                    <a:pt x="3998" y="48167"/>
                  </a:lnTo>
                  <a:cubicBezTo>
                    <a:pt x="2972" y="48244"/>
                    <a:pt x="2075" y="47475"/>
                    <a:pt x="1998" y="46450"/>
                  </a:cubicBezTo>
                  <a:cubicBezTo>
                    <a:pt x="1990" y="46349"/>
                    <a:pt x="1993" y="46245"/>
                    <a:pt x="2001" y="46144"/>
                  </a:cubicBezTo>
                  <a:lnTo>
                    <a:pt x="2001" y="17600"/>
                  </a:lnTo>
                  <a:cubicBezTo>
                    <a:pt x="1907" y="16591"/>
                    <a:pt x="2653" y="15697"/>
                    <a:pt x="3662" y="15603"/>
                  </a:cubicBezTo>
                  <a:cubicBezTo>
                    <a:pt x="3774" y="15593"/>
                    <a:pt x="3886" y="15593"/>
                    <a:pt x="3998" y="15603"/>
                  </a:cubicBezTo>
                  <a:lnTo>
                    <a:pt x="8710" y="15603"/>
                  </a:lnTo>
                  <a:cubicBezTo>
                    <a:pt x="9735" y="15513"/>
                    <a:pt x="10641" y="16269"/>
                    <a:pt x="10731" y="17294"/>
                  </a:cubicBezTo>
                  <a:cubicBezTo>
                    <a:pt x="10742" y="17395"/>
                    <a:pt x="10742" y="17499"/>
                    <a:pt x="10734" y="17600"/>
                  </a:cubicBezTo>
                </a:path>
              </a:pathLst>
            </a:custGeom>
            <a:solidFill>
              <a:srgbClr val="FFFFFF"/>
            </a:solidFill>
            <a:ln w="2661" cap="flat">
              <a:noFill/>
              <a:prstDash val="solid"/>
              <a:miter/>
            </a:ln>
          </p:spPr>
          <p:txBody>
            <a:bodyPr rtlCol="0" anchor="ctr"/>
            <a:lstStyle/>
            <a:p>
              <a:endParaRPr lang="pl-PL"/>
            </a:p>
          </p:txBody>
        </p:sp>
        <p:sp>
          <p:nvSpPr>
            <p:cNvPr id="247" name="Freeform: Shape 246">
              <a:extLst>
                <a:ext uri="{FF2B5EF4-FFF2-40B4-BE49-F238E27FC236}">
                  <a16:creationId xmlns:a16="http://schemas.microsoft.com/office/drawing/2014/main" id="{81829E6F-547F-4843-B0F7-77398EAD38DD}"/>
                </a:ext>
              </a:extLst>
            </p:cNvPr>
            <p:cNvSpPr/>
            <p:nvPr/>
          </p:nvSpPr>
          <p:spPr>
            <a:xfrm>
              <a:off x="11670912" y="6750850"/>
              <a:ext cx="18928" cy="19154"/>
            </a:xfrm>
            <a:custGeom>
              <a:avLst/>
              <a:gdLst>
                <a:gd name="connsiteX0" fmla="*/ 25781 w 33540"/>
                <a:gd name="connsiteY0" fmla="*/ 11128 h 33942"/>
                <a:gd name="connsiteX1" fmla="*/ 18672 w 33540"/>
                <a:gd name="connsiteY1" fmla="*/ 7001 h 33942"/>
                <a:gd name="connsiteX2" fmla="*/ 9850 w 33540"/>
                <a:gd name="connsiteY2" fmla="*/ 15699 h 33942"/>
                <a:gd name="connsiteX3" fmla="*/ 9885 w 33540"/>
                <a:gd name="connsiteY3" fmla="*/ 16533 h 33942"/>
                <a:gd name="connsiteX4" fmla="*/ 17838 w 33540"/>
                <a:gd name="connsiteY4" fmla="*/ 26030 h 33942"/>
                <a:gd name="connsiteX5" fmla="*/ 18618 w 33540"/>
                <a:gd name="connsiteY5" fmla="*/ 26065 h 33942"/>
                <a:gd name="connsiteX6" fmla="*/ 25514 w 33540"/>
                <a:gd name="connsiteY6" fmla="*/ 22364 h 33942"/>
                <a:gd name="connsiteX7" fmla="*/ 27778 w 33540"/>
                <a:gd name="connsiteY7" fmla="*/ 20793 h 33942"/>
                <a:gd name="connsiteX8" fmla="*/ 32411 w 33540"/>
                <a:gd name="connsiteY8" fmla="*/ 20793 h 33942"/>
                <a:gd name="connsiteX9" fmla="*/ 34301 w 33540"/>
                <a:gd name="connsiteY9" fmla="*/ 22923 h 33942"/>
                <a:gd name="connsiteX10" fmla="*/ 18805 w 33540"/>
                <a:gd name="connsiteY10" fmla="*/ 33573 h 33942"/>
                <a:gd name="connsiteX11" fmla="*/ 1013 w 33540"/>
                <a:gd name="connsiteY11" fmla="*/ 17545 h 33942"/>
                <a:gd name="connsiteX12" fmla="*/ 992 w 33540"/>
                <a:gd name="connsiteY12" fmla="*/ 16373 h 33942"/>
                <a:gd name="connsiteX13" fmla="*/ 17503 w 33540"/>
                <a:gd name="connsiteY13" fmla="*/ -346 h 33942"/>
                <a:gd name="connsiteX14" fmla="*/ 18485 w 33540"/>
                <a:gd name="connsiteY14" fmla="*/ -322 h 33942"/>
                <a:gd name="connsiteX15" fmla="*/ 34461 w 33540"/>
                <a:gd name="connsiteY15" fmla="*/ 10728 h 33942"/>
                <a:gd name="connsiteX16" fmla="*/ 33324 w 33540"/>
                <a:gd name="connsiteY16" fmla="*/ 12810 h 33942"/>
                <a:gd name="connsiteX17" fmla="*/ 32597 w 33540"/>
                <a:gd name="connsiteY17" fmla="*/ 12858 h 33942"/>
                <a:gd name="connsiteX18" fmla="*/ 28124 w 33540"/>
                <a:gd name="connsiteY18" fmla="*/ 12858 h 33942"/>
                <a:gd name="connsiteX19" fmla="*/ 25887 w 33540"/>
                <a:gd name="connsiteY19" fmla="*/ 11234 h 33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3540" h="33942">
                  <a:moveTo>
                    <a:pt x="25781" y="11128"/>
                  </a:moveTo>
                  <a:cubicBezTo>
                    <a:pt x="24463" y="8441"/>
                    <a:pt x="21656" y="6814"/>
                    <a:pt x="18672" y="7001"/>
                  </a:cubicBezTo>
                  <a:cubicBezTo>
                    <a:pt x="13834" y="6966"/>
                    <a:pt x="9885" y="10861"/>
                    <a:pt x="9850" y="15699"/>
                  </a:cubicBezTo>
                  <a:cubicBezTo>
                    <a:pt x="9850" y="15979"/>
                    <a:pt x="9861" y="16256"/>
                    <a:pt x="9885" y="16533"/>
                  </a:cubicBezTo>
                  <a:cubicBezTo>
                    <a:pt x="9459" y="21352"/>
                    <a:pt x="13019" y="25604"/>
                    <a:pt x="17838" y="26030"/>
                  </a:cubicBezTo>
                  <a:cubicBezTo>
                    <a:pt x="18099" y="26054"/>
                    <a:pt x="18357" y="26065"/>
                    <a:pt x="18618" y="26065"/>
                  </a:cubicBezTo>
                  <a:cubicBezTo>
                    <a:pt x="21441" y="26281"/>
                    <a:pt x="24133" y="24835"/>
                    <a:pt x="25514" y="22364"/>
                  </a:cubicBezTo>
                  <a:cubicBezTo>
                    <a:pt x="25869" y="21421"/>
                    <a:pt x="26771" y="20796"/>
                    <a:pt x="27778" y="20793"/>
                  </a:cubicBezTo>
                  <a:lnTo>
                    <a:pt x="32411" y="20793"/>
                  </a:lnTo>
                  <a:cubicBezTo>
                    <a:pt x="33742" y="20793"/>
                    <a:pt x="34621" y="21618"/>
                    <a:pt x="34301" y="22923"/>
                  </a:cubicBezTo>
                  <a:cubicBezTo>
                    <a:pt x="32810" y="29340"/>
                    <a:pt x="26313" y="33573"/>
                    <a:pt x="18805" y="33573"/>
                  </a:cubicBezTo>
                  <a:cubicBezTo>
                    <a:pt x="9464" y="34061"/>
                    <a:pt x="1498" y="26882"/>
                    <a:pt x="1013" y="17545"/>
                  </a:cubicBezTo>
                  <a:cubicBezTo>
                    <a:pt x="992" y="17153"/>
                    <a:pt x="984" y="16764"/>
                    <a:pt x="992" y="16373"/>
                  </a:cubicBezTo>
                  <a:cubicBezTo>
                    <a:pt x="936" y="7198"/>
                    <a:pt x="8327" y="-287"/>
                    <a:pt x="17503" y="-346"/>
                  </a:cubicBezTo>
                  <a:cubicBezTo>
                    <a:pt x="17830" y="-346"/>
                    <a:pt x="18158" y="-340"/>
                    <a:pt x="18485" y="-322"/>
                  </a:cubicBezTo>
                  <a:cubicBezTo>
                    <a:pt x="27724" y="-322"/>
                    <a:pt x="32996" y="4578"/>
                    <a:pt x="34461" y="10728"/>
                  </a:cubicBezTo>
                  <a:cubicBezTo>
                    <a:pt x="34722" y="11618"/>
                    <a:pt x="34213" y="12549"/>
                    <a:pt x="33324" y="12810"/>
                  </a:cubicBezTo>
                  <a:cubicBezTo>
                    <a:pt x="33087" y="12880"/>
                    <a:pt x="32839" y="12896"/>
                    <a:pt x="32597" y="12858"/>
                  </a:cubicBezTo>
                  <a:lnTo>
                    <a:pt x="28124" y="12858"/>
                  </a:lnTo>
                  <a:cubicBezTo>
                    <a:pt x="27006" y="12858"/>
                    <a:pt x="26446" y="12299"/>
                    <a:pt x="25887" y="11234"/>
                  </a:cubicBezTo>
                </a:path>
              </a:pathLst>
            </a:custGeom>
            <a:solidFill>
              <a:srgbClr val="FFFFFF"/>
            </a:solidFill>
            <a:ln w="2661" cap="flat">
              <a:noFill/>
              <a:prstDash val="solid"/>
              <a:miter/>
            </a:ln>
          </p:spPr>
          <p:txBody>
            <a:bodyPr rtlCol="0" anchor="ctr"/>
            <a:lstStyle/>
            <a:p>
              <a:endParaRPr lang="pl-PL"/>
            </a:p>
          </p:txBody>
        </p:sp>
        <p:sp>
          <p:nvSpPr>
            <p:cNvPr id="248" name="Freeform: Shape 247">
              <a:extLst>
                <a:ext uri="{FF2B5EF4-FFF2-40B4-BE49-F238E27FC236}">
                  <a16:creationId xmlns:a16="http://schemas.microsoft.com/office/drawing/2014/main" id="{70026134-4A73-4706-9353-44FE68C290F0}"/>
                </a:ext>
              </a:extLst>
            </p:cNvPr>
            <p:cNvSpPr/>
            <p:nvPr/>
          </p:nvSpPr>
          <p:spPr>
            <a:xfrm>
              <a:off x="11692340" y="6750833"/>
              <a:ext cx="20150" cy="19139"/>
            </a:xfrm>
            <a:custGeom>
              <a:avLst/>
              <a:gdLst>
                <a:gd name="connsiteX0" fmla="*/ 18856 w 35707"/>
                <a:gd name="connsiteY0" fmla="*/ -346 h 33914"/>
                <a:gd name="connsiteX1" fmla="*/ 36695 w 35707"/>
                <a:gd name="connsiteY1" fmla="*/ 16349 h 33914"/>
                <a:gd name="connsiteX2" fmla="*/ 19833 w 35707"/>
                <a:gd name="connsiteY2" fmla="*/ 33568 h 33914"/>
                <a:gd name="connsiteX3" fmla="*/ 18856 w 35707"/>
                <a:gd name="connsiteY3" fmla="*/ 33550 h 33914"/>
                <a:gd name="connsiteX4" fmla="*/ 1008 w 35707"/>
                <a:gd name="connsiteY4" fmla="*/ 17300 h 33914"/>
                <a:gd name="connsiteX5" fmla="*/ 989 w 35707"/>
                <a:gd name="connsiteY5" fmla="*/ 16349 h 33914"/>
                <a:gd name="connsiteX6" fmla="*/ 18856 w 35707"/>
                <a:gd name="connsiteY6" fmla="*/ -346 h 33914"/>
                <a:gd name="connsiteX7" fmla="*/ 18856 w 35707"/>
                <a:gd name="connsiteY7" fmla="*/ 26147 h 33914"/>
                <a:gd name="connsiteX8" fmla="*/ 28028 w 35707"/>
                <a:gd name="connsiteY8" fmla="*/ 17214 h 33914"/>
                <a:gd name="connsiteX9" fmla="*/ 28015 w 35707"/>
                <a:gd name="connsiteY9" fmla="*/ 16615 h 33914"/>
                <a:gd name="connsiteX10" fmla="*/ 19455 w 35707"/>
                <a:gd name="connsiteY10" fmla="*/ 7096 h 33914"/>
                <a:gd name="connsiteX11" fmla="*/ 18856 w 35707"/>
                <a:gd name="connsiteY11" fmla="*/ 7083 h 33914"/>
                <a:gd name="connsiteX12" fmla="*/ 9683 w 35707"/>
                <a:gd name="connsiteY12" fmla="*/ 15960 h 33914"/>
                <a:gd name="connsiteX13" fmla="*/ 9696 w 35707"/>
                <a:gd name="connsiteY13" fmla="*/ 16615 h 33914"/>
                <a:gd name="connsiteX14" fmla="*/ 18200 w 35707"/>
                <a:gd name="connsiteY14" fmla="*/ 26134 h 33914"/>
                <a:gd name="connsiteX15" fmla="*/ 18856 w 35707"/>
                <a:gd name="connsiteY15" fmla="*/ 26147 h 33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07" h="33914">
                  <a:moveTo>
                    <a:pt x="18856" y="-346"/>
                  </a:moveTo>
                  <a:cubicBezTo>
                    <a:pt x="29346" y="-346"/>
                    <a:pt x="36695" y="7003"/>
                    <a:pt x="36695" y="16349"/>
                  </a:cubicBezTo>
                  <a:cubicBezTo>
                    <a:pt x="36794" y="25759"/>
                    <a:pt x="29245" y="33470"/>
                    <a:pt x="19833" y="33568"/>
                  </a:cubicBezTo>
                  <a:cubicBezTo>
                    <a:pt x="19508" y="33571"/>
                    <a:pt x="19180" y="33565"/>
                    <a:pt x="18856" y="33550"/>
                  </a:cubicBezTo>
                  <a:cubicBezTo>
                    <a:pt x="9440" y="33991"/>
                    <a:pt x="1450" y="26717"/>
                    <a:pt x="1008" y="17300"/>
                  </a:cubicBezTo>
                  <a:cubicBezTo>
                    <a:pt x="992" y="16983"/>
                    <a:pt x="987" y="16666"/>
                    <a:pt x="989" y="16349"/>
                  </a:cubicBezTo>
                  <a:cubicBezTo>
                    <a:pt x="989" y="7003"/>
                    <a:pt x="8391" y="-346"/>
                    <a:pt x="18856" y="-346"/>
                  </a:cubicBezTo>
                  <a:moveTo>
                    <a:pt x="18856" y="26147"/>
                  </a:moveTo>
                  <a:cubicBezTo>
                    <a:pt x="23856" y="26214"/>
                    <a:pt x="27962" y="22215"/>
                    <a:pt x="28028" y="17214"/>
                  </a:cubicBezTo>
                  <a:cubicBezTo>
                    <a:pt x="28031" y="17015"/>
                    <a:pt x="28026" y="16815"/>
                    <a:pt x="28015" y="16615"/>
                  </a:cubicBezTo>
                  <a:cubicBezTo>
                    <a:pt x="28281" y="11623"/>
                    <a:pt x="24447" y="7360"/>
                    <a:pt x="19455" y="7096"/>
                  </a:cubicBezTo>
                  <a:cubicBezTo>
                    <a:pt x="19255" y="7086"/>
                    <a:pt x="19055" y="7080"/>
                    <a:pt x="18856" y="7083"/>
                  </a:cubicBezTo>
                  <a:cubicBezTo>
                    <a:pt x="13871" y="7001"/>
                    <a:pt x="9765" y="10976"/>
                    <a:pt x="9683" y="15960"/>
                  </a:cubicBezTo>
                  <a:cubicBezTo>
                    <a:pt x="9680" y="16179"/>
                    <a:pt x="9683" y="16397"/>
                    <a:pt x="9696" y="16615"/>
                  </a:cubicBezTo>
                  <a:cubicBezTo>
                    <a:pt x="9417" y="21592"/>
                    <a:pt x="13224" y="25855"/>
                    <a:pt x="18200" y="26134"/>
                  </a:cubicBezTo>
                  <a:cubicBezTo>
                    <a:pt x="18419" y="26147"/>
                    <a:pt x="18637" y="26150"/>
                    <a:pt x="18856" y="26147"/>
                  </a:cubicBezTo>
                </a:path>
              </a:pathLst>
            </a:custGeom>
            <a:solidFill>
              <a:srgbClr val="FFFFFF"/>
            </a:solidFill>
            <a:ln w="2661" cap="flat">
              <a:noFill/>
              <a:prstDash val="solid"/>
              <a:miter/>
            </a:ln>
          </p:spPr>
          <p:txBody>
            <a:bodyPr rtlCol="0" anchor="ctr"/>
            <a:lstStyle/>
            <a:p>
              <a:endParaRPr lang="pl-PL"/>
            </a:p>
          </p:txBody>
        </p:sp>
        <p:sp>
          <p:nvSpPr>
            <p:cNvPr id="249" name="Freeform: Shape 248">
              <a:extLst>
                <a:ext uri="{FF2B5EF4-FFF2-40B4-BE49-F238E27FC236}">
                  <a16:creationId xmlns:a16="http://schemas.microsoft.com/office/drawing/2014/main" id="{8EB5B13E-B93F-4CDA-AE43-FBD8AE126B5C}"/>
                </a:ext>
              </a:extLst>
            </p:cNvPr>
            <p:cNvSpPr/>
            <p:nvPr/>
          </p:nvSpPr>
          <p:spPr>
            <a:xfrm>
              <a:off x="11719549" y="6750860"/>
              <a:ext cx="19630" cy="26558"/>
            </a:xfrm>
            <a:custGeom>
              <a:avLst/>
              <a:gdLst>
                <a:gd name="connsiteX0" fmla="*/ 994 w 34784"/>
                <a:gd name="connsiteY0" fmla="*/ 44632 h 47062"/>
                <a:gd name="connsiteX1" fmla="*/ 994 w 34784"/>
                <a:gd name="connsiteY1" fmla="*/ 2270 h 47062"/>
                <a:gd name="connsiteX2" fmla="*/ 2711 w 34784"/>
                <a:gd name="connsiteY2" fmla="*/ 270 h 47062"/>
                <a:gd name="connsiteX3" fmla="*/ 3018 w 34784"/>
                <a:gd name="connsiteY3" fmla="*/ 273 h 47062"/>
                <a:gd name="connsiteX4" fmla="*/ 5015 w 34784"/>
                <a:gd name="connsiteY4" fmla="*/ 273 h 47062"/>
                <a:gd name="connsiteX5" fmla="*/ 7278 w 34784"/>
                <a:gd name="connsiteY5" fmla="*/ 1897 h 47062"/>
                <a:gd name="connsiteX6" fmla="*/ 9594 w 34784"/>
                <a:gd name="connsiteY6" fmla="*/ 2589 h 47062"/>
                <a:gd name="connsiteX7" fmla="*/ 19206 w 34784"/>
                <a:gd name="connsiteY7" fmla="*/ -339 h 47062"/>
                <a:gd name="connsiteX8" fmla="*/ 35771 w 34784"/>
                <a:gd name="connsiteY8" fmla="*/ 16060 h 47062"/>
                <a:gd name="connsiteX9" fmla="*/ 35768 w 34784"/>
                <a:gd name="connsiteY9" fmla="*/ 16462 h 47062"/>
                <a:gd name="connsiteX10" fmla="*/ 19558 w 34784"/>
                <a:gd name="connsiteY10" fmla="*/ 33524 h 47062"/>
                <a:gd name="connsiteX11" fmla="*/ 19073 w 34784"/>
                <a:gd name="connsiteY11" fmla="*/ 33529 h 47062"/>
                <a:gd name="connsiteX12" fmla="*/ 11085 w 34784"/>
                <a:gd name="connsiteY12" fmla="*/ 31585 h 47062"/>
                <a:gd name="connsiteX13" fmla="*/ 9009 w 34784"/>
                <a:gd name="connsiteY13" fmla="*/ 32597 h 47062"/>
                <a:gd name="connsiteX14" fmla="*/ 9009 w 34784"/>
                <a:gd name="connsiteY14" fmla="*/ 44712 h 47062"/>
                <a:gd name="connsiteX15" fmla="*/ 7347 w 34784"/>
                <a:gd name="connsiteY15" fmla="*/ 46709 h 47062"/>
                <a:gd name="connsiteX16" fmla="*/ 7012 w 34784"/>
                <a:gd name="connsiteY16" fmla="*/ 46709 h 47062"/>
                <a:gd name="connsiteX17" fmla="*/ 3124 w 34784"/>
                <a:gd name="connsiteY17" fmla="*/ 46709 h 47062"/>
                <a:gd name="connsiteX18" fmla="*/ 1103 w 34784"/>
                <a:gd name="connsiteY18" fmla="*/ 45018 h 47062"/>
                <a:gd name="connsiteX19" fmla="*/ 1101 w 34784"/>
                <a:gd name="connsiteY19" fmla="*/ 44712 h 47062"/>
                <a:gd name="connsiteX20" fmla="*/ 10340 w 34784"/>
                <a:gd name="connsiteY20" fmla="*/ 22106 h 47062"/>
                <a:gd name="connsiteX21" fmla="*/ 18328 w 34784"/>
                <a:gd name="connsiteY21" fmla="*/ 26127 h 47062"/>
                <a:gd name="connsiteX22" fmla="*/ 27064 w 34784"/>
                <a:gd name="connsiteY22" fmla="*/ 16512 h 47062"/>
                <a:gd name="connsiteX23" fmla="*/ 27061 w 34784"/>
                <a:gd name="connsiteY23" fmla="*/ 16462 h 47062"/>
                <a:gd name="connsiteX24" fmla="*/ 18328 w 34784"/>
                <a:gd name="connsiteY24" fmla="*/ 7063 h 47062"/>
                <a:gd name="connsiteX25" fmla="*/ 10340 w 34784"/>
                <a:gd name="connsiteY25" fmla="*/ 11057 h 47062"/>
                <a:gd name="connsiteX26" fmla="*/ 9781 w 34784"/>
                <a:gd name="connsiteY26" fmla="*/ 13213 h 47062"/>
                <a:gd name="connsiteX27" fmla="*/ 9781 w 34784"/>
                <a:gd name="connsiteY27" fmla="*/ 19976 h 47062"/>
                <a:gd name="connsiteX28" fmla="*/ 10340 w 34784"/>
                <a:gd name="connsiteY28" fmla="*/ 22106 h 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784" h="47062">
                  <a:moveTo>
                    <a:pt x="994" y="44632"/>
                  </a:moveTo>
                  <a:lnTo>
                    <a:pt x="994" y="2270"/>
                  </a:lnTo>
                  <a:cubicBezTo>
                    <a:pt x="917" y="1245"/>
                    <a:pt x="1686" y="348"/>
                    <a:pt x="2711" y="270"/>
                  </a:cubicBezTo>
                  <a:cubicBezTo>
                    <a:pt x="2813" y="262"/>
                    <a:pt x="2917" y="265"/>
                    <a:pt x="3018" y="273"/>
                  </a:cubicBezTo>
                  <a:lnTo>
                    <a:pt x="5015" y="273"/>
                  </a:lnTo>
                  <a:cubicBezTo>
                    <a:pt x="6064" y="190"/>
                    <a:pt x="7022" y="875"/>
                    <a:pt x="7278" y="1897"/>
                  </a:cubicBezTo>
                  <a:cubicBezTo>
                    <a:pt x="7597" y="3228"/>
                    <a:pt x="8529" y="3415"/>
                    <a:pt x="9594" y="2589"/>
                  </a:cubicBezTo>
                  <a:cubicBezTo>
                    <a:pt x="12393" y="592"/>
                    <a:pt x="15769" y="-435"/>
                    <a:pt x="19206" y="-339"/>
                  </a:cubicBezTo>
                  <a:cubicBezTo>
                    <a:pt x="28310" y="-385"/>
                    <a:pt x="35725" y="6956"/>
                    <a:pt x="35771" y="16060"/>
                  </a:cubicBezTo>
                  <a:cubicBezTo>
                    <a:pt x="35771" y="16193"/>
                    <a:pt x="35771" y="16329"/>
                    <a:pt x="35768" y="16462"/>
                  </a:cubicBezTo>
                  <a:cubicBezTo>
                    <a:pt x="36002" y="25650"/>
                    <a:pt x="28747" y="33289"/>
                    <a:pt x="19558" y="33524"/>
                  </a:cubicBezTo>
                  <a:cubicBezTo>
                    <a:pt x="19395" y="33529"/>
                    <a:pt x="19236" y="33529"/>
                    <a:pt x="19073" y="33529"/>
                  </a:cubicBezTo>
                  <a:cubicBezTo>
                    <a:pt x="16288" y="33580"/>
                    <a:pt x="13538" y="32909"/>
                    <a:pt x="11085" y="31585"/>
                  </a:cubicBezTo>
                  <a:cubicBezTo>
                    <a:pt x="9834" y="30840"/>
                    <a:pt x="9009" y="31213"/>
                    <a:pt x="9009" y="32597"/>
                  </a:cubicBezTo>
                  <a:lnTo>
                    <a:pt x="9009" y="44712"/>
                  </a:lnTo>
                  <a:cubicBezTo>
                    <a:pt x="9102" y="45721"/>
                    <a:pt x="8356" y="46616"/>
                    <a:pt x="7347" y="46709"/>
                  </a:cubicBezTo>
                  <a:cubicBezTo>
                    <a:pt x="7235" y="46720"/>
                    <a:pt x="7123" y="46720"/>
                    <a:pt x="7012" y="46709"/>
                  </a:cubicBezTo>
                  <a:lnTo>
                    <a:pt x="3124" y="46709"/>
                  </a:lnTo>
                  <a:cubicBezTo>
                    <a:pt x="2099" y="46799"/>
                    <a:pt x="1194" y="46043"/>
                    <a:pt x="1103" y="45018"/>
                  </a:cubicBezTo>
                  <a:cubicBezTo>
                    <a:pt x="1093" y="44917"/>
                    <a:pt x="1093" y="44813"/>
                    <a:pt x="1101" y="44712"/>
                  </a:cubicBezTo>
                  <a:moveTo>
                    <a:pt x="10340" y="22106"/>
                  </a:moveTo>
                  <a:cubicBezTo>
                    <a:pt x="12148" y="24716"/>
                    <a:pt x="15154" y="26231"/>
                    <a:pt x="18328" y="26127"/>
                  </a:cubicBezTo>
                  <a:cubicBezTo>
                    <a:pt x="23395" y="25885"/>
                    <a:pt x="27306" y="21579"/>
                    <a:pt x="27064" y="16512"/>
                  </a:cubicBezTo>
                  <a:cubicBezTo>
                    <a:pt x="27064" y="16496"/>
                    <a:pt x="27061" y="16478"/>
                    <a:pt x="27061" y="16462"/>
                  </a:cubicBezTo>
                  <a:cubicBezTo>
                    <a:pt x="27210" y="11467"/>
                    <a:pt x="23320" y="7278"/>
                    <a:pt x="18328" y="7063"/>
                  </a:cubicBezTo>
                  <a:cubicBezTo>
                    <a:pt x="15165" y="6972"/>
                    <a:pt x="12166" y="8471"/>
                    <a:pt x="10340" y="11057"/>
                  </a:cubicBezTo>
                  <a:cubicBezTo>
                    <a:pt x="9924" y="11696"/>
                    <a:pt x="9727" y="12452"/>
                    <a:pt x="9781" y="13213"/>
                  </a:cubicBezTo>
                  <a:lnTo>
                    <a:pt x="9781" y="19976"/>
                  </a:lnTo>
                  <a:cubicBezTo>
                    <a:pt x="9746" y="20727"/>
                    <a:pt x="9941" y="21470"/>
                    <a:pt x="10340" y="22106"/>
                  </a:cubicBezTo>
                </a:path>
              </a:pathLst>
            </a:custGeom>
            <a:solidFill>
              <a:srgbClr val="8FDB42"/>
            </a:solidFill>
            <a:ln w="2661" cap="flat">
              <a:noFill/>
              <a:prstDash val="solid"/>
              <a:miter/>
            </a:ln>
          </p:spPr>
          <p:txBody>
            <a:bodyPr rtlCol="0" anchor="ctr"/>
            <a:lstStyle/>
            <a:p>
              <a:endParaRPr lang="pl-PL"/>
            </a:p>
          </p:txBody>
        </p:sp>
        <p:sp>
          <p:nvSpPr>
            <p:cNvPr id="250" name="Freeform: Shape 249">
              <a:extLst>
                <a:ext uri="{FF2B5EF4-FFF2-40B4-BE49-F238E27FC236}">
                  <a16:creationId xmlns:a16="http://schemas.microsoft.com/office/drawing/2014/main" id="{88D06C89-3215-4536-9D25-B64C0E2F649F}"/>
                </a:ext>
              </a:extLst>
            </p:cNvPr>
            <p:cNvSpPr/>
            <p:nvPr/>
          </p:nvSpPr>
          <p:spPr>
            <a:xfrm>
              <a:off x="11741806" y="6750833"/>
              <a:ext cx="20150" cy="19139"/>
            </a:xfrm>
            <a:custGeom>
              <a:avLst/>
              <a:gdLst>
                <a:gd name="connsiteX0" fmla="*/ 18882 w 35707"/>
                <a:gd name="connsiteY0" fmla="*/ -346 h 33914"/>
                <a:gd name="connsiteX1" fmla="*/ 36695 w 35707"/>
                <a:gd name="connsiteY1" fmla="*/ 16349 h 33914"/>
                <a:gd name="connsiteX2" fmla="*/ 19833 w 35707"/>
                <a:gd name="connsiteY2" fmla="*/ 33565 h 33914"/>
                <a:gd name="connsiteX3" fmla="*/ 18882 w 35707"/>
                <a:gd name="connsiteY3" fmla="*/ 33550 h 33914"/>
                <a:gd name="connsiteX4" fmla="*/ 1008 w 35707"/>
                <a:gd name="connsiteY4" fmla="*/ 17273 h 33914"/>
                <a:gd name="connsiteX5" fmla="*/ 989 w 35707"/>
                <a:gd name="connsiteY5" fmla="*/ 16349 h 33914"/>
                <a:gd name="connsiteX6" fmla="*/ 18882 w 35707"/>
                <a:gd name="connsiteY6" fmla="*/ -346 h 33914"/>
                <a:gd name="connsiteX7" fmla="*/ 18882 w 35707"/>
                <a:gd name="connsiteY7" fmla="*/ 26147 h 33914"/>
                <a:gd name="connsiteX8" fmla="*/ 28052 w 35707"/>
                <a:gd name="connsiteY8" fmla="*/ 17158 h 33914"/>
                <a:gd name="connsiteX9" fmla="*/ 28041 w 35707"/>
                <a:gd name="connsiteY9" fmla="*/ 16615 h 33914"/>
                <a:gd name="connsiteX10" fmla="*/ 19425 w 35707"/>
                <a:gd name="connsiteY10" fmla="*/ 7094 h 33914"/>
                <a:gd name="connsiteX11" fmla="*/ 18882 w 35707"/>
                <a:gd name="connsiteY11" fmla="*/ 7083 h 33914"/>
                <a:gd name="connsiteX12" fmla="*/ 9709 w 35707"/>
                <a:gd name="connsiteY12" fmla="*/ 15960 h 33914"/>
                <a:gd name="connsiteX13" fmla="*/ 9723 w 35707"/>
                <a:gd name="connsiteY13" fmla="*/ 16615 h 33914"/>
                <a:gd name="connsiteX14" fmla="*/ 18227 w 35707"/>
                <a:gd name="connsiteY14" fmla="*/ 26134 h 33914"/>
                <a:gd name="connsiteX15" fmla="*/ 18882 w 35707"/>
                <a:gd name="connsiteY15" fmla="*/ 26147 h 33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07" h="33914">
                  <a:moveTo>
                    <a:pt x="18882" y="-346"/>
                  </a:moveTo>
                  <a:cubicBezTo>
                    <a:pt x="29346" y="-346"/>
                    <a:pt x="36695" y="7003"/>
                    <a:pt x="36695" y="16349"/>
                  </a:cubicBezTo>
                  <a:cubicBezTo>
                    <a:pt x="36793" y="25759"/>
                    <a:pt x="29242" y="33467"/>
                    <a:pt x="19833" y="33565"/>
                  </a:cubicBezTo>
                  <a:cubicBezTo>
                    <a:pt x="19516" y="33568"/>
                    <a:pt x="19199" y="33563"/>
                    <a:pt x="18882" y="33550"/>
                  </a:cubicBezTo>
                  <a:cubicBezTo>
                    <a:pt x="9451" y="33991"/>
                    <a:pt x="1450" y="26704"/>
                    <a:pt x="1008" y="17273"/>
                  </a:cubicBezTo>
                  <a:cubicBezTo>
                    <a:pt x="992" y="16967"/>
                    <a:pt x="987" y="16658"/>
                    <a:pt x="989" y="16349"/>
                  </a:cubicBezTo>
                  <a:cubicBezTo>
                    <a:pt x="989" y="7003"/>
                    <a:pt x="8391" y="-346"/>
                    <a:pt x="18882" y="-346"/>
                  </a:cubicBezTo>
                  <a:moveTo>
                    <a:pt x="18882" y="26147"/>
                  </a:moveTo>
                  <a:cubicBezTo>
                    <a:pt x="23896" y="26198"/>
                    <a:pt x="28002" y="22175"/>
                    <a:pt x="28052" y="17158"/>
                  </a:cubicBezTo>
                  <a:cubicBezTo>
                    <a:pt x="28055" y="16977"/>
                    <a:pt x="28049" y="16796"/>
                    <a:pt x="28041" y="16615"/>
                  </a:cubicBezTo>
                  <a:cubicBezTo>
                    <a:pt x="28292" y="11607"/>
                    <a:pt x="24434" y="7344"/>
                    <a:pt x="19425" y="7094"/>
                  </a:cubicBezTo>
                  <a:cubicBezTo>
                    <a:pt x="19244" y="7086"/>
                    <a:pt x="19063" y="7080"/>
                    <a:pt x="18882" y="7083"/>
                  </a:cubicBezTo>
                  <a:cubicBezTo>
                    <a:pt x="13898" y="7001"/>
                    <a:pt x="9792" y="10976"/>
                    <a:pt x="9709" y="15960"/>
                  </a:cubicBezTo>
                  <a:cubicBezTo>
                    <a:pt x="9707" y="16179"/>
                    <a:pt x="9709" y="16397"/>
                    <a:pt x="9723" y="16615"/>
                  </a:cubicBezTo>
                  <a:cubicBezTo>
                    <a:pt x="9443" y="21592"/>
                    <a:pt x="13251" y="25855"/>
                    <a:pt x="18227" y="26134"/>
                  </a:cubicBezTo>
                  <a:cubicBezTo>
                    <a:pt x="18445" y="26147"/>
                    <a:pt x="18664" y="26150"/>
                    <a:pt x="18882" y="26147"/>
                  </a:cubicBezTo>
                </a:path>
              </a:pathLst>
            </a:custGeom>
            <a:solidFill>
              <a:srgbClr val="8FDB42"/>
            </a:solidFill>
            <a:ln w="2661" cap="flat">
              <a:noFill/>
              <a:prstDash val="solid"/>
              <a:miter/>
            </a:ln>
          </p:spPr>
          <p:txBody>
            <a:bodyPr rtlCol="0" anchor="ctr"/>
            <a:lstStyle/>
            <a:p>
              <a:endParaRPr lang="pl-PL"/>
            </a:p>
          </p:txBody>
        </p:sp>
        <p:sp>
          <p:nvSpPr>
            <p:cNvPr id="251" name="Freeform: Shape 250">
              <a:extLst>
                <a:ext uri="{FF2B5EF4-FFF2-40B4-BE49-F238E27FC236}">
                  <a16:creationId xmlns:a16="http://schemas.microsoft.com/office/drawing/2014/main" id="{6657FD92-8E11-4CCF-B833-0CB577250E05}"/>
                </a:ext>
              </a:extLst>
            </p:cNvPr>
            <p:cNvSpPr/>
            <p:nvPr/>
          </p:nvSpPr>
          <p:spPr>
            <a:xfrm>
              <a:off x="11764305" y="6750833"/>
              <a:ext cx="16853" cy="19128"/>
            </a:xfrm>
            <a:custGeom>
              <a:avLst/>
              <a:gdLst>
                <a:gd name="connsiteX0" fmla="*/ 16288 w 29863"/>
                <a:gd name="connsiteY0" fmla="*/ -346 h 33895"/>
                <a:gd name="connsiteX1" fmla="*/ 30266 w 29863"/>
                <a:gd name="connsiteY1" fmla="*/ 9400 h 33895"/>
                <a:gd name="connsiteX2" fmla="*/ 28376 w 29863"/>
                <a:gd name="connsiteY2" fmla="*/ 11476 h 33895"/>
                <a:gd name="connsiteX3" fmla="*/ 24275 w 29863"/>
                <a:gd name="connsiteY3" fmla="*/ 11476 h 33895"/>
                <a:gd name="connsiteX4" fmla="*/ 22065 w 29863"/>
                <a:gd name="connsiteY4" fmla="*/ 9719 h 33895"/>
                <a:gd name="connsiteX5" fmla="*/ 16048 w 29863"/>
                <a:gd name="connsiteY5" fmla="*/ 6444 h 33895"/>
                <a:gd name="connsiteX6" fmla="*/ 10723 w 29863"/>
                <a:gd name="connsiteY6" fmla="*/ 9266 h 33895"/>
                <a:gd name="connsiteX7" fmla="*/ 30852 w 29863"/>
                <a:gd name="connsiteY7" fmla="*/ 23591 h 33895"/>
                <a:gd name="connsiteX8" fmla="*/ 16687 w 29863"/>
                <a:gd name="connsiteY8" fmla="*/ 33550 h 33895"/>
                <a:gd name="connsiteX9" fmla="*/ 1058 w 29863"/>
                <a:gd name="connsiteY9" fmla="*/ 23511 h 33895"/>
                <a:gd name="connsiteX10" fmla="*/ 2868 w 29863"/>
                <a:gd name="connsiteY10" fmla="*/ 21381 h 33895"/>
                <a:gd name="connsiteX11" fmla="*/ 7128 w 29863"/>
                <a:gd name="connsiteY11" fmla="*/ 21381 h 33895"/>
                <a:gd name="connsiteX12" fmla="*/ 9338 w 29863"/>
                <a:gd name="connsiteY12" fmla="*/ 23006 h 33895"/>
                <a:gd name="connsiteX13" fmla="*/ 16873 w 29863"/>
                <a:gd name="connsiteY13" fmla="*/ 26786 h 33895"/>
                <a:gd name="connsiteX14" fmla="*/ 22385 w 29863"/>
                <a:gd name="connsiteY14" fmla="*/ 23645 h 33895"/>
                <a:gd name="connsiteX15" fmla="*/ 2256 w 29863"/>
                <a:gd name="connsiteY15" fmla="*/ 9453 h 33895"/>
                <a:gd name="connsiteX16" fmla="*/ 16128 w 29863"/>
                <a:gd name="connsiteY16" fmla="*/ -346 h 3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863" h="33895">
                  <a:moveTo>
                    <a:pt x="16288" y="-346"/>
                  </a:moveTo>
                  <a:cubicBezTo>
                    <a:pt x="24275" y="-346"/>
                    <a:pt x="28962" y="3622"/>
                    <a:pt x="30266" y="9400"/>
                  </a:cubicBezTo>
                  <a:cubicBezTo>
                    <a:pt x="30586" y="10704"/>
                    <a:pt x="29760" y="11476"/>
                    <a:pt x="28376" y="11476"/>
                  </a:cubicBezTo>
                  <a:lnTo>
                    <a:pt x="24275" y="11476"/>
                  </a:lnTo>
                  <a:cubicBezTo>
                    <a:pt x="23077" y="11476"/>
                    <a:pt x="22518" y="10837"/>
                    <a:pt x="22065" y="9719"/>
                  </a:cubicBezTo>
                  <a:cubicBezTo>
                    <a:pt x="21320" y="7642"/>
                    <a:pt x="19403" y="6444"/>
                    <a:pt x="16048" y="6444"/>
                  </a:cubicBezTo>
                  <a:cubicBezTo>
                    <a:pt x="12693" y="6444"/>
                    <a:pt x="10723" y="7562"/>
                    <a:pt x="10723" y="9266"/>
                  </a:cubicBezTo>
                  <a:cubicBezTo>
                    <a:pt x="10723" y="15364"/>
                    <a:pt x="30852" y="10971"/>
                    <a:pt x="30852" y="23591"/>
                  </a:cubicBezTo>
                  <a:cubicBezTo>
                    <a:pt x="30852" y="29982"/>
                    <a:pt x="25021" y="33550"/>
                    <a:pt x="16687" y="33550"/>
                  </a:cubicBezTo>
                  <a:cubicBezTo>
                    <a:pt x="8353" y="33550"/>
                    <a:pt x="2362" y="29928"/>
                    <a:pt x="1058" y="23511"/>
                  </a:cubicBezTo>
                  <a:cubicBezTo>
                    <a:pt x="738" y="22127"/>
                    <a:pt x="1563" y="21381"/>
                    <a:pt x="2868" y="21381"/>
                  </a:cubicBezTo>
                  <a:lnTo>
                    <a:pt x="7128" y="21381"/>
                  </a:lnTo>
                  <a:cubicBezTo>
                    <a:pt x="8153" y="21344"/>
                    <a:pt x="9067" y="22018"/>
                    <a:pt x="9338" y="23006"/>
                  </a:cubicBezTo>
                  <a:cubicBezTo>
                    <a:pt x="10853" y="25673"/>
                    <a:pt x="13827" y="27165"/>
                    <a:pt x="16873" y="26786"/>
                  </a:cubicBezTo>
                  <a:cubicBezTo>
                    <a:pt x="20255" y="26786"/>
                    <a:pt x="22385" y="25721"/>
                    <a:pt x="22385" y="23645"/>
                  </a:cubicBezTo>
                  <a:cubicBezTo>
                    <a:pt x="22385" y="17494"/>
                    <a:pt x="2256" y="22127"/>
                    <a:pt x="2256" y="9453"/>
                  </a:cubicBezTo>
                  <a:cubicBezTo>
                    <a:pt x="2256" y="3808"/>
                    <a:pt x="7075" y="-346"/>
                    <a:pt x="16128" y="-346"/>
                  </a:cubicBezTo>
                </a:path>
              </a:pathLst>
            </a:custGeom>
            <a:solidFill>
              <a:srgbClr val="8FDB42"/>
            </a:solidFill>
            <a:ln w="2661" cap="flat">
              <a:noFill/>
              <a:prstDash val="solid"/>
              <a:miter/>
            </a:ln>
          </p:spPr>
          <p:txBody>
            <a:bodyPr rtlCol="0" anchor="ctr"/>
            <a:lstStyle/>
            <a:p>
              <a:endParaRPr lang="pl-PL"/>
            </a:p>
          </p:txBody>
        </p:sp>
        <p:sp>
          <p:nvSpPr>
            <p:cNvPr id="252" name="Freeform: Shape 251">
              <a:extLst>
                <a:ext uri="{FF2B5EF4-FFF2-40B4-BE49-F238E27FC236}">
                  <a16:creationId xmlns:a16="http://schemas.microsoft.com/office/drawing/2014/main" id="{57F2DFD0-5700-46B3-A274-136FDC130C8A}"/>
                </a:ext>
              </a:extLst>
            </p:cNvPr>
            <p:cNvSpPr/>
            <p:nvPr/>
          </p:nvSpPr>
          <p:spPr>
            <a:xfrm>
              <a:off x="11784416" y="6742209"/>
              <a:ext cx="6552" cy="27380"/>
            </a:xfrm>
            <a:custGeom>
              <a:avLst/>
              <a:gdLst>
                <a:gd name="connsiteX0" fmla="*/ 1098 w 11611"/>
                <a:gd name="connsiteY0" fmla="*/ 5352 h 48518"/>
                <a:gd name="connsiteX1" fmla="*/ 6796 w 11611"/>
                <a:gd name="connsiteY1" fmla="*/ -346 h 48518"/>
                <a:gd name="connsiteX2" fmla="*/ 6876 w 11611"/>
                <a:gd name="connsiteY2" fmla="*/ -346 h 48518"/>
                <a:gd name="connsiteX3" fmla="*/ 12600 w 11611"/>
                <a:gd name="connsiteY3" fmla="*/ 5352 h 48518"/>
                <a:gd name="connsiteX4" fmla="*/ 6769 w 11611"/>
                <a:gd name="connsiteY4" fmla="*/ 11263 h 48518"/>
                <a:gd name="connsiteX5" fmla="*/ 989 w 11611"/>
                <a:gd name="connsiteY5" fmla="*/ 5488 h 48518"/>
                <a:gd name="connsiteX6" fmla="*/ 991 w 11611"/>
                <a:gd name="connsiteY6" fmla="*/ 5352 h 48518"/>
                <a:gd name="connsiteX7" fmla="*/ 10710 w 11611"/>
                <a:gd name="connsiteY7" fmla="*/ 17521 h 48518"/>
                <a:gd name="connsiteX8" fmla="*/ 10710 w 11611"/>
                <a:gd name="connsiteY8" fmla="*/ 46144 h 48518"/>
                <a:gd name="connsiteX9" fmla="*/ 9019 w 11611"/>
                <a:gd name="connsiteY9" fmla="*/ 48165 h 48518"/>
                <a:gd name="connsiteX10" fmla="*/ 8713 w 11611"/>
                <a:gd name="connsiteY10" fmla="*/ 48167 h 48518"/>
                <a:gd name="connsiteX11" fmla="*/ 4000 w 11611"/>
                <a:gd name="connsiteY11" fmla="*/ 48167 h 48518"/>
                <a:gd name="connsiteX12" fmla="*/ 2001 w 11611"/>
                <a:gd name="connsiteY12" fmla="*/ 46450 h 48518"/>
                <a:gd name="connsiteX13" fmla="*/ 2003 w 11611"/>
                <a:gd name="connsiteY13" fmla="*/ 46144 h 48518"/>
                <a:gd name="connsiteX14" fmla="*/ 2003 w 11611"/>
                <a:gd name="connsiteY14" fmla="*/ 17600 h 48518"/>
                <a:gd name="connsiteX15" fmla="*/ 3665 w 11611"/>
                <a:gd name="connsiteY15" fmla="*/ 15603 h 48518"/>
                <a:gd name="connsiteX16" fmla="*/ 4000 w 11611"/>
                <a:gd name="connsiteY16" fmla="*/ 15603 h 48518"/>
                <a:gd name="connsiteX17" fmla="*/ 8713 w 11611"/>
                <a:gd name="connsiteY17" fmla="*/ 15603 h 48518"/>
                <a:gd name="connsiteX18" fmla="*/ 10710 w 11611"/>
                <a:gd name="connsiteY18" fmla="*/ 17265 h 48518"/>
                <a:gd name="connsiteX19" fmla="*/ 10710 w 11611"/>
                <a:gd name="connsiteY19" fmla="*/ 17600 h 48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11" h="48518">
                  <a:moveTo>
                    <a:pt x="1098" y="5352"/>
                  </a:moveTo>
                  <a:cubicBezTo>
                    <a:pt x="1098" y="2205"/>
                    <a:pt x="3649" y="-346"/>
                    <a:pt x="6796" y="-346"/>
                  </a:cubicBezTo>
                  <a:cubicBezTo>
                    <a:pt x="6823" y="-346"/>
                    <a:pt x="6849" y="-346"/>
                    <a:pt x="6876" y="-346"/>
                  </a:cubicBezTo>
                  <a:cubicBezTo>
                    <a:pt x="10004" y="-290"/>
                    <a:pt x="12529" y="2224"/>
                    <a:pt x="12600" y="5352"/>
                  </a:cubicBezTo>
                  <a:cubicBezTo>
                    <a:pt x="12600" y="8585"/>
                    <a:pt x="10002" y="11221"/>
                    <a:pt x="6769" y="11263"/>
                  </a:cubicBezTo>
                  <a:cubicBezTo>
                    <a:pt x="3579" y="11263"/>
                    <a:pt x="991" y="8678"/>
                    <a:pt x="989" y="5488"/>
                  </a:cubicBezTo>
                  <a:cubicBezTo>
                    <a:pt x="989" y="5443"/>
                    <a:pt x="991" y="5398"/>
                    <a:pt x="991" y="5352"/>
                  </a:cubicBezTo>
                  <a:moveTo>
                    <a:pt x="10710" y="17521"/>
                  </a:moveTo>
                  <a:lnTo>
                    <a:pt x="10710" y="46144"/>
                  </a:lnTo>
                  <a:cubicBezTo>
                    <a:pt x="10800" y="47169"/>
                    <a:pt x="10044" y="48074"/>
                    <a:pt x="9019" y="48165"/>
                  </a:cubicBezTo>
                  <a:cubicBezTo>
                    <a:pt x="8918" y="48175"/>
                    <a:pt x="8814" y="48175"/>
                    <a:pt x="8713" y="48167"/>
                  </a:cubicBezTo>
                  <a:lnTo>
                    <a:pt x="4000" y="48167"/>
                  </a:lnTo>
                  <a:cubicBezTo>
                    <a:pt x="2975" y="48244"/>
                    <a:pt x="2078" y="47475"/>
                    <a:pt x="2001" y="46450"/>
                  </a:cubicBezTo>
                  <a:cubicBezTo>
                    <a:pt x="1993" y="46349"/>
                    <a:pt x="1995" y="46245"/>
                    <a:pt x="2003" y="46144"/>
                  </a:cubicBezTo>
                  <a:lnTo>
                    <a:pt x="2003" y="17600"/>
                  </a:lnTo>
                  <a:cubicBezTo>
                    <a:pt x="1910" y="16591"/>
                    <a:pt x="2656" y="15697"/>
                    <a:pt x="3665" y="15603"/>
                  </a:cubicBezTo>
                  <a:cubicBezTo>
                    <a:pt x="3776" y="15593"/>
                    <a:pt x="3888" y="15593"/>
                    <a:pt x="4000" y="15603"/>
                  </a:cubicBezTo>
                  <a:lnTo>
                    <a:pt x="8713" y="15603"/>
                  </a:lnTo>
                  <a:cubicBezTo>
                    <a:pt x="9722" y="15510"/>
                    <a:pt x="10617" y="16256"/>
                    <a:pt x="10710" y="17265"/>
                  </a:cubicBezTo>
                  <a:cubicBezTo>
                    <a:pt x="10721" y="17377"/>
                    <a:pt x="10721" y="17489"/>
                    <a:pt x="10710" y="17600"/>
                  </a:cubicBezTo>
                </a:path>
              </a:pathLst>
            </a:custGeom>
            <a:solidFill>
              <a:srgbClr val="8FDB42"/>
            </a:solidFill>
            <a:ln w="2661" cap="flat">
              <a:noFill/>
              <a:prstDash val="solid"/>
              <a:miter/>
            </a:ln>
          </p:spPr>
          <p:txBody>
            <a:bodyPr rtlCol="0" anchor="ctr"/>
            <a:lstStyle/>
            <a:p>
              <a:endParaRPr lang="pl-PL"/>
            </a:p>
          </p:txBody>
        </p:sp>
        <p:sp>
          <p:nvSpPr>
            <p:cNvPr id="253" name="Freeform: Shape 252">
              <a:extLst>
                <a:ext uri="{FF2B5EF4-FFF2-40B4-BE49-F238E27FC236}">
                  <a16:creationId xmlns:a16="http://schemas.microsoft.com/office/drawing/2014/main" id="{4B23D51E-11B9-4298-AE92-BDB221D51BDD}"/>
                </a:ext>
              </a:extLst>
            </p:cNvPr>
            <p:cNvSpPr/>
            <p:nvPr/>
          </p:nvSpPr>
          <p:spPr>
            <a:xfrm>
              <a:off x="11793381" y="6746197"/>
              <a:ext cx="13675" cy="23794"/>
            </a:xfrm>
            <a:custGeom>
              <a:avLst/>
              <a:gdLst>
                <a:gd name="connsiteX0" fmla="*/ 1029 w 24233"/>
                <a:gd name="connsiteY0" fmla="*/ 13782 h 42164"/>
                <a:gd name="connsiteX1" fmla="*/ 1029 w 24233"/>
                <a:gd name="connsiteY1" fmla="*/ 10533 h 42164"/>
                <a:gd name="connsiteX2" fmla="*/ 2608 w 24233"/>
                <a:gd name="connsiteY2" fmla="*/ 8518 h 42164"/>
                <a:gd name="connsiteX3" fmla="*/ 2972 w 24233"/>
                <a:gd name="connsiteY3" fmla="*/ 8510 h 42164"/>
                <a:gd name="connsiteX4" fmla="*/ 5049 w 24233"/>
                <a:gd name="connsiteY4" fmla="*/ 8510 h 42164"/>
                <a:gd name="connsiteX5" fmla="*/ 5741 w 24233"/>
                <a:gd name="connsiteY5" fmla="*/ 7817 h 42164"/>
                <a:gd name="connsiteX6" fmla="*/ 5741 w 24233"/>
                <a:gd name="connsiteY6" fmla="*/ 3105 h 42164"/>
                <a:gd name="connsiteX7" fmla="*/ 7419 w 24233"/>
                <a:gd name="connsiteY7" fmla="*/ 921 h 42164"/>
                <a:gd name="connsiteX8" fmla="*/ 11892 w 24233"/>
                <a:gd name="connsiteY8" fmla="*/ -224 h 42164"/>
                <a:gd name="connsiteX9" fmla="*/ 14043 w 24233"/>
                <a:gd name="connsiteY9" fmla="*/ 684 h 42164"/>
                <a:gd name="connsiteX10" fmla="*/ 14155 w 24233"/>
                <a:gd name="connsiteY10" fmla="*/ 1480 h 42164"/>
                <a:gd name="connsiteX11" fmla="*/ 14155 w 24233"/>
                <a:gd name="connsiteY11" fmla="*/ 7871 h 42164"/>
                <a:gd name="connsiteX12" fmla="*/ 14794 w 24233"/>
                <a:gd name="connsiteY12" fmla="*/ 8563 h 42164"/>
                <a:gd name="connsiteX13" fmla="*/ 14848 w 24233"/>
                <a:gd name="connsiteY13" fmla="*/ 8563 h 42164"/>
                <a:gd name="connsiteX14" fmla="*/ 22835 w 24233"/>
                <a:gd name="connsiteY14" fmla="*/ 8563 h 42164"/>
                <a:gd name="connsiteX15" fmla="*/ 24859 w 24233"/>
                <a:gd name="connsiteY15" fmla="*/ 10251 h 42164"/>
                <a:gd name="connsiteX16" fmla="*/ 24859 w 24233"/>
                <a:gd name="connsiteY16" fmla="*/ 10587 h 42164"/>
                <a:gd name="connsiteX17" fmla="*/ 24859 w 24233"/>
                <a:gd name="connsiteY17" fmla="*/ 13888 h 42164"/>
                <a:gd name="connsiteX18" fmla="*/ 23171 w 24233"/>
                <a:gd name="connsiteY18" fmla="*/ 15912 h 42164"/>
                <a:gd name="connsiteX19" fmla="*/ 22835 w 24233"/>
                <a:gd name="connsiteY19" fmla="*/ 15912 h 42164"/>
                <a:gd name="connsiteX20" fmla="*/ 14848 w 24233"/>
                <a:gd name="connsiteY20" fmla="*/ 15912 h 42164"/>
                <a:gd name="connsiteX21" fmla="*/ 14150 w 24233"/>
                <a:gd name="connsiteY21" fmla="*/ 16545 h 42164"/>
                <a:gd name="connsiteX22" fmla="*/ 14155 w 24233"/>
                <a:gd name="connsiteY22" fmla="*/ 16657 h 42164"/>
                <a:gd name="connsiteX23" fmla="*/ 14155 w 24233"/>
                <a:gd name="connsiteY23" fmla="*/ 30157 h 42164"/>
                <a:gd name="connsiteX24" fmla="*/ 17590 w 24233"/>
                <a:gd name="connsiteY24" fmla="*/ 34177 h 42164"/>
                <a:gd name="connsiteX25" fmla="*/ 22436 w 24233"/>
                <a:gd name="connsiteY25" fmla="*/ 33485 h 42164"/>
                <a:gd name="connsiteX26" fmla="*/ 24683 w 24233"/>
                <a:gd name="connsiteY26" fmla="*/ 34454 h 42164"/>
                <a:gd name="connsiteX27" fmla="*/ 24806 w 24233"/>
                <a:gd name="connsiteY27" fmla="*/ 35109 h 42164"/>
                <a:gd name="connsiteX28" fmla="*/ 25178 w 24233"/>
                <a:gd name="connsiteY28" fmla="*/ 38384 h 42164"/>
                <a:gd name="connsiteX29" fmla="*/ 23639 w 24233"/>
                <a:gd name="connsiteY29" fmla="*/ 40754 h 42164"/>
                <a:gd name="connsiteX30" fmla="*/ 23634 w 24233"/>
                <a:gd name="connsiteY30" fmla="*/ 40754 h 42164"/>
                <a:gd name="connsiteX31" fmla="*/ 15966 w 24233"/>
                <a:gd name="connsiteY31" fmla="*/ 41819 h 42164"/>
                <a:gd name="connsiteX32" fmla="*/ 5315 w 24233"/>
                <a:gd name="connsiteY32" fmla="*/ 30343 h 42164"/>
                <a:gd name="connsiteX33" fmla="*/ 5315 w 24233"/>
                <a:gd name="connsiteY33" fmla="*/ 16657 h 42164"/>
                <a:gd name="connsiteX34" fmla="*/ 4703 w 24233"/>
                <a:gd name="connsiteY34" fmla="*/ 15859 h 42164"/>
                <a:gd name="connsiteX35" fmla="*/ 2946 w 24233"/>
                <a:gd name="connsiteY35" fmla="*/ 15859 h 42164"/>
                <a:gd name="connsiteX36" fmla="*/ 994 w 24233"/>
                <a:gd name="connsiteY36" fmla="*/ 14200 h 42164"/>
                <a:gd name="connsiteX37" fmla="*/ 1002 w 24233"/>
                <a:gd name="connsiteY37" fmla="*/ 13835 h 42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233" h="42164">
                  <a:moveTo>
                    <a:pt x="1029" y="13782"/>
                  </a:moveTo>
                  <a:lnTo>
                    <a:pt x="1029" y="10533"/>
                  </a:lnTo>
                  <a:cubicBezTo>
                    <a:pt x="909" y="9540"/>
                    <a:pt x="1614" y="8637"/>
                    <a:pt x="2608" y="8518"/>
                  </a:cubicBezTo>
                  <a:cubicBezTo>
                    <a:pt x="2727" y="8502"/>
                    <a:pt x="2850" y="8499"/>
                    <a:pt x="2972" y="8510"/>
                  </a:cubicBezTo>
                  <a:lnTo>
                    <a:pt x="5049" y="8510"/>
                  </a:lnTo>
                  <a:cubicBezTo>
                    <a:pt x="5432" y="8510"/>
                    <a:pt x="5741" y="8201"/>
                    <a:pt x="5741" y="7817"/>
                  </a:cubicBezTo>
                  <a:lnTo>
                    <a:pt x="5741" y="3105"/>
                  </a:lnTo>
                  <a:cubicBezTo>
                    <a:pt x="5630" y="2045"/>
                    <a:pt x="6367" y="1086"/>
                    <a:pt x="7419" y="921"/>
                  </a:cubicBezTo>
                  <a:lnTo>
                    <a:pt x="11892" y="-224"/>
                  </a:lnTo>
                  <a:cubicBezTo>
                    <a:pt x="12736" y="-567"/>
                    <a:pt x="13700" y="-160"/>
                    <a:pt x="14043" y="684"/>
                  </a:cubicBezTo>
                  <a:cubicBezTo>
                    <a:pt x="14145" y="937"/>
                    <a:pt x="14184" y="1209"/>
                    <a:pt x="14155" y="1480"/>
                  </a:cubicBezTo>
                  <a:lnTo>
                    <a:pt x="14155" y="7871"/>
                  </a:lnTo>
                  <a:cubicBezTo>
                    <a:pt x="14139" y="8238"/>
                    <a:pt x="14427" y="8547"/>
                    <a:pt x="14794" y="8563"/>
                  </a:cubicBezTo>
                  <a:cubicBezTo>
                    <a:pt x="14810" y="8563"/>
                    <a:pt x="14829" y="8563"/>
                    <a:pt x="14848" y="8563"/>
                  </a:cubicBezTo>
                  <a:lnTo>
                    <a:pt x="22835" y="8563"/>
                  </a:lnTo>
                  <a:cubicBezTo>
                    <a:pt x="23861" y="8470"/>
                    <a:pt x="24766" y="9226"/>
                    <a:pt x="24859" y="10251"/>
                  </a:cubicBezTo>
                  <a:cubicBezTo>
                    <a:pt x="24870" y="10363"/>
                    <a:pt x="24870" y="10475"/>
                    <a:pt x="24859" y="10587"/>
                  </a:cubicBezTo>
                  <a:lnTo>
                    <a:pt x="24859" y="13888"/>
                  </a:lnTo>
                  <a:cubicBezTo>
                    <a:pt x="24952" y="14913"/>
                    <a:pt x="24196" y="15819"/>
                    <a:pt x="23171" y="15912"/>
                  </a:cubicBezTo>
                  <a:cubicBezTo>
                    <a:pt x="23059" y="15922"/>
                    <a:pt x="22947" y="15922"/>
                    <a:pt x="22835" y="15912"/>
                  </a:cubicBezTo>
                  <a:lnTo>
                    <a:pt x="14848" y="15912"/>
                  </a:lnTo>
                  <a:cubicBezTo>
                    <a:pt x="14480" y="15893"/>
                    <a:pt x="14169" y="16178"/>
                    <a:pt x="14150" y="16545"/>
                  </a:cubicBezTo>
                  <a:cubicBezTo>
                    <a:pt x="14150" y="16583"/>
                    <a:pt x="14150" y="16620"/>
                    <a:pt x="14155" y="16657"/>
                  </a:cubicBezTo>
                  <a:lnTo>
                    <a:pt x="14155" y="30157"/>
                  </a:lnTo>
                  <a:cubicBezTo>
                    <a:pt x="14155" y="32819"/>
                    <a:pt x="15034" y="34177"/>
                    <a:pt x="17590" y="34177"/>
                  </a:cubicBezTo>
                  <a:cubicBezTo>
                    <a:pt x="19230" y="34175"/>
                    <a:pt x="20860" y="33940"/>
                    <a:pt x="22436" y="33485"/>
                  </a:cubicBezTo>
                  <a:cubicBezTo>
                    <a:pt x="23325" y="33131"/>
                    <a:pt x="24332" y="33565"/>
                    <a:pt x="24683" y="34454"/>
                  </a:cubicBezTo>
                  <a:cubicBezTo>
                    <a:pt x="24766" y="34662"/>
                    <a:pt x="24808" y="34886"/>
                    <a:pt x="24806" y="35109"/>
                  </a:cubicBezTo>
                  <a:lnTo>
                    <a:pt x="25178" y="38384"/>
                  </a:lnTo>
                  <a:cubicBezTo>
                    <a:pt x="25407" y="39463"/>
                    <a:pt x="24718" y="40522"/>
                    <a:pt x="23639" y="40754"/>
                  </a:cubicBezTo>
                  <a:cubicBezTo>
                    <a:pt x="23639" y="40754"/>
                    <a:pt x="23637" y="40754"/>
                    <a:pt x="23634" y="40754"/>
                  </a:cubicBezTo>
                  <a:cubicBezTo>
                    <a:pt x="21139" y="41462"/>
                    <a:pt x="18559" y="41822"/>
                    <a:pt x="15966" y="41819"/>
                  </a:cubicBezTo>
                  <a:cubicBezTo>
                    <a:pt x="10241" y="41819"/>
                    <a:pt x="5315" y="38943"/>
                    <a:pt x="5315" y="30343"/>
                  </a:cubicBezTo>
                  <a:lnTo>
                    <a:pt x="5315" y="16657"/>
                  </a:lnTo>
                  <a:cubicBezTo>
                    <a:pt x="5363" y="16269"/>
                    <a:pt x="5092" y="15914"/>
                    <a:pt x="4703" y="15859"/>
                  </a:cubicBezTo>
                  <a:lnTo>
                    <a:pt x="2946" y="15859"/>
                  </a:lnTo>
                  <a:cubicBezTo>
                    <a:pt x="1950" y="15938"/>
                    <a:pt x="1076" y="15198"/>
                    <a:pt x="994" y="14200"/>
                  </a:cubicBezTo>
                  <a:cubicBezTo>
                    <a:pt x="986" y="14080"/>
                    <a:pt x="986" y="13957"/>
                    <a:pt x="1002" y="13835"/>
                  </a:cubicBezTo>
                </a:path>
              </a:pathLst>
            </a:custGeom>
            <a:solidFill>
              <a:srgbClr val="8FDB42"/>
            </a:solidFill>
            <a:ln w="2661" cap="flat">
              <a:noFill/>
              <a:prstDash val="solid"/>
              <a:miter/>
            </a:ln>
          </p:spPr>
          <p:txBody>
            <a:bodyPr rtlCol="0" anchor="ctr"/>
            <a:lstStyle/>
            <a:p>
              <a:endParaRPr lang="pl-PL"/>
            </a:p>
          </p:txBody>
        </p:sp>
        <p:sp>
          <p:nvSpPr>
            <p:cNvPr id="254" name="Freeform: Shape 253">
              <a:extLst>
                <a:ext uri="{FF2B5EF4-FFF2-40B4-BE49-F238E27FC236}">
                  <a16:creationId xmlns:a16="http://schemas.microsoft.com/office/drawing/2014/main" id="{168A6792-EEEF-4E98-ABAC-EBB45FF4AD91}"/>
                </a:ext>
              </a:extLst>
            </p:cNvPr>
            <p:cNvSpPr/>
            <p:nvPr/>
          </p:nvSpPr>
          <p:spPr>
            <a:xfrm>
              <a:off x="11809766" y="6742209"/>
              <a:ext cx="6552" cy="27380"/>
            </a:xfrm>
            <a:custGeom>
              <a:avLst/>
              <a:gdLst>
                <a:gd name="connsiteX0" fmla="*/ 991 w 11611"/>
                <a:gd name="connsiteY0" fmla="*/ 5352 h 48518"/>
                <a:gd name="connsiteX1" fmla="*/ 6689 w 11611"/>
                <a:gd name="connsiteY1" fmla="*/ -346 h 48518"/>
                <a:gd name="connsiteX2" fmla="*/ 6769 w 11611"/>
                <a:gd name="connsiteY2" fmla="*/ -346 h 48518"/>
                <a:gd name="connsiteX3" fmla="*/ 12600 w 11611"/>
                <a:gd name="connsiteY3" fmla="*/ 5352 h 48518"/>
                <a:gd name="connsiteX4" fmla="*/ 6769 w 11611"/>
                <a:gd name="connsiteY4" fmla="*/ 11263 h 48518"/>
                <a:gd name="connsiteX5" fmla="*/ 989 w 11611"/>
                <a:gd name="connsiteY5" fmla="*/ 5488 h 48518"/>
                <a:gd name="connsiteX6" fmla="*/ 991 w 11611"/>
                <a:gd name="connsiteY6" fmla="*/ 5352 h 48518"/>
                <a:gd name="connsiteX7" fmla="*/ 10710 w 11611"/>
                <a:gd name="connsiteY7" fmla="*/ 17521 h 48518"/>
                <a:gd name="connsiteX8" fmla="*/ 10710 w 11611"/>
                <a:gd name="connsiteY8" fmla="*/ 46144 h 48518"/>
                <a:gd name="connsiteX9" fmla="*/ 9019 w 11611"/>
                <a:gd name="connsiteY9" fmla="*/ 48165 h 48518"/>
                <a:gd name="connsiteX10" fmla="*/ 8713 w 11611"/>
                <a:gd name="connsiteY10" fmla="*/ 48167 h 48518"/>
                <a:gd name="connsiteX11" fmla="*/ 4000 w 11611"/>
                <a:gd name="connsiteY11" fmla="*/ 48167 h 48518"/>
                <a:gd name="connsiteX12" fmla="*/ 2001 w 11611"/>
                <a:gd name="connsiteY12" fmla="*/ 46450 h 48518"/>
                <a:gd name="connsiteX13" fmla="*/ 2003 w 11611"/>
                <a:gd name="connsiteY13" fmla="*/ 46144 h 48518"/>
                <a:gd name="connsiteX14" fmla="*/ 2003 w 11611"/>
                <a:gd name="connsiteY14" fmla="*/ 17600 h 48518"/>
                <a:gd name="connsiteX15" fmla="*/ 3665 w 11611"/>
                <a:gd name="connsiteY15" fmla="*/ 15603 h 48518"/>
                <a:gd name="connsiteX16" fmla="*/ 4000 w 11611"/>
                <a:gd name="connsiteY16" fmla="*/ 15603 h 48518"/>
                <a:gd name="connsiteX17" fmla="*/ 8713 w 11611"/>
                <a:gd name="connsiteY17" fmla="*/ 15603 h 48518"/>
                <a:gd name="connsiteX18" fmla="*/ 10710 w 11611"/>
                <a:gd name="connsiteY18" fmla="*/ 17265 h 48518"/>
                <a:gd name="connsiteX19" fmla="*/ 10710 w 11611"/>
                <a:gd name="connsiteY19" fmla="*/ 17600 h 48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11" h="48518">
                  <a:moveTo>
                    <a:pt x="991" y="5352"/>
                  </a:moveTo>
                  <a:cubicBezTo>
                    <a:pt x="991" y="2205"/>
                    <a:pt x="3542" y="-346"/>
                    <a:pt x="6689" y="-346"/>
                  </a:cubicBezTo>
                  <a:cubicBezTo>
                    <a:pt x="6716" y="-346"/>
                    <a:pt x="6743" y="-346"/>
                    <a:pt x="6769" y="-346"/>
                  </a:cubicBezTo>
                  <a:cubicBezTo>
                    <a:pt x="9938" y="-346"/>
                    <a:pt x="12529" y="2184"/>
                    <a:pt x="12600" y="5352"/>
                  </a:cubicBezTo>
                  <a:cubicBezTo>
                    <a:pt x="12600" y="8585"/>
                    <a:pt x="10002" y="11221"/>
                    <a:pt x="6769" y="11263"/>
                  </a:cubicBezTo>
                  <a:cubicBezTo>
                    <a:pt x="3579" y="11263"/>
                    <a:pt x="991" y="8678"/>
                    <a:pt x="989" y="5488"/>
                  </a:cubicBezTo>
                  <a:cubicBezTo>
                    <a:pt x="989" y="5443"/>
                    <a:pt x="991" y="5398"/>
                    <a:pt x="991" y="5352"/>
                  </a:cubicBezTo>
                  <a:moveTo>
                    <a:pt x="10710" y="17521"/>
                  </a:moveTo>
                  <a:lnTo>
                    <a:pt x="10710" y="46144"/>
                  </a:lnTo>
                  <a:cubicBezTo>
                    <a:pt x="10800" y="47169"/>
                    <a:pt x="10044" y="48074"/>
                    <a:pt x="9019" y="48165"/>
                  </a:cubicBezTo>
                  <a:cubicBezTo>
                    <a:pt x="8918" y="48175"/>
                    <a:pt x="8814" y="48175"/>
                    <a:pt x="8713" y="48167"/>
                  </a:cubicBezTo>
                  <a:lnTo>
                    <a:pt x="4000" y="48167"/>
                  </a:lnTo>
                  <a:cubicBezTo>
                    <a:pt x="2975" y="48244"/>
                    <a:pt x="2078" y="47475"/>
                    <a:pt x="2001" y="46450"/>
                  </a:cubicBezTo>
                  <a:cubicBezTo>
                    <a:pt x="1993" y="46349"/>
                    <a:pt x="1995" y="46245"/>
                    <a:pt x="2003" y="46144"/>
                  </a:cubicBezTo>
                  <a:lnTo>
                    <a:pt x="2003" y="17600"/>
                  </a:lnTo>
                  <a:cubicBezTo>
                    <a:pt x="1910" y="16591"/>
                    <a:pt x="2656" y="15697"/>
                    <a:pt x="3665" y="15603"/>
                  </a:cubicBezTo>
                  <a:cubicBezTo>
                    <a:pt x="3777" y="15593"/>
                    <a:pt x="3888" y="15593"/>
                    <a:pt x="4000" y="15603"/>
                  </a:cubicBezTo>
                  <a:lnTo>
                    <a:pt x="8713" y="15603"/>
                  </a:lnTo>
                  <a:cubicBezTo>
                    <a:pt x="9722" y="15510"/>
                    <a:pt x="10617" y="16256"/>
                    <a:pt x="10710" y="17265"/>
                  </a:cubicBezTo>
                  <a:cubicBezTo>
                    <a:pt x="10721" y="17377"/>
                    <a:pt x="10721" y="17489"/>
                    <a:pt x="10710" y="17600"/>
                  </a:cubicBezTo>
                </a:path>
              </a:pathLst>
            </a:custGeom>
            <a:solidFill>
              <a:srgbClr val="8FDB42"/>
            </a:solidFill>
            <a:ln w="2661" cap="flat">
              <a:noFill/>
              <a:prstDash val="solid"/>
              <a:miter/>
            </a:ln>
          </p:spPr>
          <p:txBody>
            <a:bodyPr rtlCol="0" anchor="ctr"/>
            <a:lstStyle/>
            <a:p>
              <a:endParaRPr lang="pl-PL"/>
            </a:p>
          </p:txBody>
        </p:sp>
        <p:sp>
          <p:nvSpPr>
            <p:cNvPr id="255" name="Freeform: Shape 254">
              <a:extLst>
                <a:ext uri="{FF2B5EF4-FFF2-40B4-BE49-F238E27FC236}">
                  <a16:creationId xmlns:a16="http://schemas.microsoft.com/office/drawing/2014/main" id="{758036A5-8937-4775-B3F1-C2B639AF46A7}"/>
                </a:ext>
              </a:extLst>
            </p:cNvPr>
            <p:cNvSpPr/>
            <p:nvPr/>
          </p:nvSpPr>
          <p:spPr>
            <a:xfrm>
              <a:off x="11818135" y="6751161"/>
              <a:ext cx="19391" cy="18427"/>
            </a:xfrm>
            <a:custGeom>
              <a:avLst/>
              <a:gdLst>
                <a:gd name="connsiteX0" fmla="*/ 3041 w 34361"/>
                <a:gd name="connsiteY0" fmla="*/ -340 h 32653"/>
                <a:gd name="connsiteX1" fmla="*/ 8766 w 34361"/>
                <a:gd name="connsiteY1" fmla="*/ -340 h 32653"/>
                <a:gd name="connsiteX2" fmla="*/ 11029 w 34361"/>
                <a:gd name="connsiteY2" fmla="*/ 1364 h 32653"/>
                <a:gd name="connsiteX3" fmla="*/ 17606 w 34361"/>
                <a:gd name="connsiteY3" fmla="*/ 22665 h 32653"/>
                <a:gd name="connsiteX4" fmla="*/ 19257 w 34361"/>
                <a:gd name="connsiteY4" fmla="*/ 22665 h 32653"/>
                <a:gd name="connsiteX5" fmla="*/ 26020 w 34361"/>
                <a:gd name="connsiteY5" fmla="*/ 1364 h 32653"/>
                <a:gd name="connsiteX6" fmla="*/ 28230 w 34361"/>
                <a:gd name="connsiteY6" fmla="*/ -340 h 32653"/>
                <a:gd name="connsiteX7" fmla="*/ 33555 w 34361"/>
                <a:gd name="connsiteY7" fmla="*/ -340 h 32653"/>
                <a:gd name="connsiteX8" fmla="*/ 35179 w 34361"/>
                <a:gd name="connsiteY8" fmla="*/ 1976 h 32653"/>
                <a:gd name="connsiteX9" fmla="*/ 23623 w 34361"/>
                <a:gd name="connsiteY9" fmla="*/ 30546 h 32653"/>
                <a:gd name="connsiteX10" fmla="*/ 20961 w 34361"/>
                <a:gd name="connsiteY10" fmla="*/ 32304 h 32653"/>
                <a:gd name="connsiteX11" fmla="*/ 15130 w 34361"/>
                <a:gd name="connsiteY11" fmla="*/ 32304 h 32653"/>
                <a:gd name="connsiteX12" fmla="*/ 12467 w 34361"/>
                <a:gd name="connsiteY12" fmla="*/ 30546 h 32653"/>
                <a:gd name="connsiteX13" fmla="*/ 1178 w 34361"/>
                <a:gd name="connsiteY13" fmla="*/ 1923 h 32653"/>
                <a:gd name="connsiteX14" fmla="*/ 2748 w 34361"/>
                <a:gd name="connsiteY14" fmla="*/ -340 h 3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361" h="32653">
                  <a:moveTo>
                    <a:pt x="3041" y="-340"/>
                  </a:moveTo>
                  <a:lnTo>
                    <a:pt x="8766" y="-340"/>
                  </a:lnTo>
                  <a:cubicBezTo>
                    <a:pt x="9839" y="-417"/>
                    <a:pt x="10806" y="310"/>
                    <a:pt x="11029" y="1364"/>
                  </a:cubicBezTo>
                  <a:lnTo>
                    <a:pt x="17606" y="22665"/>
                  </a:lnTo>
                  <a:cubicBezTo>
                    <a:pt x="18005" y="23757"/>
                    <a:pt x="18884" y="23757"/>
                    <a:pt x="19257" y="22665"/>
                  </a:cubicBezTo>
                  <a:lnTo>
                    <a:pt x="26020" y="1364"/>
                  </a:lnTo>
                  <a:cubicBezTo>
                    <a:pt x="26230" y="326"/>
                    <a:pt x="27173" y="-401"/>
                    <a:pt x="28230" y="-340"/>
                  </a:cubicBezTo>
                  <a:lnTo>
                    <a:pt x="33555" y="-340"/>
                  </a:lnTo>
                  <a:cubicBezTo>
                    <a:pt x="35046" y="-340"/>
                    <a:pt x="35685" y="592"/>
                    <a:pt x="35179" y="1976"/>
                  </a:cubicBezTo>
                  <a:lnTo>
                    <a:pt x="23623" y="30546"/>
                  </a:lnTo>
                  <a:cubicBezTo>
                    <a:pt x="23224" y="31657"/>
                    <a:pt x="22140" y="32373"/>
                    <a:pt x="20961" y="32304"/>
                  </a:cubicBezTo>
                  <a:lnTo>
                    <a:pt x="15130" y="32304"/>
                  </a:lnTo>
                  <a:cubicBezTo>
                    <a:pt x="13950" y="32373"/>
                    <a:pt x="12866" y="31657"/>
                    <a:pt x="12467" y="30546"/>
                  </a:cubicBezTo>
                  <a:lnTo>
                    <a:pt x="1178" y="1923"/>
                  </a:lnTo>
                  <a:cubicBezTo>
                    <a:pt x="672" y="592"/>
                    <a:pt x="1178" y="-340"/>
                    <a:pt x="2748" y="-340"/>
                  </a:cubicBezTo>
                </a:path>
              </a:pathLst>
            </a:custGeom>
            <a:solidFill>
              <a:srgbClr val="8FDB42"/>
            </a:solidFill>
            <a:ln w="2661" cap="flat">
              <a:noFill/>
              <a:prstDash val="solid"/>
              <a:miter/>
            </a:ln>
          </p:spPr>
          <p:txBody>
            <a:bodyPr rtlCol="0" anchor="ctr"/>
            <a:lstStyle/>
            <a:p>
              <a:endParaRPr lang="pl-PL"/>
            </a:p>
          </p:txBody>
        </p:sp>
        <p:sp>
          <p:nvSpPr>
            <p:cNvPr id="256" name="Freeform: Shape 255">
              <a:extLst>
                <a:ext uri="{FF2B5EF4-FFF2-40B4-BE49-F238E27FC236}">
                  <a16:creationId xmlns:a16="http://schemas.microsoft.com/office/drawing/2014/main" id="{F464DE81-AC7E-4A0A-BC6D-B5CE633BCBA9}"/>
                </a:ext>
              </a:extLst>
            </p:cNvPr>
            <p:cNvSpPr/>
            <p:nvPr/>
          </p:nvSpPr>
          <p:spPr>
            <a:xfrm>
              <a:off x="11839093" y="6750822"/>
              <a:ext cx="18454" cy="19157"/>
            </a:xfrm>
            <a:custGeom>
              <a:avLst/>
              <a:gdLst>
                <a:gd name="connsiteX0" fmla="*/ 17931 w 32701"/>
                <a:gd name="connsiteY0" fmla="*/ -324 h 33946"/>
                <a:gd name="connsiteX1" fmla="*/ 33689 w 32701"/>
                <a:gd name="connsiteY1" fmla="*/ 15867 h 33946"/>
                <a:gd name="connsiteX2" fmla="*/ 33614 w 32701"/>
                <a:gd name="connsiteY2" fmla="*/ 17196 h 33946"/>
                <a:gd name="connsiteX3" fmla="*/ 31809 w 32701"/>
                <a:gd name="connsiteY3" fmla="*/ 19012 h 33946"/>
                <a:gd name="connsiteX4" fmla="*/ 31670 w 32701"/>
                <a:gd name="connsiteY4" fmla="*/ 19006 h 33946"/>
                <a:gd name="connsiteX5" fmla="*/ 11568 w 32701"/>
                <a:gd name="connsiteY5" fmla="*/ 19006 h 33946"/>
                <a:gd name="connsiteX6" fmla="*/ 10130 w 32701"/>
                <a:gd name="connsiteY6" fmla="*/ 20950 h 33946"/>
                <a:gd name="connsiteX7" fmla="*/ 18118 w 32701"/>
                <a:gd name="connsiteY7" fmla="*/ 26488 h 33946"/>
                <a:gd name="connsiteX8" fmla="*/ 24455 w 32701"/>
                <a:gd name="connsiteY8" fmla="*/ 23613 h 33946"/>
                <a:gd name="connsiteX9" fmla="*/ 26771 w 32701"/>
                <a:gd name="connsiteY9" fmla="*/ 22148 h 33946"/>
                <a:gd name="connsiteX10" fmla="*/ 31058 w 32701"/>
                <a:gd name="connsiteY10" fmla="*/ 22148 h 33946"/>
                <a:gd name="connsiteX11" fmla="*/ 32789 w 32701"/>
                <a:gd name="connsiteY11" fmla="*/ 24358 h 33946"/>
                <a:gd name="connsiteX12" fmla="*/ 18118 w 32701"/>
                <a:gd name="connsiteY12" fmla="*/ 33571 h 33946"/>
                <a:gd name="connsiteX13" fmla="*/ 994 w 32701"/>
                <a:gd name="connsiteY13" fmla="*/ 17371 h 33946"/>
                <a:gd name="connsiteX14" fmla="*/ 997 w 32701"/>
                <a:gd name="connsiteY14" fmla="*/ 16370 h 33946"/>
                <a:gd name="connsiteX15" fmla="*/ 16866 w 32701"/>
                <a:gd name="connsiteY15" fmla="*/ -340 h 33946"/>
                <a:gd name="connsiteX16" fmla="*/ 18118 w 32701"/>
                <a:gd name="connsiteY16" fmla="*/ -324 h 33946"/>
                <a:gd name="connsiteX17" fmla="*/ 12020 w 32701"/>
                <a:gd name="connsiteY17" fmla="*/ 13362 h 33946"/>
                <a:gd name="connsiteX18" fmla="*/ 23257 w 32701"/>
                <a:gd name="connsiteY18" fmla="*/ 13362 h 33946"/>
                <a:gd name="connsiteX19" fmla="*/ 24774 w 32701"/>
                <a:gd name="connsiteY19" fmla="*/ 11365 h 33946"/>
                <a:gd name="connsiteX20" fmla="*/ 17984 w 32701"/>
                <a:gd name="connsiteY20" fmla="*/ 6705 h 33946"/>
                <a:gd name="connsiteX21" fmla="*/ 10582 w 32701"/>
                <a:gd name="connsiteY21" fmla="*/ 11285 h 33946"/>
                <a:gd name="connsiteX22" fmla="*/ 12020 w 32701"/>
                <a:gd name="connsiteY22" fmla="*/ 13362 h 3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701" h="33946">
                  <a:moveTo>
                    <a:pt x="17931" y="-324"/>
                  </a:moveTo>
                  <a:cubicBezTo>
                    <a:pt x="26753" y="-204"/>
                    <a:pt x="33809" y="7046"/>
                    <a:pt x="33689" y="15867"/>
                  </a:cubicBezTo>
                  <a:cubicBezTo>
                    <a:pt x="33681" y="16312"/>
                    <a:pt x="33657" y="16754"/>
                    <a:pt x="33614" y="17196"/>
                  </a:cubicBezTo>
                  <a:cubicBezTo>
                    <a:pt x="33617" y="18197"/>
                    <a:pt x="32807" y="19009"/>
                    <a:pt x="31809" y="19012"/>
                  </a:cubicBezTo>
                  <a:cubicBezTo>
                    <a:pt x="31764" y="19012"/>
                    <a:pt x="31716" y="19009"/>
                    <a:pt x="31670" y="19006"/>
                  </a:cubicBezTo>
                  <a:lnTo>
                    <a:pt x="11568" y="19006"/>
                  </a:lnTo>
                  <a:cubicBezTo>
                    <a:pt x="10369" y="19006"/>
                    <a:pt x="9624" y="19778"/>
                    <a:pt x="10130" y="20950"/>
                  </a:cubicBezTo>
                  <a:cubicBezTo>
                    <a:pt x="11272" y="24361"/>
                    <a:pt x="14523" y="26616"/>
                    <a:pt x="18118" y="26488"/>
                  </a:cubicBezTo>
                  <a:cubicBezTo>
                    <a:pt x="20589" y="26709"/>
                    <a:pt x="22996" y="25618"/>
                    <a:pt x="24455" y="23613"/>
                  </a:cubicBezTo>
                  <a:cubicBezTo>
                    <a:pt x="24897" y="22734"/>
                    <a:pt x="25789" y="22172"/>
                    <a:pt x="26771" y="22148"/>
                  </a:cubicBezTo>
                  <a:lnTo>
                    <a:pt x="31058" y="22148"/>
                  </a:lnTo>
                  <a:cubicBezTo>
                    <a:pt x="32416" y="22148"/>
                    <a:pt x="33295" y="23027"/>
                    <a:pt x="32789" y="24358"/>
                  </a:cubicBezTo>
                  <a:cubicBezTo>
                    <a:pt x="30387" y="30264"/>
                    <a:pt x="24479" y="33973"/>
                    <a:pt x="18118" y="33571"/>
                  </a:cubicBezTo>
                  <a:cubicBezTo>
                    <a:pt x="8916" y="33826"/>
                    <a:pt x="1250" y="26573"/>
                    <a:pt x="994" y="17371"/>
                  </a:cubicBezTo>
                  <a:cubicBezTo>
                    <a:pt x="986" y="17036"/>
                    <a:pt x="986" y="16703"/>
                    <a:pt x="997" y="16370"/>
                  </a:cubicBezTo>
                  <a:cubicBezTo>
                    <a:pt x="765" y="7373"/>
                    <a:pt x="7869" y="-109"/>
                    <a:pt x="16866" y="-340"/>
                  </a:cubicBezTo>
                  <a:cubicBezTo>
                    <a:pt x="17284" y="-351"/>
                    <a:pt x="17700" y="-346"/>
                    <a:pt x="18118" y="-324"/>
                  </a:cubicBezTo>
                  <a:moveTo>
                    <a:pt x="12020" y="13362"/>
                  </a:moveTo>
                  <a:lnTo>
                    <a:pt x="23257" y="13362"/>
                  </a:lnTo>
                  <a:cubicBezTo>
                    <a:pt x="24508" y="13362"/>
                    <a:pt x="25280" y="12616"/>
                    <a:pt x="24774" y="11365"/>
                  </a:cubicBezTo>
                  <a:cubicBezTo>
                    <a:pt x="23707" y="8545"/>
                    <a:pt x="20999" y="6686"/>
                    <a:pt x="17984" y="6705"/>
                  </a:cubicBezTo>
                  <a:cubicBezTo>
                    <a:pt x="14859" y="6737"/>
                    <a:pt x="12007" y="8502"/>
                    <a:pt x="10582" y="11285"/>
                  </a:cubicBezTo>
                  <a:cubicBezTo>
                    <a:pt x="10023" y="12483"/>
                    <a:pt x="10716" y="13362"/>
                    <a:pt x="12020" y="13362"/>
                  </a:cubicBezTo>
                </a:path>
              </a:pathLst>
            </a:custGeom>
            <a:solidFill>
              <a:srgbClr val="8FDB42"/>
            </a:solidFill>
            <a:ln w="2661" cap="flat">
              <a:noFill/>
              <a:prstDash val="solid"/>
              <a:miter/>
            </a:ln>
          </p:spPr>
          <p:txBody>
            <a:bodyPr rtlCol="0" anchor="ctr"/>
            <a:lstStyle/>
            <a:p>
              <a:endParaRPr lang="pl-PL"/>
            </a:p>
          </p:txBody>
        </p:sp>
        <p:sp>
          <p:nvSpPr>
            <p:cNvPr id="257" name="Freeform: Shape 256">
              <a:extLst>
                <a:ext uri="{FF2B5EF4-FFF2-40B4-BE49-F238E27FC236}">
                  <a16:creationId xmlns:a16="http://schemas.microsoft.com/office/drawing/2014/main" id="{96A411E5-C801-4AB5-A640-45055F227504}"/>
                </a:ext>
              </a:extLst>
            </p:cNvPr>
            <p:cNvSpPr/>
            <p:nvPr/>
          </p:nvSpPr>
          <p:spPr>
            <a:xfrm>
              <a:off x="11575064" y="6784526"/>
              <a:ext cx="208318" cy="27505"/>
            </a:xfrm>
            <a:custGeom>
              <a:avLst/>
              <a:gdLst>
                <a:gd name="connsiteX0" fmla="*/ 2220 w 369143"/>
                <a:gd name="connsiteY0" fmla="*/ 48333 h 48740"/>
                <a:gd name="connsiteX1" fmla="*/ 4004 w 369143"/>
                <a:gd name="connsiteY1" fmla="*/ 48333 h 48740"/>
                <a:gd name="connsiteX2" fmla="*/ 5226 w 369143"/>
                <a:gd name="connsiteY2" fmla="*/ 47390 h 48740"/>
                <a:gd name="connsiteX3" fmla="*/ 5229 w 369143"/>
                <a:gd name="connsiteY3" fmla="*/ 47135 h 48740"/>
                <a:gd name="connsiteX4" fmla="*/ 5229 w 369143"/>
                <a:gd name="connsiteY4" fmla="*/ 37043 h 48740"/>
                <a:gd name="connsiteX5" fmla="*/ 7172 w 369143"/>
                <a:gd name="connsiteY5" fmla="*/ 36165 h 48740"/>
                <a:gd name="connsiteX6" fmla="*/ 14202 w 369143"/>
                <a:gd name="connsiteY6" fmla="*/ 38109 h 48740"/>
                <a:gd name="connsiteX7" fmla="*/ 26961 w 369143"/>
                <a:gd name="connsiteY7" fmla="*/ 25096 h 48740"/>
                <a:gd name="connsiteX8" fmla="*/ 26955 w 369143"/>
                <a:gd name="connsiteY8" fmla="*/ 24795 h 48740"/>
                <a:gd name="connsiteX9" fmla="*/ 14444 w 369143"/>
                <a:gd name="connsiteY9" fmla="*/ 11751 h 48740"/>
                <a:gd name="connsiteX10" fmla="*/ 14281 w 369143"/>
                <a:gd name="connsiteY10" fmla="*/ 11749 h 48740"/>
                <a:gd name="connsiteX11" fmla="*/ 6533 w 369143"/>
                <a:gd name="connsiteY11" fmla="*/ 14198 h 48740"/>
                <a:gd name="connsiteX12" fmla="*/ 4403 w 369143"/>
                <a:gd name="connsiteY12" fmla="*/ 13453 h 48740"/>
                <a:gd name="connsiteX13" fmla="*/ 4403 w 369143"/>
                <a:gd name="connsiteY13" fmla="*/ 13453 h 48740"/>
                <a:gd name="connsiteX14" fmla="*/ 3098 w 369143"/>
                <a:gd name="connsiteY14" fmla="*/ 12334 h 48740"/>
                <a:gd name="connsiteX15" fmla="*/ 2220 w 369143"/>
                <a:gd name="connsiteY15" fmla="*/ 12334 h 48740"/>
                <a:gd name="connsiteX16" fmla="*/ 998 w 369143"/>
                <a:gd name="connsiteY16" fmla="*/ 13277 h 48740"/>
                <a:gd name="connsiteX17" fmla="*/ 995 w 369143"/>
                <a:gd name="connsiteY17" fmla="*/ 13533 h 48740"/>
                <a:gd name="connsiteX18" fmla="*/ 995 w 369143"/>
                <a:gd name="connsiteY18" fmla="*/ 47135 h 48740"/>
                <a:gd name="connsiteX19" fmla="*/ 1964 w 369143"/>
                <a:gd name="connsiteY19" fmla="*/ 48336 h 48740"/>
                <a:gd name="connsiteX20" fmla="*/ 2220 w 369143"/>
                <a:gd name="connsiteY20" fmla="*/ 48333 h 48740"/>
                <a:gd name="connsiteX21" fmla="*/ 5575 w 369143"/>
                <a:gd name="connsiteY21" fmla="*/ 27991 h 48740"/>
                <a:gd name="connsiteX22" fmla="*/ 5575 w 369143"/>
                <a:gd name="connsiteY22" fmla="*/ 21920 h 48740"/>
                <a:gd name="connsiteX23" fmla="*/ 6107 w 369143"/>
                <a:gd name="connsiteY23" fmla="*/ 19816 h 48740"/>
                <a:gd name="connsiteX24" fmla="*/ 13749 w 369143"/>
                <a:gd name="connsiteY24" fmla="*/ 15769 h 48740"/>
                <a:gd name="connsiteX25" fmla="*/ 22269 w 369143"/>
                <a:gd name="connsiteY25" fmla="*/ 24875 h 48740"/>
                <a:gd name="connsiteX26" fmla="*/ 13749 w 369143"/>
                <a:gd name="connsiteY26" fmla="*/ 34195 h 48740"/>
                <a:gd name="connsiteX27" fmla="*/ 6107 w 369143"/>
                <a:gd name="connsiteY27" fmla="*/ 30094 h 48740"/>
                <a:gd name="connsiteX28" fmla="*/ 5575 w 369143"/>
                <a:gd name="connsiteY28" fmla="*/ 27991 h 48740"/>
                <a:gd name="connsiteX29" fmla="*/ 36967 w 369143"/>
                <a:gd name="connsiteY29" fmla="*/ -340 h 48740"/>
                <a:gd name="connsiteX30" fmla="*/ 34837 w 369143"/>
                <a:gd name="connsiteY30" fmla="*/ -340 h 48740"/>
                <a:gd name="connsiteX31" fmla="*/ 33612 w 369143"/>
                <a:gd name="connsiteY31" fmla="*/ 662 h 48740"/>
                <a:gd name="connsiteX32" fmla="*/ 33612 w 369143"/>
                <a:gd name="connsiteY32" fmla="*/ 885 h 48740"/>
                <a:gd name="connsiteX33" fmla="*/ 33612 w 369143"/>
                <a:gd name="connsiteY33" fmla="*/ 36431 h 48740"/>
                <a:gd name="connsiteX34" fmla="*/ 34581 w 369143"/>
                <a:gd name="connsiteY34" fmla="*/ 37632 h 48740"/>
                <a:gd name="connsiteX35" fmla="*/ 34837 w 369143"/>
                <a:gd name="connsiteY35" fmla="*/ 37629 h 48740"/>
                <a:gd name="connsiteX36" fmla="*/ 36967 w 369143"/>
                <a:gd name="connsiteY36" fmla="*/ 37629 h 48740"/>
                <a:gd name="connsiteX37" fmla="*/ 38189 w 369143"/>
                <a:gd name="connsiteY37" fmla="*/ 36687 h 48740"/>
                <a:gd name="connsiteX38" fmla="*/ 38192 w 369143"/>
                <a:gd name="connsiteY38" fmla="*/ 36431 h 48740"/>
                <a:gd name="connsiteX39" fmla="*/ 38192 w 369143"/>
                <a:gd name="connsiteY39" fmla="*/ 885 h 48740"/>
                <a:gd name="connsiteX40" fmla="*/ 37191 w 369143"/>
                <a:gd name="connsiteY40" fmla="*/ -340 h 48740"/>
                <a:gd name="connsiteX41" fmla="*/ 36967 w 369143"/>
                <a:gd name="connsiteY41" fmla="*/ -340 h 48740"/>
                <a:gd name="connsiteX42" fmla="*/ 44768 w 369143"/>
                <a:gd name="connsiteY42" fmla="*/ 30680 h 48740"/>
                <a:gd name="connsiteX43" fmla="*/ 52485 w 369143"/>
                <a:gd name="connsiteY43" fmla="*/ 38141 h 48740"/>
                <a:gd name="connsiteX44" fmla="*/ 53049 w 369143"/>
                <a:gd name="connsiteY44" fmla="*/ 38109 h 48740"/>
                <a:gd name="connsiteX45" fmla="*/ 61756 w 369143"/>
                <a:gd name="connsiteY45" fmla="*/ 35446 h 48740"/>
                <a:gd name="connsiteX46" fmla="*/ 63992 w 369143"/>
                <a:gd name="connsiteY46" fmla="*/ 36218 h 48740"/>
                <a:gd name="connsiteX47" fmla="*/ 64152 w 369143"/>
                <a:gd name="connsiteY47" fmla="*/ 36724 h 48740"/>
                <a:gd name="connsiteX48" fmla="*/ 65510 w 369143"/>
                <a:gd name="connsiteY48" fmla="*/ 37736 h 48740"/>
                <a:gd name="connsiteX49" fmla="*/ 66096 w 369143"/>
                <a:gd name="connsiteY49" fmla="*/ 37736 h 48740"/>
                <a:gd name="connsiteX50" fmla="*/ 67294 w 369143"/>
                <a:gd name="connsiteY50" fmla="*/ 36761 h 48740"/>
                <a:gd name="connsiteX51" fmla="*/ 67294 w 369143"/>
                <a:gd name="connsiteY51" fmla="*/ 36538 h 48740"/>
                <a:gd name="connsiteX52" fmla="*/ 67294 w 369143"/>
                <a:gd name="connsiteY52" fmla="*/ 22905 h 48740"/>
                <a:gd name="connsiteX53" fmla="*/ 56644 w 369143"/>
                <a:gd name="connsiteY53" fmla="*/ 11935 h 48740"/>
                <a:gd name="connsiteX54" fmla="*/ 45993 w 369143"/>
                <a:gd name="connsiteY54" fmla="*/ 19497 h 48740"/>
                <a:gd name="connsiteX55" fmla="*/ 46712 w 369143"/>
                <a:gd name="connsiteY55" fmla="*/ 20778 h 48740"/>
                <a:gd name="connsiteX56" fmla="*/ 47165 w 369143"/>
                <a:gd name="connsiteY56" fmla="*/ 20802 h 48740"/>
                <a:gd name="connsiteX57" fmla="*/ 49055 w 369143"/>
                <a:gd name="connsiteY57" fmla="*/ 20802 h 48740"/>
                <a:gd name="connsiteX58" fmla="*/ 50386 w 369143"/>
                <a:gd name="connsiteY58" fmla="*/ 19736 h 48740"/>
                <a:gd name="connsiteX59" fmla="*/ 56510 w 369143"/>
                <a:gd name="connsiteY59" fmla="*/ 15929 h 48740"/>
                <a:gd name="connsiteX60" fmla="*/ 62938 w 369143"/>
                <a:gd name="connsiteY60" fmla="*/ 20791 h 48740"/>
                <a:gd name="connsiteX61" fmla="*/ 62981 w 369143"/>
                <a:gd name="connsiteY61" fmla="*/ 21920 h 48740"/>
                <a:gd name="connsiteX62" fmla="*/ 61277 w 369143"/>
                <a:gd name="connsiteY62" fmla="*/ 23491 h 48740"/>
                <a:gd name="connsiteX63" fmla="*/ 55632 w 369143"/>
                <a:gd name="connsiteY63" fmla="*/ 23491 h 48740"/>
                <a:gd name="connsiteX64" fmla="*/ 44981 w 369143"/>
                <a:gd name="connsiteY64" fmla="*/ 30840 h 48740"/>
                <a:gd name="connsiteX65" fmla="*/ 49561 w 369143"/>
                <a:gd name="connsiteY65" fmla="*/ 30840 h 48740"/>
                <a:gd name="connsiteX66" fmla="*/ 55792 w 369143"/>
                <a:gd name="connsiteY66" fmla="*/ 27325 h 48740"/>
                <a:gd name="connsiteX67" fmla="*/ 61330 w 369143"/>
                <a:gd name="connsiteY67" fmla="*/ 27325 h 48740"/>
                <a:gd name="connsiteX68" fmla="*/ 63034 w 369143"/>
                <a:gd name="connsiteY68" fmla="*/ 28691 h 48740"/>
                <a:gd name="connsiteX69" fmla="*/ 63034 w 369143"/>
                <a:gd name="connsiteY69" fmla="*/ 29029 h 48740"/>
                <a:gd name="connsiteX70" fmla="*/ 63034 w 369143"/>
                <a:gd name="connsiteY70" fmla="*/ 29535 h 48740"/>
                <a:gd name="connsiteX71" fmla="*/ 62022 w 369143"/>
                <a:gd name="connsiteY71" fmla="*/ 31585 h 48740"/>
                <a:gd name="connsiteX72" fmla="*/ 54274 w 369143"/>
                <a:gd name="connsiteY72" fmla="*/ 34248 h 48740"/>
                <a:gd name="connsiteX73" fmla="*/ 49561 w 369143"/>
                <a:gd name="connsiteY73" fmla="*/ 30733 h 48740"/>
                <a:gd name="connsiteX74" fmla="*/ 76826 w 369143"/>
                <a:gd name="connsiteY74" fmla="*/ 37789 h 48740"/>
                <a:gd name="connsiteX75" fmla="*/ 78956 w 369143"/>
                <a:gd name="connsiteY75" fmla="*/ 37789 h 48740"/>
                <a:gd name="connsiteX76" fmla="*/ 80179 w 369143"/>
                <a:gd name="connsiteY76" fmla="*/ 36846 h 48740"/>
                <a:gd name="connsiteX77" fmla="*/ 80181 w 369143"/>
                <a:gd name="connsiteY77" fmla="*/ 36591 h 48740"/>
                <a:gd name="connsiteX78" fmla="*/ 80181 w 369143"/>
                <a:gd name="connsiteY78" fmla="*/ 20988 h 48740"/>
                <a:gd name="connsiteX79" fmla="*/ 81299 w 369143"/>
                <a:gd name="connsiteY79" fmla="*/ 18964 h 48740"/>
                <a:gd name="connsiteX80" fmla="*/ 89580 w 369143"/>
                <a:gd name="connsiteY80" fmla="*/ 16035 h 48740"/>
                <a:gd name="connsiteX81" fmla="*/ 95140 w 369143"/>
                <a:gd name="connsiteY81" fmla="*/ 20658 h 48740"/>
                <a:gd name="connsiteX82" fmla="*/ 95118 w 369143"/>
                <a:gd name="connsiteY82" fmla="*/ 21787 h 48740"/>
                <a:gd name="connsiteX83" fmla="*/ 95118 w 369143"/>
                <a:gd name="connsiteY83" fmla="*/ 36591 h 48740"/>
                <a:gd name="connsiteX84" fmla="*/ 96088 w 369143"/>
                <a:gd name="connsiteY84" fmla="*/ 37792 h 48740"/>
                <a:gd name="connsiteX85" fmla="*/ 96343 w 369143"/>
                <a:gd name="connsiteY85" fmla="*/ 37789 h 48740"/>
                <a:gd name="connsiteX86" fmla="*/ 98473 w 369143"/>
                <a:gd name="connsiteY86" fmla="*/ 37789 h 48740"/>
                <a:gd name="connsiteX87" fmla="*/ 99696 w 369143"/>
                <a:gd name="connsiteY87" fmla="*/ 36846 h 48740"/>
                <a:gd name="connsiteX88" fmla="*/ 99698 w 369143"/>
                <a:gd name="connsiteY88" fmla="*/ 36591 h 48740"/>
                <a:gd name="connsiteX89" fmla="*/ 99698 w 369143"/>
                <a:gd name="connsiteY89" fmla="*/ 21574 h 48740"/>
                <a:gd name="connsiteX90" fmla="*/ 90885 w 369143"/>
                <a:gd name="connsiteY90" fmla="*/ 11988 h 48740"/>
                <a:gd name="connsiteX91" fmla="*/ 81326 w 369143"/>
                <a:gd name="connsiteY91" fmla="*/ 14811 h 48740"/>
                <a:gd name="connsiteX92" fmla="*/ 79143 w 369143"/>
                <a:gd name="connsiteY92" fmla="*/ 13932 h 48740"/>
                <a:gd name="connsiteX93" fmla="*/ 79143 w 369143"/>
                <a:gd name="connsiteY93" fmla="*/ 13559 h 48740"/>
                <a:gd name="connsiteX94" fmla="*/ 77758 w 369143"/>
                <a:gd name="connsiteY94" fmla="*/ 12494 h 48740"/>
                <a:gd name="connsiteX95" fmla="*/ 76906 w 369143"/>
                <a:gd name="connsiteY95" fmla="*/ 12494 h 48740"/>
                <a:gd name="connsiteX96" fmla="*/ 75684 w 369143"/>
                <a:gd name="connsiteY96" fmla="*/ 13437 h 48740"/>
                <a:gd name="connsiteX97" fmla="*/ 75681 w 369143"/>
                <a:gd name="connsiteY97" fmla="*/ 13692 h 48740"/>
                <a:gd name="connsiteX98" fmla="*/ 75681 w 369143"/>
                <a:gd name="connsiteY98" fmla="*/ 36591 h 48740"/>
                <a:gd name="connsiteX99" fmla="*/ 76651 w 369143"/>
                <a:gd name="connsiteY99" fmla="*/ 37792 h 48740"/>
                <a:gd name="connsiteX100" fmla="*/ 76906 w 369143"/>
                <a:gd name="connsiteY100" fmla="*/ 37789 h 48740"/>
                <a:gd name="connsiteX101" fmla="*/ 106195 w 369143"/>
                <a:gd name="connsiteY101" fmla="*/ 24982 h 48740"/>
                <a:gd name="connsiteX102" fmla="*/ 118323 w 369143"/>
                <a:gd name="connsiteY102" fmla="*/ 38282 h 48740"/>
                <a:gd name="connsiteX103" fmla="*/ 119055 w 369143"/>
                <a:gd name="connsiteY103" fmla="*/ 38295 h 48740"/>
                <a:gd name="connsiteX104" fmla="*/ 129945 w 369143"/>
                <a:gd name="connsiteY104" fmla="*/ 31212 h 48740"/>
                <a:gd name="connsiteX105" fmla="*/ 128880 w 369143"/>
                <a:gd name="connsiteY105" fmla="*/ 29828 h 48740"/>
                <a:gd name="connsiteX106" fmla="*/ 127043 w 369143"/>
                <a:gd name="connsiteY106" fmla="*/ 29828 h 48740"/>
                <a:gd name="connsiteX107" fmla="*/ 125632 w 369143"/>
                <a:gd name="connsiteY107" fmla="*/ 30813 h 48740"/>
                <a:gd name="connsiteX108" fmla="*/ 119055 w 369143"/>
                <a:gd name="connsiteY108" fmla="*/ 34381 h 48740"/>
                <a:gd name="connsiteX109" fmla="*/ 111068 w 369143"/>
                <a:gd name="connsiteY109" fmla="*/ 28177 h 48740"/>
                <a:gd name="connsiteX110" fmla="*/ 112638 w 369143"/>
                <a:gd name="connsiteY110" fmla="*/ 26340 h 48740"/>
                <a:gd name="connsiteX111" fmla="*/ 129173 w 369143"/>
                <a:gd name="connsiteY111" fmla="*/ 26340 h 48740"/>
                <a:gd name="connsiteX112" fmla="*/ 130821 w 369143"/>
                <a:gd name="connsiteY112" fmla="*/ 24905 h 48740"/>
                <a:gd name="connsiteX113" fmla="*/ 130824 w 369143"/>
                <a:gd name="connsiteY113" fmla="*/ 24769 h 48740"/>
                <a:gd name="connsiteX114" fmla="*/ 119372 w 369143"/>
                <a:gd name="connsiteY114" fmla="*/ 11975 h 48740"/>
                <a:gd name="connsiteX115" fmla="*/ 119055 w 369143"/>
                <a:gd name="connsiteY115" fmla="*/ 11962 h 48740"/>
                <a:gd name="connsiteX116" fmla="*/ 106245 w 369143"/>
                <a:gd name="connsiteY116" fmla="*/ 24444 h 48740"/>
                <a:gd name="connsiteX117" fmla="*/ 106248 w 369143"/>
                <a:gd name="connsiteY117" fmla="*/ 24955 h 48740"/>
                <a:gd name="connsiteX118" fmla="*/ 111707 w 369143"/>
                <a:gd name="connsiteY118" fmla="*/ 20535 h 48740"/>
                <a:gd name="connsiteX119" fmla="*/ 119002 w 369143"/>
                <a:gd name="connsiteY119" fmla="*/ 15849 h 48740"/>
                <a:gd name="connsiteX120" fmla="*/ 125792 w 369143"/>
                <a:gd name="connsiteY120" fmla="*/ 20589 h 48740"/>
                <a:gd name="connsiteX121" fmla="*/ 124327 w 369143"/>
                <a:gd name="connsiteY121" fmla="*/ 22532 h 48740"/>
                <a:gd name="connsiteX122" fmla="*/ 113065 w 369143"/>
                <a:gd name="connsiteY122" fmla="*/ 22532 h 48740"/>
                <a:gd name="connsiteX123" fmla="*/ 111707 w 369143"/>
                <a:gd name="connsiteY123" fmla="*/ 20589 h 48740"/>
                <a:gd name="connsiteX124" fmla="*/ 135670 w 369143"/>
                <a:gd name="connsiteY124" fmla="*/ 16408 h 48740"/>
                <a:gd name="connsiteX125" fmla="*/ 137720 w 369143"/>
                <a:gd name="connsiteY125" fmla="*/ 16408 h 48740"/>
                <a:gd name="connsiteX126" fmla="*/ 138200 w 369143"/>
                <a:gd name="connsiteY126" fmla="*/ 16832 h 48740"/>
                <a:gd name="connsiteX127" fmla="*/ 138200 w 369143"/>
                <a:gd name="connsiteY127" fmla="*/ 16888 h 48740"/>
                <a:gd name="connsiteX128" fmla="*/ 138200 w 369143"/>
                <a:gd name="connsiteY128" fmla="*/ 30414 h 48740"/>
                <a:gd name="connsiteX129" fmla="*/ 145495 w 369143"/>
                <a:gd name="connsiteY129" fmla="*/ 38401 h 48740"/>
                <a:gd name="connsiteX130" fmla="*/ 151592 w 369143"/>
                <a:gd name="connsiteY130" fmla="*/ 37443 h 48740"/>
                <a:gd name="connsiteX131" fmla="*/ 151939 w 369143"/>
                <a:gd name="connsiteY131" fmla="*/ 35819 h 48740"/>
                <a:gd name="connsiteX132" fmla="*/ 151779 w 369143"/>
                <a:gd name="connsiteY132" fmla="*/ 34354 h 48740"/>
                <a:gd name="connsiteX133" fmla="*/ 150314 w 369143"/>
                <a:gd name="connsiteY133" fmla="*/ 33476 h 48740"/>
                <a:gd name="connsiteX134" fmla="*/ 145735 w 369143"/>
                <a:gd name="connsiteY134" fmla="*/ 34221 h 48740"/>
                <a:gd name="connsiteX135" fmla="*/ 142247 w 369143"/>
                <a:gd name="connsiteY135" fmla="*/ 30281 h 48740"/>
                <a:gd name="connsiteX136" fmla="*/ 142247 w 369143"/>
                <a:gd name="connsiteY136" fmla="*/ 16834 h 48740"/>
                <a:gd name="connsiteX137" fmla="*/ 142670 w 369143"/>
                <a:gd name="connsiteY137" fmla="*/ 16355 h 48740"/>
                <a:gd name="connsiteX138" fmla="*/ 142726 w 369143"/>
                <a:gd name="connsiteY138" fmla="*/ 16355 h 48740"/>
                <a:gd name="connsiteX139" fmla="*/ 150714 w 369143"/>
                <a:gd name="connsiteY139" fmla="*/ 16355 h 48740"/>
                <a:gd name="connsiteX140" fmla="*/ 151939 w 369143"/>
                <a:gd name="connsiteY140" fmla="*/ 15354 h 48740"/>
                <a:gd name="connsiteX141" fmla="*/ 151939 w 369143"/>
                <a:gd name="connsiteY141" fmla="*/ 15130 h 48740"/>
                <a:gd name="connsiteX142" fmla="*/ 151939 w 369143"/>
                <a:gd name="connsiteY142" fmla="*/ 13666 h 48740"/>
                <a:gd name="connsiteX143" fmla="*/ 150969 w 369143"/>
                <a:gd name="connsiteY143" fmla="*/ 12465 h 48740"/>
                <a:gd name="connsiteX144" fmla="*/ 150714 w 369143"/>
                <a:gd name="connsiteY144" fmla="*/ 12468 h 48740"/>
                <a:gd name="connsiteX145" fmla="*/ 142726 w 369143"/>
                <a:gd name="connsiteY145" fmla="*/ 12468 h 48740"/>
                <a:gd name="connsiteX146" fmla="*/ 142247 w 369143"/>
                <a:gd name="connsiteY146" fmla="*/ 11988 h 48740"/>
                <a:gd name="connsiteX147" fmla="*/ 142247 w 369143"/>
                <a:gd name="connsiteY147" fmla="*/ 11962 h 48740"/>
                <a:gd name="connsiteX148" fmla="*/ 142247 w 369143"/>
                <a:gd name="connsiteY148" fmla="*/ 6636 h 48740"/>
                <a:gd name="connsiteX149" fmla="*/ 140889 w 369143"/>
                <a:gd name="connsiteY149" fmla="*/ 5571 h 48740"/>
                <a:gd name="connsiteX150" fmla="*/ 138839 w 369143"/>
                <a:gd name="connsiteY150" fmla="*/ 6104 h 48740"/>
                <a:gd name="connsiteX151" fmla="*/ 137827 w 369143"/>
                <a:gd name="connsiteY151" fmla="*/ 7462 h 48740"/>
                <a:gd name="connsiteX152" fmla="*/ 137827 w 369143"/>
                <a:gd name="connsiteY152" fmla="*/ 11855 h 48740"/>
                <a:gd name="connsiteX153" fmla="*/ 137377 w 369143"/>
                <a:gd name="connsiteY153" fmla="*/ 12361 h 48740"/>
                <a:gd name="connsiteX154" fmla="*/ 137321 w 369143"/>
                <a:gd name="connsiteY154" fmla="*/ 12361 h 48740"/>
                <a:gd name="connsiteX155" fmla="*/ 135138 w 369143"/>
                <a:gd name="connsiteY155" fmla="*/ 12361 h 48740"/>
                <a:gd name="connsiteX156" fmla="*/ 133915 w 369143"/>
                <a:gd name="connsiteY156" fmla="*/ 13304 h 48740"/>
                <a:gd name="connsiteX157" fmla="*/ 133913 w 369143"/>
                <a:gd name="connsiteY157" fmla="*/ 13559 h 48740"/>
                <a:gd name="connsiteX158" fmla="*/ 133913 w 369143"/>
                <a:gd name="connsiteY158" fmla="*/ 15024 h 48740"/>
                <a:gd name="connsiteX159" fmla="*/ 134914 w 369143"/>
                <a:gd name="connsiteY159" fmla="*/ 16248 h 48740"/>
                <a:gd name="connsiteX160" fmla="*/ 135138 w 369143"/>
                <a:gd name="connsiteY160" fmla="*/ 16248 h 48740"/>
                <a:gd name="connsiteX161" fmla="*/ 168820 w 369143"/>
                <a:gd name="connsiteY161" fmla="*/ 24023 h 48740"/>
                <a:gd name="connsiteX162" fmla="*/ 169821 w 369143"/>
                <a:gd name="connsiteY162" fmla="*/ 25248 h 48740"/>
                <a:gd name="connsiteX163" fmla="*/ 170044 w 369143"/>
                <a:gd name="connsiteY163" fmla="*/ 25248 h 48740"/>
                <a:gd name="connsiteX164" fmla="*/ 175609 w 369143"/>
                <a:gd name="connsiteY164" fmla="*/ 25248 h 48740"/>
                <a:gd name="connsiteX165" fmla="*/ 176674 w 369143"/>
                <a:gd name="connsiteY165" fmla="*/ 26087 h 48740"/>
                <a:gd name="connsiteX166" fmla="*/ 176674 w 369143"/>
                <a:gd name="connsiteY166" fmla="*/ 26313 h 48740"/>
                <a:gd name="connsiteX167" fmla="*/ 176674 w 369143"/>
                <a:gd name="connsiteY167" fmla="*/ 31772 h 48740"/>
                <a:gd name="connsiteX168" fmla="*/ 177556 w 369143"/>
                <a:gd name="connsiteY168" fmla="*/ 32994 h 48740"/>
                <a:gd name="connsiteX169" fmla="*/ 177872 w 369143"/>
                <a:gd name="connsiteY169" fmla="*/ 32996 h 48740"/>
                <a:gd name="connsiteX170" fmla="*/ 179230 w 369143"/>
                <a:gd name="connsiteY170" fmla="*/ 32996 h 48740"/>
                <a:gd name="connsiteX171" fmla="*/ 180455 w 369143"/>
                <a:gd name="connsiteY171" fmla="*/ 31995 h 48740"/>
                <a:gd name="connsiteX172" fmla="*/ 180455 w 369143"/>
                <a:gd name="connsiteY172" fmla="*/ 31772 h 48740"/>
                <a:gd name="connsiteX173" fmla="*/ 180455 w 369143"/>
                <a:gd name="connsiteY173" fmla="*/ 26313 h 48740"/>
                <a:gd name="connsiteX174" fmla="*/ 181353 w 369143"/>
                <a:gd name="connsiteY174" fmla="*/ 25248 h 48740"/>
                <a:gd name="connsiteX175" fmla="*/ 181520 w 369143"/>
                <a:gd name="connsiteY175" fmla="*/ 25248 h 48740"/>
                <a:gd name="connsiteX176" fmla="*/ 186979 w 369143"/>
                <a:gd name="connsiteY176" fmla="*/ 25248 h 48740"/>
                <a:gd name="connsiteX177" fmla="*/ 188203 w 369143"/>
                <a:gd name="connsiteY177" fmla="*/ 24247 h 48740"/>
                <a:gd name="connsiteX178" fmla="*/ 188203 w 369143"/>
                <a:gd name="connsiteY178" fmla="*/ 24023 h 48740"/>
                <a:gd name="connsiteX179" fmla="*/ 188203 w 369143"/>
                <a:gd name="connsiteY179" fmla="*/ 22665 h 48740"/>
                <a:gd name="connsiteX180" fmla="*/ 187234 w 369143"/>
                <a:gd name="connsiteY180" fmla="*/ 21465 h 48740"/>
                <a:gd name="connsiteX181" fmla="*/ 186979 w 369143"/>
                <a:gd name="connsiteY181" fmla="*/ 21467 h 48740"/>
                <a:gd name="connsiteX182" fmla="*/ 181520 w 369143"/>
                <a:gd name="connsiteY182" fmla="*/ 21467 h 48740"/>
                <a:gd name="connsiteX183" fmla="*/ 180453 w 369143"/>
                <a:gd name="connsiteY183" fmla="*/ 20573 h 48740"/>
                <a:gd name="connsiteX184" fmla="*/ 180455 w 369143"/>
                <a:gd name="connsiteY184" fmla="*/ 20376 h 48740"/>
                <a:gd name="connsiteX185" fmla="*/ 180455 w 369143"/>
                <a:gd name="connsiteY185" fmla="*/ 15050 h 48740"/>
                <a:gd name="connsiteX186" fmla="*/ 179515 w 369143"/>
                <a:gd name="connsiteY186" fmla="*/ 13825 h 48740"/>
                <a:gd name="connsiteX187" fmla="*/ 179230 w 369143"/>
                <a:gd name="connsiteY187" fmla="*/ 13825 h 48740"/>
                <a:gd name="connsiteX188" fmla="*/ 177846 w 369143"/>
                <a:gd name="connsiteY188" fmla="*/ 13825 h 48740"/>
                <a:gd name="connsiteX189" fmla="*/ 176621 w 369143"/>
                <a:gd name="connsiteY189" fmla="*/ 14702 h 48740"/>
                <a:gd name="connsiteX190" fmla="*/ 176621 w 369143"/>
                <a:gd name="connsiteY190" fmla="*/ 15050 h 48740"/>
                <a:gd name="connsiteX191" fmla="*/ 176621 w 369143"/>
                <a:gd name="connsiteY191" fmla="*/ 20376 h 48740"/>
                <a:gd name="connsiteX192" fmla="*/ 175814 w 369143"/>
                <a:gd name="connsiteY192" fmla="*/ 21465 h 48740"/>
                <a:gd name="connsiteX193" fmla="*/ 175556 w 369143"/>
                <a:gd name="connsiteY193" fmla="*/ 21467 h 48740"/>
                <a:gd name="connsiteX194" fmla="*/ 170044 w 369143"/>
                <a:gd name="connsiteY194" fmla="*/ 21467 h 48740"/>
                <a:gd name="connsiteX195" fmla="*/ 168822 w 369143"/>
                <a:gd name="connsiteY195" fmla="*/ 22410 h 48740"/>
                <a:gd name="connsiteX196" fmla="*/ 168820 w 369143"/>
                <a:gd name="connsiteY196" fmla="*/ 22665 h 48740"/>
                <a:gd name="connsiteX197" fmla="*/ 209185 w 369143"/>
                <a:gd name="connsiteY197" fmla="*/ 48360 h 48740"/>
                <a:gd name="connsiteX198" fmla="*/ 210995 w 369143"/>
                <a:gd name="connsiteY198" fmla="*/ 48360 h 48740"/>
                <a:gd name="connsiteX199" fmla="*/ 212194 w 369143"/>
                <a:gd name="connsiteY199" fmla="*/ 47385 h 48740"/>
                <a:gd name="connsiteX200" fmla="*/ 212194 w 369143"/>
                <a:gd name="connsiteY200" fmla="*/ 47161 h 48740"/>
                <a:gd name="connsiteX201" fmla="*/ 212194 w 369143"/>
                <a:gd name="connsiteY201" fmla="*/ 37070 h 48740"/>
                <a:gd name="connsiteX202" fmla="*/ 214137 w 369143"/>
                <a:gd name="connsiteY202" fmla="*/ 36192 h 48740"/>
                <a:gd name="connsiteX203" fmla="*/ 221167 w 369143"/>
                <a:gd name="connsiteY203" fmla="*/ 38135 h 48740"/>
                <a:gd name="connsiteX204" fmla="*/ 233926 w 369143"/>
                <a:gd name="connsiteY204" fmla="*/ 25123 h 48740"/>
                <a:gd name="connsiteX205" fmla="*/ 233921 w 369143"/>
                <a:gd name="connsiteY205" fmla="*/ 24822 h 48740"/>
                <a:gd name="connsiteX206" fmla="*/ 221409 w 369143"/>
                <a:gd name="connsiteY206" fmla="*/ 11778 h 48740"/>
                <a:gd name="connsiteX207" fmla="*/ 221247 w 369143"/>
                <a:gd name="connsiteY207" fmla="*/ 11775 h 48740"/>
                <a:gd name="connsiteX208" fmla="*/ 213525 w 369143"/>
                <a:gd name="connsiteY208" fmla="*/ 14225 h 48740"/>
                <a:gd name="connsiteX209" fmla="*/ 211368 w 369143"/>
                <a:gd name="connsiteY209" fmla="*/ 13479 h 48740"/>
                <a:gd name="connsiteX210" fmla="*/ 211368 w 369143"/>
                <a:gd name="connsiteY210" fmla="*/ 13479 h 48740"/>
                <a:gd name="connsiteX211" fmla="*/ 210064 w 369143"/>
                <a:gd name="connsiteY211" fmla="*/ 12361 h 48740"/>
                <a:gd name="connsiteX212" fmla="*/ 209185 w 369143"/>
                <a:gd name="connsiteY212" fmla="*/ 12361 h 48740"/>
                <a:gd name="connsiteX213" fmla="*/ 207963 w 369143"/>
                <a:gd name="connsiteY213" fmla="*/ 13304 h 48740"/>
                <a:gd name="connsiteX214" fmla="*/ 207960 w 369143"/>
                <a:gd name="connsiteY214" fmla="*/ 13559 h 48740"/>
                <a:gd name="connsiteX215" fmla="*/ 207960 w 369143"/>
                <a:gd name="connsiteY215" fmla="*/ 47161 h 48740"/>
                <a:gd name="connsiteX216" fmla="*/ 208929 w 369143"/>
                <a:gd name="connsiteY216" fmla="*/ 48362 h 48740"/>
                <a:gd name="connsiteX217" fmla="*/ 209185 w 369143"/>
                <a:gd name="connsiteY217" fmla="*/ 48360 h 48740"/>
                <a:gd name="connsiteX218" fmla="*/ 212540 w 369143"/>
                <a:gd name="connsiteY218" fmla="*/ 28017 h 48740"/>
                <a:gd name="connsiteX219" fmla="*/ 212540 w 369143"/>
                <a:gd name="connsiteY219" fmla="*/ 21947 h 48740"/>
                <a:gd name="connsiteX220" fmla="*/ 213072 w 369143"/>
                <a:gd name="connsiteY220" fmla="*/ 19843 h 48740"/>
                <a:gd name="connsiteX221" fmla="*/ 220714 w 369143"/>
                <a:gd name="connsiteY221" fmla="*/ 15796 h 48740"/>
                <a:gd name="connsiteX222" fmla="*/ 229234 w 369143"/>
                <a:gd name="connsiteY222" fmla="*/ 24902 h 48740"/>
                <a:gd name="connsiteX223" fmla="*/ 220714 w 369143"/>
                <a:gd name="connsiteY223" fmla="*/ 34221 h 48740"/>
                <a:gd name="connsiteX224" fmla="*/ 213072 w 369143"/>
                <a:gd name="connsiteY224" fmla="*/ 30121 h 48740"/>
                <a:gd name="connsiteX225" fmla="*/ 212540 w 369143"/>
                <a:gd name="connsiteY225" fmla="*/ 28017 h 48740"/>
                <a:gd name="connsiteX226" fmla="*/ 238740 w 369143"/>
                <a:gd name="connsiteY226" fmla="*/ 24849 h 48740"/>
                <a:gd name="connsiteX227" fmla="*/ 250868 w 369143"/>
                <a:gd name="connsiteY227" fmla="*/ 38148 h 48740"/>
                <a:gd name="connsiteX228" fmla="*/ 251600 w 369143"/>
                <a:gd name="connsiteY228" fmla="*/ 38162 h 48740"/>
                <a:gd name="connsiteX229" fmla="*/ 262491 w 369143"/>
                <a:gd name="connsiteY229" fmla="*/ 31079 h 48740"/>
                <a:gd name="connsiteX230" fmla="*/ 261425 w 369143"/>
                <a:gd name="connsiteY230" fmla="*/ 29695 h 48740"/>
                <a:gd name="connsiteX231" fmla="*/ 259588 w 369143"/>
                <a:gd name="connsiteY231" fmla="*/ 29695 h 48740"/>
                <a:gd name="connsiteX232" fmla="*/ 258177 w 369143"/>
                <a:gd name="connsiteY232" fmla="*/ 30680 h 48740"/>
                <a:gd name="connsiteX233" fmla="*/ 251600 w 369143"/>
                <a:gd name="connsiteY233" fmla="*/ 34248 h 48740"/>
                <a:gd name="connsiteX234" fmla="*/ 243612 w 369143"/>
                <a:gd name="connsiteY234" fmla="*/ 28044 h 48740"/>
                <a:gd name="connsiteX235" fmla="*/ 245184 w 369143"/>
                <a:gd name="connsiteY235" fmla="*/ 26207 h 48740"/>
                <a:gd name="connsiteX236" fmla="*/ 261718 w 369143"/>
                <a:gd name="connsiteY236" fmla="*/ 26207 h 48740"/>
                <a:gd name="connsiteX237" fmla="*/ 263366 w 369143"/>
                <a:gd name="connsiteY237" fmla="*/ 24774 h 48740"/>
                <a:gd name="connsiteX238" fmla="*/ 263369 w 369143"/>
                <a:gd name="connsiteY238" fmla="*/ 24636 h 48740"/>
                <a:gd name="connsiteX239" fmla="*/ 251917 w 369143"/>
                <a:gd name="connsiteY239" fmla="*/ 11842 h 48740"/>
                <a:gd name="connsiteX240" fmla="*/ 251600 w 369143"/>
                <a:gd name="connsiteY240" fmla="*/ 11829 h 48740"/>
                <a:gd name="connsiteX241" fmla="*/ 238791 w 369143"/>
                <a:gd name="connsiteY241" fmla="*/ 24311 h 48740"/>
                <a:gd name="connsiteX242" fmla="*/ 238793 w 369143"/>
                <a:gd name="connsiteY242" fmla="*/ 24822 h 48740"/>
                <a:gd name="connsiteX243" fmla="*/ 244118 w 369143"/>
                <a:gd name="connsiteY243" fmla="*/ 20402 h 48740"/>
                <a:gd name="connsiteX244" fmla="*/ 251414 w 369143"/>
                <a:gd name="connsiteY244" fmla="*/ 15716 h 48740"/>
                <a:gd name="connsiteX245" fmla="*/ 258204 w 369143"/>
                <a:gd name="connsiteY245" fmla="*/ 20455 h 48740"/>
                <a:gd name="connsiteX246" fmla="*/ 256739 w 369143"/>
                <a:gd name="connsiteY246" fmla="*/ 22399 h 48740"/>
                <a:gd name="connsiteX247" fmla="*/ 245476 w 369143"/>
                <a:gd name="connsiteY247" fmla="*/ 22399 h 48740"/>
                <a:gd name="connsiteX248" fmla="*/ 244118 w 369143"/>
                <a:gd name="connsiteY248" fmla="*/ 20455 h 48740"/>
                <a:gd name="connsiteX249" fmla="*/ 268082 w 369143"/>
                <a:gd name="connsiteY249" fmla="*/ 24875 h 48740"/>
                <a:gd name="connsiteX250" fmla="*/ 280801 w 369143"/>
                <a:gd name="connsiteY250" fmla="*/ 38188 h 48740"/>
                <a:gd name="connsiteX251" fmla="*/ 281395 w 369143"/>
                <a:gd name="connsiteY251" fmla="*/ 38188 h 48740"/>
                <a:gd name="connsiteX252" fmla="*/ 294708 w 369143"/>
                <a:gd name="connsiteY252" fmla="*/ 25469 h 48740"/>
                <a:gd name="connsiteX253" fmla="*/ 294708 w 369143"/>
                <a:gd name="connsiteY253" fmla="*/ 24875 h 48740"/>
                <a:gd name="connsiteX254" fmla="*/ 281989 w 369143"/>
                <a:gd name="connsiteY254" fmla="*/ 11874 h 48740"/>
                <a:gd name="connsiteX255" fmla="*/ 281395 w 369143"/>
                <a:gd name="connsiteY255" fmla="*/ 11882 h 48740"/>
                <a:gd name="connsiteX256" fmla="*/ 268087 w 369143"/>
                <a:gd name="connsiteY256" fmla="*/ 24335 h 48740"/>
                <a:gd name="connsiteX257" fmla="*/ 268082 w 369143"/>
                <a:gd name="connsiteY257" fmla="*/ 24875 h 48740"/>
                <a:gd name="connsiteX258" fmla="*/ 272662 w 369143"/>
                <a:gd name="connsiteY258" fmla="*/ 25035 h 48740"/>
                <a:gd name="connsiteX259" fmla="*/ 281012 w 369143"/>
                <a:gd name="connsiteY259" fmla="*/ 15833 h 48740"/>
                <a:gd name="connsiteX260" fmla="*/ 281528 w 369143"/>
                <a:gd name="connsiteY260" fmla="*/ 15822 h 48740"/>
                <a:gd name="connsiteX261" fmla="*/ 290349 w 369143"/>
                <a:gd name="connsiteY261" fmla="*/ 24628 h 48740"/>
                <a:gd name="connsiteX262" fmla="*/ 290341 w 369143"/>
                <a:gd name="connsiteY262" fmla="*/ 25035 h 48740"/>
                <a:gd name="connsiteX263" fmla="*/ 281882 w 369143"/>
                <a:gd name="connsiteY263" fmla="*/ 34240 h 48740"/>
                <a:gd name="connsiteX264" fmla="*/ 281528 w 369143"/>
                <a:gd name="connsiteY264" fmla="*/ 34248 h 48740"/>
                <a:gd name="connsiteX265" fmla="*/ 272654 w 369143"/>
                <a:gd name="connsiteY265" fmla="*/ 25442 h 48740"/>
                <a:gd name="connsiteX266" fmla="*/ 272662 w 369143"/>
                <a:gd name="connsiteY266" fmla="*/ 25035 h 48740"/>
                <a:gd name="connsiteX267" fmla="*/ 302749 w 369143"/>
                <a:gd name="connsiteY267" fmla="*/ 48386 h 48740"/>
                <a:gd name="connsiteX268" fmla="*/ 304533 w 369143"/>
                <a:gd name="connsiteY268" fmla="*/ 48386 h 48740"/>
                <a:gd name="connsiteX269" fmla="*/ 305755 w 369143"/>
                <a:gd name="connsiteY269" fmla="*/ 47444 h 48740"/>
                <a:gd name="connsiteX270" fmla="*/ 305758 w 369143"/>
                <a:gd name="connsiteY270" fmla="*/ 47188 h 48740"/>
                <a:gd name="connsiteX271" fmla="*/ 305758 w 369143"/>
                <a:gd name="connsiteY271" fmla="*/ 37097 h 48740"/>
                <a:gd name="connsiteX272" fmla="*/ 307702 w 369143"/>
                <a:gd name="connsiteY272" fmla="*/ 36218 h 48740"/>
                <a:gd name="connsiteX273" fmla="*/ 314731 w 369143"/>
                <a:gd name="connsiteY273" fmla="*/ 38162 h 48740"/>
                <a:gd name="connsiteX274" fmla="*/ 327490 w 369143"/>
                <a:gd name="connsiteY274" fmla="*/ 25096 h 48740"/>
                <a:gd name="connsiteX275" fmla="*/ 327485 w 369143"/>
                <a:gd name="connsiteY275" fmla="*/ 24849 h 48740"/>
                <a:gd name="connsiteX276" fmla="*/ 314973 w 369143"/>
                <a:gd name="connsiteY276" fmla="*/ 11805 h 48740"/>
                <a:gd name="connsiteX277" fmla="*/ 314811 w 369143"/>
                <a:gd name="connsiteY277" fmla="*/ 11802 h 48740"/>
                <a:gd name="connsiteX278" fmla="*/ 307063 w 369143"/>
                <a:gd name="connsiteY278" fmla="*/ 14252 h 48740"/>
                <a:gd name="connsiteX279" fmla="*/ 304933 w 369143"/>
                <a:gd name="connsiteY279" fmla="*/ 13506 h 48740"/>
                <a:gd name="connsiteX280" fmla="*/ 304933 w 369143"/>
                <a:gd name="connsiteY280" fmla="*/ 13506 h 48740"/>
                <a:gd name="connsiteX281" fmla="*/ 303628 w 369143"/>
                <a:gd name="connsiteY281" fmla="*/ 12388 h 48740"/>
                <a:gd name="connsiteX282" fmla="*/ 302749 w 369143"/>
                <a:gd name="connsiteY282" fmla="*/ 12388 h 48740"/>
                <a:gd name="connsiteX283" fmla="*/ 301527 w 369143"/>
                <a:gd name="connsiteY283" fmla="*/ 13330 h 48740"/>
                <a:gd name="connsiteX284" fmla="*/ 301524 w 369143"/>
                <a:gd name="connsiteY284" fmla="*/ 13586 h 48740"/>
                <a:gd name="connsiteX285" fmla="*/ 301524 w 369143"/>
                <a:gd name="connsiteY285" fmla="*/ 47188 h 48740"/>
                <a:gd name="connsiteX286" fmla="*/ 302494 w 369143"/>
                <a:gd name="connsiteY286" fmla="*/ 48389 h 48740"/>
                <a:gd name="connsiteX287" fmla="*/ 302749 w 369143"/>
                <a:gd name="connsiteY287" fmla="*/ 48386 h 48740"/>
                <a:gd name="connsiteX288" fmla="*/ 306104 w 369143"/>
                <a:gd name="connsiteY288" fmla="*/ 28044 h 48740"/>
                <a:gd name="connsiteX289" fmla="*/ 306104 w 369143"/>
                <a:gd name="connsiteY289" fmla="*/ 21973 h 48740"/>
                <a:gd name="connsiteX290" fmla="*/ 306637 w 369143"/>
                <a:gd name="connsiteY290" fmla="*/ 19870 h 48740"/>
                <a:gd name="connsiteX291" fmla="*/ 314278 w 369143"/>
                <a:gd name="connsiteY291" fmla="*/ 15822 h 48740"/>
                <a:gd name="connsiteX292" fmla="*/ 322799 w 369143"/>
                <a:gd name="connsiteY292" fmla="*/ 24929 h 48740"/>
                <a:gd name="connsiteX293" fmla="*/ 314278 w 369143"/>
                <a:gd name="connsiteY293" fmla="*/ 34248 h 48740"/>
                <a:gd name="connsiteX294" fmla="*/ 306637 w 369143"/>
                <a:gd name="connsiteY294" fmla="*/ 30147 h 48740"/>
                <a:gd name="connsiteX295" fmla="*/ 306104 w 369143"/>
                <a:gd name="connsiteY295" fmla="*/ 28044 h 48740"/>
                <a:gd name="connsiteX296" fmla="*/ 337496 w 369143"/>
                <a:gd name="connsiteY296" fmla="*/ -286 h 48740"/>
                <a:gd name="connsiteX297" fmla="*/ 335366 w 369143"/>
                <a:gd name="connsiteY297" fmla="*/ -286 h 48740"/>
                <a:gd name="connsiteX298" fmla="*/ 334141 w 369143"/>
                <a:gd name="connsiteY298" fmla="*/ 715 h 48740"/>
                <a:gd name="connsiteX299" fmla="*/ 334141 w 369143"/>
                <a:gd name="connsiteY299" fmla="*/ 938 h 48740"/>
                <a:gd name="connsiteX300" fmla="*/ 334141 w 369143"/>
                <a:gd name="connsiteY300" fmla="*/ 36484 h 48740"/>
                <a:gd name="connsiteX301" fmla="*/ 335111 w 369143"/>
                <a:gd name="connsiteY301" fmla="*/ 37685 h 48740"/>
                <a:gd name="connsiteX302" fmla="*/ 335366 w 369143"/>
                <a:gd name="connsiteY302" fmla="*/ 37683 h 48740"/>
                <a:gd name="connsiteX303" fmla="*/ 337496 w 369143"/>
                <a:gd name="connsiteY303" fmla="*/ 37683 h 48740"/>
                <a:gd name="connsiteX304" fmla="*/ 338718 w 369143"/>
                <a:gd name="connsiteY304" fmla="*/ 36740 h 48740"/>
                <a:gd name="connsiteX305" fmla="*/ 338721 w 369143"/>
                <a:gd name="connsiteY305" fmla="*/ 36484 h 48740"/>
                <a:gd name="connsiteX306" fmla="*/ 338721 w 369143"/>
                <a:gd name="connsiteY306" fmla="*/ 885 h 48740"/>
                <a:gd name="connsiteX307" fmla="*/ 337720 w 369143"/>
                <a:gd name="connsiteY307" fmla="*/ -340 h 48740"/>
                <a:gd name="connsiteX308" fmla="*/ 337496 w 369143"/>
                <a:gd name="connsiteY308" fmla="*/ -340 h 48740"/>
                <a:gd name="connsiteX309" fmla="*/ 345484 w 369143"/>
                <a:gd name="connsiteY309" fmla="*/ 24822 h 48740"/>
                <a:gd name="connsiteX310" fmla="*/ 357612 w 369143"/>
                <a:gd name="connsiteY310" fmla="*/ 38122 h 48740"/>
                <a:gd name="connsiteX311" fmla="*/ 358345 w 369143"/>
                <a:gd name="connsiteY311" fmla="*/ 38135 h 48740"/>
                <a:gd name="connsiteX312" fmla="*/ 369235 w 369143"/>
                <a:gd name="connsiteY312" fmla="*/ 31053 h 48740"/>
                <a:gd name="connsiteX313" fmla="*/ 368170 w 369143"/>
                <a:gd name="connsiteY313" fmla="*/ 29668 h 48740"/>
                <a:gd name="connsiteX314" fmla="*/ 366333 w 369143"/>
                <a:gd name="connsiteY314" fmla="*/ 29668 h 48740"/>
                <a:gd name="connsiteX315" fmla="*/ 364921 w 369143"/>
                <a:gd name="connsiteY315" fmla="*/ 30653 h 48740"/>
                <a:gd name="connsiteX316" fmla="*/ 358345 w 369143"/>
                <a:gd name="connsiteY316" fmla="*/ 34221 h 48740"/>
                <a:gd name="connsiteX317" fmla="*/ 350357 w 369143"/>
                <a:gd name="connsiteY317" fmla="*/ 28017 h 48740"/>
                <a:gd name="connsiteX318" fmla="*/ 351928 w 369143"/>
                <a:gd name="connsiteY318" fmla="*/ 26180 h 48740"/>
                <a:gd name="connsiteX319" fmla="*/ 368463 w 369143"/>
                <a:gd name="connsiteY319" fmla="*/ 26180 h 48740"/>
                <a:gd name="connsiteX320" fmla="*/ 370111 w 369143"/>
                <a:gd name="connsiteY320" fmla="*/ 24745 h 48740"/>
                <a:gd name="connsiteX321" fmla="*/ 370113 w 369143"/>
                <a:gd name="connsiteY321" fmla="*/ 24609 h 48740"/>
                <a:gd name="connsiteX322" fmla="*/ 358661 w 369143"/>
                <a:gd name="connsiteY322" fmla="*/ 11815 h 48740"/>
                <a:gd name="connsiteX323" fmla="*/ 358371 w 369143"/>
                <a:gd name="connsiteY323" fmla="*/ 11802 h 48740"/>
                <a:gd name="connsiteX324" fmla="*/ 345535 w 369143"/>
                <a:gd name="connsiteY324" fmla="*/ 24311 h 48740"/>
                <a:gd name="connsiteX325" fmla="*/ 345538 w 369143"/>
                <a:gd name="connsiteY325" fmla="*/ 24795 h 48740"/>
                <a:gd name="connsiteX326" fmla="*/ 350863 w 369143"/>
                <a:gd name="connsiteY326" fmla="*/ 20376 h 48740"/>
                <a:gd name="connsiteX327" fmla="*/ 358185 w 369143"/>
                <a:gd name="connsiteY327" fmla="*/ 15689 h 48740"/>
                <a:gd name="connsiteX328" fmla="*/ 364948 w 369143"/>
                <a:gd name="connsiteY328" fmla="*/ 20429 h 48740"/>
                <a:gd name="connsiteX329" fmla="*/ 363484 w 369143"/>
                <a:gd name="connsiteY329" fmla="*/ 22373 h 48740"/>
                <a:gd name="connsiteX330" fmla="*/ 352221 w 369143"/>
                <a:gd name="connsiteY330" fmla="*/ 22373 h 48740"/>
                <a:gd name="connsiteX331" fmla="*/ 350863 w 369143"/>
                <a:gd name="connsiteY331" fmla="*/ 20429 h 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Lst>
              <a:rect l="l" t="t" r="r" b="b"/>
              <a:pathLst>
                <a:path w="369143" h="48740">
                  <a:moveTo>
                    <a:pt x="2220" y="48333"/>
                  </a:moveTo>
                  <a:lnTo>
                    <a:pt x="4004" y="48333"/>
                  </a:lnTo>
                  <a:cubicBezTo>
                    <a:pt x="4603" y="48410"/>
                    <a:pt x="5149" y="47987"/>
                    <a:pt x="5226" y="47390"/>
                  </a:cubicBezTo>
                  <a:cubicBezTo>
                    <a:pt x="5237" y="47305"/>
                    <a:pt x="5237" y="47220"/>
                    <a:pt x="5229" y="47135"/>
                  </a:cubicBezTo>
                  <a:lnTo>
                    <a:pt x="5229" y="37043"/>
                  </a:lnTo>
                  <a:cubicBezTo>
                    <a:pt x="5229" y="35632"/>
                    <a:pt x="6001" y="35339"/>
                    <a:pt x="7172" y="36165"/>
                  </a:cubicBezTo>
                  <a:cubicBezTo>
                    <a:pt x="9265" y="37507"/>
                    <a:pt x="11717" y="38183"/>
                    <a:pt x="14202" y="38109"/>
                  </a:cubicBezTo>
                  <a:cubicBezTo>
                    <a:pt x="21319" y="38039"/>
                    <a:pt x="27033" y="32214"/>
                    <a:pt x="26961" y="25096"/>
                  </a:cubicBezTo>
                  <a:cubicBezTo>
                    <a:pt x="26961" y="24995"/>
                    <a:pt x="26958" y="24897"/>
                    <a:pt x="26955" y="24795"/>
                  </a:cubicBezTo>
                  <a:cubicBezTo>
                    <a:pt x="27102" y="17740"/>
                    <a:pt x="21502" y="11898"/>
                    <a:pt x="14444" y="11751"/>
                  </a:cubicBezTo>
                  <a:cubicBezTo>
                    <a:pt x="14391" y="11749"/>
                    <a:pt x="14335" y="11749"/>
                    <a:pt x="14281" y="11749"/>
                  </a:cubicBezTo>
                  <a:cubicBezTo>
                    <a:pt x="11496" y="11671"/>
                    <a:pt x="8767" y="12534"/>
                    <a:pt x="6533" y="14198"/>
                  </a:cubicBezTo>
                  <a:cubicBezTo>
                    <a:pt x="5468" y="15024"/>
                    <a:pt x="4643" y="14837"/>
                    <a:pt x="4403" y="13453"/>
                  </a:cubicBezTo>
                  <a:lnTo>
                    <a:pt x="4403" y="13453"/>
                  </a:lnTo>
                  <a:cubicBezTo>
                    <a:pt x="4347" y="12787"/>
                    <a:pt x="3767" y="12289"/>
                    <a:pt x="3098" y="12334"/>
                  </a:cubicBezTo>
                  <a:lnTo>
                    <a:pt x="2220" y="12334"/>
                  </a:lnTo>
                  <a:cubicBezTo>
                    <a:pt x="1621" y="12257"/>
                    <a:pt x="1075" y="12681"/>
                    <a:pt x="998" y="13277"/>
                  </a:cubicBezTo>
                  <a:cubicBezTo>
                    <a:pt x="987" y="13362"/>
                    <a:pt x="987" y="13447"/>
                    <a:pt x="995" y="13533"/>
                  </a:cubicBezTo>
                  <a:lnTo>
                    <a:pt x="995" y="47135"/>
                  </a:lnTo>
                  <a:cubicBezTo>
                    <a:pt x="931" y="47734"/>
                    <a:pt x="1365" y="48272"/>
                    <a:pt x="1964" y="48336"/>
                  </a:cubicBezTo>
                  <a:cubicBezTo>
                    <a:pt x="2049" y="48344"/>
                    <a:pt x="2134" y="48344"/>
                    <a:pt x="2220" y="48333"/>
                  </a:cubicBezTo>
                  <a:moveTo>
                    <a:pt x="5575" y="27991"/>
                  </a:moveTo>
                  <a:lnTo>
                    <a:pt x="5575" y="21920"/>
                  </a:lnTo>
                  <a:cubicBezTo>
                    <a:pt x="5535" y="21180"/>
                    <a:pt x="5721" y="20447"/>
                    <a:pt x="6107" y="19816"/>
                  </a:cubicBezTo>
                  <a:cubicBezTo>
                    <a:pt x="7777" y="17228"/>
                    <a:pt x="10671" y="15695"/>
                    <a:pt x="13749" y="15769"/>
                  </a:cubicBezTo>
                  <a:cubicBezTo>
                    <a:pt x="18606" y="15958"/>
                    <a:pt x="22405" y="20019"/>
                    <a:pt x="22269" y="24875"/>
                  </a:cubicBezTo>
                  <a:cubicBezTo>
                    <a:pt x="22480" y="29799"/>
                    <a:pt x="18672" y="33965"/>
                    <a:pt x="13749" y="34195"/>
                  </a:cubicBezTo>
                  <a:cubicBezTo>
                    <a:pt x="10655" y="34285"/>
                    <a:pt x="7745" y="32722"/>
                    <a:pt x="6107" y="30094"/>
                  </a:cubicBezTo>
                  <a:cubicBezTo>
                    <a:pt x="5721" y="29463"/>
                    <a:pt x="5535" y="28731"/>
                    <a:pt x="5575" y="27991"/>
                  </a:cubicBezTo>
                  <a:moveTo>
                    <a:pt x="36967" y="-340"/>
                  </a:moveTo>
                  <a:lnTo>
                    <a:pt x="34837" y="-340"/>
                  </a:lnTo>
                  <a:cubicBezTo>
                    <a:pt x="34222" y="-401"/>
                    <a:pt x="33673" y="46"/>
                    <a:pt x="33612" y="662"/>
                  </a:cubicBezTo>
                  <a:cubicBezTo>
                    <a:pt x="33604" y="736"/>
                    <a:pt x="33604" y="811"/>
                    <a:pt x="33612" y="885"/>
                  </a:cubicBezTo>
                  <a:lnTo>
                    <a:pt x="33612" y="36431"/>
                  </a:lnTo>
                  <a:cubicBezTo>
                    <a:pt x="33548" y="37030"/>
                    <a:pt x="33982" y="37568"/>
                    <a:pt x="34581" y="37632"/>
                  </a:cubicBezTo>
                  <a:cubicBezTo>
                    <a:pt x="34666" y="37640"/>
                    <a:pt x="34752" y="37640"/>
                    <a:pt x="34837" y="37629"/>
                  </a:cubicBezTo>
                  <a:lnTo>
                    <a:pt x="36967" y="37629"/>
                  </a:lnTo>
                  <a:cubicBezTo>
                    <a:pt x="37566" y="37707"/>
                    <a:pt x="38112" y="37283"/>
                    <a:pt x="38189" y="36687"/>
                  </a:cubicBezTo>
                  <a:cubicBezTo>
                    <a:pt x="38200" y="36602"/>
                    <a:pt x="38200" y="36516"/>
                    <a:pt x="38192" y="36431"/>
                  </a:cubicBezTo>
                  <a:lnTo>
                    <a:pt x="38192" y="885"/>
                  </a:lnTo>
                  <a:cubicBezTo>
                    <a:pt x="38253" y="270"/>
                    <a:pt x="37806" y="-278"/>
                    <a:pt x="37191" y="-340"/>
                  </a:cubicBezTo>
                  <a:cubicBezTo>
                    <a:pt x="37116" y="-348"/>
                    <a:pt x="37041" y="-348"/>
                    <a:pt x="36967" y="-340"/>
                  </a:cubicBezTo>
                  <a:moveTo>
                    <a:pt x="44768" y="30680"/>
                  </a:moveTo>
                  <a:cubicBezTo>
                    <a:pt x="44840" y="34871"/>
                    <a:pt x="48294" y="38210"/>
                    <a:pt x="52485" y="38141"/>
                  </a:cubicBezTo>
                  <a:cubicBezTo>
                    <a:pt x="52674" y="38135"/>
                    <a:pt x="52860" y="38125"/>
                    <a:pt x="53049" y="38109"/>
                  </a:cubicBezTo>
                  <a:cubicBezTo>
                    <a:pt x="56154" y="38127"/>
                    <a:pt x="59192" y="37198"/>
                    <a:pt x="61756" y="35446"/>
                  </a:cubicBezTo>
                  <a:cubicBezTo>
                    <a:pt x="62821" y="34780"/>
                    <a:pt x="63646" y="35020"/>
                    <a:pt x="63992" y="36218"/>
                  </a:cubicBezTo>
                  <a:lnTo>
                    <a:pt x="64152" y="36724"/>
                  </a:lnTo>
                  <a:cubicBezTo>
                    <a:pt x="64275" y="37363"/>
                    <a:pt x="64863" y="37802"/>
                    <a:pt x="65510" y="37736"/>
                  </a:cubicBezTo>
                  <a:lnTo>
                    <a:pt x="66096" y="37736"/>
                  </a:lnTo>
                  <a:cubicBezTo>
                    <a:pt x="66695" y="37797"/>
                    <a:pt x="67233" y="37363"/>
                    <a:pt x="67294" y="36761"/>
                  </a:cubicBezTo>
                  <a:cubicBezTo>
                    <a:pt x="67302" y="36687"/>
                    <a:pt x="67302" y="36612"/>
                    <a:pt x="67294" y="36538"/>
                  </a:cubicBezTo>
                  <a:lnTo>
                    <a:pt x="67294" y="22905"/>
                  </a:lnTo>
                  <a:cubicBezTo>
                    <a:pt x="67294" y="15982"/>
                    <a:pt x="63353" y="11935"/>
                    <a:pt x="56644" y="11935"/>
                  </a:cubicBezTo>
                  <a:cubicBezTo>
                    <a:pt x="50892" y="11935"/>
                    <a:pt x="46872" y="14864"/>
                    <a:pt x="45993" y="19497"/>
                  </a:cubicBezTo>
                  <a:cubicBezTo>
                    <a:pt x="45839" y="20048"/>
                    <a:pt x="46161" y="20623"/>
                    <a:pt x="46712" y="20778"/>
                  </a:cubicBezTo>
                  <a:cubicBezTo>
                    <a:pt x="46858" y="20818"/>
                    <a:pt x="47013" y="20825"/>
                    <a:pt x="47165" y="20802"/>
                  </a:cubicBezTo>
                  <a:lnTo>
                    <a:pt x="49055" y="20802"/>
                  </a:lnTo>
                  <a:cubicBezTo>
                    <a:pt x="49702" y="20825"/>
                    <a:pt x="50269" y="20373"/>
                    <a:pt x="50386" y="19736"/>
                  </a:cubicBezTo>
                  <a:cubicBezTo>
                    <a:pt x="51305" y="17207"/>
                    <a:pt x="53835" y="15633"/>
                    <a:pt x="56510" y="15929"/>
                  </a:cubicBezTo>
                  <a:cubicBezTo>
                    <a:pt x="59628" y="15498"/>
                    <a:pt x="62504" y="17673"/>
                    <a:pt x="62938" y="20791"/>
                  </a:cubicBezTo>
                  <a:cubicBezTo>
                    <a:pt x="62989" y="21164"/>
                    <a:pt x="63005" y="21542"/>
                    <a:pt x="62981" y="21920"/>
                  </a:cubicBezTo>
                  <a:cubicBezTo>
                    <a:pt x="62981" y="22958"/>
                    <a:pt x="62368" y="23491"/>
                    <a:pt x="61277" y="23491"/>
                  </a:cubicBezTo>
                  <a:lnTo>
                    <a:pt x="55632" y="23491"/>
                  </a:lnTo>
                  <a:cubicBezTo>
                    <a:pt x="48975" y="23491"/>
                    <a:pt x="44981" y="26606"/>
                    <a:pt x="44981" y="30840"/>
                  </a:cubicBezTo>
                  <a:moveTo>
                    <a:pt x="49561" y="30840"/>
                  </a:moveTo>
                  <a:cubicBezTo>
                    <a:pt x="49561" y="28417"/>
                    <a:pt x="51638" y="27325"/>
                    <a:pt x="55792" y="27325"/>
                  </a:cubicBezTo>
                  <a:lnTo>
                    <a:pt x="61330" y="27325"/>
                  </a:lnTo>
                  <a:cubicBezTo>
                    <a:pt x="62177" y="27232"/>
                    <a:pt x="62941" y="27844"/>
                    <a:pt x="63034" y="28691"/>
                  </a:cubicBezTo>
                  <a:cubicBezTo>
                    <a:pt x="63047" y="28803"/>
                    <a:pt x="63047" y="28917"/>
                    <a:pt x="63034" y="29029"/>
                  </a:cubicBezTo>
                  <a:lnTo>
                    <a:pt x="63034" y="29535"/>
                  </a:lnTo>
                  <a:cubicBezTo>
                    <a:pt x="63071" y="30347"/>
                    <a:pt x="62688" y="31119"/>
                    <a:pt x="62022" y="31585"/>
                  </a:cubicBezTo>
                  <a:cubicBezTo>
                    <a:pt x="59767" y="33233"/>
                    <a:pt x="57067" y="34160"/>
                    <a:pt x="54274" y="34248"/>
                  </a:cubicBezTo>
                  <a:cubicBezTo>
                    <a:pt x="51611" y="34248"/>
                    <a:pt x="49561" y="33129"/>
                    <a:pt x="49561" y="30733"/>
                  </a:cubicBezTo>
                  <a:moveTo>
                    <a:pt x="76826" y="37789"/>
                  </a:moveTo>
                  <a:lnTo>
                    <a:pt x="78956" y="37789"/>
                  </a:lnTo>
                  <a:cubicBezTo>
                    <a:pt x="79555" y="37866"/>
                    <a:pt x="80101" y="37443"/>
                    <a:pt x="80179" y="36846"/>
                  </a:cubicBezTo>
                  <a:cubicBezTo>
                    <a:pt x="80189" y="36761"/>
                    <a:pt x="80189" y="36676"/>
                    <a:pt x="80181" y="36591"/>
                  </a:cubicBezTo>
                  <a:lnTo>
                    <a:pt x="80181" y="20988"/>
                  </a:lnTo>
                  <a:cubicBezTo>
                    <a:pt x="80123" y="20152"/>
                    <a:pt x="80562" y="19361"/>
                    <a:pt x="81299" y="18964"/>
                  </a:cubicBezTo>
                  <a:cubicBezTo>
                    <a:pt x="83752" y="17274"/>
                    <a:pt x="86609" y="16264"/>
                    <a:pt x="89580" y="16035"/>
                  </a:cubicBezTo>
                  <a:cubicBezTo>
                    <a:pt x="92392" y="15777"/>
                    <a:pt x="94881" y="17846"/>
                    <a:pt x="95140" y="20658"/>
                  </a:cubicBezTo>
                  <a:cubicBezTo>
                    <a:pt x="95174" y="21033"/>
                    <a:pt x="95166" y="21411"/>
                    <a:pt x="95118" y="21787"/>
                  </a:cubicBezTo>
                  <a:lnTo>
                    <a:pt x="95118" y="36591"/>
                  </a:lnTo>
                  <a:cubicBezTo>
                    <a:pt x="95054" y="37190"/>
                    <a:pt x="95489" y="37728"/>
                    <a:pt x="96088" y="37792"/>
                  </a:cubicBezTo>
                  <a:cubicBezTo>
                    <a:pt x="96173" y="37800"/>
                    <a:pt x="96258" y="37800"/>
                    <a:pt x="96343" y="37789"/>
                  </a:cubicBezTo>
                  <a:lnTo>
                    <a:pt x="98473" y="37789"/>
                  </a:lnTo>
                  <a:cubicBezTo>
                    <a:pt x="99072" y="37866"/>
                    <a:pt x="99618" y="37443"/>
                    <a:pt x="99696" y="36846"/>
                  </a:cubicBezTo>
                  <a:cubicBezTo>
                    <a:pt x="99706" y="36761"/>
                    <a:pt x="99706" y="36676"/>
                    <a:pt x="99698" y="36591"/>
                  </a:cubicBezTo>
                  <a:lnTo>
                    <a:pt x="99698" y="21574"/>
                  </a:lnTo>
                  <a:cubicBezTo>
                    <a:pt x="99698" y="15343"/>
                    <a:pt x="96397" y="11988"/>
                    <a:pt x="90885" y="11988"/>
                  </a:cubicBezTo>
                  <a:cubicBezTo>
                    <a:pt x="87495" y="11996"/>
                    <a:pt x="84178" y="12976"/>
                    <a:pt x="81326" y="14811"/>
                  </a:cubicBezTo>
                  <a:cubicBezTo>
                    <a:pt x="80261" y="15503"/>
                    <a:pt x="79436" y="15210"/>
                    <a:pt x="79143" y="13932"/>
                  </a:cubicBezTo>
                  <a:lnTo>
                    <a:pt x="79143" y="13559"/>
                  </a:lnTo>
                  <a:cubicBezTo>
                    <a:pt x="79023" y="12902"/>
                    <a:pt x="78424" y="12444"/>
                    <a:pt x="77758" y="12494"/>
                  </a:cubicBezTo>
                  <a:lnTo>
                    <a:pt x="76906" y="12494"/>
                  </a:lnTo>
                  <a:cubicBezTo>
                    <a:pt x="76307" y="12417"/>
                    <a:pt x="75761" y="12840"/>
                    <a:pt x="75684" y="13437"/>
                  </a:cubicBezTo>
                  <a:cubicBezTo>
                    <a:pt x="75673" y="13522"/>
                    <a:pt x="75673" y="13607"/>
                    <a:pt x="75681" y="13692"/>
                  </a:cubicBezTo>
                  <a:lnTo>
                    <a:pt x="75681" y="36591"/>
                  </a:lnTo>
                  <a:cubicBezTo>
                    <a:pt x="75617" y="37190"/>
                    <a:pt x="76051" y="37728"/>
                    <a:pt x="76651" y="37792"/>
                  </a:cubicBezTo>
                  <a:cubicBezTo>
                    <a:pt x="76736" y="37800"/>
                    <a:pt x="76821" y="37800"/>
                    <a:pt x="76906" y="37789"/>
                  </a:cubicBezTo>
                  <a:moveTo>
                    <a:pt x="106195" y="24982"/>
                  </a:moveTo>
                  <a:cubicBezTo>
                    <a:pt x="105870" y="32003"/>
                    <a:pt x="111299" y="37959"/>
                    <a:pt x="118323" y="38282"/>
                  </a:cubicBezTo>
                  <a:cubicBezTo>
                    <a:pt x="118565" y="38292"/>
                    <a:pt x="118810" y="38298"/>
                    <a:pt x="119055" y="38295"/>
                  </a:cubicBezTo>
                  <a:cubicBezTo>
                    <a:pt x="123824" y="38492"/>
                    <a:pt x="128193" y="35651"/>
                    <a:pt x="129945" y="31212"/>
                  </a:cubicBezTo>
                  <a:cubicBezTo>
                    <a:pt x="130238" y="30387"/>
                    <a:pt x="129706" y="29828"/>
                    <a:pt x="128880" y="29828"/>
                  </a:cubicBezTo>
                  <a:lnTo>
                    <a:pt x="127043" y="29828"/>
                  </a:lnTo>
                  <a:cubicBezTo>
                    <a:pt x="126409" y="29817"/>
                    <a:pt x="125840" y="30214"/>
                    <a:pt x="125632" y="30813"/>
                  </a:cubicBezTo>
                  <a:cubicBezTo>
                    <a:pt x="124357" y="33217"/>
                    <a:pt x="121766" y="34623"/>
                    <a:pt x="119055" y="34381"/>
                  </a:cubicBezTo>
                  <a:cubicBezTo>
                    <a:pt x="115256" y="34477"/>
                    <a:pt x="111914" y="31881"/>
                    <a:pt x="111068" y="28177"/>
                  </a:cubicBezTo>
                  <a:cubicBezTo>
                    <a:pt x="110775" y="27059"/>
                    <a:pt x="111467" y="26340"/>
                    <a:pt x="112638" y="26340"/>
                  </a:cubicBezTo>
                  <a:lnTo>
                    <a:pt x="129173" y="26340"/>
                  </a:lnTo>
                  <a:cubicBezTo>
                    <a:pt x="130025" y="26398"/>
                    <a:pt x="130763" y="25757"/>
                    <a:pt x="130821" y="24905"/>
                  </a:cubicBezTo>
                  <a:cubicBezTo>
                    <a:pt x="130824" y="24859"/>
                    <a:pt x="130824" y="24814"/>
                    <a:pt x="130824" y="24769"/>
                  </a:cubicBezTo>
                  <a:cubicBezTo>
                    <a:pt x="131194" y="18072"/>
                    <a:pt x="126069" y="12345"/>
                    <a:pt x="119372" y="11975"/>
                  </a:cubicBezTo>
                  <a:cubicBezTo>
                    <a:pt x="119266" y="11970"/>
                    <a:pt x="119162" y="11964"/>
                    <a:pt x="119055" y="11962"/>
                  </a:cubicBezTo>
                  <a:cubicBezTo>
                    <a:pt x="112071" y="11871"/>
                    <a:pt x="106336" y="17460"/>
                    <a:pt x="106245" y="24444"/>
                  </a:cubicBezTo>
                  <a:cubicBezTo>
                    <a:pt x="106243" y="24614"/>
                    <a:pt x="106243" y="24785"/>
                    <a:pt x="106248" y="24955"/>
                  </a:cubicBezTo>
                  <a:moveTo>
                    <a:pt x="111707" y="20535"/>
                  </a:moveTo>
                  <a:cubicBezTo>
                    <a:pt x="113006" y="17676"/>
                    <a:pt x="115860" y="15841"/>
                    <a:pt x="119002" y="15849"/>
                  </a:cubicBezTo>
                  <a:cubicBezTo>
                    <a:pt x="122038" y="15844"/>
                    <a:pt x="124751" y="17737"/>
                    <a:pt x="125792" y="20589"/>
                  </a:cubicBezTo>
                  <a:cubicBezTo>
                    <a:pt x="126218" y="21760"/>
                    <a:pt x="125526" y="22532"/>
                    <a:pt x="124327" y="22532"/>
                  </a:cubicBezTo>
                  <a:lnTo>
                    <a:pt x="113065" y="22532"/>
                  </a:lnTo>
                  <a:cubicBezTo>
                    <a:pt x="111786" y="22532"/>
                    <a:pt x="111121" y="21707"/>
                    <a:pt x="111707" y="20589"/>
                  </a:cubicBezTo>
                  <a:moveTo>
                    <a:pt x="135670" y="16408"/>
                  </a:moveTo>
                  <a:lnTo>
                    <a:pt x="137720" y="16408"/>
                  </a:lnTo>
                  <a:cubicBezTo>
                    <a:pt x="137971" y="16392"/>
                    <a:pt x="138184" y="16584"/>
                    <a:pt x="138200" y="16832"/>
                  </a:cubicBezTo>
                  <a:cubicBezTo>
                    <a:pt x="138200" y="16850"/>
                    <a:pt x="138200" y="16869"/>
                    <a:pt x="138200" y="16888"/>
                  </a:cubicBezTo>
                  <a:lnTo>
                    <a:pt x="138200" y="30414"/>
                  </a:lnTo>
                  <a:cubicBezTo>
                    <a:pt x="138200" y="36218"/>
                    <a:pt x="141475" y="38401"/>
                    <a:pt x="145495" y="38401"/>
                  </a:cubicBezTo>
                  <a:cubicBezTo>
                    <a:pt x="147564" y="38404"/>
                    <a:pt x="149622" y="38079"/>
                    <a:pt x="151592" y="37443"/>
                  </a:cubicBezTo>
                  <a:cubicBezTo>
                    <a:pt x="152090" y="37059"/>
                    <a:pt x="152239" y="36373"/>
                    <a:pt x="151939" y="35819"/>
                  </a:cubicBezTo>
                  <a:lnTo>
                    <a:pt x="151779" y="34354"/>
                  </a:lnTo>
                  <a:cubicBezTo>
                    <a:pt x="151779" y="33529"/>
                    <a:pt x="151140" y="33183"/>
                    <a:pt x="150314" y="33476"/>
                  </a:cubicBezTo>
                  <a:cubicBezTo>
                    <a:pt x="148837" y="33963"/>
                    <a:pt x="147292" y="34216"/>
                    <a:pt x="145735" y="34221"/>
                  </a:cubicBezTo>
                  <a:cubicBezTo>
                    <a:pt x="143472" y="34221"/>
                    <a:pt x="142247" y="32996"/>
                    <a:pt x="142247" y="30281"/>
                  </a:cubicBezTo>
                  <a:lnTo>
                    <a:pt x="142247" y="16834"/>
                  </a:lnTo>
                  <a:cubicBezTo>
                    <a:pt x="142231" y="16584"/>
                    <a:pt x="142423" y="16371"/>
                    <a:pt x="142670" y="16355"/>
                  </a:cubicBezTo>
                  <a:cubicBezTo>
                    <a:pt x="142689" y="16355"/>
                    <a:pt x="142707" y="16355"/>
                    <a:pt x="142726" y="16355"/>
                  </a:cubicBezTo>
                  <a:lnTo>
                    <a:pt x="150714" y="16355"/>
                  </a:lnTo>
                  <a:cubicBezTo>
                    <a:pt x="151329" y="16416"/>
                    <a:pt x="151877" y="15969"/>
                    <a:pt x="151939" y="15354"/>
                  </a:cubicBezTo>
                  <a:cubicBezTo>
                    <a:pt x="151947" y="15279"/>
                    <a:pt x="151947" y="15205"/>
                    <a:pt x="151939" y="15130"/>
                  </a:cubicBezTo>
                  <a:lnTo>
                    <a:pt x="151939" y="13666"/>
                  </a:lnTo>
                  <a:cubicBezTo>
                    <a:pt x="152003" y="13067"/>
                    <a:pt x="151569" y="12529"/>
                    <a:pt x="150969" y="12465"/>
                  </a:cubicBezTo>
                  <a:cubicBezTo>
                    <a:pt x="150884" y="12457"/>
                    <a:pt x="150799" y="12457"/>
                    <a:pt x="150714" y="12468"/>
                  </a:cubicBezTo>
                  <a:lnTo>
                    <a:pt x="142726" y="12468"/>
                  </a:lnTo>
                  <a:cubicBezTo>
                    <a:pt x="142462" y="12468"/>
                    <a:pt x="142247" y="12255"/>
                    <a:pt x="142247" y="11988"/>
                  </a:cubicBezTo>
                  <a:cubicBezTo>
                    <a:pt x="142247" y="11980"/>
                    <a:pt x="142247" y="11970"/>
                    <a:pt x="142247" y="11962"/>
                  </a:cubicBezTo>
                  <a:lnTo>
                    <a:pt x="142247" y="6636"/>
                  </a:lnTo>
                  <a:cubicBezTo>
                    <a:pt x="142247" y="5811"/>
                    <a:pt x="141767" y="5332"/>
                    <a:pt x="140889" y="5571"/>
                  </a:cubicBezTo>
                  <a:lnTo>
                    <a:pt x="138839" y="6104"/>
                  </a:lnTo>
                  <a:cubicBezTo>
                    <a:pt x="138200" y="6224"/>
                    <a:pt x="137760" y="6815"/>
                    <a:pt x="137827" y="7462"/>
                  </a:cubicBezTo>
                  <a:lnTo>
                    <a:pt x="137827" y="11855"/>
                  </a:lnTo>
                  <a:cubicBezTo>
                    <a:pt x="137843" y="12119"/>
                    <a:pt x="137640" y="12345"/>
                    <a:pt x="137377" y="12361"/>
                  </a:cubicBezTo>
                  <a:cubicBezTo>
                    <a:pt x="137358" y="12361"/>
                    <a:pt x="137340" y="12361"/>
                    <a:pt x="137321" y="12361"/>
                  </a:cubicBezTo>
                  <a:lnTo>
                    <a:pt x="135138" y="12361"/>
                  </a:lnTo>
                  <a:cubicBezTo>
                    <a:pt x="134539" y="12284"/>
                    <a:pt x="133993" y="12707"/>
                    <a:pt x="133915" y="13304"/>
                  </a:cubicBezTo>
                  <a:cubicBezTo>
                    <a:pt x="133905" y="13389"/>
                    <a:pt x="133905" y="13474"/>
                    <a:pt x="133913" y="13559"/>
                  </a:cubicBezTo>
                  <a:lnTo>
                    <a:pt x="133913" y="15024"/>
                  </a:lnTo>
                  <a:cubicBezTo>
                    <a:pt x="133851" y="15639"/>
                    <a:pt x="134299" y="16187"/>
                    <a:pt x="134914" y="16248"/>
                  </a:cubicBezTo>
                  <a:cubicBezTo>
                    <a:pt x="134988" y="16257"/>
                    <a:pt x="135063" y="16257"/>
                    <a:pt x="135138" y="16248"/>
                  </a:cubicBezTo>
                  <a:moveTo>
                    <a:pt x="168820" y="24023"/>
                  </a:moveTo>
                  <a:cubicBezTo>
                    <a:pt x="168758" y="24638"/>
                    <a:pt x="169206" y="25187"/>
                    <a:pt x="169821" y="25248"/>
                  </a:cubicBezTo>
                  <a:cubicBezTo>
                    <a:pt x="169895" y="25256"/>
                    <a:pt x="169970" y="25256"/>
                    <a:pt x="170044" y="25248"/>
                  </a:cubicBezTo>
                  <a:lnTo>
                    <a:pt x="175609" y="25248"/>
                  </a:lnTo>
                  <a:cubicBezTo>
                    <a:pt x="176134" y="25187"/>
                    <a:pt x="176613" y="25562"/>
                    <a:pt x="176674" y="26087"/>
                  </a:cubicBezTo>
                  <a:cubicBezTo>
                    <a:pt x="176682" y="26161"/>
                    <a:pt x="176682" y="26239"/>
                    <a:pt x="176674" y="26313"/>
                  </a:cubicBezTo>
                  <a:lnTo>
                    <a:pt x="176674" y="31772"/>
                  </a:lnTo>
                  <a:cubicBezTo>
                    <a:pt x="176581" y="32352"/>
                    <a:pt x="176975" y="32898"/>
                    <a:pt x="177556" y="32994"/>
                  </a:cubicBezTo>
                  <a:cubicBezTo>
                    <a:pt x="177659" y="33010"/>
                    <a:pt x="177769" y="33010"/>
                    <a:pt x="177872" y="32996"/>
                  </a:cubicBezTo>
                  <a:lnTo>
                    <a:pt x="179230" y="32996"/>
                  </a:lnTo>
                  <a:cubicBezTo>
                    <a:pt x="179846" y="33058"/>
                    <a:pt x="180394" y="32610"/>
                    <a:pt x="180455" y="31995"/>
                  </a:cubicBezTo>
                  <a:cubicBezTo>
                    <a:pt x="180463" y="31921"/>
                    <a:pt x="180463" y="31846"/>
                    <a:pt x="180455" y="31772"/>
                  </a:cubicBezTo>
                  <a:lnTo>
                    <a:pt x="180455" y="26313"/>
                  </a:lnTo>
                  <a:cubicBezTo>
                    <a:pt x="180410" y="25770"/>
                    <a:pt x="180812" y="25293"/>
                    <a:pt x="181353" y="25248"/>
                  </a:cubicBezTo>
                  <a:cubicBezTo>
                    <a:pt x="181408" y="25243"/>
                    <a:pt x="181464" y="25243"/>
                    <a:pt x="181520" y="25248"/>
                  </a:cubicBezTo>
                  <a:lnTo>
                    <a:pt x="186979" y="25248"/>
                  </a:lnTo>
                  <a:cubicBezTo>
                    <a:pt x="187594" y="25309"/>
                    <a:pt x="188142" y="24862"/>
                    <a:pt x="188203" y="24247"/>
                  </a:cubicBezTo>
                  <a:cubicBezTo>
                    <a:pt x="188211" y="24172"/>
                    <a:pt x="188211" y="24098"/>
                    <a:pt x="188203" y="24023"/>
                  </a:cubicBezTo>
                  <a:lnTo>
                    <a:pt x="188203" y="22665"/>
                  </a:lnTo>
                  <a:cubicBezTo>
                    <a:pt x="188267" y="22066"/>
                    <a:pt x="187833" y="21528"/>
                    <a:pt x="187234" y="21465"/>
                  </a:cubicBezTo>
                  <a:cubicBezTo>
                    <a:pt x="187149" y="21457"/>
                    <a:pt x="187064" y="21457"/>
                    <a:pt x="186979" y="21467"/>
                  </a:cubicBezTo>
                  <a:lnTo>
                    <a:pt x="181520" y="21467"/>
                  </a:lnTo>
                  <a:cubicBezTo>
                    <a:pt x="180977" y="21515"/>
                    <a:pt x="180500" y="21113"/>
                    <a:pt x="180453" y="20573"/>
                  </a:cubicBezTo>
                  <a:cubicBezTo>
                    <a:pt x="180447" y="20506"/>
                    <a:pt x="180447" y="20439"/>
                    <a:pt x="180455" y="20376"/>
                  </a:cubicBezTo>
                  <a:lnTo>
                    <a:pt x="180455" y="15050"/>
                  </a:lnTo>
                  <a:cubicBezTo>
                    <a:pt x="180535" y="14454"/>
                    <a:pt x="180114" y="13905"/>
                    <a:pt x="179515" y="13825"/>
                  </a:cubicBezTo>
                  <a:cubicBezTo>
                    <a:pt x="179422" y="13812"/>
                    <a:pt x="179326" y="13812"/>
                    <a:pt x="179230" y="13825"/>
                  </a:cubicBezTo>
                  <a:lnTo>
                    <a:pt x="177846" y="13825"/>
                  </a:lnTo>
                  <a:cubicBezTo>
                    <a:pt x="177266" y="13730"/>
                    <a:pt x="176717" y="14121"/>
                    <a:pt x="176621" y="14702"/>
                  </a:cubicBezTo>
                  <a:cubicBezTo>
                    <a:pt x="176602" y="14819"/>
                    <a:pt x="176602" y="14936"/>
                    <a:pt x="176621" y="15050"/>
                  </a:cubicBezTo>
                  <a:lnTo>
                    <a:pt x="176621" y="20376"/>
                  </a:lnTo>
                  <a:cubicBezTo>
                    <a:pt x="176698" y="20900"/>
                    <a:pt x="176336" y="21387"/>
                    <a:pt x="175814" y="21465"/>
                  </a:cubicBezTo>
                  <a:cubicBezTo>
                    <a:pt x="175729" y="21478"/>
                    <a:pt x="175641" y="21478"/>
                    <a:pt x="175556" y="21467"/>
                  </a:cubicBezTo>
                  <a:lnTo>
                    <a:pt x="170044" y="21467"/>
                  </a:lnTo>
                  <a:cubicBezTo>
                    <a:pt x="169445" y="21390"/>
                    <a:pt x="168899" y="21813"/>
                    <a:pt x="168822" y="22410"/>
                  </a:cubicBezTo>
                  <a:cubicBezTo>
                    <a:pt x="168812" y="22495"/>
                    <a:pt x="168812" y="22580"/>
                    <a:pt x="168820" y="22665"/>
                  </a:cubicBezTo>
                  <a:close/>
                  <a:moveTo>
                    <a:pt x="209185" y="48360"/>
                  </a:moveTo>
                  <a:lnTo>
                    <a:pt x="210995" y="48360"/>
                  </a:lnTo>
                  <a:cubicBezTo>
                    <a:pt x="211595" y="48421"/>
                    <a:pt x="212132" y="47987"/>
                    <a:pt x="212194" y="47385"/>
                  </a:cubicBezTo>
                  <a:cubicBezTo>
                    <a:pt x="212202" y="47311"/>
                    <a:pt x="212202" y="47236"/>
                    <a:pt x="212194" y="47161"/>
                  </a:cubicBezTo>
                  <a:lnTo>
                    <a:pt x="212194" y="37070"/>
                  </a:lnTo>
                  <a:cubicBezTo>
                    <a:pt x="212194" y="35659"/>
                    <a:pt x="212966" y="35366"/>
                    <a:pt x="214137" y="36192"/>
                  </a:cubicBezTo>
                  <a:cubicBezTo>
                    <a:pt x="216233" y="37528"/>
                    <a:pt x="218682" y="38207"/>
                    <a:pt x="221167" y="38135"/>
                  </a:cubicBezTo>
                  <a:cubicBezTo>
                    <a:pt x="228284" y="38066"/>
                    <a:pt x="233998" y="32240"/>
                    <a:pt x="233926" y="25123"/>
                  </a:cubicBezTo>
                  <a:cubicBezTo>
                    <a:pt x="233926" y="25022"/>
                    <a:pt x="233923" y="24923"/>
                    <a:pt x="233921" y="24822"/>
                  </a:cubicBezTo>
                  <a:cubicBezTo>
                    <a:pt x="234067" y="17766"/>
                    <a:pt x="228468" y="11924"/>
                    <a:pt x="221409" y="11778"/>
                  </a:cubicBezTo>
                  <a:cubicBezTo>
                    <a:pt x="221356" y="11775"/>
                    <a:pt x="221300" y="11775"/>
                    <a:pt x="221247" y="11775"/>
                  </a:cubicBezTo>
                  <a:cubicBezTo>
                    <a:pt x="218469" y="11695"/>
                    <a:pt x="215748" y="12558"/>
                    <a:pt x="213525" y="14225"/>
                  </a:cubicBezTo>
                  <a:cubicBezTo>
                    <a:pt x="212433" y="15050"/>
                    <a:pt x="211608" y="14864"/>
                    <a:pt x="211368" y="13479"/>
                  </a:cubicBezTo>
                  <a:lnTo>
                    <a:pt x="211368" y="13479"/>
                  </a:lnTo>
                  <a:cubicBezTo>
                    <a:pt x="211312" y="12814"/>
                    <a:pt x="210732" y="12316"/>
                    <a:pt x="210064" y="12361"/>
                  </a:cubicBezTo>
                  <a:lnTo>
                    <a:pt x="209185" y="12361"/>
                  </a:lnTo>
                  <a:cubicBezTo>
                    <a:pt x="208586" y="12284"/>
                    <a:pt x="208040" y="12707"/>
                    <a:pt x="207963" y="13304"/>
                  </a:cubicBezTo>
                  <a:cubicBezTo>
                    <a:pt x="207952" y="13389"/>
                    <a:pt x="207952" y="13474"/>
                    <a:pt x="207960" y="13559"/>
                  </a:cubicBezTo>
                  <a:lnTo>
                    <a:pt x="207960" y="47161"/>
                  </a:lnTo>
                  <a:cubicBezTo>
                    <a:pt x="207896" y="47760"/>
                    <a:pt x="208330" y="48298"/>
                    <a:pt x="208929" y="48362"/>
                  </a:cubicBezTo>
                  <a:cubicBezTo>
                    <a:pt x="209014" y="48370"/>
                    <a:pt x="209100" y="48370"/>
                    <a:pt x="209185" y="48360"/>
                  </a:cubicBezTo>
                  <a:moveTo>
                    <a:pt x="212540" y="28017"/>
                  </a:moveTo>
                  <a:lnTo>
                    <a:pt x="212540" y="21947"/>
                  </a:lnTo>
                  <a:cubicBezTo>
                    <a:pt x="212500" y="21206"/>
                    <a:pt x="212686" y="20474"/>
                    <a:pt x="213072" y="19843"/>
                  </a:cubicBezTo>
                  <a:cubicBezTo>
                    <a:pt x="214744" y="17260"/>
                    <a:pt x="217636" y="15727"/>
                    <a:pt x="220714" y="15796"/>
                  </a:cubicBezTo>
                  <a:cubicBezTo>
                    <a:pt x="225571" y="15985"/>
                    <a:pt x="229370" y="20045"/>
                    <a:pt x="229234" y="24902"/>
                  </a:cubicBezTo>
                  <a:cubicBezTo>
                    <a:pt x="229445" y="29825"/>
                    <a:pt x="225637" y="33992"/>
                    <a:pt x="220714" y="34221"/>
                  </a:cubicBezTo>
                  <a:cubicBezTo>
                    <a:pt x="217620" y="34304"/>
                    <a:pt x="214712" y="32746"/>
                    <a:pt x="213072" y="30121"/>
                  </a:cubicBezTo>
                  <a:cubicBezTo>
                    <a:pt x="212686" y="29490"/>
                    <a:pt x="212500" y="28757"/>
                    <a:pt x="212540" y="28017"/>
                  </a:cubicBezTo>
                  <a:moveTo>
                    <a:pt x="238740" y="24849"/>
                  </a:moveTo>
                  <a:cubicBezTo>
                    <a:pt x="238415" y="31870"/>
                    <a:pt x="243844" y="37826"/>
                    <a:pt x="250868" y="38148"/>
                  </a:cubicBezTo>
                  <a:cubicBezTo>
                    <a:pt x="251110" y="38159"/>
                    <a:pt x="251355" y="38165"/>
                    <a:pt x="251600" y="38162"/>
                  </a:cubicBezTo>
                  <a:cubicBezTo>
                    <a:pt x="256369" y="38359"/>
                    <a:pt x="260738" y="35518"/>
                    <a:pt x="262491" y="31079"/>
                  </a:cubicBezTo>
                  <a:cubicBezTo>
                    <a:pt x="262783" y="30254"/>
                    <a:pt x="262251" y="29695"/>
                    <a:pt x="261425" y="29695"/>
                  </a:cubicBezTo>
                  <a:lnTo>
                    <a:pt x="259588" y="29695"/>
                  </a:lnTo>
                  <a:cubicBezTo>
                    <a:pt x="258955" y="29684"/>
                    <a:pt x="258385" y="30081"/>
                    <a:pt x="258177" y="30680"/>
                  </a:cubicBezTo>
                  <a:cubicBezTo>
                    <a:pt x="256907" y="33090"/>
                    <a:pt x="254311" y="34498"/>
                    <a:pt x="251600" y="34248"/>
                  </a:cubicBezTo>
                  <a:cubicBezTo>
                    <a:pt x="247801" y="34344"/>
                    <a:pt x="244459" y="31748"/>
                    <a:pt x="243612" y="28044"/>
                  </a:cubicBezTo>
                  <a:cubicBezTo>
                    <a:pt x="243320" y="26926"/>
                    <a:pt x="244012" y="26207"/>
                    <a:pt x="245184" y="26207"/>
                  </a:cubicBezTo>
                  <a:lnTo>
                    <a:pt x="261718" y="26207"/>
                  </a:lnTo>
                  <a:cubicBezTo>
                    <a:pt x="262570" y="26265"/>
                    <a:pt x="263308" y="25624"/>
                    <a:pt x="263366" y="24774"/>
                  </a:cubicBezTo>
                  <a:cubicBezTo>
                    <a:pt x="263369" y="24726"/>
                    <a:pt x="263369" y="24681"/>
                    <a:pt x="263369" y="24636"/>
                  </a:cubicBezTo>
                  <a:cubicBezTo>
                    <a:pt x="263739" y="17939"/>
                    <a:pt x="258611" y="12212"/>
                    <a:pt x="251917" y="11842"/>
                  </a:cubicBezTo>
                  <a:cubicBezTo>
                    <a:pt x="251811" y="11837"/>
                    <a:pt x="251707" y="11831"/>
                    <a:pt x="251600" y="11829"/>
                  </a:cubicBezTo>
                  <a:cubicBezTo>
                    <a:pt x="244616" y="11738"/>
                    <a:pt x="238881" y="17327"/>
                    <a:pt x="238791" y="24311"/>
                  </a:cubicBezTo>
                  <a:cubicBezTo>
                    <a:pt x="238788" y="24481"/>
                    <a:pt x="238788" y="24652"/>
                    <a:pt x="238793" y="24822"/>
                  </a:cubicBezTo>
                  <a:moveTo>
                    <a:pt x="244118" y="20402"/>
                  </a:moveTo>
                  <a:cubicBezTo>
                    <a:pt x="245418" y="17542"/>
                    <a:pt x="248272" y="15708"/>
                    <a:pt x="251414" y="15716"/>
                  </a:cubicBezTo>
                  <a:cubicBezTo>
                    <a:pt x="254449" y="15711"/>
                    <a:pt x="257163" y="17604"/>
                    <a:pt x="258204" y="20455"/>
                  </a:cubicBezTo>
                  <a:cubicBezTo>
                    <a:pt x="258630" y="21627"/>
                    <a:pt x="257964" y="22399"/>
                    <a:pt x="256739" y="22399"/>
                  </a:cubicBezTo>
                  <a:lnTo>
                    <a:pt x="245476" y="22399"/>
                  </a:lnTo>
                  <a:cubicBezTo>
                    <a:pt x="244225" y="22399"/>
                    <a:pt x="243533" y="21574"/>
                    <a:pt x="244118" y="20455"/>
                  </a:cubicBezTo>
                  <a:moveTo>
                    <a:pt x="268082" y="24875"/>
                  </a:moveTo>
                  <a:cubicBezTo>
                    <a:pt x="267920" y="32064"/>
                    <a:pt x="273615" y="38026"/>
                    <a:pt x="280801" y="38188"/>
                  </a:cubicBezTo>
                  <a:cubicBezTo>
                    <a:pt x="281001" y="38194"/>
                    <a:pt x="281198" y="38194"/>
                    <a:pt x="281395" y="38188"/>
                  </a:cubicBezTo>
                  <a:cubicBezTo>
                    <a:pt x="288584" y="38351"/>
                    <a:pt x="294546" y="32658"/>
                    <a:pt x="294708" y="25469"/>
                  </a:cubicBezTo>
                  <a:cubicBezTo>
                    <a:pt x="294713" y="25269"/>
                    <a:pt x="294713" y="25072"/>
                    <a:pt x="294708" y="24875"/>
                  </a:cubicBezTo>
                  <a:cubicBezTo>
                    <a:pt x="294785" y="17774"/>
                    <a:pt x="289093" y="11954"/>
                    <a:pt x="281989" y="11874"/>
                  </a:cubicBezTo>
                  <a:cubicBezTo>
                    <a:pt x="281792" y="11871"/>
                    <a:pt x="281592" y="11874"/>
                    <a:pt x="281395" y="11882"/>
                  </a:cubicBezTo>
                  <a:cubicBezTo>
                    <a:pt x="274281" y="11647"/>
                    <a:pt x="268324" y="17223"/>
                    <a:pt x="268087" y="24335"/>
                  </a:cubicBezTo>
                  <a:cubicBezTo>
                    <a:pt x="268082" y="24516"/>
                    <a:pt x="268079" y="24694"/>
                    <a:pt x="268082" y="24875"/>
                  </a:cubicBezTo>
                  <a:moveTo>
                    <a:pt x="272662" y="25035"/>
                  </a:moveTo>
                  <a:cubicBezTo>
                    <a:pt x="272427" y="20189"/>
                    <a:pt x="276166" y="16067"/>
                    <a:pt x="281012" y="15833"/>
                  </a:cubicBezTo>
                  <a:cubicBezTo>
                    <a:pt x="281185" y="15825"/>
                    <a:pt x="281355" y="15820"/>
                    <a:pt x="281528" y="15822"/>
                  </a:cubicBezTo>
                  <a:cubicBezTo>
                    <a:pt x="286395" y="15817"/>
                    <a:pt x="290347" y="19760"/>
                    <a:pt x="290349" y="24628"/>
                  </a:cubicBezTo>
                  <a:cubicBezTo>
                    <a:pt x="290352" y="24764"/>
                    <a:pt x="290347" y="24899"/>
                    <a:pt x="290341" y="25035"/>
                  </a:cubicBezTo>
                  <a:cubicBezTo>
                    <a:pt x="290546" y="29913"/>
                    <a:pt x="286760" y="34035"/>
                    <a:pt x="281882" y="34240"/>
                  </a:cubicBezTo>
                  <a:cubicBezTo>
                    <a:pt x="281765" y="34245"/>
                    <a:pt x="281645" y="34248"/>
                    <a:pt x="281528" y="34248"/>
                  </a:cubicBezTo>
                  <a:cubicBezTo>
                    <a:pt x="276645" y="34266"/>
                    <a:pt x="272672" y="30326"/>
                    <a:pt x="272654" y="25442"/>
                  </a:cubicBezTo>
                  <a:cubicBezTo>
                    <a:pt x="272654" y="25307"/>
                    <a:pt x="272656" y="25171"/>
                    <a:pt x="272662" y="25035"/>
                  </a:cubicBezTo>
                  <a:moveTo>
                    <a:pt x="302749" y="48386"/>
                  </a:moveTo>
                  <a:lnTo>
                    <a:pt x="304533" y="48386"/>
                  </a:lnTo>
                  <a:cubicBezTo>
                    <a:pt x="305132" y="48463"/>
                    <a:pt x="305678" y="48040"/>
                    <a:pt x="305755" y="47444"/>
                  </a:cubicBezTo>
                  <a:cubicBezTo>
                    <a:pt x="305766" y="47359"/>
                    <a:pt x="305766" y="47273"/>
                    <a:pt x="305758" y="47188"/>
                  </a:cubicBezTo>
                  <a:lnTo>
                    <a:pt x="305758" y="37097"/>
                  </a:lnTo>
                  <a:cubicBezTo>
                    <a:pt x="305758" y="35686"/>
                    <a:pt x="306530" y="35393"/>
                    <a:pt x="307702" y="36218"/>
                  </a:cubicBezTo>
                  <a:cubicBezTo>
                    <a:pt x="309795" y="37560"/>
                    <a:pt x="312247" y="38236"/>
                    <a:pt x="314731" y="38162"/>
                  </a:cubicBezTo>
                  <a:cubicBezTo>
                    <a:pt x="321861" y="38077"/>
                    <a:pt x="327575" y="32227"/>
                    <a:pt x="327490" y="25096"/>
                  </a:cubicBezTo>
                  <a:cubicBezTo>
                    <a:pt x="327490" y="25014"/>
                    <a:pt x="327488" y="24931"/>
                    <a:pt x="327485" y="24849"/>
                  </a:cubicBezTo>
                  <a:cubicBezTo>
                    <a:pt x="327631" y="17793"/>
                    <a:pt x="322032" y="11951"/>
                    <a:pt x="314973" y="11805"/>
                  </a:cubicBezTo>
                  <a:cubicBezTo>
                    <a:pt x="314920" y="11802"/>
                    <a:pt x="314864" y="11802"/>
                    <a:pt x="314811" y="11802"/>
                  </a:cubicBezTo>
                  <a:cubicBezTo>
                    <a:pt x="312026" y="11725"/>
                    <a:pt x="309297" y="12587"/>
                    <a:pt x="307063" y="14252"/>
                  </a:cubicBezTo>
                  <a:cubicBezTo>
                    <a:pt x="305998" y="15077"/>
                    <a:pt x="305172" y="14891"/>
                    <a:pt x="304933" y="13506"/>
                  </a:cubicBezTo>
                  <a:lnTo>
                    <a:pt x="304933" y="13506"/>
                  </a:lnTo>
                  <a:cubicBezTo>
                    <a:pt x="304877" y="12840"/>
                    <a:pt x="304296" y="12342"/>
                    <a:pt x="303628" y="12388"/>
                  </a:cubicBezTo>
                  <a:lnTo>
                    <a:pt x="302749" y="12388"/>
                  </a:lnTo>
                  <a:cubicBezTo>
                    <a:pt x="302150" y="12310"/>
                    <a:pt x="301604" y="12734"/>
                    <a:pt x="301527" y="13330"/>
                  </a:cubicBezTo>
                  <a:cubicBezTo>
                    <a:pt x="301516" y="13415"/>
                    <a:pt x="301516" y="13501"/>
                    <a:pt x="301524" y="13586"/>
                  </a:cubicBezTo>
                  <a:lnTo>
                    <a:pt x="301524" y="47188"/>
                  </a:lnTo>
                  <a:cubicBezTo>
                    <a:pt x="301461" y="47787"/>
                    <a:pt x="301894" y="48325"/>
                    <a:pt x="302494" y="48389"/>
                  </a:cubicBezTo>
                  <a:cubicBezTo>
                    <a:pt x="302579" y="48397"/>
                    <a:pt x="302664" y="48397"/>
                    <a:pt x="302749" y="48386"/>
                  </a:cubicBezTo>
                  <a:moveTo>
                    <a:pt x="306104" y="28044"/>
                  </a:moveTo>
                  <a:lnTo>
                    <a:pt x="306104" y="21973"/>
                  </a:lnTo>
                  <a:cubicBezTo>
                    <a:pt x="306051" y="21233"/>
                    <a:pt x="306237" y="20495"/>
                    <a:pt x="306637" y="19870"/>
                  </a:cubicBezTo>
                  <a:cubicBezTo>
                    <a:pt x="308306" y="17282"/>
                    <a:pt x="311200" y="15748"/>
                    <a:pt x="314278" y="15822"/>
                  </a:cubicBezTo>
                  <a:cubicBezTo>
                    <a:pt x="319135" y="16012"/>
                    <a:pt x="322935" y="20072"/>
                    <a:pt x="322799" y="24929"/>
                  </a:cubicBezTo>
                  <a:cubicBezTo>
                    <a:pt x="323009" y="29852"/>
                    <a:pt x="319201" y="34019"/>
                    <a:pt x="314278" y="34248"/>
                  </a:cubicBezTo>
                  <a:cubicBezTo>
                    <a:pt x="311184" y="34338"/>
                    <a:pt x="308274" y="32775"/>
                    <a:pt x="306637" y="30147"/>
                  </a:cubicBezTo>
                  <a:cubicBezTo>
                    <a:pt x="306237" y="29522"/>
                    <a:pt x="306051" y="28784"/>
                    <a:pt x="306104" y="28044"/>
                  </a:cubicBezTo>
                  <a:moveTo>
                    <a:pt x="337496" y="-286"/>
                  </a:moveTo>
                  <a:lnTo>
                    <a:pt x="335366" y="-286"/>
                  </a:lnTo>
                  <a:cubicBezTo>
                    <a:pt x="334751" y="-348"/>
                    <a:pt x="334203" y="100"/>
                    <a:pt x="334141" y="715"/>
                  </a:cubicBezTo>
                  <a:cubicBezTo>
                    <a:pt x="334133" y="789"/>
                    <a:pt x="334133" y="864"/>
                    <a:pt x="334141" y="938"/>
                  </a:cubicBezTo>
                  <a:lnTo>
                    <a:pt x="334141" y="36484"/>
                  </a:lnTo>
                  <a:cubicBezTo>
                    <a:pt x="334078" y="37083"/>
                    <a:pt x="334511" y="37621"/>
                    <a:pt x="335111" y="37685"/>
                  </a:cubicBezTo>
                  <a:cubicBezTo>
                    <a:pt x="335196" y="37693"/>
                    <a:pt x="335281" y="37693"/>
                    <a:pt x="335366" y="37683"/>
                  </a:cubicBezTo>
                  <a:lnTo>
                    <a:pt x="337496" y="37683"/>
                  </a:lnTo>
                  <a:cubicBezTo>
                    <a:pt x="338095" y="37760"/>
                    <a:pt x="338641" y="37336"/>
                    <a:pt x="338718" y="36740"/>
                  </a:cubicBezTo>
                  <a:cubicBezTo>
                    <a:pt x="338729" y="36655"/>
                    <a:pt x="338729" y="36570"/>
                    <a:pt x="338721" y="36484"/>
                  </a:cubicBezTo>
                  <a:lnTo>
                    <a:pt x="338721" y="885"/>
                  </a:lnTo>
                  <a:cubicBezTo>
                    <a:pt x="338782" y="270"/>
                    <a:pt x="338335" y="-278"/>
                    <a:pt x="337720" y="-340"/>
                  </a:cubicBezTo>
                  <a:cubicBezTo>
                    <a:pt x="337645" y="-348"/>
                    <a:pt x="337571" y="-348"/>
                    <a:pt x="337496" y="-340"/>
                  </a:cubicBezTo>
                  <a:moveTo>
                    <a:pt x="345484" y="24822"/>
                  </a:moveTo>
                  <a:cubicBezTo>
                    <a:pt x="345159" y="31843"/>
                    <a:pt x="350588" y="37800"/>
                    <a:pt x="357612" y="38122"/>
                  </a:cubicBezTo>
                  <a:cubicBezTo>
                    <a:pt x="357855" y="38132"/>
                    <a:pt x="358100" y="38138"/>
                    <a:pt x="358345" y="38135"/>
                  </a:cubicBezTo>
                  <a:cubicBezTo>
                    <a:pt x="363113" y="38332"/>
                    <a:pt x="367483" y="35491"/>
                    <a:pt x="369235" y="31053"/>
                  </a:cubicBezTo>
                  <a:cubicBezTo>
                    <a:pt x="369528" y="30227"/>
                    <a:pt x="368995" y="29668"/>
                    <a:pt x="368170" y="29668"/>
                  </a:cubicBezTo>
                  <a:lnTo>
                    <a:pt x="366333" y="29668"/>
                  </a:lnTo>
                  <a:cubicBezTo>
                    <a:pt x="365699" y="29657"/>
                    <a:pt x="365129" y="30054"/>
                    <a:pt x="364921" y="30653"/>
                  </a:cubicBezTo>
                  <a:cubicBezTo>
                    <a:pt x="363651" y="33063"/>
                    <a:pt x="361058" y="34471"/>
                    <a:pt x="358345" y="34221"/>
                  </a:cubicBezTo>
                  <a:cubicBezTo>
                    <a:pt x="354561" y="34266"/>
                    <a:pt x="351249" y="31694"/>
                    <a:pt x="350357" y="28017"/>
                  </a:cubicBezTo>
                  <a:cubicBezTo>
                    <a:pt x="350064" y="26899"/>
                    <a:pt x="350756" y="26180"/>
                    <a:pt x="351928" y="26180"/>
                  </a:cubicBezTo>
                  <a:lnTo>
                    <a:pt x="368463" y="26180"/>
                  </a:lnTo>
                  <a:cubicBezTo>
                    <a:pt x="369315" y="26239"/>
                    <a:pt x="370052" y="25597"/>
                    <a:pt x="370111" y="24745"/>
                  </a:cubicBezTo>
                  <a:cubicBezTo>
                    <a:pt x="370113" y="24700"/>
                    <a:pt x="370113" y="24654"/>
                    <a:pt x="370113" y="24609"/>
                  </a:cubicBezTo>
                  <a:cubicBezTo>
                    <a:pt x="370483" y="17913"/>
                    <a:pt x="365358" y="12185"/>
                    <a:pt x="358661" y="11815"/>
                  </a:cubicBezTo>
                  <a:cubicBezTo>
                    <a:pt x="358566" y="11810"/>
                    <a:pt x="358467" y="11805"/>
                    <a:pt x="358371" y="11802"/>
                  </a:cubicBezTo>
                  <a:cubicBezTo>
                    <a:pt x="351371" y="11711"/>
                    <a:pt x="345625" y="17311"/>
                    <a:pt x="345535" y="24311"/>
                  </a:cubicBezTo>
                  <a:cubicBezTo>
                    <a:pt x="345532" y="24473"/>
                    <a:pt x="345532" y="24633"/>
                    <a:pt x="345538" y="24795"/>
                  </a:cubicBezTo>
                  <a:moveTo>
                    <a:pt x="350863" y="20376"/>
                  </a:moveTo>
                  <a:cubicBezTo>
                    <a:pt x="352165" y="17505"/>
                    <a:pt x="355032" y="15671"/>
                    <a:pt x="358185" y="15689"/>
                  </a:cubicBezTo>
                  <a:cubicBezTo>
                    <a:pt x="361215" y="15679"/>
                    <a:pt x="363923" y="17577"/>
                    <a:pt x="364948" y="20429"/>
                  </a:cubicBezTo>
                  <a:cubicBezTo>
                    <a:pt x="365401" y="21600"/>
                    <a:pt x="364708" y="22373"/>
                    <a:pt x="363484" y="22373"/>
                  </a:cubicBezTo>
                  <a:lnTo>
                    <a:pt x="352221" y="22373"/>
                  </a:lnTo>
                  <a:cubicBezTo>
                    <a:pt x="350969" y="22373"/>
                    <a:pt x="350277" y="21547"/>
                    <a:pt x="350863" y="20429"/>
                  </a:cubicBezTo>
                </a:path>
              </a:pathLst>
            </a:custGeom>
            <a:solidFill>
              <a:srgbClr val="FFFFFF"/>
            </a:solidFill>
            <a:ln w="2661" cap="flat">
              <a:noFill/>
              <a:prstDash val="solid"/>
              <a:miter/>
            </a:ln>
          </p:spPr>
          <p:txBody>
            <a:bodyPr rtlCol="0" anchor="ctr"/>
            <a:lstStyle/>
            <a:p>
              <a:endParaRPr lang="pl-PL"/>
            </a:p>
          </p:txBody>
        </p:sp>
        <p:sp>
          <p:nvSpPr>
            <p:cNvPr id="258" name="Freeform: Shape 257">
              <a:extLst>
                <a:ext uri="{FF2B5EF4-FFF2-40B4-BE49-F238E27FC236}">
                  <a16:creationId xmlns:a16="http://schemas.microsoft.com/office/drawing/2014/main" id="{AF868D36-759F-4F5C-9843-A8DD7B721928}"/>
                </a:ext>
              </a:extLst>
            </p:cNvPr>
            <p:cNvSpPr/>
            <p:nvPr/>
          </p:nvSpPr>
          <p:spPr>
            <a:xfrm>
              <a:off x="11848503" y="6635533"/>
              <a:ext cx="6855" cy="8973"/>
            </a:xfrm>
            <a:custGeom>
              <a:avLst/>
              <a:gdLst>
                <a:gd name="connsiteX0" fmla="*/ 992 w 12147"/>
                <a:gd name="connsiteY0" fmla="*/ 1467 h 15900"/>
                <a:gd name="connsiteX1" fmla="*/ 992 w 12147"/>
                <a:gd name="connsiteY1" fmla="*/ 295 h 15900"/>
                <a:gd name="connsiteX2" fmla="*/ 1519 w 12147"/>
                <a:gd name="connsiteY2" fmla="*/ -344 h 15900"/>
                <a:gd name="connsiteX3" fmla="*/ 1631 w 12147"/>
                <a:gd name="connsiteY3" fmla="*/ -344 h 15900"/>
                <a:gd name="connsiteX4" fmla="*/ 12521 w 12147"/>
                <a:gd name="connsiteY4" fmla="*/ -344 h 15900"/>
                <a:gd name="connsiteX5" fmla="*/ 13136 w 12147"/>
                <a:gd name="connsiteY5" fmla="*/ 213 h 15900"/>
                <a:gd name="connsiteX6" fmla="*/ 13133 w 12147"/>
                <a:gd name="connsiteY6" fmla="*/ 295 h 15900"/>
                <a:gd name="connsiteX7" fmla="*/ 13133 w 12147"/>
                <a:gd name="connsiteY7" fmla="*/ 1467 h 15900"/>
                <a:gd name="connsiteX8" fmla="*/ 12603 w 12147"/>
                <a:gd name="connsiteY8" fmla="*/ 2103 h 15900"/>
                <a:gd name="connsiteX9" fmla="*/ 12521 w 12147"/>
                <a:gd name="connsiteY9" fmla="*/ 2106 h 15900"/>
                <a:gd name="connsiteX10" fmla="*/ 8926 w 12147"/>
                <a:gd name="connsiteY10" fmla="*/ 2106 h 15900"/>
                <a:gd name="connsiteX11" fmla="*/ 8447 w 12147"/>
                <a:gd name="connsiteY11" fmla="*/ 2471 h 15900"/>
                <a:gd name="connsiteX12" fmla="*/ 8447 w 12147"/>
                <a:gd name="connsiteY12" fmla="*/ 2585 h 15900"/>
                <a:gd name="connsiteX13" fmla="*/ 8447 w 12147"/>
                <a:gd name="connsiteY13" fmla="*/ 14940 h 15900"/>
                <a:gd name="connsiteX14" fmla="*/ 7890 w 12147"/>
                <a:gd name="connsiteY14" fmla="*/ 15555 h 15900"/>
                <a:gd name="connsiteX15" fmla="*/ 7808 w 12147"/>
                <a:gd name="connsiteY15" fmla="*/ 15552 h 15900"/>
                <a:gd name="connsiteX16" fmla="*/ 6184 w 12147"/>
                <a:gd name="connsiteY16" fmla="*/ 15552 h 15900"/>
                <a:gd name="connsiteX17" fmla="*/ 5547 w 12147"/>
                <a:gd name="connsiteY17" fmla="*/ 15022 h 15900"/>
                <a:gd name="connsiteX18" fmla="*/ 5545 w 12147"/>
                <a:gd name="connsiteY18" fmla="*/ 14940 h 15900"/>
                <a:gd name="connsiteX19" fmla="*/ 5545 w 12147"/>
                <a:gd name="connsiteY19" fmla="*/ 2585 h 15900"/>
                <a:gd name="connsiteX20" fmla="*/ 5180 w 12147"/>
                <a:gd name="connsiteY20" fmla="*/ 2106 h 15900"/>
                <a:gd name="connsiteX21" fmla="*/ 5065 w 12147"/>
                <a:gd name="connsiteY21" fmla="*/ 2106 h 15900"/>
                <a:gd name="connsiteX22" fmla="*/ 1631 w 12147"/>
                <a:gd name="connsiteY22" fmla="*/ 2106 h 15900"/>
                <a:gd name="connsiteX23" fmla="*/ 992 w 12147"/>
                <a:gd name="connsiteY23" fmla="*/ 1579 h 15900"/>
                <a:gd name="connsiteX24" fmla="*/ 992 w 12147"/>
                <a:gd name="connsiteY24" fmla="*/ 1467 h 1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147" h="15900">
                  <a:moveTo>
                    <a:pt x="992" y="1467"/>
                  </a:moveTo>
                  <a:lnTo>
                    <a:pt x="992" y="295"/>
                  </a:lnTo>
                  <a:cubicBezTo>
                    <a:pt x="960" y="-27"/>
                    <a:pt x="1197" y="-312"/>
                    <a:pt x="1519" y="-344"/>
                  </a:cubicBezTo>
                  <a:cubicBezTo>
                    <a:pt x="1556" y="-346"/>
                    <a:pt x="1593" y="-346"/>
                    <a:pt x="1631" y="-344"/>
                  </a:cubicBezTo>
                  <a:lnTo>
                    <a:pt x="12521" y="-344"/>
                  </a:lnTo>
                  <a:cubicBezTo>
                    <a:pt x="12843" y="-360"/>
                    <a:pt x="13120" y="-112"/>
                    <a:pt x="13136" y="213"/>
                  </a:cubicBezTo>
                  <a:cubicBezTo>
                    <a:pt x="13136" y="240"/>
                    <a:pt x="13136" y="269"/>
                    <a:pt x="13133" y="295"/>
                  </a:cubicBezTo>
                  <a:lnTo>
                    <a:pt x="13133" y="1467"/>
                  </a:lnTo>
                  <a:cubicBezTo>
                    <a:pt x="13163" y="1789"/>
                    <a:pt x="12925" y="2074"/>
                    <a:pt x="12603" y="2103"/>
                  </a:cubicBezTo>
                  <a:cubicBezTo>
                    <a:pt x="12577" y="2106"/>
                    <a:pt x="12547" y="2109"/>
                    <a:pt x="12521" y="2106"/>
                  </a:cubicBezTo>
                  <a:lnTo>
                    <a:pt x="8926" y="2106"/>
                  </a:lnTo>
                  <a:cubicBezTo>
                    <a:pt x="8692" y="2074"/>
                    <a:pt x="8479" y="2239"/>
                    <a:pt x="8447" y="2471"/>
                  </a:cubicBezTo>
                  <a:cubicBezTo>
                    <a:pt x="8442" y="2508"/>
                    <a:pt x="8442" y="2548"/>
                    <a:pt x="8447" y="2585"/>
                  </a:cubicBezTo>
                  <a:lnTo>
                    <a:pt x="8447" y="14940"/>
                  </a:lnTo>
                  <a:cubicBezTo>
                    <a:pt x="8463" y="15262"/>
                    <a:pt x="8215" y="15539"/>
                    <a:pt x="7890" y="15555"/>
                  </a:cubicBezTo>
                  <a:cubicBezTo>
                    <a:pt x="7864" y="15555"/>
                    <a:pt x="7835" y="15555"/>
                    <a:pt x="7808" y="15552"/>
                  </a:cubicBezTo>
                  <a:lnTo>
                    <a:pt x="6184" y="15552"/>
                  </a:lnTo>
                  <a:cubicBezTo>
                    <a:pt x="5862" y="15581"/>
                    <a:pt x="5577" y="15345"/>
                    <a:pt x="5547" y="15022"/>
                  </a:cubicBezTo>
                  <a:cubicBezTo>
                    <a:pt x="5545" y="14996"/>
                    <a:pt x="5545" y="14966"/>
                    <a:pt x="5545" y="14940"/>
                  </a:cubicBezTo>
                  <a:lnTo>
                    <a:pt x="5545" y="2585"/>
                  </a:lnTo>
                  <a:cubicBezTo>
                    <a:pt x="5577" y="2351"/>
                    <a:pt x="5412" y="2138"/>
                    <a:pt x="5180" y="2106"/>
                  </a:cubicBezTo>
                  <a:cubicBezTo>
                    <a:pt x="5143" y="2101"/>
                    <a:pt x="5103" y="2101"/>
                    <a:pt x="5065" y="2106"/>
                  </a:cubicBezTo>
                  <a:lnTo>
                    <a:pt x="1631" y="2106"/>
                  </a:lnTo>
                  <a:cubicBezTo>
                    <a:pt x="1308" y="2138"/>
                    <a:pt x="1024" y="1901"/>
                    <a:pt x="992" y="1579"/>
                  </a:cubicBezTo>
                  <a:cubicBezTo>
                    <a:pt x="989" y="1542"/>
                    <a:pt x="989" y="1504"/>
                    <a:pt x="992" y="1467"/>
                  </a:cubicBezTo>
                </a:path>
              </a:pathLst>
            </a:custGeom>
            <a:solidFill>
              <a:srgbClr val="FFFFFF"/>
            </a:solidFill>
            <a:ln w="2661" cap="flat">
              <a:noFill/>
              <a:prstDash val="solid"/>
              <a:miter/>
            </a:ln>
          </p:spPr>
          <p:txBody>
            <a:bodyPr rtlCol="0" anchor="ctr"/>
            <a:lstStyle/>
            <a:p>
              <a:endParaRPr lang="pl-PL"/>
            </a:p>
          </p:txBody>
        </p:sp>
        <p:sp>
          <p:nvSpPr>
            <p:cNvPr id="259" name="Freeform: Shape 258">
              <a:extLst>
                <a:ext uri="{FF2B5EF4-FFF2-40B4-BE49-F238E27FC236}">
                  <a16:creationId xmlns:a16="http://schemas.microsoft.com/office/drawing/2014/main" id="{90A31ECB-A0E0-4743-8567-7936BE4BF0FD}"/>
                </a:ext>
              </a:extLst>
            </p:cNvPr>
            <p:cNvSpPr/>
            <p:nvPr/>
          </p:nvSpPr>
          <p:spPr>
            <a:xfrm>
              <a:off x="11857776" y="6635662"/>
              <a:ext cx="8810" cy="8977"/>
            </a:xfrm>
            <a:custGeom>
              <a:avLst/>
              <a:gdLst>
                <a:gd name="connsiteX0" fmla="*/ 991 w 15611"/>
                <a:gd name="connsiteY0" fmla="*/ 14943 h 15907"/>
                <a:gd name="connsiteX1" fmla="*/ 991 w 15611"/>
                <a:gd name="connsiteY1" fmla="*/ 458 h 15907"/>
                <a:gd name="connsiteX2" fmla="*/ 1675 w 15611"/>
                <a:gd name="connsiteY2" fmla="*/ -343 h 15907"/>
                <a:gd name="connsiteX3" fmla="*/ 1816 w 15611"/>
                <a:gd name="connsiteY3" fmla="*/ -340 h 15907"/>
                <a:gd name="connsiteX4" fmla="*/ 2668 w 15611"/>
                <a:gd name="connsiteY4" fmla="*/ -340 h 15907"/>
                <a:gd name="connsiteX5" fmla="*/ 3627 w 15611"/>
                <a:gd name="connsiteY5" fmla="*/ 192 h 15907"/>
                <a:gd name="connsiteX6" fmla="*/ 8526 w 15611"/>
                <a:gd name="connsiteY6" fmla="*/ 7381 h 15907"/>
                <a:gd name="connsiteX7" fmla="*/ 8915 w 15611"/>
                <a:gd name="connsiteY7" fmla="*/ 7525 h 15907"/>
                <a:gd name="connsiteX8" fmla="*/ 9059 w 15611"/>
                <a:gd name="connsiteY8" fmla="*/ 7381 h 15907"/>
                <a:gd name="connsiteX9" fmla="*/ 14064 w 15611"/>
                <a:gd name="connsiteY9" fmla="*/ 166 h 15907"/>
                <a:gd name="connsiteX10" fmla="*/ 15050 w 15611"/>
                <a:gd name="connsiteY10" fmla="*/ -340 h 15907"/>
                <a:gd name="connsiteX11" fmla="*/ 15795 w 15611"/>
                <a:gd name="connsiteY11" fmla="*/ -340 h 15907"/>
                <a:gd name="connsiteX12" fmla="*/ 16594 w 15611"/>
                <a:gd name="connsiteY12" fmla="*/ 288 h 15907"/>
                <a:gd name="connsiteX13" fmla="*/ 16594 w 15611"/>
                <a:gd name="connsiteY13" fmla="*/ 458 h 15907"/>
                <a:gd name="connsiteX14" fmla="*/ 16594 w 15611"/>
                <a:gd name="connsiteY14" fmla="*/ 14943 h 15907"/>
                <a:gd name="connsiteX15" fmla="*/ 16035 w 15611"/>
                <a:gd name="connsiteY15" fmla="*/ 15556 h 15907"/>
                <a:gd name="connsiteX16" fmla="*/ 15982 w 15611"/>
                <a:gd name="connsiteY16" fmla="*/ 15556 h 15907"/>
                <a:gd name="connsiteX17" fmla="*/ 14677 w 15611"/>
                <a:gd name="connsiteY17" fmla="*/ 15556 h 15907"/>
                <a:gd name="connsiteX18" fmla="*/ 14064 w 15611"/>
                <a:gd name="connsiteY18" fmla="*/ 15055 h 15907"/>
                <a:gd name="connsiteX19" fmla="*/ 14064 w 15611"/>
                <a:gd name="connsiteY19" fmla="*/ 14943 h 15907"/>
                <a:gd name="connsiteX20" fmla="*/ 14064 w 15611"/>
                <a:gd name="connsiteY20" fmla="*/ 4878 h 15907"/>
                <a:gd name="connsiteX21" fmla="*/ 13585 w 15611"/>
                <a:gd name="connsiteY21" fmla="*/ 4745 h 15907"/>
                <a:gd name="connsiteX22" fmla="*/ 9804 w 15611"/>
                <a:gd name="connsiteY22" fmla="*/ 10284 h 15907"/>
                <a:gd name="connsiteX23" fmla="*/ 8846 w 15611"/>
                <a:gd name="connsiteY23" fmla="*/ 10789 h 15907"/>
                <a:gd name="connsiteX24" fmla="*/ 8846 w 15611"/>
                <a:gd name="connsiteY24" fmla="*/ 10789 h 15907"/>
                <a:gd name="connsiteX25" fmla="*/ 7914 w 15611"/>
                <a:gd name="connsiteY25" fmla="*/ 10284 h 15907"/>
                <a:gd name="connsiteX26" fmla="*/ 4133 w 15611"/>
                <a:gd name="connsiteY26" fmla="*/ 4745 h 15907"/>
                <a:gd name="connsiteX27" fmla="*/ 3654 w 15611"/>
                <a:gd name="connsiteY27" fmla="*/ 4905 h 15907"/>
                <a:gd name="connsiteX28" fmla="*/ 3654 w 15611"/>
                <a:gd name="connsiteY28" fmla="*/ 14943 h 15907"/>
                <a:gd name="connsiteX29" fmla="*/ 3097 w 15611"/>
                <a:gd name="connsiteY29" fmla="*/ 15558 h 15907"/>
                <a:gd name="connsiteX30" fmla="*/ 3015 w 15611"/>
                <a:gd name="connsiteY30" fmla="*/ 15556 h 15907"/>
                <a:gd name="connsiteX31" fmla="*/ 1736 w 15611"/>
                <a:gd name="connsiteY31" fmla="*/ 15556 h 15907"/>
                <a:gd name="connsiteX32" fmla="*/ 1100 w 15611"/>
                <a:gd name="connsiteY32" fmla="*/ 15087 h 15907"/>
                <a:gd name="connsiteX33" fmla="*/ 1097 w 15611"/>
                <a:gd name="connsiteY33" fmla="*/ 14943 h 15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611" h="15907">
                  <a:moveTo>
                    <a:pt x="991" y="14943"/>
                  </a:moveTo>
                  <a:lnTo>
                    <a:pt x="991" y="458"/>
                  </a:lnTo>
                  <a:cubicBezTo>
                    <a:pt x="959" y="48"/>
                    <a:pt x="1265" y="-311"/>
                    <a:pt x="1675" y="-343"/>
                  </a:cubicBezTo>
                  <a:cubicBezTo>
                    <a:pt x="1723" y="-346"/>
                    <a:pt x="1771" y="-346"/>
                    <a:pt x="1816" y="-340"/>
                  </a:cubicBezTo>
                  <a:lnTo>
                    <a:pt x="2668" y="-340"/>
                  </a:lnTo>
                  <a:cubicBezTo>
                    <a:pt x="3062" y="-359"/>
                    <a:pt x="3435" y="-154"/>
                    <a:pt x="3627" y="192"/>
                  </a:cubicBezTo>
                  <a:lnTo>
                    <a:pt x="8526" y="7381"/>
                  </a:lnTo>
                  <a:cubicBezTo>
                    <a:pt x="8593" y="7528"/>
                    <a:pt x="8768" y="7592"/>
                    <a:pt x="8915" y="7525"/>
                  </a:cubicBezTo>
                  <a:cubicBezTo>
                    <a:pt x="8979" y="7496"/>
                    <a:pt x="9029" y="7445"/>
                    <a:pt x="9059" y="7381"/>
                  </a:cubicBezTo>
                  <a:lnTo>
                    <a:pt x="14064" y="166"/>
                  </a:lnTo>
                  <a:cubicBezTo>
                    <a:pt x="14280" y="-165"/>
                    <a:pt x="14655" y="-356"/>
                    <a:pt x="15050" y="-340"/>
                  </a:cubicBezTo>
                  <a:lnTo>
                    <a:pt x="15795" y="-340"/>
                  </a:lnTo>
                  <a:cubicBezTo>
                    <a:pt x="16189" y="-388"/>
                    <a:pt x="16546" y="-106"/>
                    <a:pt x="16594" y="288"/>
                  </a:cubicBezTo>
                  <a:cubicBezTo>
                    <a:pt x="16602" y="344"/>
                    <a:pt x="16602" y="403"/>
                    <a:pt x="16594" y="458"/>
                  </a:cubicBezTo>
                  <a:lnTo>
                    <a:pt x="16594" y="14943"/>
                  </a:lnTo>
                  <a:cubicBezTo>
                    <a:pt x="16610" y="15265"/>
                    <a:pt x="16360" y="15540"/>
                    <a:pt x="16035" y="15556"/>
                  </a:cubicBezTo>
                  <a:cubicBezTo>
                    <a:pt x="16019" y="15556"/>
                    <a:pt x="16000" y="15556"/>
                    <a:pt x="15982" y="15556"/>
                  </a:cubicBezTo>
                  <a:lnTo>
                    <a:pt x="14677" y="15556"/>
                  </a:lnTo>
                  <a:cubicBezTo>
                    <a:pt x="14371" y="15587"/>
                    <a:pt x="14096" y="15364"/>
                    <a:pt x="14064" y="15055"/>
                  </a:cubicBezTo>
                  <a:cubicBezTo>
                    <a:pt x="14062" y="15018"/>
                    <a:pt x="14062" y="14980"/>
                    <a:pt x="14064" y="14943"/>
                  </a:cubicBezTo>
                  <a:lnTo>
                    <a:pt x="14064" y="4878"/>
                  </a:lnTo>
                  <a:cubicBezTo>
                    <a:pt x="14064" y="4506"/>
                    <a:pt x="13798" y="4399"/>
                    <a:pt x="13585" y="4745"/>
                  </a:cubicBezTo>
                  <a:lnTo>
                    <a:pt x="9804" y="10284"/>
                  </a:lnTo>
                  <a:cubicBezTo>
                    <a:pt x="9602" y="10614"/>
                    <a:pt x="9234" y="10808"/>
                    <a:pt x="8846" y="10789"/>
                  </a:cubicBezTo>
                  <a:lnTo>
                    <a:pt x="8846" y="10789"/>
                  </a:lnTo>
                  <a:cubicBezTo>
                    <a:pt x="8465" y="10803"/>
                    <a:pt x="8108" y="10611"/>
                    <a:pt x="7914" y="10284"/>
                  </a:cubicBezTo>
                  <a:lnTo>
                    <a:pt x="4133" y="4745"/>
                  </a:lnTo>
                  <a:cubicBezTo>
                    <a:pt x="3920" y="4452"/>
                    <a:pt x="3654" y="4532"/>
                    <a:pt x="3654" y="4905"/>
                  </a:cubicBezTo>
                  <a:lnTo>
                    <a:pt x="3654" y="14943"/>
                  </a:lnTo>
                  <a:cubicBezTo>
                    <a:pt x="3670" y="15265"/>
                    <a:pt x="3422" y="15542"/>
                    <a:pt x="3097" y="15558"/>
                  </a:cubicBezTo>
                  <a:cubicBezTo>
                    <a:pt x="3071" y="15558"/>
                    <a:pt x="3041" y="15558"/>
                    <a:pt x="3015" y="15556"/>
                  </a:cubicBezTo>
                  <a:lnTo>
                    <a:pt x="1736" y="15556"/>
                  </a:lnTo>
                  <a:cubicBezTo>
                    <a:pt x="1430" y="15601"/>
                    <a:pt x="1145" y="15390"/>
                    <a:pt x="1100" y="15087"/>
                  </a:cubicBezTo>
                  <a:cubicBezTo>
                    <a:pt x="1092" y="15039"/>
                    <a:pt x="1092" y="14991"/>
                    <a:pt x="1097" y="14943"/>
                  </a:cubicBezTo>
                </a:path>
              </a:pathLst>
            </a:custGeom>
            <a:solidFill>
              <a:srgbClr val="FFFFFF"/>
            </a:solidFill>
            <a:ln w="2661" cap="flat">
              <a:noFill/>
              <a:prstDash val="solid"/>
              <a:miter/>
            </a:ln>
          </p:spPr>
          <p:txBody>
            <a:bodyPr rtlCol="0" anchor="ctr"/>
            <a:lstStyle/>
            <a:p>
              <a:endParaRPr lang="pl-PL"/>
            </a:p>
          </p:txBody>
        </p:sp>
      </p:grpSp>
      <p:grpSp>
        <p:nvGrpSpPr>
          <p:cNvPr id="260" name="Group 259">
            <a:extLst>
              <a:ext uri="{FF2B5EF4-FFF2-40B4-BE49-F238E27FC236}">
                <a16:creationId xmlns:a16="http://schemas.microsoft.com/office/drawing/2014/main" id="{7FD5BE93-B7CE-4247-9C24-241DCAE506BD}"/>
              </a:ext>
            </a:extLst>
          </p:cNvPr>
          <p:cNvGrpSpPr/>
          <p:nvPr userDrawn="1"/>
        </p:nvGrpSpPr>
        <p:grpSpPr>
          <a:xfrm>
            <a:off x="10855488" y="6628477"/>
            <a:ext cx="218951" cy="162658"/>
            <a:chOff x="10506075" y="6628477"/>
            <a:chExt cx="218951" cy="162658"/>
          </a:xfrm>
        </p:grpSpPr>
        <p:sp>
          <p:nvSpPr>
            <p:cNvPr id="261" name="Rectangle: Rounded Corners 260">
              <a:hlinkClick r:id="" action="ppaction://noaction"/>
              <a:extLst>
                <a:ext uri="{FF2B5EF4-FFF2-40B4-BE49-F238E27FC236}">
                  <a16:creationId xmlns:a16="http://schemas.microsoft.com/office/drawing/2014/main" id="{BA5447F8-5114-41D7-9B28-4952B8903B6A}"/>
                </a:ext>
              </a:extLst>
            </p:cNvPr>
            <p:cNvSpPr/>
            <p:nvPr userDrawn="1"/>
          </p:nvSpPr>
          <p:spPr>
            <a:xfrm>
              <a:off x="10506075" y="6628477"/>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262" name="Rectangle: Rounded Corners 261">
              <a:hlinkClick r:id="" action="ppaction://noaction"/>
              <a:extLst>
                <a:ext uri="{FF2B5EF4-FFF2-40B4-BE49-F238E27FC236}">
                  <a16:creationId xmlns:a16="http://schemas.microsoft.com/office/drawing/2014/main" id="{4974754A-40E9-45AA-8B8C-44BB00AC4DF7}"/>
                </a:ext>
              </a:extLst>
            </p:cNvPr>
            <p:cNvSpPr/>
            <p:nvPr userDrawn="1"/>
          </p:nvSpPr>
          <p:spPr>
            <a:xfrm>
              <a:off x="10506075" y="6691806"/>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263" name="Rectangle: Rounded Corners 262">
              <a:hlinkClick r:id="" action="ppaction://noaction"/>
              <a:extLst>
                <a:ext uri="{FF2B5EF4-FFF2-40B4-BE49-F238E27FC236}">
                  <a16:creationId xmlns:a16="http://schemas.microsoft.com/office/drawing/2014/main" id="{DAD5D081-1B41-48B4-A6C6-C19DEC6A196D}"/>
                </a:ext>
              </a:extLst>
            </p:cNvPr>
            <p:cNvSpPr/>
            <p:nvPr userDrawn="1"/>
          </p:nvSpPr>
          <p:spPr>
            <a:xfrm>
              <a:off x="10506075" y="6755135"/>
              <a:ext cx="218951" cy="36000"/>
            </a:xfrm>
            <a:prstGeom prst="roundRect">
              <a:avLst>
                <a:gd name="adj" fmla="val 540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grpSp>
      <p:sp>
        <p:nvSpPr>
          <p:cNvPr id="264" name="Rectangle 263">
            <a:hlinkClick r:id="" action="ppaction://noaction"/>
            <a:extLst>
              <a:ext uri="{FF2B5EF4-FFF2-40B4-BE49-F238E27FC236}">
                <a16:creationId xmlns:a16="http://schemas.microsoft.com/office/drawing/2014/main" id="{D79E72D0-871A-49F5-8F30-600BE296E8BD}"/>
              </a:ext>
            </a:extLst>
          </p:cNvPr>
          <p:cNvSpPr/>
          <p:nvPr userDrawn="1"/>
        </p:nvSpPr>
        <p:spPr>
          <a:xfrm>
            <a:off x="10760869" y="6579908"/>
            <a:ext cx="406177" cy="273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cxnSp>
        <p:nvCxnSpPr>
          <p:cNvPr id="265" name="Straight Connector 264">
            <a:extLst>
              <a:ext uri="{FF2B5EF4-FFF2-40B4-BE49-F238E27FC236}">
                <a16:creationId xmlns:a16="http://schemas.microsoft.com/office/drawing/2014/main" id="{7A792D39-53EB-498E-A63C-305E3B41123E}"/>
              </a:ext>
            </a:extLst>
          </p:cNvPr>
          <p:cNvCxnSpPr/>
          <p:nvPr userDrawn="1"/>
        </p:nvCxnSpPr>
        <p:spPr>
          <a:xfrm>
            <a:off x="5214721"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266" name="Rectangle 265">
            <a:hlinkClick r:id="" action="ppaction://noaction"/>
            <a:hlinkHover r:id="" action="ppaction://noaction" highlightClick="1"/>
            <a:extLst>
              <a:ext uri="{FF2B5EF4-FFF2-40B4-BE49-F238E27FC236}">
                <a16:creationId xmlns:a16="http://schemas.microsoft.com/office/drawing/2014/main" id="{E24F22F4-01EF-4588-AD65-4A804A00387C}"/>
              </a:ext>
            </a:extLst>
          </p:cNvPr>
          <p:cNvSpPr/>
          <p:nvPr userDrawn="1"/>
        </p:nvSpPr>
        <p:spPr>
          <a:xfrm>
            <a:off x="9539162" y="6570000"/>
            <a:ext cx="1200924" cy="2736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lnSpc>
                <a:spcPct val="90000"/>
              </a:lnSpc>
            </a:pPr>
            <a:endParaRPr lang="en-GB" sz="800" b="0" noProof="0">
              <a:solidFill>
                <a:schemeClr val="bg1">
                  <a:alpha val="50000"/>
                </a:schemeClr>
              </a:solidFill>
              <a:latin typeface="Leelawadee" panose="020B0502040204020203" pitchFamily="34" charset="-34"/>
              <a:cs typeface="Leelawadee" panose="020B0502040204020203" pitchFamily="34" charset="-34"/>
            </a:endParaRPr>
          </a:p>
        </p:txBody>
      </p:sp>
      <p:cxnSp>
        <p:nvCxnSpPr>
          <p:cNvPr id="267" name="Straight Connector 266">
            <a:extLst>
              <a:ext uri="{FF2B5EF4-FFF2-40B4-BE49-F238E27FC236}">
                <a16:creationId xmlns:a16="http://schemas.microsoft.com/office/drawing/2014/main" id="{4CD627D6-26D0-49B8-80E8-3E4FE6979E04}"/>
              </a:ext>
            </a:extLst>
          </p:cNvPr>
          <p:cNvCxnSpPr/>
          <p:nvPr userDrawn="1"/>
        </p:nvCxnSpPr>
        <p:spPr>
          <a:xfrm>
            <a:off x="10737865" y="6567351"/>
            <a:ext cx="0" cy="290649"/>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268" name="TextBox 267">
            <a:extLst>
              <a:ext uri="{FF2B5EF4-FFF2-40B4-BE49-F238E27FC236}">
                <a16:creationId xmlns:a16="http://schemas.microsoft.com/office/drawing/2014/main" id="{D863F2C3-2D17-4313-88B1-5237A08FA1DB}"/>
              </a:ext>
            </a:extLst>
          </p:cNvPr>
          <p:cNvSpPr txBox="1"/>
          <p:nvPr userDrawn="1"/>
        </p:nvSpPr>
        <p:spPr>
          <a:xfrm>
            <a:off x="208348" y="6587078"/>
            <a:ext cx="428589" cy="261610"/>
          </a:xfrm>
          <a:prstGeom prst="rect">
            <a:avLst/>
          </a:prstGeom>
          <a:noFill/>
        </p:spPr>
        <p:txBody>
          <a:bodyPr wrap="square" rtlCol="0">
            <a:spAutoFit/>
          </a:bodyPr>
          <a:lstStyle/>
          <a:p>
            <a:fld id="{2AD15D81-AC1A-4BFA-95F9-38C1BF89B685}" type="slidenum">
              <a:rPr lang="pl-PL" sz="1050" smtClean="0">
                <a:solidFill>
                  <a:schemeClr val="bg1"/>
                </a:solidFill>
                <a:latin typeface="Leelawadee" panose="020B0502040204020203" pitchFamily="34" charset="-34"/>
                <a:cs typeface="Leelawadee" panose="020B0502040204020203" pitchFamily="34" charset="-34"/>
              </a:rPr>
              <a:t>‹#›</a:t>
            </a:fld>
            <a:endParaRPr lang="pl-PL" sz="1200">
              <a:solidFill>
                <a:schemeClr val="bg1"/>
              </a:solidFill>
              <a:latin typeface="Leelawadee" panose="020B0502040204020203" pitchFamily="34" charset="-34"/>
              <a:cs typeface="Leelawadee" panose="020B0502040204020203" pitchFamily="34" charset="-34"/>
            </a:endParaRPr>
          </a:p>
        </p:txBody>
      </p:sp>
    </p:spTree>
    <p:extLst>
      <p:ext uri="{BB962C8B-B14F-4D97-AF65-F5344CB8AC3E}">
        <p14:creationId xmlns:p14="http://schemas.microsoft.com/office/powerpoint/2010/main" val="1328428880"/>
      </p:ext>
    </p:extLst>
  </p:cSld>
  <p:clrMapOvr>
    <a:masterClrMapping/>
  </p:clrMapOvr>
  <p:extLst>
    <p:ext uri="{DCECCB84-F9BA-43D5-87BE-67443E8EF086}">
      <p15:sldGuideLst xmlns:p15="http://schemas.microsoft.com/office/powerpoint/2012/main">
        <p15:guide id="1" pos="529">
          <p15:clr>
            <a:srgbClr val="FBAE40"/>
          </p15:clr>
        </p15:guide>
        <p15:guide id="2" pos="7491">
          <p15:clr>
            <a:srgbClr val="FBAE40"/>
          </p15:clr>
        </p15:guide>
        <p15:guide id="3" pos="710">
          <p15:clr>
            <a:srgbClr val="FBAE40"/>
          </p15:clr>
        </p15:guide>
        <p15:guide id="5" orient="horz" pos="187">
          <p15:clr>
            <a:srgbClr val="FBAE40"/>
          </p15:clr>
        </p15:guide>
        <p15:guide id="6" orient="horz" pos="3974">
          <p15:clr>
            <a:srgbClr val="FBAE40"/>
          </p15:clr>
        </p15:guide>
        <p15:guide id="7" orient="horz" pos="822">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Divider">
    <p:bg>
      <p:bgPr>
        <a:solidFill>
          <a:srgbClr val="0065E5"/>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9E3986C-FFEC-4BCF-BE64-3B7C69B5A048}"/>
              </a:ext>
            </a:extLst>
          </p:cNvPr>
          <p:cNvGraphicFramePr>
            <a:graphicFrameLocks noChangeAspect="1"/>
          </p:cNvGraphicFramePr>
          <p:nvPr userDrawn="1">
            <p:custDataLst>
              <p:tags r:id="rId1"/>
            </p:custDataLst>
            <p:extLst>
              <p:ext uri="{D42A27DB-BD31-4B8C-83A1-F6EECF244321}">
                <p14:modId xmlns:p14="http://schemas.microsoft.com/office/powerpoint/2010/main" val="2803464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C9E3986C-FFEC-4BCF-BE64-3B7C69B5A0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Placeholder 8" descr="A row of wind turbines&#10;&#10;Description automatically generated with low confidence">
            <a:extLst>
              <a:ext uri="{FF2B5EF4-FFF2-40B4-BE49-F238E27FC236}">
                <a16:creationId xmlns:a16="http://schemas.microsoft.com/office/drawing/2014/main" id="{ECCBDA21-3720-EC48-BB2A-E186AD6135E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 y="0"/>
            <a:ext cx="7513816" cy="6858000"/>
          </a:xfrm>
          <a:prstGeom prst="rect">
            <a:avLst/>
          </a:prstGeom>
        </p:spPr>
      </p:pic>
      <p:sp>
        <p:nvSpPr>
          <p:cNvPr id="6" name="Freeform: Shape 5">
            <a:extLst>
              <a:ext uri="{FF2B5EF4-FFF2-40B4-BE49-F238E27FC236}">
                <a16:creationId xmlns:a16="http://schemas.microsoft.com/office/drawing/2014/main" id="{1CD8A1AD-2A55-40D6-9961-7AEECC947517}"/>
              </a:ext>
            </a:extLst>
          </p:cNvPr>
          <p:cNvSpPr/>
          <p:nvPr userDrawn="1"/>
        </p:nvSpPr>
        <p:spPr>
          <a:xfrm rot="10800000" flipH="1">
            <a:off x="1" y="-772"/>
            <a:ext cx="6869788" cy="6869788"/>
          </a:xfrm>
          <a:custGeom>
            <a:avLst/>
            <a:gdLst>
              <a:gd name="connsiteX0" fmla="*/ 0 w 2298700"/>
              <a:gd name="connsiteY0" fmla="*/ 0 h 2298700"/>
              <a:gd name="connsiteX1" fmla="*/ 2298700 w 2298700"/>
              <a:gd name="connsiteY1" fmla="*/ 0 h 2298700"/>
              <a:gd name="connsiteX2" fmla="*/ 0 w 2298700"/>
              <a:gd name="connsiteY2" fmla="*/ 2298700 h 2298700"/>
              <a:gd name="connsiteX3" fmla="*/ 0 w 2298700"/>
              <a:gd name="connsiteY3" fmla="*/ 0 h 2298700"/>
            </a:gdLst>
            <a:ahLst/>
            <a:cxnLst>
              <a:cxn ang="0">
                <a:pos x="connsiteX0" y="connsiteY0"/>
              </a:cxn>
              <a:cxn ang="0">
                <a:pos x="connsiteX1" y="connsiteY1"/>
              </a:cxn>
              <a:cxn ang="0">
                <a:pos x="connsiteX2" y="connsiteY2"/>
              </a:cxn>
              <a:cxn ang="0">
                <a:pos x="connsiteX3" y="connsiteY3"/>
              </a:cxn>
            </a:cxnLst>
            <a:rect l="l" t="t" r="r" b="b"/>
            <a:pathLst>
              <a:path w="2298700" h="2298700">
                <a:moveTo>
                  <a:pt x="0" y="0"/>
                </a:moveTo>
                <a:lnTo>
                  <a:pt x="2298700" y="0"/>
                </a:lnTo>
                <a:cubicBezTo>
                  <a:pt x="1029163" y="0"/>
                  <a:pt x="0" y="1029163"/>
                  <a:pt x="0" y="2298700"/>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pic>
        <p:nvPicPr>
          <p:cNvPr id="4" name="Picture 3">
            <a:extLst>
              <a:ext uri="{FF2B5EF4-FFF2-40B4-BE49-F238E27FC236}">
                <a16:creationId xmlns:a16="http://schemas.microsoft.com/office/drawing/2014/main" id="{C23904CC-5FA5-4420-B614-89FB0EB2BC60}"/>
              </a:ext>
            </a:extLst>
          </p:cNvPr>
          <p:cNvPicPr>
            <a:picLocks noChangeAspect="1"/>
          </p:cNvPicPr>
          <p:nvPr userDrawn="1"/>
        </p:nvPicPr>
        <p:blipFill rotWithShape="1">
          <a:blip r:embed="rId6">
            <a:extLst>
              <a:ext uri="{28A0092B-C50C-407E-A947-70E740481C1C}">
                <a14:useLocalDpi xmlns:a14="http://schemas.microsoft.com/office/drawing/2010/main"/>
              </a:ext>
            </a:extLst>
          </a:blip>
          <a:srcRect l="1" r="133"/>
          <a:stretch/>
        </p:blipFill>
        <p:spPr>
          <a:xfrm>
            <a:off x="0" y="0"/>
            <a:ext cx="7513816" cy="6857999"/>
          </a:xfrm>
          <a:prstGeom prst="rect">
            <a:avLst/>
          </a:prstGeom>
        </p:spPr>
      </p:pic>
      <p:pic>
        <p:nvPicPr>
          <p:cNvPr id="20" name="Picture 19" descr="Logo&#10;&#10;Description automatically generated">
            <a:extLst>
              <a:ext uri="{FF2B5EF4-FFF2-40B4-BE49-F238E27FC236}">
                <a16:creationId xmlns:a16="http://schemas.microsoft.com/office/drawing/2014/main" id="{3222F2CE-1766-43CF-AF43-673D3F16F976}"/>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287179" y="5739255"/>
            <a:ext cx="1557599" cy="729808"/>
          </a:xfrm>
          <a:prstGeom prst="rect">
            <a:avLst/>
          </a:prstGeom>
        </p:spPr>
      </p:pic>
      <p:sp>
        <p:nvSpPr>
          <p:cNvPr id="23" name="Text Placeholder 3">
            <a:extLst>
              <a:ext uri="{FF2B5EF4-FFF2-40B4-BE49-F238E27FC236}">
                <a16:creationId xmlns:a16="http://schemas.microsoft.com/office/drawing/2014/main" id="{6966F592-F50D-44F7-A9B5-4DE157419FEE}"/>
              </a:ext>
            </a:extLst>
          </p:cNvPr>
          <p:cNvSpPr>
            <a:spLocks noGrp="1"/>
          </p:cNvSpPr>
          <p:nvPr>
            <p:ph type="body" sz="quarter" idx="15" hasCustomPrompt="1"/>
          </p:nvPr>
        </p:nvSpPr>
        <p:spPr>
          <a:xfrm>
            <a:off x="8029753" y="512763"/>
            <a:ext cx="3646309" cy="498598"/>
          </a:xfrm>
          <a:prstGeom prst="rect">
            <a:avLst/>
          </a:prstGeom>
        </p:spPr>
        <p:txBody>
          <a:bodyPr wrap="square" lIns="0" tIns="0" rIns="0" bIns="0">
            <a:spAutoFit/>
          </a:bodyPr>
          <a:lstStyle>
            <a:lvl1pPr marL="7938" indent="-7938" rtl="0">
              <a:spcBef>
                <a:spcPts val="0"/>
              </a:spcBef>
              <a:buNone/>
              <a:tabLst/>
              <a:defRPr sz="3600" b="1" i="0">
                <a:solidFill>
                  <a:schemeClr val="bg1"/>
                </a:solidFill>
                <a:latin typeface="Leelawadee" panose="020B0502040204020203" pitchFamily="34" charset="-34"/>
                <a:cs typeface="Leelawadee" panose="020B0502040204020203" pitchFamily="34" charset="-34"/>
              </a:defRPr>
            </a:lvl1pPr>
          </a:lstStyle>
          <a:p>
            <a:pPr lvl="0"/>
            <a:r>
              <a:rPr lang="en-US" noProof="0"/>
              <a:t>Title</a:t>
            </a:r>
          </a:p>
        </p:txBody>
      </p:sp>
      <p:sp>
        <p:nvSpPr>
          <p:cNvPr id="24" name="Text Placeholder 3">
            <a:extLst>
              <a:ext uri="{FF2B5EF4-FFF2-40B4-BE49-F238E27FC236}">
                <a16:creationId xmlns:a16="http://schemas.microsoft.com/office/drawing/2014/main" id="{A6734A3B-C696-4720-A17E-AA25DBB691B8}"/>
              </a:ext>
            </a:extLst>
          </p:cNvPr>
          <p:cNvSpPr>
            <a:spLocks noGrp="1"/>
          </p:cNvSpPr>
          <p:nvPr>
            <p:ph type="body" sz="quarter" idx="16" hasCustomPrompt="1"/>
          </p:nvPr>
        </p:nvSpPr>
        <p:spPr>
          <a:xfrm>
            <a:off x="8029753" y="1835306"/>
            <a:ext cx="3646309" cy="276999"/>
          </a:xfrm>
          <a:prstGeom prst="rect">
            <a:avLst/>
          </a:prstGeom>
        </p:spPr>
        <p:txBody>
          <a:bodyPr wrap="square" lIns="0" tIns="0" rIns="0" bIns="0">
            <a:spAutoFit/>
          </a:bodyPr>
          <a:lstStyle>
            <a:lvl1pPr marL="7938" indent="-7938" algn="l" rtl="0">
              <a:spcBef>
                <a:spcPts val="0"/>
              </a:spcBef>
              <a:buNone/>
              <a:tabLst/>
              <a:defRPr sz="2000" b="0" i="0">
                <a:solidFill>
                  <a:schemeClr val="bg1"/>
                </a:solidFill>
                <a:latin typeface="Leelawadee" panose="020B0502040204020203" pitchFamily="34" charset="-34"/>
                <a:cs typeface="Leelawadee" panose="020B0502040204020203" pitchFamily="34" charset="-34"/>
              </a:defRPr>
            </a:lvl1pPr>
          </a:lstStyle>
          <a:p>
            <a:pPr lvl="0"/>
            <a:r>
              <a:rPr lang="en-US" noProof="0"/>
              <a:t>Subtitle</a:t>
            </a:r>
          </a:p>
        </p:txBody>
      </p:sp>
    </p:spTree>
    <p:extLst>
      <p:ext uri="{BB962C8B-B14F-4D97-AF65-F5344CB8AC3E}">
        <p14:creationId xmlns:p14="http://schemas.microsoft.com/office/powerpoint/2010/main" val="2651365593"/>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guide id="3" orient="horz" pos="323">
          <p15:clr>
            <a:srgbClr val="FBAE40"/>
          </p15:clr>
        </p15:guide>
        <p15:guide id="4" orient="horz" pos="399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7_Cover_1">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AA36D955-B3A7-C98D-63C4-65BC52F7814E}"/>
              </a:ext>
            </a:extLst>
          </p:cNvPr>
          <p:cNvGraphicFramePr>
            <a:graphicFrameLocks noChangeAspect="1"/>
          </p:cNvGraphicFramePr>
          <p:nvPr userDrawn="1">
            <p:custDataLst>
              <p:tags r:id="rId1"/>
            </p:custDataLst>
            <p:extLst>
              <p:ext uri="{D42A27DB-BD31-4B8C-83A1-F6EECF244321}">
                <p14:modId xmlns:p14="http://schemas.microsoft.com/office/powerpoint/2010/main" val="181924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2" name="Object 21" hidden="1">
                        <a:extLst>
                          <a:ext uri="{FF2B5EF4-FFF2-40B4-BE49-F238E27FC236}">
                            <a16:creationId xmlns:a16="http://schemas.microsoft.com/office/drawing/2014/main" id="{AA36D955-B3A7-C98D-63C4-65BC52F781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3F9111E3-B6B3-F20D-E234-232A58D77455}"/>
              </a:ext>
            </a:extLst>
          </p:cNvPr>
          <p:cNvPicPr>
            <a:picLocks noChangeAspect="1"/>
          </p:cNvPicPr>
          <p:nvPr userDrawn="1"/>
        </p:nvPicPr>
        <p:blipFill>
          <a:blip r:embed="rId5"/>
          <a:stretch>
            <a:fillRect/>
          </a:stretch>
        </p:blipFill>
        <p:spPr>
          <a:xfrm>
            <a:off x="19504" y="2780"/>
            <a:ext cx="12192000" cy="6855220"/>
          </a:xfrm>
          <a:prstGeom prst="rect">
            <a:avLst/>
          </a:prstGeom>
        </p:spPr>
      </p:pic>
      <p:pic>
        <p:nvPicPr>
          <p:cNvPr id="11" name="Picture 10">
            <a:extLst>
              <a:ext uri="{FF2B5EF4-FFF2-40B4-BE49-F238E27FC236}">
                <a16:creationId xmlns:a16="http://schemas.microsoft.com/office/drawing/2014/main" id="{2DF1BD5F-C8CF-79FD-DA82-CF52C806EE65}"/>
              </a:ext>
            </a:extLst>
          </p:cNvPr>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brightnessContrast bright="-3000"/>
                    </a14:imgEffect>
                  </a14:imgLayer>
                </a14:imgProps>
              </a:ext>
              <a:ext uri="{28A0092B-C50C-407E-A947-70E740481C1C}">
                <a14:useLocalDpi xmlns:a14="http://schemas.microsoft.com/office/drawing/2010/main"/>
              </a:ext>
            </a:extLst>
          </a:blip>
          <a:srcRect l="12565" t="1080" r="26975" b="2641"/>
          <a:stretch/>
        </p:blipFill>
        <p:spPr>
          <a:xfrm>
            <a:off x="0" y="0"/>
            <a:ext cx="6483964" cy="6858000"/>
          </a:xfrm>
          <a:custGeom>
            <a:avLst/>
            <a:gdLst>
              <a:gd name="connsiteX0" fmla="*/ 0 w 6483964"/>
              <a:gd name="connsiteY0" fmla="*/ 0 h 6858000"/>
              <a:gd name="connsiteX1" fmla="*/ 6483964 w 6483964"/>
              <a:gd name="connsiteY1" fmla="*/ 0 h 6858000"/>
              <a:gd name="connsiteX2" fmla="*/ 6483964 w 6483964"/>
              <a:gd name="connsiteY2" fmla="*/ 6858000 h 6858000"/>
              <a:gd name="connsiteX3" fmla="*/ 0 w 648396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83964" h="6858000">
                <a:moveTo>
                  <a:pt x="0" y="0"/>
                </a:moveTo>
                <a:lnTo>
                  <a:pt x="6483964" y="0"/>
                </a:lnTo>
                <a:lnTo>
                  <a:pt x="6483964" y="6858000"/>
                </a:lnTo>
                <a:lnTo>
                  <a:pt x="0" y="6858000"/>
                </a:lnTo>
                <a:close/>
              </a:path>
            </a:pathLst>
          </a:custGeom>
        </p:spPr>
      </p:pic>
      <p:pic>
        <p:nvPicPr>
          <p:cNvPr id="10" name="Picture 9">
            <a:extLst>
              <a:ext uri="{FF2B5EF4-FFF2-40B4-BE49-F238E27FC236}">
                <a16:creationId xmlns:a16="http://schemas.microsoft.com/office/drawing/2014/main" id="{61359549-5A1F-9411-3B5D-0D48941C24F2}"/>
              </a:ext>
            </a:extLst>
          </p:cNvPr>
          <p:cNvPicPr>
            <a:picLocks noChangeAspect="1"/>
          </p:cNvPicPr>
          <p:nvPr userDrawn="1"/>
        </p:nvPicPr>
        <p:blipFill>
          <a:blip r:embed="rId8"/>
          <a:stretch>
            <a:fillRect/>
          </a:stretch>
        </p:blipFill>
        <p:spPr>
          <a:xfrm>
            <a:off x="6942174" y="5029200"/>
            <a:ext cx="2637118" cy="1418282"/>
          </a:xfrm>
          <a:prstGeom prst="rect">
            <a:avLst/>
          </a:prstGeom>
        </p:spPr>
      </p:pic>
      <p:sp>
        <p:nvSpPr>
          <p:cNvPr id="4" name="TextBox 3">
            <a:extLst>
              <a:ext uri="{FF2B5EF4-FFF2-40B4-BE49-F238E27FC236}">
                <a16:creationId xmlns:a16="http://schemas.microsoft.com/office/drawing/2014/main" id="{39C32344-3F64-881D-8597-493E4E19655C}"/>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mn-lt"/>
                <a:ea typeface="+mn-ea"/>
                <a:cs typeface="+mn-cs"/>
              </a:rPr>
              <a:pPr algn="r"/>
              <a:t>‹#›</a:t>
            </a:fld>
            <a:endParaRPr lang="en-US" sz="700" spc="300">
              <a:solidFill>
                <a:schemeClr val="bg1"/>
              </a:solidFill>
              <a:latin typeface="+mn-lt"/>
              <a:ea typeface="+mn-ea"/>
              <a:cs typeface="+mn-cs"/>
            </a:endParaRPr>
          </a:p>
        </p:txBody>
      </p:sp>
      <p:sp>
        <p:nvSpPr>
          <p:cNvPr id="3" name="Rectangle 2">
            <a:extLst>
              <a:ext uri="{FF2B5EF4-FFF2-40B4-BE49-F238E27FC236}">
                <a16:creationId xmlns:a16="http://schemas.microsoft.com/office/drawing/2014/main" id="{A98DFE46-B5E2-F718-94E7-DEF297DF395B}"/>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7" name="Rectangle 6">
            <a:extLst>
              <a:ext uri="{FF2B5EF4-FFF2-40B4-BE49-F238E27FC236}">
                <a16:creationId xmlns:a16="http://schemas.microsoft.com/office/drawing/2014/main" id="{8E00E491-5360-4420-3643-DDA785916048}"/>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9" name="Rectangle 8">
            <a:extLst>
              <a:ext uri="{FF2B5EF4-FFF2-40B4-BE49-F238E27FC236}">
                <a16:creationId xmlns:a16="http://schemas.microsoft.com/office/drawing/2014/main" id="{52670FD2-6DEE-3AD9-85AC-45AAB1C3274F}"/>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2" name="Rectangle 11">
            <a:extLst>
              <a:ext uri="{FF2B5EF4-FFF2-40B4-BE49-F238E27FC236}">
                <a16:creationId xmlns:a16="http://schemas.microsoft.com/office/drawing/2014/main" id="{1ED70F8B-B5D8-3BA6-1B64-F30D81678066}"/>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Rectangle 12">
            <a:extLst>
              <a:ext uri="{FF2B5EF4-FFF2-40B4-BE49-F238E27FC236}">
                <a16:creationId xmlns:a16="http://schemas.microsoft.com/office/drawing/2014/main" id="{00714F0B-729E-CAB1-D0E3-5633DF445DB1}"/>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1C1B6030-5708-896E-87F9-D9EB5A92297E}"/>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D2DD69C2-D4FE-4E6E-F4EA-F29654973D31}"/>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6" name="Rectangle 15">
            <a:extLst>
              <a:ext uri="{FF2B5EF4-FFF2-40B4-BE49-F238E27FC236}">
                <a16:creationId xmlns:a16="http://schemas.microsoft.com/office/drawing/2014/main" id="{BC48FFBE-14CD-15D0-B311-6B84759D8C47}"/>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7" name="Rectangle 16">
            <a:extLst>
              <a:ext uri="{FF2B5EF4-FFF2-40B4-BE49-F238E27FC236}">
                <a16:creationId xmlns:a16="http://schemas.microsoft.com/office/drawing/2014/main" id="{2A0CD2D3-A28D-3316-27BD-4D7CA492E49B}"/>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8" name="Rectangle 17">
            <a:extLst>
              <a:ext uri="{FF2B5EF4-FFF2-40B4-BE49-F238E27FC236}">
                <a16:creationId xmlns:a16="http://schemas.microsoft.com/office/drawing/2014/main" id="{2798D593-3A07-FA79-0F2D-3BA8F7D72047}"/>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9" name="Text Placeholder 6">
            <a:extLst>
              <a:ext uri="{FF2B5EF4-FFF2-40B4-BE49-F238E27FC236}">
                <a16:creationId xmlns:a16="http://schemas.microsoft.com/office/drawing/2014/main" id="{CCEE4AD4-5673-DC5D-0072-55F8141A6EE8}"/>
              </a:ext>
            </a:extLst>
          </p:cNvPr>
          <p:cNvSpPr>
            <a:spLocks noGrp="1"/>
          </p:cNvSpPr>
          <p:nvPr>
            <p:ph type="body" sz="quarter" idx="15" hasCustomPrompt="1"/>
          </p:nvPr>
        </p:nvSpPr>
        <p:spPr>
          <a:xfrm>
            <a:off x="6916416" y="1953851"/>
            <a:ext cx="4882138" cy="608864"/>
          </a:xfrm>
        </p:spPr>
        <p:txBody>
          <a:bodyPr bIns="0" anchor="b">
            <a:noAutofit/>
          </a:bodyPr>
          <a:lstStyle>
            <a:lvl1pPr marL="0" indent="0">
              <a:buNone/>
              <a:defRPr sz="4000" b="1" i="0">
                <a:solidFill>
                  <a:schemeClr val="bg1"/>
                </a:solidFill>
                <a:latin typeface="+mn-lt"/>
                <a:ea typeface="+mn-ea"/>
                <a:cs typeface="+mn-cs"/>
              </a:defRPr>
            </a:lvl1pPr>
          </a:lstStyle>
          <a:p>
            <a:pPr lvl="0"/>
            <a:r>
              <a:rPr lang="en-US"/>
              <a:t>Title text</a:t>
            </a:r>
          </a:p>
        </p:txBody>
      </p:sp>
      <p:sp>
        <p:nvSpPr>
          <p:cNvPr id="20" name="Text Placeholder 6">
            <a:extLst>
              <a:ext uri="{FF2B5EF4-FFF2-40B4-BE49-F238E27FC236}">
                <a16:creationId xmlns:a16="http://schemas.microsoft.com/office/drawing/2014/main" id="{D7AEF975-7E8E-3FB4-D358-82BE2CB20294}"/>
              </a:ext>
            </a:extLst>
          </p:cNvPr>
          <p:cNvSpPr>
            <a:spLocks noGrp="1"/>
          </p:cNvSpPr>
          <p:nvPr>
            <p:ph type="body" sz="quarter" idx="16" hasCustomPrompt="1"/>
          </p:nvPr>
        </p:nvSpPr>
        <p:spPr>
          <a:xfrm>
            <a:off x="6916416" y="2736147"/>
            <a:ext cx="4882138" cy="608864"/>
          </a:xfrm>
          <a:noFill/>
        </p:spPr>
        <p:txBody>
          <a:bodyPr>
            <a:noAutofit/>
          </a:bodyPr>
          <a:lstStyle>
            <a:lvl1pPr marL="0" indent="0">
              <a:buNone/>
              <a:defRPr sz="2800" b="0" i="0">
                <a:solidFill>
                  <a:schemeClr val="bg1"/>
                </a:solidFill>
                <a:latin typeface="+mn-lt"/>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0"/>
            <a:endParaRPr lang="en-US"/>
          </a:p>
        </p:txBody>
      </p:sp>
      <p:sp>
        <p:nvSpPr>
          <p:cNvPr id="21" name="Text Placeholder 6">
            <a:extLst>
              <a:ext uri="{FF2B5EF4-FFF2-40B4-BE49-F238E27FC236}">
                <a16:creationId xmlns:a16="http://schemas.microsoft.com/office/drawing/2014/main" id="{CDD05584-C1AB-97CD-2E18-F6E51E3A46FE}"/>
              </a:ext>
            </a:extLst>
          </p:cNvPr>
          <p:cNvSpPr>
            <a:spLocks noGrp="1"/>
          </p:cNvSpPr>
          <p:nvPr>
            <p:ph type="body" sz="quarter" idx="18" hasCustomPrompt="1"/>
          </p:nvPr>
        </p:nvSpPr>
        <p:spPr>
          <a:xfrm>
            <a:off x="6942174" y="3959640"/>
            <a:ext cx="4882138" cy="384460"/>
          </a:xfrm>
          <a:noFill/>
        </p:spPr>
        <p:txBody>
          <a:bodyPr>
            <a:noAutofit/>
          </a:bodyPr>
          <a:lstStyle>
            <a:lvl1pPr marL="0" indent="0">
              <a:buNone/>
              <a:defRPr sz="2000" b="0" i="0">
                <a:solidFill>
                  <a:schemeClr val="bg1"/>
                </a:solidFill>
                <a:latin typeface="+mn-lt"/>
                <a:ea typeface="+mn-ea"/>
                <a:cs typeface="+mn-cs"/>
              </a:defRPr>
            </a:lvl1pPr>
          </a:lstStyle>
          <a:p>
            <a:pPr lvl="0"/>
            <a:r>
              <a:rPr lang="en-US"/>
              <a:t>Date </a:t>
            </a:r>
          </a:p>
        </p:txBody>
      </p:sp>
      <p:pic>
        <p:nvPicPr>
          <p:cNvPr id="8" name="Picture 7">
            <a:extLst>
              <a:ext uri="{FF2B5EF4-FFF2-40B4-BE49-F238E27FC236}">
                <a16:creationId xmlns:a16="http://schemas.microsoft.com/office/drawing/2014/main" id="{22402783-288C-2D52-A4BA-8F45BACAE0B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0" y="0"/>
            <a:ext cx="5214876" cy="4513432"/>
          </a:xfrm>
          <a:prstGeom prst="rect">
            <a:avLst/>
          </a:prstGeom>
        </p:spPr>
      </p:pic>
    </p:spTree>
    <p:extLst>
      <p:ext uri="{BB962C8B-B14F-4D97-AF65-F5344CB8AC3E}">
        <p14:creationId xmlns:p14="http://schemas.microsoft.com/office/powerpoint/2010/main" val="375348341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Divider">
    <p:bg>
      <p:bgPr>
        <a:solidFill>
          <a:srgbClr val="5A971D"/>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06BCF3-DDAB-403D-8CA9-261FACF982E8}"/>
              </a:ext>
            </a:extLst>
          </p:cNvPr>
          <p:cNvGraphicFramePr>
            <a:graphicFrameLocks noChangeAspect="1"/>
          </p:cNvGraphicFramePr>
          <p:nvPr userDrawn="1">
            <p:custDataLst>
              <p:tags r:id="rId1"/>
            </p:custDataLst>
            <p:extLst>
              <p:ext uri="{D42A27DB-BD31-4B8C-83A1-F6EECF244321}">
                <p14:modId xmlns:p14="http://schemas.microsoft.com/office/powerpoint/2010/main" val="2908289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7F06BCF3-DDAB-403D-8CA9-261FACF982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45600733-47C5-4699-8308-3A99A2581CA2}"/>
              </a:ext>
            </a:extLst>
          </p:cNvPr>
          <p:cNvSpPr/>
          <p:nvPr userDrawn="1"/>
        </p:nvSpPr>
        <p:spPr>
          <a:xfrm>
            <a:off x="0" y="0"/>
            <a:ext cx="7478038" cy="68580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14" name="Text Placeholder 3">
            <a:extLst>
              <a:ext uri="{FF2B5EF4-FFF2-40B4-BE49-F238E27FC236}">
                <a16:creationId xmlns:a16="http://schemas.microsoft.com/office/drawing/2014/main" id="{EC3910F1-D605-4498-A958-35982DB6AA36}"/>
              </a:ext>
            </a:extLst>
          </p:cNvPr>
          <p:cNvSpPr>
            <a:spLocks noGrp="1"/>
          </p:cNvSpPr>
          <p:nvPr>
            <p:ph type="body" sz="quarter" idx="15" hasCustomPrompt="1"/>
          </p:nvPr>
        </p:nvSpPr>
        <p:spPr>
          <a:xfrm>
            <a:off x="8029753" y="512763"/>
            <a:ext cx="3646309" cy="498598"/>
          </a:xfrm>
          <a:prstGeom prst="rect">
            <a:avLst/>
          </a:prstGeom>
        </p:spPr>
        <p:txBody>
          <a:bodyPr wrap="square" lIns="0" tIns="0" rIns="0" bIns="0">
            <a:spAutoFit/>
          </a:bodyPr>
          <a:lstStyle>
            <a:lvl1pPr marL="7938" indent="-7938" rtl="0">
              <a:spcBef>
                <a:spcPts val="0"/>
              </a:spcBef>
              <a:buNone/>
              <a:tabLst/>
              <a:defRPr sz="3600" b="1" i="0">
                <a:solidFill>
                  <a:schemeClr val="bg1"/>
                </a:solidFill>
                <a:latin typeface="Leelawadee" panose="020B0502040204020203" pitchFamily="34" charset="-34"/>
                <a:cs typeface="Leelawadee" panose="020B0502040204020203" pitchFamily="34" charset="-34"/>
              </a:defRPr>
            </a:lvl1pPr>
          </a:lstStyle>
          <a:p>
            <a:pPr lvl="0"/>
            <a:r>
              <a:rPr lang="en-US" noProof="0"/>
              <a:t>Title</a:t>
            </a:r>
          </a:p>
        </p:txBody>
      </p:sp>
      <p:pic>
        <p:nvPicPr>
          <p:cNvPr id="15" name="Picture 14" descr="Logo&#10;&#10;Description automatically generated">
            <a:extLst>
              <a:ext uri="{FF2B5EF4-FFF2-40B4-BE49-F238E27FC236}">
                <a16:creationId xmlns:a16="http://schemas.microsoft.com/office/drawing/2014/main" id="{31900DC2-D885-4DFA-9785-CFFD77135EC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287179" y="5739255"/>
            <a:ext cx="1557599" cy="729808"/>
          </a:xfrm>
          <a:prstGeom prst="rect">
            <a:avLst/>
          </a:prstGeom>
        </p:spPr>
      </p:pic>
      <p:pic>
        <p:nvPicPr>
          <p:cNvPr id="4" name="Picture 3">
            <a:extLst>
              <a:ext uri="{FF2B5EF4-FFF2-40B4-BE49-F238E27FC236}">
                <a16:creationId xmlns:a16="http://schemas.microsoft.com/office/drawing/2014/main" id="{1F3A1BF7-83F1-4077-9AB0-FEE031D7F60D}"/>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8229" r="19037"/>
          <a:stretch/>
        </p:blipFill>
        <p:spPr>
          <a:xfrm>
            <a:off x="-14211" y="-8932"/>
            <a:ext cx="7478038" cy="6858000"/>
          </a:xfrm>
          <a:prstGeom prst="rect">
            <a:avLst/>
          </a:prstGeom>
        </p:spPr>
      </p:pic>
      <p:sp>
        <p:nvSpPr>
          <p:cNvPr id="13" name="Freeform: Shape 12">
            <a:extLst>
              <a:ext uri="{FF2B5EF4-FFF2-40B4-BE49-F238E27FC236}">
                <a16:creationId xmlns:a16="http://schemas.microsoft.com/office/drawing/2014/main" id="{0ABA205B-9E12-44B1-A996-D8A93D84D6DC}"/>
              </a:ext>
            </a:extLst>
          </p:cNvPr>
          <p:cNvSpPr/>
          <p:nvPr userDrawn="1"/>
        </p:nvSpPr>
        <p:spPr>
          <a:xfrm rot="10800000">
            <a:off x="621917" y="0"/>
            <a:ext cx="6858000" cy="6858000"/>
          </a:xfrm>
          <a:custGeom>
            <a:avLst/>
            <a:gdLst>
              <a:gd name="connsiteX0" fmla="*/ 0 w 2298700"/>
              <a:gd name="connsiteY0" fmla="*/ 0 h 2298700"/>
              <a:gd name="connsiteX1" fmla="*/ 2298700 w 2298700"/>
              <a:gd name="connsiteY1" fmla="*/ 0 h 2298700"/>
              <a:gd name="connsiteX2" fmla="*/ 0 w 2298700"/>
              <a:gd name="connsiteY2" fmla="*/ 2298700 h 2298700"/>
              <a:gd name="connsiteX3" fmla="*/ 0 w 2298700"/>
              <a:gd name="connsiteY3" fmla="*/ 0 h 2298700"/>
            </a:gdLst>
            <a:ahLst/>
            <a:cxnLst>
              <a:cxn ang="0">
                <a:pos x="connsiteX0" y="connsiteY0"/>
              </a:cxn>
              <a:cxn ang="0">
                <a:pos x="connsiteX1" y="connsiteY1"/>
              </a:cxn>
              <a:cxn ang="0">
                <a:pos x="connsiteX2" y="connsiteY2"/>
              </a:cxn>
              <a:cxn ang="0">
                <a:pos x="connsiteX3" y="connsiteY3"/>
              </a:cxn>
            </a:cxnLst>
            <a:rect l="l" t="t" r="r" b="b"/>
            <a:pathLst>
              <a:path w="2298700" h="2298700">
                <a:moveTo>
                  <a:pt x="0" y="0"/>
                </a:moveTo>
                <a:lnTo>
                  <a:pt x="2298700" y="0"/>
                </a:lnTo>
                <a:cubicBezTo>
                  <a:pt x="1029163" y="0"/>
                  <a:pt x="0" y="1029163"/>
                  <a:pt x="0" y="2298700"/>
                </a:cubicBezTo>
                <a:lnTo>
                  <a:pt x="0" y="0"/>
                </a:lnTo>
                <a:close/>
              </a:path>
            </a:pathLst>
          </a:cu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16" name="Text Placeholder 3">
            <a:extLst>
              <a:ext uri="{FF2B5EF4-FFF2-40B4-BE49-F238E27FC236}">
                <a16:creationId xmlns:a16="http://schemas.microsoft.com/office/drawing/2014/main" id="{5920EABA-9D8D-40A1-916A-855DEAACBCA3}"/>
              </a:ext>
            </a:extLst>
          </p:cNvPr>
          <p:cNvSpPr>
            <a:spLocks noGrp="1"/>
          </p:cNvSpPr>
          <p:nvPr>
            <p:ph type="body" sz="quarter" idx="16" hasCustomPrompt="1"/>
          </p:nvPr>
        </p:nvSpPr>
        <p:spPr>
          <a:xfrm>
            <a:off x="8029753" y="1835306"/>
            <a:ext cx="3646309" cy="276999"/>
          </a:xfrm>
          <a:prstGeom prst="rect">
            <a:avLst/>
          </a:prstGeom>
        </p:spPr>
        <p:txBody>
          <a:bodyPr wrap="square" lIns="0" tIns="0" rIns="0" bIns="0">
            <a:spAutoFit/>
          </a:bodyPr>
          <a:lstStyle>
            <a:lvl1pPr marL="7938" indent="-7938" algn="l" rtl="0">
              <a:spcBef>
                <a:spcPts val="0"/>
              </a:spcBef>
              <a:buNone/>
              <a:tabLst/>
              <a:defRPr sz="2000" b="0" i="0">
                <a:solidFill>
                  <a:schemeClr val="bg1"/>
                </a:solidFill>
                <a:latin typeface="Leelawadee" panose="020B0502040204020203" pitchFamily="34" charset="-34"/>
                <a:cs typeface="Leelawadee" panose="020B0502040204020203" pitchFamily="34" charset="-34"/>
              </a:defRPr>
            </a:lvl1pPr>
          </a:lstStyle>
          <a:p>
            <a:pPr lvl="0"/>
            <a:r>
              <a:rPr lang="en-US" noProof="0"/>
              <a:t>Subtitle</a:t>
            </a:r>
          </a:p>
        </p:txBody>
      </p:sp>
    </p:spTree>
    <p:extLst>
      <p:ext uri="{BB962C8B-B14F-4D97-AF65-F5344CB8AC3E}">
        <p14:creationId xmlns:p14="http://schemas.microsoft.com/office/powerpoint/2010/main" val="3189547930"/>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guide id="3" orient="horz" pos="1956">
          <p15:clr>
            <a:srgbClr val="FBAE40"/>
          </p15:clr>
        </p15:guide>
        <p15:guide id="4" orient="horz" pos="323">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Divider">
    <p:bg>
      <p:bgPr>
        <a:solidFill>
          <a:schemeClr val="accent4">
            <a:lumMod val="7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06BCF3-DDAB-403D-8CA9-261FACF982E8}"/>
              </a:ext>
            </a:extLst>
          </p:cNvPr>
          <p:cNvGraphicFramePr>
            <a:graphicFrameLocks noChangeAspect="1"/>
          </p:cNvGraphicFramePr>
          <p:nvPr userDrawn="1">
            <p:custDataLst>
              <p:tags r:id="rId1"/>
            </p:custDataLst>
            <p:extLst>
              <p:ext uri="{D42A27DB-BD31-4B8C-83A1-F6EECF244321}">
                <p14:modId xmlns:p14="http://schemas.microsoft.com/office/powerpoint/2010/main" val="344472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7F06BCF3-DDAB-403D-8CA9-261FACF982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45600733-47C5-4699-8308-3A99A2581CA2}"/>
              </a:ext>
            </a:extLst>
          </p:cNvPr>
          <p:cNvSpPr/>
          <p:nvPr userDrawn="1"/>
        </p:nvSpPr>
        <p:spPr>
          <a:xfrm>
            <a:off x="0" y="0"/>
            <a:ext cx="7478038" cy="6858000"/>
          </a:xfrm>
          <a:prstGeom prst="rect">
            <a:avLst/>
          </a:prstGeom>
          <a:solidFill>
            <a:srgbClr val="00D0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13" name="Freeform: Shape 12">
            <a:extLst>
              <a:ext uri="{FF2B5EF4-FFF2-40B4-BE49-F238E27FC236}">
                <a16:creationId xmlns:a16="http://schemas.microsoft.com/office/drawing/2014/main" id="{0ABA205B-9E12-44B1-A996-D8A93D84D6DC}"/>
              </a:ext>
            </a:extLst>
          </p:cNvPr>
          <p:cNvSpPr/>
          <p:nvPr userDrawn="1"/>
        </p:nvSpPr>
        <p:spPr>
          <a:xfrm rot="10800000" flipH="1">
            <a:off x="1" y="-1"/>
            <a:ext cx="6858000" cy="6858000"/>
          </a:xfrm>
          <a:custGeom>
            <a:avLst/>
            <a:gdLst>
              <a:gd name="connsiteX0" fmla="*/ 0 w 2298700"/>
              <a:gd name="connsiteY0" fmla="*/ 0 h 2298700"/>
              <a:gd name="connsiteX1" fmla="*/ 2298700 w 2298700"/>
              <a:gd name="connsiteY1" fmla="*/ 0 h 2298700"/>
              <a:gd name="connsiteX2" fmla="*/ 0 w 2298700"/>
              <a:gd name="connsiteY2" fmla="*/ 2298700 h 2298700"/>
              <a:gd name="connsiteX3" fmla="*/ 0 w 2298700"/>
              <a:gd name="connsiteY3" fmla="*/ 0 h 2298700"/>
            </a:gdLst>
            <a:ahLst/>
            <a:cxnLst>
              <a:cxn ang="0">
                <a:pos x="connsiteX0" y="connsiteY0"/>
              </a:cxn>
              <a:cxn ang="0">
                <a:pos x="connsiteX1" y="connsiteY1"/>
              </a:cxn>
              <a:cxn ang="0">
                <a:pos x="connsiteX2" y="connsiteY2"/>
              </a:cxn>
              <a:cxn ang="0">
                <a:pos x="connsiteX3" y="connsiteY3"/>
              </a:cxn>
            </a:cxnLst>
            <a:rect l="l" t="t" r="r" b="b"/>
            <a:pathLst>
              <a:path w="2298700" h="2298700">
                <a:moveTo>
                  <a:pt x="0" y="0"/>
                </a:moveTo>
                <a:lnTo>
                  <a:pt x="2298700" y="0"/>
                </a:lnTo>
                <a:cubicBezTo>
                  <a:pt x="1029163" y="0"/>
                  <a:pt x="0" y="1029163"/>
                  <a:pt x="0" y="2298700"/>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14" name="Text Placeholder 3">
            <a:extLst>
              <a:ext uri="{FF2B5EF4-FFF2-40B4-BE49-F238E27FC236}">
                <a16:creationId xmlns:a16="http://schemas.microsoft.com/office/drawing/2014/main" id="{EC3910F1-D605-4498-A958-35982DB6AA36}"/>
              </a:ext>
            </a:extLst>
          </p:cNvPr>
          <p:cNvSpPr>
            <a:spLocks noGrp="1"/>
          </p:cNvSpPr>
          <p:nvPr>
            <p:ph type="body" sz="quarter" idx="15" hasCustomPrompt="1"/>
          </p:nvPr>
        </p:nvSpPr>
        <p:spPr>
          <a:xfrm>
            <a:off x="8029753" y="512763"/>
            <a:ext cx="3646309" cy="498598"/>
          </a:xfrm>
          <a:prstGeom prst="rect">
            <a:avLst/>
          </a:prstGeom>
        </p:spPr>
        <p:txBody>
          <a:bodyPr wrap="square" lIns="0" tIns="0" rIns="0" bIns="0">
            <a:spAutoFit/>
          </a:bodyPr>
          <a:lstStyle>
            <a:lvl1pPr marL="7938" indent="-7938" rtl="0">
              <a:spcBef>
                <a:spcPts val="0"/>
              </a:spcBef>
              <a:buNone/>
              <a:tabLst/>
              <a:defRPr sz="3600" b="1" i="0">
                <a:solidFill>
                  <a:schemeClr val="bg1"/>
                </a:solidFill>
                <a:latin typeface="Leelawadee" panose="020B0502040204020203" pitchFamily="34" charset="-34"/>
                <a:cs typeface="Leelawadee" panose="020B0502040204020203" pitchFamily="34" charset="-34"/>
              </a:defRPr>
            </a:lvl1pPr>
          </a:lstStyle>
          <a:p>
            <a:pPr lvl="0"/>
            <a:r>
              <a:rPr lang="en-US" noProof="0"/>
              <a:t>Title</a:t>
            </a:r>
          </a:p>
        </p:txBody>
      </p:sp>
      <p:pic>
        <p:nvPicPr>
          <p:cNvPr id="15" name="Picture 14" descr="Logo&#10;&#10;Description automatically generated">
            <a:extLst>
              <a:ext uri="{FF2B5EF4-FFF2-40B4-BE49-F238E27FC236}">
                <a16:creationId xmlns:a16="http://schemas.microsoft.com/office/drawing/2014/main" id="{31900DC2-D885-4DFA-9785-CFFD77135EC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287179" y="5739255"/>
            <a:ext cx="1557599" cy="729808"/>
          </a:xfrm>
          <a:prstGeom prst="rect">
            <a:avLst/>
          </a:prstGeom>
        </p:spPr>
      </p:pic>
      <p:sp>
        <p:nvSpPr>
          <p:cNvPr id="16" name="Text Placeholder 3">
            <a:extLst>
              <a:ext uri="{FF2B5EF4-FFF2-40B4-BE49-F238E27FC236}">
                <a16:creationId xmlns:a16="http://schemas.microsoft.com/office/drawing/2014/main" id="{5920EABA-9D8D-40A1-916A-855DEAACBCA3}"/>
              </a:ext>
            </a:extLst>
          </p:cNvPr>
          <p:cNvSpPr>
            <a:spLocks noGrp="1"/>
          </p:cNvSpPr>
          <p:nvPr>
            <p:ph type="body" sz="quarter" idx="16" hasCustomPrompt="1"/>
          </p:nvPr>
        </p:nvSpPr>
        <p:spPr>
          <a:xfrm>
            <a:off x="8029753" y="1835306"/>
            <a:ext cx="3646309" cy="276999"/>
          </a:xfrm>
          <a:prstGeom prst="rect">
            <a:avLst/>
          </a:prstGeom>
        </p:spPr>
        <p:txBody>
          <a:bodyPr wrap="square" lIns="0" tIns="0" rIns="0" bIns="0">
            <a:spAutoFit/>
          </a:bodyPr>
          <a:lstStyle>
            <a:lvl1pPr marL="7938" indent="-7938" algn="l" rtl="0">
              <a:spcBef>
                <a:spcPts val="0"/>
              </a:spcBef>
              <a:buNone/>
              <a:tabLst/>
              <a:defRPr sz="2000" b="0" i="0">
                <a:solidFill>
                  <a:schemeClr val="bg1"/>
                </a:solidFill>
                <a:latin typeface="Leelawadee" panose="020B0502040204020203" pitchFamily="34" charset="-34"/>
                <a:cs typeface="Leelawadee" panose="020B0502040204020203" pitchFamily="34" charset="-34"/>
              </a:defRPr>
            </a:lvl1pPr>
          </a:lstStyle>
          <a:p>
            <a:pPr lvl="0"/>
            <a:r>
              <a:rPr lang="en-US" noProof="0"/>
              <a:t>Subtitle</a:t>
            </a:r>
          </a:p>
        </p:txBody>
      </p:sp>
      <p:pic>
        <p:nvPicPr>
          <p:cNvPr id="9" name="Picture 8">
            <a:extLst>
              <a:ext uri="{FF2B5EF4-FFF2-40B4-BE49-F238E27FC236}">
                <a16:creationId xmlns:a16="http://schemas.microsoft.com/office/drawing/2014/main" id="{32D2B39F-F348-4166-9331-748E9DBE762E}"/>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04602" y="114300"/>
            <a:ext cx="7373435" cy="6743700"/>
          </a:xfrm>
          <a:prstGeom prst="rect">
            <a:avLst/>
          </a:prstGeom>
        </p:spPr>
      </p:pic>
    </p:spTree>
    <p:extLst>
      <p:ext uri="{BB962C8B-B14F-4D97-AF65-F5344CB8AC3E}">
        <p14:creationId xmlns:p14="http://schemas.microsoft.com/office/powerpoint/2010/main" val="3755213701"/>
      </p:ext>
    </p:extLst>
  </p:cSld>
  <p:clrMapOvr>
    <a:masterClrMapping/>
  </p:clrMapOvr>
  <p:extLst>
    <p:ext uri="{DCECCB84-F9BA-43D5-87BE-67443E8EF086}">
      <p15:sldGuideLst xmlns:p15="http://schemas.microsoft.com/office/powerpoint/2012/main">
        <p15:guide id="1" pos="7355">
          <p15:clr>
            <a:srgbClr val="FBAE40"/>
          </p15:clr>
        </p15:guide>
        <p15:guide id="2" pos="325">
          <p15:clr>
            <a:srgbClr val="FBAE40"/>
          </p15:clr>
        </p15:guide>
        <p15:guide id="3" orient="horz" pos="323">
          <p15:clr>
            <a:srgbClr val="FBAE40"/>
          </p15:clr>
        </p15:guide>
        <p15:guide id="4" orient="horz" pos="3997">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3-Sub-Divider">
    <p:bg>
      <p:bgPr>
        <a:solidFill>
          <a:schemeClr val="accent4">
            <a:lumMod val="75000"/>
          </a:schemeClr>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5A58F2E-9DF4-4F6C-B580-317E75D8C7C4}"/>
              </a:ext>
            </a:extLst>
          </p:cNvPr>
          <p:cNvGraphicFramePr>
            <a:graphicFrameLocks noChangeAspect="1"/>
          </p:cNvGraphicFramePr>
          <p:nvPr userDrawn="1">
            <p:custDataLst>
              <p:tags r:id="rId1"/>
            </p:custDataLst>
            <p:extLst>
              <p:ext uri="{D42A27DB-BD31-4B8C-83A1-F6EECF244321}">
                <p14:modId xmlns:p14="http://schemas.microsoft.com/office/powerpoint/2010/main" val="2200993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0" name="Object 9" hidden="1">
                        <a:extLst>
                          <a:ext uri="{FF2B5EF4-FFF2-40B4-BE49-F238E27FC236}">
                            <a16:creationId xmlns:a16="http://schemas.microsoft.com/office/drawing/2014/main" id="{05A58F2E-9DF4-4F6C-B580-317E75D8C7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3">
            <a:extLst>
              <a:ext uri="{FF2B5EF4-FFF2-40B4-BE49-F238E27FC236}">
                <a16:creationId xmlns:a16="http://schemas.microsoft.com/office/drawing/2014/main" id="{4EB15D48-DF0F-4E4A-983E-6AB408C95170}"/>
              </a:ext>
            </a:extLst>
          </p:cNvPr>
          <p:cNvSpPr>
            <a:spLocks noGrp="1"/>
          </p:cNvSpPr>
          <p:nvPr>
            <p:ph type="body" sz="quarter" idx="15" hasCustomPrompt="1"/>
          </p:nvPr>
        </p:nvSpPr>
        <p:spPr>
          <a:xfrm>
            <a:off x="5435595" y="838200"/>
            <a:ext cx="6240467" cy="553998"/>
          </a:xfrm>
          <a:prstGeom prst="rect">
            <a:avLst/>
          </a:prstGeom>
        </p:spPr>
        <p:txBody>
          <a:bodyPr wrap="square" lIns="0" tIns="0" rIns="0" bIns="0" anchor="t">
            <a:spAutoFit/>
          </a:bodyPr>
          <a:lstStyle>
            <a:lvl1pPr marL="7938" indent="-7938" algn="l" rtl="0">
              <a:spcBef>
                <a:spcPts val="0"/>
              </a:spcBef>
              <a:buNone/>
              <a:tabLst/>
              <a:defRPr sz="4000" b="1" i="0">
                <a:solidFill>
                  <a:schemeClr val="bg1"/>
                </a:solidFill>
                <a:latin typeface="Leelawadee" panose="020B0502040204020203" pitchFamily="34" charset="-34"/>
                <a:cs typeface="Leelawadee" panose="020B0502040204020203" pitchFamily="34" charset="-34"/>
              </a:defRPr>
            </a:lvl1pPr>
          </a:lstStyle>
          <a:p>
            <a:pPr lvl="0"/>
            <a:r>
              <a:rPr lang="en-US" noProof="0"/>
              <a:t>Title</a:t>
            </a:r>
          </a:p>
        </p:txBody>
      </p:sp>
      <p:sp>
        <p:nvSpPr>
          <p:cNvPr id="29" name="Rectangle 28">
            <a:extLst>
              <a:ext uri="{FF2B5EF4-FFF2-40B4-BE49-F238E27FC236}">
                <a16:creationId xmlns:a16="http://schemas.microsoft.com/office/drawing/2014/main" id="{27DEAF1F-EF5A-4E4F-8B4B-967ECBB8264E}"/>
              </a:ext>
            </a:extLst>
          </p:cNvPr>
          <p:cNvSpPr/>
          <p:nvPr userDrawn="1"/>
        </p:nvSpPr>
        <p:spPr>
          <a:xfrm>
            <a:off x="0" y="0"/>
            <a:ext cx="2298700" cy="2298700"/>
          </a:xfrm>
          <a:prstGeom prst="rect">
            <a:avLst/>
          </a:prstGeom>
          <a:solidFill>
            <a:srgbClr val="00D0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22" name="Rectangle 21">
            <a:extLst>
              <a:ext uri="{FF2B5EF4-FFF2-40B4-BE49-F238E27FC236}">
                <a16:creationId xmlns:a16="http://schemas.microsoft.com/office/drawing/2014/main" id="{E85768F3-71F1-4DF0-B686-E0F881C01912}"/>
              </a:ext>
            </a:extLst>
          </p:cNvPr>
          <p:cNvSpPr/>
          <p:nvPr userDrawn="1"/>
        </p:nvSpPr>
        <p:spPr>
          <a:xfrm>
            <a:off x="0" y="2298701"/>
            <a:ext cx="2298700" cy="2298700"/>
          </a:xfrm>
          <a:prstGeom prst="rect">
            <a:avLst/>
          </a:prstGeom>
          <a:solidFill>
            <a:srgbClr val="00D0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23" name="Rectangle 22">
            <a:extLst>
              <a:ext uri="{FF2B5EF4-FFF2-40B4-BE49-F238E27FC236}">
                <a16:creationId xmlns:a16="http://schemas.microsoft.com/office/drawing/2014/main" id="{29B8E4DE-97B8-4681-982E-ADB24A8444AC}"/>
              </a:ext>
            </a:extLst>
          </p:cNvPr>
          <p:cNvSpPr/>
          <p:nvPr userDrawn="1"/>
        </p:nvSpPr>
        <p:spPr>
          <a:xfrm>
            <a:off x="2298700" y="0"/>
            <a:ext cx="2298700" cy="2298700"/>
          </a:xfrm>
          <a:prstGeom prst="rect">
            <a:avLst/>
          </a:prstGeom>
          <a:solidFill>
            <a:srgbClr val="00D0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24" name="Rectangle 23">
            <a:extLst>
              <a:ext uri="{FF2B5EF4-FFF2-40B4-BE49-F238E27FC236}">
                <a16:creationId xmlns:a16="http://schemas.microsoft.com/office/drawing/2014/main" id="{3D62C860-692A-4D90-9165-00938B731278}"/>
              </a:ext>
            </a:extLst>
          </p:cNvPr>
          <p:cNvSpPr/>
          <p:nvPr userDrawn="1"/>
        </p:nvSpPr>
        <p:spPr>
          <a:xfrm>
            <a:off x="2298700" y="2298701"/>
            <a:ext cx="2298700" cy="22987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28" name="Freeform: Shape 27">
            <a:extLst>
              <a:ext uri="{FF2B5EF4-FFF2-40B4-BE49-F238E27FC236}">
                <a16:creationId xmlns:a16="http://schemas.microsoft.com/office/drawing/2014/main" id="{D778CD25-16D5-4545-AA64-C54B990296A7}"/>
              </a:ext>
            </a:extLst>
          </p:cNvPr>
          <p:cNvSpPr/>
          <p:nvPr userDrawn="1"/>
        </p:nvSpPr>
        <p:spPr>
          <a:xfrm>
            <a:off x="0" y="0"/>
            <a:ext cx="2298700" cy="2298700"/>
          </a:xfrm>
          <a:custGeom>
            <a:avLst/>
            <a:gdLst>
              <a:gd name="connsiteX0" fmla="*/ 2298700 w 2298700"/>
              <a:gd name="connsiteY0" fmla="*/ 0 h 2298700"/>
              <a:gd name="connsiteX1" fmla="*/ 2298700 w 2298700"/>
              <a:gd name="connsiteY1" fmla="*/ 2298700 h 2298700"/>
              <a:gd name="connsiteX2" fmla="*/ 0 w 2298700"/>
              <a:gd name="connsiteY2" fmla="*/ 2298700 h 2298700"/>
              <a:gd name="connsiteX3" fmla="*/ 2298700 w 2298700"/>
              <a:gd name="connsiteY3" fmla="*/ 0 h 2298700"/>
            </a:gdLst>
            <a:ahLst/>
            <a:cxnLst>
              <a:cxn ang="0">
                <a:pos x="connsiteX0" y="connsiteY0"/>
              </a:cxn>
              <a:cxn ang="0">
                <a:pos x="connsiteX1" y="connsiteY1"/>
              </a:cxn>
              <a:cxn ang="0">
                <a:pos x="connsiteX2" y="connsiteY2"/>
              </a:cxn>
              <a:cxn ang="0">
                <a:pos x="connsiteX3" y="connsiteY3"/>
              </a:cxn>
            </a:cxnLst>
            <a:rect l="l" t="t" r="r" b="b"/>
            <a:pathLst>
              <a:path w="2298700" h="2298700">
                <a:moveTo>
                  <a:pt x="2298700" y="0"/>
                </a:moveTo>
                <a:lnTo>
                  <a:pt x="2298700" y="2298700"/>
                </a:lnTo>
                <a:lnTo>
                  <a:pt x="0" y="2298700"/>
                </a:lnTo>
                <a:cubicBezTo>
                  <a:pt x="0" y="1029163"/>
                  <a:pt x="1029163" y="0"/>
                  <a:pt x="22987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31" name="Freeform: Shape 30">
            <a:extLst>
              <a:ext uri="{FF2B5EF4-FFF2-40B4-BE49-F238E27FC236}">
                <a16:creationId xmlns:a16="http://schemas.microsoft.com/office/drawing/2014/main" id="{360BD2DA-036B-4188-8971-A0E477C28632}"/>
              </a:ext>
            </a:extLst>
          </p:cNvPr>
          <p:cNvSpPr/>
          <p:nvPr userDrawn="1"/>
        </p:nvSpPr>
        <p:spPr>
          <a:xfrm rot="5400000">
            <a:off x="2298700" y="0"/>
            <a:ext cx="2298700" cy="2298700"/>
          </a:xfrm>
          <a:custGeom>
            <a:avLst/>
            <a:gdLst>
              <a:gd name="connsiteX0" fmla="*/ 2298700 w 2298700"/>
              <a:gd name="connsiteY0" fmla="*/ 0 h 2298700"/>
              <a:gd name="connsiteX1" fmla="*/ 2298700 w 2298700"/>
              <a:gd name="connsiteY1" fmla="*/ 2298700 h 2298700"/>
              <a:gd name="connsiteX2" fmla="*/ 0 w 2298700"/>
              <a:gd name="connsiteY2" fmla="*/ 2298700 h 2298700"/>
              <a:gd name="connsiteX3" fmla="*/ 2298700 w 2298700"/>
              <a:gd name="connsiteY3" fmla="*/ 0 h 2298700"/>
            </a:gdLst>
            <a:ahLst/>
            <a:cxnLst>
              <a:cxn ang="0">
                <a:pos x="connsiteX0" y="connsiteY0"/>
              </a:cxn>
              <a:cxn ang="0">
                <a:pos x="connsiteX1" y="connsiteY1"/>
              </a:cxn>
              <a:cxn ang="0">
                <a:pos x="connsiteX2" y="connsiteY2"/>
              </a:cxn>
              <a:cxn ang="0">
                <a:pos x="connsiteX3" y="connsiteY3"/>
              </a:cxn>
            </a:cxnLst>
            <a:rect l="l" t="t" r="r" b="b"/>
            <a:pathLst>
              <a:path w="2298700" h="2298700">
                <a:moveTo>
                  <a:pt x="2298700" y="0"/>
                </a:moveTo>
                <a:lnTo>
                  <a:pt x="2298700" y="2298700"/>
                </a:lnTo>
                <a:lnTo>
                  <a:pt x="0" y="2298700"/>
                </a:lnTo>
                <a:cubicBezTo>
                  <a:pt x="0" y="1029163"/>
                  <a:pt x="1029163" y="0"/>
                  <a:pt x="2298700" y="0"/>
                </a:cubicBezTo>
                <a:close/>
              </a:path>
            </a:pathLst>
          </a:cu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32" name="Freeform: Shape 31">
            <a:extLst>
              <a:ext uri="{FF2B5EF4-FFF2-40B4-BE49-F238E27FC236}">
                <a16:creationId xmlns:a16="http://schemas.microsoft.com/office/drawing/2014/main" id="{2E4D2C27-C255-4E7C-958F-F974E6423A21}"/>
              </a:ext>
            </a:extLst>
          </p:cNvPr>
          <p:cNvSpPr/>
          <p:nvPr userDrawn="1"/>
        </p:nvSpPr>
        <p:spPr>
          <a:xfrm flipV="1">
            <a:off x="0" y="2298700"/>
            <a:ext cx="2298700" cy="2298700"/>
          </a:xfrm>
          <a:custGeom>
            <a:avLst/>
            <a:gdLst>
              <a:gd name="connsiteX0" fmla="*/ 2298700 w 2298700"/>
              <a:gd name="connsiteY0" fmla="*/ 0 h 2298700"/>
              <a:gd name="connsiteX1" fmla="*/ 2298700 w 2298700"/>
              <a:gd name="connsiteY1" fmla="*/ 2298700 h 2298700"/>
              <a:gd name="connsiteX2" fmla="*/ 0 w 2298700"/>
              <a:gd name="connsiteY2" fmla="*/ 2298700 h 2298700"/>
              <a:gd name="connsiteX3" fmla="*/ 2298700 w 2298700"/>
              <a:gd name="connsiteY3" fmla="*/ 0 h 2298700"/>
            </a:gdLst>
            <a:ahLst/>
            <a:cxnLst>
              <a:cxn ang="0">
                <a:pos x="connsiteX0" y="connsiteY0"/>
              </a:cxn>
              <a:cxn ang="0">
                <a:pos x="connsiteX1" y="connsiteY1"/>
              </a:cxn>
              <a:cxn ang="0">
                <a:pos x="connsiteX2" y="connsiteY2"/>
              </a:cxn>
              <a:cxn ang="0">
                <a:pos x="connsiteX3" y="connsiteY3"/>
              </a:cxn>
            </a:cxnLst>
            <a:rect l="l" t="t" r="r" b="b"/>
            <a:pathLst>
              <a:path w="2298700" h="2298700">
                <a:moveTo>
                  <a:pt x="2298700" y="0"/>
                </a:moveTo>
                <a:lnTo>
                  <a:pt x="2298700" y="2298700"/>
                </a:lnTo>
                <a:lnTo>
                  <a:pt x="0" y="2298700"/>
                </a:lnTo>
                <a:cubicBezTo>
                  <a:pt x="0" y="1029163"/>
                  <a:pt x="1029163" y="0"/>
                  <a:pt x="2298700" y="0"/>
                </a:cubicBezTo>
                <a:close/>
              </a:path>
            </a:pathLst>
          </a:custGeom>
          <a:solidFill>
            <a:srgbClr val="00BC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33" name="Freeform: Shape 32">
            <a:extLst>
              <a:ext uri="{FF2B5EF4-FFF2-40B4-BE49-F238E27FC236}">
                <a16:creationId xmlns:a16="http://schemas.microsoft.com/office/drawing/2014/main" id="{F21292C8-517F-449B-937E-CB52015C4AE9}"/>
              </a:ext>
            </a:extLst>
          </p:cNvPr>
          <p:cNvSpPr/>
          <p:nvPr userDrawn="1"/>
        </p:nvSpPr>
        <p:spPr>
          <a:xfrm rot="16200000" flipV="1">
            <a:off x="2298700" y="2298700"/>
            <a:ext cx="2298700" cy="2298700"/>
          </a:xfrm>
          <a:custGeom>
            <a:avLst/>
            <a:gdLst>
              <a:gd name="connsiteX0" fmla="*/ 2298700 w 2298700"/>
              <a:gd name="connsiteY0" fmla="*/ 0 h 2298700"/>
              <a:gd name="connsiteX1" fmla="*/ 2298700 w 2298700"/>
              <a:gd name="connsiteY1" fmla="*/ 2298700 h 2298700"/>
              <a:gd name="connsiteX2" fmla="*/ 0 w 2298700"/>
              <a:gd name="connsiteY2" fmla="*/ 2298700 h 2298700"/>
              <a:gd name="connsiteX3" fmla="*/ 2298700 w 2298700"/>
              <a:gd name="connsiteY3" fmla="*/ 0 h 2298700"/>
            </a:gdLst>
            <a:ahLst/>
            <a:cxnLst>
              <a:cxn ang="0">
                <a:pos x="connsiteX0" y="connsiteY0"/>
              </a:cxn>
              <a:cxn ang="0">
                <a:pos x="connsiteX1" y="connsiteY1"/>
              </a:cxn>
              <a:cxn ang="0">
                <a:pos x="connsiteX2" y="connsiteY2"/>
              </a:cxn>
              <a:cxn ang="0">
                <a:pos x="connsiteX3" y="connsiteY3"/>
              </a:cxn>
            </a:cxnLst>
            <a:rect l="l" t="t" r="r" b="b"/>
            <a:pathLst>
              <a:path w="2298700" h="2298700">
                <a:moveTo>
                  <a:pt x="2298700" y="0"/>
                </a:moveTo>
                <a:lnTo>
                  <a:pt x="2298700" y="2298700"/>
                </a:lnTo>
                <a:lnTo>
                  <a:pt x="0" y="2298700"/>
                </a:lnTo>
                <a:cubicBezTo>
                  <a:pt x="0" y="1029163"/>
                  <a:pt x="1029163" y="0"/>
                  <a:pt x="2298700" y="0"/>
                </a:cubicBezTo>
                <a:close/>
              </a:path>
            </a:pathLst>
          </a:custGeom>
          <a:solidFill>
            <a:srgbClr val="00D06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34" name="Freeform: Shape 33">
            <a:extLst>
              <a:ext uri="{FF2B5EF4-FFF2-40B4-BE49-F238E27FC236}">
                <a16:creationId xmlns:a16="http://schemas.microsoft.com/office/drawing/2014/main" id="{B3C9DEEA-65E3-410D-B9D7-B7571D824B16}"/>
              </a:ext>
            </a:extLst>
          </p:cNvPr>
          <p:cNvSpPr/>
          <p:nvPr userDrawn="1"/>
        </p:nvSpPr>
        <p:spPr>
          <a:xfrm>
            <a:off x="2298698" y="2297153"/>
            <a:ext cx="2298700" cy="2298700"/>
          </a:xfrm>
          <a:custGeom>
            <a:avLst/>
            <a:gdLst>
              <a:gd name="connsiteX0" fmla="*/ 0 w 2298700"/>
              <a:gd name="connsiteY0" fmla="*/ 0 h 2298700"/>
              <a:gd name="connsiteX1" fmla="*/ 2298700 w 2298700"/>
              <a:gd name="connsiteY1" fmla="*/ 0 h 2298700"/>
              <a:gd name="connsiteX2" fmla="*/ 0 w 2298700"/>
              <a:gd name="connsiteY2" fmla="*/ 2298700 h 2298700"/>
              <a:gd name="connsiteX3" fmla="*/ 0 w 2298700"/>
              <a:gd name="connsiteY3" fmla="*/ 0 h 2298700"/>
            </a:gdLst>
            <a:ahLst/>
            <a:cxnLst>
              <a:cxn ang="0">
                <a:pos x="connsiteX0" y="connsiteY0"/>
              </a:cxn>
              <a:cxn ang="0">
                <a:pos x="connsiteX1" y="connsiteY1"/>
              </a:cxn>
              <a:cxn ang="0">
                <a:pos x="connsiteX2" y="connsiteY2"/>
              </a:cxn>
              <a:cxn ang="0">
                <a:pos x="connsiteX3" y="connsiteY3"/>
              </a:cxn>
            </a:cxnLst>
            <a:rect l="l" t="t" r="r" b="b"/>
            <a:pathLst>
              <a:path w="2298700" h="2298700">
                <a:moveTo>
                  <a:pt x="0" y="0"/>
                </a:moveTo>
                <a:lnTo>
                  <a:pt x="2298700" y="0"/>
                </a:lnTo>
                <a:cubicBezTo>
                  <a:pt x="1029163" y="0"/>
                  <a:pt x="0" y="1029163"/>
                  <a:pt x="0" y="2298700"/>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35" name="Rectangle 34">
            <a:extLst>
              <a:ext uri="{FF2B5EF4-FFF2-40B4-BE49-F238E27FC236}">
                <a16:creationId xmlns:a16="http://schemas.microsoft.com/office/drawing/2014/main" id="{B790B156-20E6-4219-92F6-B4EB13B49541}"/>
              </a:ext>
            </a:extLst>
          </p:cNvPr>
          <p:cNvSpPr/>
          <p:nvPr userDrawn="1"/>
        </p:nvSpPr>
        <p:spPr>
          <a:xfrm>
            <a:off x="0" y="4595853"/>
            <a:ext cx="2298700" cy="2260598"/>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36" name="Rectangle 35">
            <a:extLst>
              <a:ext uri="{FF2B5EF4-FFF2-40B4-BE49-F238E27FC236}">
                <a16:creationId xmlns:a16="http://schemas.microsoft.com/office/drawing/2014/main" id="{7270F2D2-C833-4056-B9C6-92CC2DF76DEE}"/>
              </a:ext>
            </a:extLst>
          </p:cNvPr>
          <p:cNvSpPr/>
          <p:nvPr userDrawn="1"/>
        </p:nvSpPr>
        <p:spPr>
          <a:xfrm>
            <a:off x="2298700" y="4595853"/>
            <a:ext cx="2298700" cy="226214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37" name="Freeform: Shape 36">
            <a:extLst>
              <a:ext uri="{FF2B5EF4-FFF2-40B4-BE49-F238E27FC236}">
                <a16:creationId xmlns:a16="http://schemas.microsoft.com/office/drawing/2014/main" id="{B020F72A-CDD9-48E6-9B5B-86F6D735E491}"/>
              </a:ext>
            </a:extLst>
          </p:cNvPr>
          <p:cNvSpPr/>
          <p:nvPr userDrawn="1"/>
        </p:nvSpPr>
        <p:spPr>
          <a:xfrm rot="10800000">
            <a:off x="2298696" y="4559299"/>
            <a:ext cx="2298700" cy="2298700"/>
          </a:xfrm>
          <a:custGeom>
            <a:avLst/>
            <a:gdLst>
              <a:gd name="connsiteX0" fmla="*/ 0 w 2298700"/>
              <a:gd name="connsiteY0" fmla="*/ 0 h 2298700"/>
              <a:gd name="connsiteX1" fmla="*/ 2298700 w 2298700"/>
              <a:gd name="connsiteY1" fmla="*/ 0 h 2298700"/>
              <a:gd name="connsiteX2" fmla="*/ 0 w 2298700"/>
              <a:gd name="connsiteY2" fmla="*/ 2298700 h 2298700"/>
              <a:gd name="connsiteX3" fmla="*/ 0 w 2298700"/>
              <a:gd name="connsiteY3" fmla="*/ 0 h 2298700"/>
            </a:gdLst>
            <a:ahLst/>
            <a:cxnLst>
              <a:cxn ang="0">
                <a:pos x="connsiteX0" y="connsiteY0"/>
              </a:cxn>
              <a:cxn ang="0">
                <a:pos x="connsiteX1" y="connsiteY1"/>
              </a:cxn>
              <a:cxn ang="0">
                <a:pos x="connsiteX2" y="connsiteY2"/>
              </a:cxn>
              <a:cxn ang="0">
                <a:pos x="connsiteX3" y="connsiteY3"/>
              </a:cxn>
            </a:cxnLst>
            <a:rect l="l" t="t" r="r" b="b"/>
            <a:pathLst>
              <a:path w="2298700" h="2298700">
                <a:moveTo>
                  <a:pt x="0" y="0"/>
                </a:moveTo>
                <a:lnTo>
                  <a:pt x="2298700" y="0"/>
                </a:lnTo>
                <a:cubicBezTo>
                  <a:pt x="1029163" y="0"/>
                  <a:pt x="0" y="1029163"/>
                  <a:pt x="0" y="2298700"/>
                </a:cubicBezTo>
                <a:lnTo>
                  <a:pt x="0" y="0"/>
                </a:lnTo>
                <a:close/>
              </a:path>
            </a:pathLst>
          </a:custGeom>
          <a:solidFill>
            <a:srgbClr val="00BC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7" name="Right Triangle 6">
            <a:extLst>
              <a:ext uri="{FF2B5EF4-FFF2-40B4-BE49-F238E27FC236}">
                <a16:creationId xmlns:a16="http://schemas.microsoft.com/office/drawing/2014/main" id="{3D15B0BC-6A43-4216-AE94-804BD48B303B}"/>
              </a:ext>
            </a:extLst>
          </p:cNvPr>
          <p:cNvSpPr/>
          <p:nvPr userDrawn="1"/>
        </p:nvSpPr>
        <p:spPr>
          <a:xfrm>
            <a:off x="0" y="5462546"/>
            <a:ext cx="2298692" cy="1395454"/>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Tree>
    <p:extLst>
      <p:ext uri="{BB962C8B-B14F-4D97-AF65-F5344CB8AC3E}">
        <p14:creationId xmlns:p14="http://schemas.microsoft.com/office/powerpoint/2010/main" val="312572579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Sub-Sub-Divider">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306A473-E852-43C8-8FFD-BB83C54C89B6}"/>
              </a:ext>
            </a:extLst>
          </p:cNvPr>
          <p:cNvGraphicFramePr>
            <a:graphicFrameLocks noChangeAspect="1"/>
          </p:cNvGraphicFramePr>
          <p:nvPr userDrawn="1">
            <p:custDataLst>
              <p:tags r:id="rId1"/>
            </p:custDataLst>
            <p:extLst>
              <p:ext uri="{D42A27DB-BD31-4B8C-83A1-F6EECF244321}">
                <p14:modId xmlns:p14="http://schemas.microsoft.com/office/powerpoint/2010/main" val="2453707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2306A473-E852-43C8-8FFD-BB83C54C8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42519C45-A85B-499F-AC90-71D2B5EA0EB4}"/>
              </a:ext>
            </a:extLst>
          </p:cNvPr>
          <p:cNvSpPr>
            <a:spLocks noGrp="1"/>
          </p:cNvSpPr>
          <p:nvPr>
            <p:ph type="body" sz="quarter" idx="15" hasCustomPrompt="1"/>
          </p:nvPr>
        </p:nvSpPr>
        <p:spPr>
          <a:xfrm>
            <a:off x="3657600" y="2840474"/>
            <a:ext cx="4876800" cy="1177053"/>
          </a:xfrm>
          <a:prstGeom prst="rect">
            <a:avLst/>
          </a:prstGeom>
        </p:spPr>
        <p:txBody>
          <a:bodyPr lIns="0" tIns="0" rIns="0" bIns="0">
            <a:spAutoFit/>
          </a:bodyPr>
          <a:lstStyle>
            <a:lvl1pPr marL="7938" indent="-7938" algn="ctr" rtl="0">
              <a:lnSpc>
                <a:spcPct val="110000"/>
              </a:lnSpc>
              <a:spcBef>
                <a:spcPts val="0"/>
              </a:spcBef>
              <a:buNone/>
              <a:tabLst/>
              <a:defRPr sz="3600" b="1" i="0" spc="70" baseline="0">
                <a:solidFill>
                  <a:schemeClr val="bg1"/>
                </a:solidFill>
                <a:latin typeface="Leelawadee" panose="020B0502040204020203" pitchFamily="34" charset="-34"/>
                <a:cs typeface="Leelawadee" panose="020B0502040204020203" pitchFamily="34" charset="-34"/>
              </a:defRPr>
            </a:lvl1pPr>
          </a:lstStyle>
          <a:p>
            <a:pPr lvl="0"/>
            <a:r>
              <a:rPr lang="en-US" noProof="0"/>
              <a:t>PepsiCo Positive</a:t>
            </a:r>
          </a:p>
          <a:p>
            <a:pPr lvl="0"/>
            <a:r>
              <a:rPr lang="en-US" noProof="0"/>
              <a:t>Template</a:t>
            </a:r>
          </a:p>
        </p:txBody>
      </p:sp>
    </p:spTree>
    <p:extLst>
      <p:ext uri="{BB962C8B-B14F-4D97-AF65-F5344CB8AC3E}">
        <p14:creationId xmlns:p14="http://schemas.microsoft.com/office/powerpoint/2010/main" val="339387711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Divider">
    <p:bg>
      <p:bgPr>
        <a:solidFill>
          <a:schemeClr val="accent2">
            <a:lumMod val="7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06BCF3-DDAB-403D-8CA9-261FACF982E8}"/>
              </a:ext>
            </a:extLst>
          </p:cNvPr>
          <p:cNvGraphicFramePr>
            <a:graphicFrameLocks noChangeAspect="1"/>
          </p:cNvGraphicFramePr>
          <p:nvPr userDrawn="1">
            <p:custDataLst>
              <p:tags r:id="rId1"/>
            </p:custDataLst>
            <p:extLst>
              <p:ext uri="{D42A27DB-BD31-4B8C-83A1-F6EECF244321}">
                <p14:modId xmlns:p14="http://schemas.microsoft.com/office/powerpoint/2010/main" val="1241801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7F06BCF3-DDAB-403D-8CA9-261FACF982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FA8C6288-2571-4D28-9F32-FC8576185BAE}"/>
              </a:ext>
            </a:extLst>
          </p:cNvPr>
          <p:cNvSpPr/>
          <p:nvPr userDrawn="1"/>
        </p:nvSpPr>
        <p:spPr>
          <a:xfrm>
            <a:off x="0" y="0"/>
            <a:ext cx="7478038" cy="6858000"/>
          </a:xfrm>
          <a:prstGeom prst="rect">
            <a:avLst/>
          </a:prstGeom>
          <a:solidFill>
            <a:srgbClr val="00A6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14" name="Text Placeholder 3">
            <a:extLst>
              <a:ext uri="{FF2B5EF4-FFF2-40B4-BE49-F238E27FC236}">
                <a16:creationId xmlns:a16="http://schemas.microsoft.com/office/drawing/2014/main" id="{EC3910F1-D605-4498-A958-35982DB6AA36}"/>
              </a:ext>
            </a:extLst>
          </p:cNvPr>
          <p:cNvSpPr>
            <a:spLocks noGrp="1"/>
          </p:cNvSpPr>
          <p:nvPr>
            <p:ph type="body" sz="quarter" idx="15" hasCustomPrompt="1"/>
          </p:nvPr>
        </p:nvSpPr>
        <p:spPr>
          <a:xfrm>
            <a:off x="8029753" y="512763"/>
            <a:ext cx="3646309" cy="498598"/>
          </a:xfrm>
          <a:prstGeom prst="rect">
            <a:avLst/>
          </a:prstGeom>
        </p:spPr>
        <p:txBody>
          <a:bodyPr wrap="square" lIns="0" tIns="0" rIns="0" bIns="0">
            <a:spAutoFit/>
          </a:bodyPr>
          <a:lstStyle>
            <a:lvl1pPr marL="7938" indent="-7938" rtl="0">
              <a:spcBef>
                <a:spcPts val="0"/>
              </a:spcBef>
              <a:buNone/>
              <a:tabLst/>
              <a:defRPr sz="3600" b="1" i="0">
                <a:solidFill>
                  <a:schemeClr val="bg1"/>
                </a:solidFill>
                <a:latin typeface="Leelawadee" panose="020B0502040204020203" pitchFamily="34" charset="-34"/>
                <a:cs typeface="Leelawadee" panose="020B0502040204020203" pitchFamily="34" charset="-34"/>
              </a:defRPr>
            </a:lvl1pPr>
          </a:lstStyle>
          <a:p>
            <a:pPr lvl="0"/>
            <a:r>
              <a:rPr lang="en-US" noProof="0"/>
              <a:t>Title</a:t>
            </a:r>
          </a:p>
        </p:txBody>
      </p:sp>
      <p:pic>
        <p:nvPicPr>
          <p:cNvPr id="15" name="Picture 14" descr="Logo&#10;&#10;Description automatically generated">
            <a:extLst>
              <a:ext uri="{FF2B5EF4-FFF2-40B4-BE49-F238E27FC236}">
                <a16:creationId xmlns:a16="http://schemas.microsoft.com/office/drawing/2014/main" id="{31900DC2-D885-4DFA-9785-CFFD77135EC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287179" y="5739255"/>
            <a:ext cx="1557599" cy="729808"/>
          </a:xfrm>
          <a:prstGeom prst="rect">
            <a:avLst/>
          </a:prstGeom>
        </p:spPr>
      </p:pic>
      <p:pic>
        <p:nvPicPr>
          <p:cNvPr id="4" name="Picture 3" descr="A picture containing text, sky, outdoor, sign&#10;&#10;Description automatically generated">
            <a:extLst>
              <a:ext uri="{FF2B5EF4-FFF2-40B4-BE49-F238E27FC236}">
                <a16:creationId xmlns:a16="http://schemas.microsoft.com/office/drawing/2014/main" id="{98742D09-FACE-441C-906F-EC1348849D1D}"/>
              </a:ext>
            </a:extLst>
          </p:cNvPr>
          <p:cNvPicPr>
            <a:picLocks noChangeAspect="1"/>
          </p:cNvPicPr>
          <p:nvPr userDrawn="1"/>
        </p:nvPicPr>
        <p:blipFill rotWithShape="1">
          <a:blip r:embed="rId6">
            <a:extLst>
              <a:ext uri="{28A0092B-C50C-407E-A947-70E740481C1C}">
                <a14:useLocalDpi xmlns:a14="http://schemas.microsoft.com/office/drawing/2010/main"/>
              </a:ext>
            </a:extLst>
          </a:blip>
          <a:srcRect t="3303" b="7494"/>
          <a:stretch/>
        </p:blipFill>
        <p:spPr>
          <a:xfrm>
            <a:off x="0" y="0"/>
            <a:ext cx="7478038" cy="6858000"/>
          </a:xfrm>
          <a:prstGeom prst="rect">
            <a:avLst/>
          </a:prstGeom>
        </p:spPr>
      </p:pic>
      <p:sp>
        <p:nvSpPr>
          <p:cNvPr id="16" name="Text Placeholder 3">
            <a:extLst>
              <a:ext uri="{FF2B5EF4-FFF2-40B4-BE49-F238E27FC236}">
                <a16:creationId xmlns:a16="http://schemas.microsoft.com/office/drawing/2014/main" id="{5920EABA-9D8D-40A1-916A-855DEAACBCA3}"/>
              </a:ext>
            </a:extLst>
          </p:cNvPr>
          <p:cNvSpPr>
            <a:spLocks noGrp="1"/>
          </p:cNvSpPr>
          <p:nvPr>
            <p:ph type="body" sz="quarter" idx="16" hasCustomPrompt="1"/>
          </p:nvPr>
        </p:nvSpPr>
        <p:spPr>
          <a:xfrm>
            <a:off x="8029753" y="1835306"/>
            <a:ext cx="3646309" cy="276999"/>
          </a:xfrm>
          <a:prstGeom prst="rect">
            <a:avLst/>
          </a:prstGeom>
        </p:spPr>
        <p:txBody>
          <a:bodyPr wrap="square" lIns="0" tIns="0" rIns="0" bIns="0">
            <a:spAutoFit/>
          </a:bodyPr>
          <a:lstStyle>
            <a:lvl1pPr marL="7938" indent="-7938" algn="l" rtl="0">
              <a:spcBef>
                <a:spcPts val="0"/>
              </a:spcBef>
              <a:buNone/>
              <a:tabLst/>
              <a:defRPr sz="2000" b="0" i="0">
                <a:solidFill>
                  <a:schemeClr val="bg1"/>
                </a:solidFill>
                <a:latin typeface="Leelawadee" panose="020B0502040204020203" pitchFamily="34" charset="-34"/>
                <a:cs typeface="Leelawadee" panose="020B0502040204020203" pitchFamily="34" charset="-34"/>
              </a:defRPr>
            </a:lvl1pPr>
          </a:lstStyle>
          <a:p>
            <a:pPr lvl="0"/>
            <a:r>
              <a:rPr lang="en-US" noProof="0"/>
              <a:t>Subtitle</a:t>
            </a:r>
          </a:p>
        </p:txBody>
      </p:sp>
      <p:sp>
        <p:nvSpPr>
          <p:cNvPr id="19" name="Freeform: Shape 18">
            <a:extLst>
              <a:ext uri="{FF2B5EF4-FFF2-40B4-BE49-F238E27FC236}">
                <a16:creationId xmlns:a16="http://schemas.microsoft.com/office/drawing/2014/main" id="{F7A4204A-92E2-473A-979D-9E45248E7FD2}"/>
              </a:ext>
            </a:extLst>
          </p:cNvPr>
          <p:cNvSpPr/>
          <p:nvPr userDrawn="1"/>
        </p:nvSpPr>
        <p:spPr>
          <a:xfrm rot="16200000" flipH="1">
            <a:off x="1" y="-1"/>
            <a:ext cx="6858000" cy="6858000"/>
          </a:xfrm>
          <a:custGeom>
            <a:avLst/>
            <a:gdLst>
              <a:gd name="connsiteX0" fmla="*/ 0 w 2298700"/>
              <a:gd name="connsiteY0" fmla="*/ 0 h 2298700"/>
              <a:gd name="connsiteX1" fmla="*/ 2298700 w 2298700"/>
              <a:gd name="connsiteY1" fmla="*/ 0 h 2298700"/>
              <a:gd name="connsiteX2" fmla="*/ 0 w 2298700"/>
              <a:gd name="connsiteY2" fmla="*/ 2298700 h 2298700"/>
              <a:gd name="connsiteX3" fmla="*/ 0 w 2298700"/>
              <a:gd name="connsiteY3" fmla="*/ 0 h 2298700"/>
            </a:gdLst>
            <a:ahLst/>
            <a:cxnLst>
              <a:cxn ang="0">
                <a:pos x="connsiteX0" y="connsiteY0"/>
              </a:cxn>
              <a:cxn ang="0">
                <a:pos x="connsiteX1" y="connsiteY1"/>
              </a:cxn>
              <a:cxn ang="0">
                <a:pos x="connsiteX2" y="connsiteY2"/>
              </a:cxn>
              <a:cxn ang="0">
                <a:pos x="connsiteX3" y="connsiteY3"/>
              </a:cxn>
            </a:cxnLst>
            <a:rect l="l" t="t" r="r" b="b"/>
            <a:pathLst>
              <a:path w="2298700" h="2298700">
                <a:moveTo>
                  <a:pt x="0" y="0"/>
                </a:moveTo>
                <a:lnTo>
                  <a:pt x="2298700" y="0"/>
                </a:lnTo>
                <a:cubicBezTo>
                  <a:pt x="1029163" y="0"/>
                  <a:pt x="0" y="1029163"/>
                  <a:pt x="0" y="2298700"/>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pic>
        <p:nvPicPr>
          <p:cNvPr id="6" name="Picture 5" descr="A picture containing text, outdoor&#10;&#10;Description automatically generated">
            <a:extLst>
              <a:ext uri="{FF2B5EF4-FFF2-40B4-BE49-F238E27FC236}">
                <a16:creationId xmlns:a16="http://schemas.microsoft.com/office/drawing/2014/main" id="{4DDE1645-3A4D-42A5-913B-DEA792972BA5}"/>
              </a:ext>
            </a:extLst>
          </p:cNvPr>
          <p:cNvPicPr>
            <a:picLocks noChangeAspect="1"/>
          </p:cNvPicPr>
          <p:nvPr userDrawn="1"/>
        </p:nvPicPr>
        <p:blipFill rotWithShape="1">
          <a:blip r:embed="rId7">
            <a:extLst>
              <a:ext uri="{28A0092B-C50C-407E-A947-70E740481C1C}">
                <a14:useLocalDpi xmlns:a14="http://schemas.microsoft.com/office/drawing/2010/main"/>
              </a:ext>
            </a:extLst>
          </a:blip>
          <a:srcRect l="21398" t="3469" r="18481" b="28307"/>
          <a:stretch/>
        </p:blipFill>
        <p:spPr>
          <a:xfrm>
            <a:off x="1600199" y="-2"/>
            <a:ext cx="4495801" cy="5245102"/>
          </a:xfrm>
          <a:prstGeom prst="rect">
            <a:avLst/>
          </a:prstGeom>
        </p:spPr>
      </p:pic>
    </p:spTree>
    <p:extLst>
      <p:ext uri="{BB962C8B-B14F-4D97-AF65-F5344CB8AC3E}">
        <p14:creationId xmlns:p14="http://schemas.microsoft.com/office/powerpoint/2010/main" val="105495218"/>
      </p:ext>
    </p:extLst>
  </p:cSld>
  <p:clrMapOvr>
    <a:masterClrMapping/>
  </p:clrMapOvr>
  <p:extLst>
    <p:ext uri="{DCECCB84-F9BA-43D5-87BE-67443E8EF086}">
      <p15:sldGuideLst xmlns:p15="http://schemas.microsoft.com/office/powerpoint/2012/main">
        <p15:guide id="1" pos="7355">
          <p15:clr>
            <a:srgbClr val="FBAE40"/>
          </p15:clr>
        </p15:guide>
        <p15:guide id="2" pos="325">
          <p15:clr>
            <a:srgbClr val="FBAE40"/>
          </p15:clr>
        </p15:guide>
        <p15:guide id="3" orient="horz" pos="323">
          <p15:clr>
            <a:srgbClr val="FBAE40"/>
          </p15:clr>
        </p15:guide>
        <p15:guide id="4" orient="horz" pos="3997">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Sub-Divider">
    <p:bg>
      <p:bgPr>
        <a:solidFill>
          <a:schemeClr val="accent2">
            <a:lumMod val="75000"/>
          </a:schemeClr>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5A58F2E-9DF4-4F6C-B580-317E75D8C7C4}"/>
              </a:ext>
            </a:extLst>
          </p:cNvPr>
          <p:cNvGraphicFramePr>
            <a:graphicFrameLocks noChangeAspect="1"/>
          </p:cNvGraphicFramePr>
          <p:nvPr userDrawn="1">
            <p:custDataLst>
              <p:tags r:id="rId1"/>
            </p:custDataLst>
            <p:extLst>
              <p:ext uri="{D42A27DB-BD31-4B8C-83A1-F6EECF244321}">
                <p14:modId xmlns:p14="http://schemas.microsoft.com/office/powerpoint/2010/main" val="4205338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0" name="Object 9" hidden="1">
                        <a:extLst>
                          <a:ext uri="{FF2B5EF4-FFF2-40B4-BE49-F238E27FC236}">
                            <a16:creationId xmlns:a16="http://schemas.microsoft.com/office/drawing/2014/main" id="{05A58F2E-9DF4-4F6C-B580-317E75D8C7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3">
            <a:extLst>
              <a:ext uri="{FF2B5EF4-FFF2-40B4-BE49-F238E27FC236}">
                <a16:creationId xmlns:a16="http://schemas.microsoft.com/office/drawing/2014/main" id="{4EB15D48-DF0F-4E4A-983E-6AB408C95170}"/>
              </a:ext>
            </a:extLst>
          </p:cNvPr>
          <p:cNvSpPr>
            <a:spLocks noGrp="1"/>
          </p:cNvSpPr>
          <p:nvPr>
            <p:ph type="body" sz="quarter" idx="15" hasCustomPrompt="1"/>
          </p:nvPr>
        </p:nvSpPr>
        <p:spPr>
          <a:xfrm>
            <a:off x="5435595" y="838200"/>
            <a:ext cx="6240467" cy="553998"/>
          </a:xfrm>
          <a:prstGeom prst="rect">
            <a:avLst/>
          </a:prstGeom>
        </p:spPr>
        <p:txBody>
          <a:bodyPr wrap="square" lIns="0" tIns="0" rIns="0" bIns="0" anchor="t">
            <a:spAutoFit/>
          </a:bodyPr>
          <a:lstStyle>
            <a:lvl1pPr marL="7938" indent="-7938" algn="l" rtl="0">
              <a:spcBef>
                <a:spcPts val="0"/>
              </a:spcBef>
              <a:buNone/>
              <a:tabLst/>
              <a:defRPr sz="4000" b="1" i="0">
                <a:solidFill>
                  <a:schemeClr val="bg1"/>
                </a:solidFill>
                <a:latin typeface="Leelawadee" panose="020B0502040204020203" pitchFamily="34" charset="-34"/>
                <a:cs typeface="Leelawadee" panose="020B0502040204020203" pitchFamily="34" charset="-34"/>
              </a:defRPr>
            </a:lvl1pPr>
          </a:lstStyle>
          <a:p>
            <a:pPr lvl="0"/>
            <a:r>
              <a:rPr lang="en-US" noProof="0"/>
              <a:t>Title</a:t>
            </a:r>
          </a:p>
        </p:txBody>
      </p:sp>
      <p:sp>
        <p:nvSpPr>
          <p:cNvPr id="17" name="Rectangle 16">
            <a:extLst>
              <a:ext uri="{FF2B5EF4-FFF2-40B4-BE49-F238E27FC236}">
                <a16:creationId xmlns:a16="http://schemas.microsoft.com/office/drawing/2014/main" id="{3956A39B-AEE3-4A36-9B78-C6D8444FC4FB}"/>
              </a:ext>
            </a:extLst>
          </p:cNvPr>
          <p:cNvSpPr/>
          <p:nvPr userDrawn="1"/>
        </p:nvSpPr>
        <p:spPr>
          <a:xfrm>
            <a:off x="0" y="0"/>
            <a:ext cx="2298700" cy="22987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18" name="Rectangle 17">
            <a:extLst>
              <a:ext uri="{FF2B5EF4-FFF2-40B4-BE49-F238E27FC236}">
                <a16:creationId xmlns:a16="http://schemas.microsoft.com/office/drawing/2014/main" id="{AA0C1458-F91C-42F6-A58A-1557B900C99D}"/>
              </a:ext>
            </a:extLst>
          </p:cNvPr>
          <p:cNvSpPr/>
          <p:nvPr userDrawn="1"/>
        </p:nvSpPr>
        <p:spPr>
          <a:xfrm>
            <a:off x="0" y="2298701"/>
            <a:ext cx="2298700" cy="22987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19" name="Rectangle 18">
            <a:extLst>
              <a:ext uri="{FF2B5EF4-FFF2-40B4-BE49-F238E27FC236}">
                <a16:creationId xmlns:a16="http://schemas.microsoft.com/office/drawing/2014/main" id="{FBF23975-8EEB-4CCB-810E-3FF5C90F0B20}"/>
              </a:ext>
            </a:extLst>
          </p:cNvPr>
          <p:cNvSpPr/>
          <p:nvPr userDrawn="1"/>
        </p:nvSpPr>
        <p:spPr>
          <a:xfrm>
            <a:off x="2298700" y="0"/>
            <a:ext cx="2298700" cy="22987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20" name="Rectangle 19">
            <a:extLst>
              <a:ext uri="{FF2B5EF4-FFF2-40B4-BE49-F238E27FC236}">
                <a16:creationId xmlns:a16="http://schemas.microsoft.com/office/drawing/2014/main" id="{0331621E-35DA-4AA2-8F73-867A4F528C05}"/>
              </a:ext>
            </a:extLst>
          </p:cNvPr>
          <p:cNvSpPr/>
          <p:nvPr userDrawn="1"/>
        </p:nvSpPr>
        <p:spPr>
          <a:xfrm>
            <a:off x="2298700" y="2298701"/>
            <a:ext cx="2298700" cy="2298700"/>
          </a:xfrm>
          <a:prstGeom prst="rect">
            <a:avLst/>
          </a:prstGeom>
          <a:solidFill>
            <a:srgbClr val="133D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21" name="Freeform: Shape 20">
            <a:extLst>
              <a:ext uri="{FF2B5EF4-FFF2-40B4-BE49-F238E27FC236}">
                <a16:creationId xmlns:a16="http://schemas.microsoft.com/office/drawing/2014/main" id="{727C2D0C-EFDB-46A7-9D43-089C57D1E59A}"/>
              </a:ext>
            </a:extLst>
          </p:cNvPr>
          <p:cNvSpPr/>
          <p:nvPr userDrawn="1"/>
        </p:nvSpPr>
        <p:spPr>
          <a:xfrm>
            <a:off x="0" y="0"/>
            <a:ext cx="2298700" cy="2298700"/>
          </a:xfrm>
          <a:custGeom>
            <a:avLst/>
            <a:gdLst>
              <a:gd name="connsiteX0" fmla="*/ 2298700 w 2298700"/>
              <a:gd name="connsiteY0" fmla="*/ 0 h 2298700"/>
              <a:gd name="connsiteX1" fmla="*/ 2298700 w 2298700"/>
              <a:gd name="connsiteY1" fmla="*/ 2298700 h 2298700"/>
              <a:gd name="connsiteX2" fmla="*/ 0 w 2298700"/>
              <a:gd name="connsiteY2" fmla="*/ 2298700 h 2298700"/>
              <a:gd name="connsiteX3" fmla="*/ 2298700 w 2298700"/>
              <a:gd name="connsiteY3" fmla="*/ 0 h 2298700"/>
            </a:gdLst>
            <a:ahLst/>
            <a:cxnLst>
              <a:cxn ang="0">
                <a:pos x="connsiteX0" y="connsiteY0"/>
              </a:cxn>
              <a:cxn ang="0">
                <a:pos x="connsiteX1" y="connsiteY1"/>
              </a:cxn>
              <a:cxn ang="0">
                <a:pos x="connsiteX2" y="connsiteY2"/>
              </a:cxn>
              <a:cxn ang="0">
                <a:pos x="connsiteX3" y="connsiteY3"/>
              </a:cxn>
            </a:cxnLst>
            <a:rect l="l" t="t" r="r" b="b"/>
            <a:pathLst>
              <a:path w="2298700" h="2298700">
                <a:moveTo>
                  <a:pt x="2298700" y="0"/>
                </a:moveTo>
                <a:lnTo>
                  <a:pt x="2298700" y="2298700"/>
                </a:lnTo>
                <a:lnTo>
                  <a:pt x="0" y="2298700"/>
                </a:lnTo>
                <a:cubicBezTo>
                  <a:pt x="0" y="1029163"/>
                  <a:pt x="1029163" y="0"/>
                  <a:pt x="229870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25" name="Freeform: Shape 24">
            <a:extLst>
              <a:ext uri="{FF2B5EF4-FFF2-40B4-BE49-F238E27FC236}">
                <a16:creationId xmlns:a16="http://schemas.microsoft.com/office/drawing/2014/main" id="{8976955E-701B-44AE-A68D-98818B963A07}"/>
              </a:ext>
            </a:extLst>
          </p:cNvPr>
          <p:cNvSpPr/>
          <p:nvPr userDrawn="1"/>
        </p:nvSpPr>
        <p:spPr>
          <a:xfrm rot="5400000">
            <a:off x="2298700" y="0"/>
            <a:ext cx="2298700" cy="2298700"/>
          </a:xfrm>
          <a:custGeom>
            <a:avLst/>
            <a:gdLst>
              <a:gd name="connsiteX0" fmla="*/ 2298700 w 2298700"/>
              <a:gd name="connsiteY0" fmla="*/ 0 h 2298700"/>
              <a:gd name="connsiteX1" fmla="*/ 2298700 w 2298700"/>
              <a:gd name="connsiteY1" fmla="*/ 2298700 h 2298700"/>
              <a:gd name="connsiteX2" fmla="*/ 0 w 2298700"/>
              <a:gd name="connsiteY2" fmla="*/ 2298700 h 2298700"/>
              <a:gd name="connsiteX3" fmla="*/ 2298700 w 2298700"/>
              <a:gd name="connsiteY3" fmla="*/ 0 h 2298700"/>
            </a:gdLst>
            <a:ahLst/>
            <a:cxnLst>
              <a:cxn ang="0">
                <a:pos x="connsiteX0" y="connsiteY0"/>
              </a:cxn>
              <a:cxn ang="0">
                <a:pos x="connsiteX1" y="connsiteY1"/>
              </a:cxn>
              <a:cxn ang="0">
                <a:pos x="connsiteX2" y="connsiteY2"/>
              </a:cxn>
              <a:cxn ang="0">
                <a:pos x="connsiteX3" y="connsiteY3"/>
              </a:cxn>
            </a:cxnLst>
            <a:rect l="l" t="t" r="r" b="b"/>
            <a:pathLst>
              <a:path w="2298700" h="2298700">
                <a:moveTo>
                  <a:pt x="2298700" y="0"/>
                </a:moveTo>
                <a:lnTo>
                  <a:pt x="2298700" y="2298700"/>
                </a:lnTo>
                <a:lnTo>
                  <a:pt x="0" y="2298700"/>
                </a:lnTo>
                <a:cubicBezTo>
                  <a:pt x="0" y="1029163"/>
                  <a:pt x="1029163" y="0"/>
                  <a:pt x="2298700" y="0"/>
                </a:cubicBezTo>
                <a:close/>
              </a:path>
            </a:pathLst>
          </a:custGeom>
          <a:solidFill>
            <a:srgbClr val="0066E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26" name="Freeform: Shape 25">
            <a:extLst>
              <a:ext uri="{FF2B5EF4-FFF2-40B4-BE49-F238E27FC236}">
                <a16:creationId xmlns:a16="http://schemas.microsoft.com/office/drawing/2014/main" id="{AD56A1EA-FC5E-4993-AB05-118189343C56}"/>
              </a:ext>
            </a:extLst>
          </p:cNvPr>
          <p:cNvSpPr/>
          <p:nvPr userDrawn="1"/>
        </p:nvSpPr>
        <p:spPr>
          <a:xfrm flipV="1">
            <a:off x="0" y="2298700"/>
            <a:ext cx="2298700" cy="2298700"/>
          </a:xfrm>
          <a:custGeom>
            <a:avLst/>
            <a:gdLst>
              <a:gd name="connsiteX0" fmla="*/ 2298700 w 2298700"/>
              <a:gd name="connsiteY0" fmla="*/ 0 h 2298700"/>
              <a:gd name="connsiteX1" fmla="*/ 2298700 w 2298700"/>
              <a:gd name="connsiteY1" fmla="*/ 2298700 h 2298700"/>
              <a:gd name="connsiteX2" fmla="*/ 0 w 2298700"/>
              <a:gd name="connsiteY2" fmla="*/ 2298700 h 2298700"/>
              <a:gd name="connsiteX3" fmla="*/ 2298700 w 2298700"/>
              <a:gd name="connsiteY3" fmla="*/ 0 h 2298700"/>
            </a:gdLst>
            <a:ahLst/>
            <a:cxnLst>
              <a:cxn ang="0">
                <a:pos x="connsiteX0" y="connsiteY0"/>
              </a:cxn>
              <a:cxn ang="0">
                <a:pos x="connsiteX1" y="connsiteY1"/>
              </a:cxn>
              <a:cxn ang="0">
                <a:pos x="connsiteX2" y="connsiteY2"/>
              </a:cxn>
              <a:cxn ang="0">
                <a:pos x="connsiteX3" y="connsiteY3"/>
              </a:cxn>
            </a:cxnLst>
            <a:rect l="l" t="t" r="r" b="b"/>
            <a:pathLst>
              <a:path w="2298700" h="2298700">
                <a:moveTo>
                  <a:pt x="2298700" y="0"/>
                </a:moveTo>
                <a:lnTo>
                  <a:pt x="2298700" y="2298700"/>
                </a:lnTo>
                <a:lnTo>
                  <a:pt x="0" y="2298700"/>
                </a:lnTo>
                <a:cubicBezTo>
                  <a:pt x="0" y="1029163"/>
                  <a:pt x="1029163" y="0"/>
                  <a:pt x="2298700" y="0"/>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27" name="Freeform: Shape 26">
            <a:extLst>
              <a:ext uri="{FF2B5EF4-FFF2-40B4-BE49-F238E27FC236}">
                <a16:creationId xmlns:a16="http://schemas.microsoft.com/office/drawing/2014/main" id="{7E9A814E-EF2F-4F25-987E-2BE2D55CFB49}"/>
              </a:ext>
            </a:extLst>
          </p:cNvPr>
          <p:cNvSpPr/>
          <p:nvPr userDrawn="1"/>
        </p:nvSpPr>
        <p:spPr>
          <a:xfrm rot="16200000" flipV="1">
            <a:off x="2298700" y="2298700"/>
            <a:ext cx="2298700" cy="2298700"/>
          </a:xfrm>
          <a:custGeom>
            <a:avLst/>
            <a:gdLst>
              <a:gd name="connsiteX0" fmla="*/ 2298700 w 2298700"/>
              <a:gd name="connsiteY0" fmla="*/ 0 h 2298700"/>
              <a:gd name="connsiteX1" fmla="*/ 2298700 w 2298700"/>
              <a:gd name="connsiteY1" fmla="*/ 2298700 h 2298700"/>
              <a:gd name="connsiteX2" fmla="*/ 0 w 2298700"/>
              <a:gd name="connsiteY2" fmla="*/ 2298700 h 2298700"/>
              <a:gd name="connsiteX3" fmla="*/ 2298700 w 2298700"/>
              <a:gd name="connsiteY3" fmla="*/ 0 h 2298700"/>
            </a:gdLst>
            <a:ahLst/>
            <a:cxnLst>
              <a:cxn ang="0">
                <a:pos x="connsiteX0" y="connsiteY0"/>
              </a:cxn>
              <a:cxn ang="0">
                <a:pos x="connsiteX1" y="connsiteY1"/>
              </a:cxn>
              <a:cxn ang="0">
                <a:pos x="connsiteX2" y="connsiteY2"/>
              </a:cxn>
              <a:cxn ang="0">
                <a:pos x="connsiteX3" y="connsiteY3"/>
              </a:cxn>
            </a:cxnLst>
            <a:rect l="l" t="t" r="r" b="b"/>
            <a:pathLst>
              <a:path w="2298700" h="2298700">
                <a:moveTo>
                  <a:pt x="2298700" y="0"/>
                </a:moveTo>
                <a:lnTo>
                  <a:pt x="2298700" y="2298700"/>
                </a:lnTo>
                <a:lnTo>
                  <a:pt x="0" y="2298700"/>
                </a:lnTo>
                <a:cubicBezTo>
                  <a:pt x="0" y="1029163"/>
                  <a:pt x="1029163" y="0"/>
                  <a:pt x="2298700" y="0"/>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30" name="Freeform: Shape 29">
            <a:extLst>
              <a:ext uri="{FF2B5EF4-FFF2-40B4-BE49-F238E27FC236}">
                <a16:creationId xmlns:a16="http://schemas.microsoft.com/office/drawing/2014/main" id="{BBB2655B-D5D6-4A1D-B4B8-2956811AF737}"/>
              </a:ext>
            </a:extLst>
          </p:cNvPr>
          <p:cNvSpPr/>
          <p:nvPr userDrawn="1"/>
        </p:nvSpPr>
        <p:spPr>
          <a:xfrm>
            <a:off x="2298698" y="2297153"/>
            <a:ext cx="2298700" cy="2298700"/>
          </a:xfrm>
          <a:custGeom>
            <a:avLst/>
            <a:gdLst>
              <a:gd name="connsiteX0" fmla="*/ 0 w 2298700"/>
              <a:gd name="connsiteY0" fmla="*/ 0 h 2298700"/>
              <a:gd name="connsiteX1" fmla="*/ 2298700 w 2298700"/>
              <a:gd name="connsiteY1" fmla="*/ 0 h 2298700"/>
              <a:gd name="connsiteX2" fmla="*/ 0 w 2298700"/>
              <a:gd name="connsiteY2" fmla="*/ 2298700 h 2298700"/>
              <a:gd name="connsiteX3" fmla="*/ 0 w 2298700"/>
              <a:gd name="connsiteY3" fmla="*/ 0 h 2298700"/>
            </a:gdLst>
            <a:ahLst/>
            <a:cxnLst>
              <a:cxn ang="0">
                <a:pos x="connsiteX0" y="connsiteY0"/>
              </a:cxn>
              <a:cxn ang="0">
                <a:pos x="connsiteX1" y="connsiteY1"/>
              </a:cxn>
              <a:cxn ang="0">
                <a:pos x="connsiteX2" y="connsiteY2"/>
              </a:cxn>
              <a:cxn ang="0">
                <a:pos x="connsiteX3" y="connsiteY3"/>
              </a:cxn>
            </a:cxnLst>
            <a:rect l="l" t="t" r="r" b="b"/>
            <a:pathLst>
              <a:path w="2298700" h="2298700">
                <a:moveTo>
                  <a:pt x="0" y="0"/>
                </a:moveTo>
                <a:lnTo>
                  <a:pt x="2298700" y="0"/>
                </a:lnTo>
                <a:cubicBezTo>
                  <a:pt x="1029163" y="0"/>
                  <a:pt x="0" y="1029163"/>
                  <a:pt x="0" y="2298700"/>
                </a:cubicBezTo>
                <a:lnTo>
                  <a:pt x="0" y="0"/>
                </a:lnTo>
                <a:close/>
              </a:path>
            </a:pathLst>
          </a:custGeom>
          <a:solidFill>
            <a:srgbClr val="133D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38" name="Rectangle 37">
            <a:extLst>
              <a:ext uri="{FF2B5EF4-FFF2-40B4-BE49-F238E27FC236}">
                <a16:creationId xmlns:a16="http://schemas.microsoft.com/office/drawing/2014/main" id="{28977600-7B37-4D66-9510-62AFD35D16C1}"/>
              </a:ext>
            </a:extLst>
          </p:cNvPr>
          <p:cNvSpPr/>
          <p:nvPr userDrawn="1"/>
        </p:nvSpPr>
        <p:spPr>
          <a:xfrm>
            <a:off x="0" y="4595853"/>
            <a:ext cx="2298700" cy="2260598"/>
          </a:xfrm>
          <a:prstGeom prst="rect">
            <a:avLst/>
          </a:prstGeom>
          <a:solidFill>
            <a:srgbClr val="006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39" name="Rectangle 38">
            <a:extLst>
              <a:ext uri="{FF2B5EF4-FFF2-40B4-BE49-F238E27FC236}">
                <a16:creationId xmlns:a16="http://schemas.microsoft.com/office/drawing/2014/main" id="{CD1D6B52-EB68-4E52-8C05-C86E770A45AD}"/>
              </a:ext>
            </a:extLst>
          </p:cNvPr>
          <p:cNvSpPr/>
          <p:nvPr userDrawn="1"/>
        </p:nvSpPr>
        <p:spPr>
          <a:xfrm>
            <a:off x="2298700" y="4595853"/>
            <a:ext cx="2298700" cy="22621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40" name="Freeform: Shape 39">
            <a:extLst>
              <a:ext uri="{FF2B5EF4-FFF2-40B4-BE49-F238E27FC236}">
                <a16:creationId xmlns:a16="http://schemas.microsoft.com/office/drawing/2014/main" id="{816CDE59-A17D-4E82-A34F-000BDFB1796E}"/>
              </a:ext>
            </a:extLst>
          </p:cNvPr>
          <p:cNvSpPr/>
          <p:nvPr userDrawn="1"/>
        </p:nvSpPr>
        <p:spPr>
          <a:xfrm rot="10800000">
            <a:off x="2298696" y="4559299"/>
            <a:ext cx="2298700" cy="2298700"/>
          </a:xfrm>
          <a:custGeom>
            <a:avLst/>
            <a:gdLst>
              <a:gd name="connsiteX0" fmla="*/ 0 w 2298700"/>
              <a:gd name="connsiteY0" fmla="*/ 0 h 2298700"/>
              <a:gd name="connsiteX1" fmla="*/ 2298700 w 2298700"/>
              <a:gd name="connsiteY1" fmla="*/ 0 h 2298700"/>
              <a:gd name="connsiteX2" fmla="*/ 0 w 2298700"/>
              <a:gd name="connsiteY2" fmla="*/ 2298700 h 2298700"/>
              <a:gd name="connsiteX3" fmla="*/ 0 w 2298700"/>
              <a:gd name="connsiteY3" fmla="*/ 0 h 2298700"/>
            </a:gdLst>
            <a:ahLst/>
            <a:cxnLst>
              <a:cxn ang="0">
                <a:pos x="connsiteX0" y="connsiteY0"/>
              </a:cxn>
              <a:cxn ang="0">
                <a:pos x="connsiteX1" y="connsiteY1"/>
              </a:cxn>
              <a:cxn ang="0">
                <a:pos x="connsiteX2" y="connsiteY2"/>
              </a:cxn>
              <a:cxn ang="0">
                <a:pos x="connsiteX3" y="connsiteY3"/>
              </a:cxn>
            </a:cxnLst>
            <a:rect l="l" t="t" r="r" b="b"/>
            <a:pathLst>
              <a:path w="2298700" h="2298700">
                <a:moveTo>
                  <a:pt x="0" y="0"/>
                </a:moveTo>
                <a:lnTo>
                  <a:pt x="2298700" y="0"/>
                </a:lnTo>
                <a:cubicBezTo>
                  <a:pt x="1029163" y="0"/>
                  <a:pt x="0" y="1029163"/>
                  <a:pt x="0" y="2298700"/>
                </a:cubicBezTo>
                <a:lnTo>
                  <a:pt x="0" y="0"/>
                </a:lnTo>
                <a:close/>
              </a:path>
            </a:pathLst>
          </a:cu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41" name="Right Triangle 40">
            <a:extLst>
              <a:ext uri="{FF2B5EF4-FFF2-40B4-BE49-F238E27FC236}">
                <a16:creationId xmlns:a16="http://schemas.microsoft.com/office/drawing/2014/main" id="{162260A0-375C-4496-A48B-157CBE32291C}"/>
              </a:ext>
            </a:extLst>
          </p:cNvPr>
          <p:cNvSpPr/>
          <p:nvPr userDrawn="1"/>
        </p:nvSpPr>
        <p:spPr>
          <a:xfrm>
            <a:off x="0" y="5462546"/>
            <a:ext cx="2298692" cy="1395454"/>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Tree>
    <p:extLst>
      <p:ext uri="{BB962C8B-B14F-4D97-AF65-F5344CB8AC3E}">
        <p14:creationId xmlns:p14="http://schemas.microsoft.com/office/powerpoint/2010/main" val="142537017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Sub-Sub-Divider">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306A473-E852-43C8-8FFD-BB83C54C89B6}"/>
              </a:ext>
            </a:extLst>
          </p:cNvPr>
          <p:cNvGraphicFramePr>
            <a:graphicFrameLocks noChangeAspect="1"/>
          </p:cNvGraphicFramePr>
          <p:nvPr userDrawn="1">
            <p:custDataLst>
              <p:tags r:id="rId1"/>
            </p:custDataLst>
            <p:extLst>
              <p:ext uri="{D42A27DB-BD31-4B8C-83A1-F6EECF244321}">
                <p14:modId xmlns:p14="http://schemas.microsoft.com/office/powerpoint/2010/main" val="43479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2306A473-E852-43C8-8FFD-BB83C54C8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42519C45-A85B-499F-AC90-71D2B5EA0EB4}"/>
              </a:ext>
            </a:extLst>
          </p:cNvPr>
          <p:cNvSpPr>
            <a:spLocks noGrp="1"/>
          </p:cNvSpPr>
          <p:nvPr>
            <p:ph type="body" sz="quarter" idx="15" hasCustomPrompt="1"/>
          </p:nvPr>
        </p:nvSpPr>
        <p:spPr>
          <a:xfrm>
            <a:off x="3657600" y="2840474"/>
            <a:ext cx="4876800" cy="1177053"/>
          </a:xfrm>
          <a:prstGeom prst="rect">
            <a:avLst/>
          </a:prstGeom>
        </p:spPr>
        <p:txBody>
          <a:bodyPr lIns="0" tIns="0" rIns="0" bIns="0">
            <a:spAutoFit/>
          </a:bodyPr>
          <a:lstStyle>
            <a:lvl1pPr marL="7938" indent="-7938" algn="ctr" rtl="0">
              <a:lnSpc>
                <a:spcPct val="110000"/>
              </a:lnSpc>
              <a:spcBef>
                <a:spcPts val="0"/>
              </a:spcBef>
              <a:buNone/>
              <a:tabLst/>
              <a:defRPr sz="3600" b="1" i="0" spc="70" baseline="0">
                <a:solidFill>
                  <a:schemeClr val="bg1"/>
                </a:solidFill>
                <a:latin typeface="Leelawadee" panose="020B0502040204020203" pitchFamily="34" charset="-34"/>
                <a:cs typeface="Leelawadee" panose="020B0502040204020203" pitchFamily="34" charset="-34"/>
              </a:defRPr>
            </a:lvl1pPr>
          </a:lstStyle>
          <a:p>
            <a:pPr lvl="0"/>
            <a:r>
              <a:rPr lang="en-US" noProof="0"/>
              <a:t>PepsiCo Positive</a:t>
            </a:r>
          </a:p>
          <a:p>
            <a:pPr lvl="0"/>
            <a:r>
              <a:rPr lang="en-US" noProof="0"/>
              <a:t>Template</a:t>
            </a:r>
          </a:p>
        </p:txBody>
      </p:sp>
    </p:spTree>
    <p:extLst>
      <p:ext uri="{BB962C8B-B14F-4D97-AF65-F5344CB8AC3E}">
        <p14:creationId xmlns:p14="http://schemas.microsoft.com/office/powerpoint/2010/main" val="214276118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Divider (Woman smiling) ">
    <p:bg>
      <p:bgPr>
        <a:solidFill>
          <a:schemeClr val="tx2">
            <a:lumMod val="7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06BCF3-DDAB-403D-8CA9-261FACF982E8}"/>
              </a:ext>
            </a:extLst>
          </p:cNvPr>
          <p:cNvGraphicFramePr>
            <a:graphicFrameLocks noChangeAspect="1"/>
          </p:cNvGraphicFramePr>
          <p:nvPr userDrawn="1">
            <p:custDataLst>
              <p:tags r:id="rId1"/>
            </p:custDataLst>
            <p:extLst>
              <p:ext uri="{D42A27DB-BD31-4B8C-83A1-F6EECF244321}">
                <p14:modId xmlns:p14="http://schemas.microsoft.com/office/powerpoint/2010/main" val="772262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7F06BCF3-DDAB-403D-8CA9-261FACF982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45600733-47C5-4699-8308-3A99A2581CA2}"/>
              </a:ext>
            </a:extLst>
          </p:cNvPr>
          <p:cNvSpPr/>
          <p:nvPr userDrawn="1"/>
        </p:nvSpPr>
        <p:spPr>
          <a:xfrm>
            <a:off x="0" y="0"/>
            <a:ext cx="7478038"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13" name="Freeform: Shape 12">
            <a:extLst>
              <a:ext uri="{FF2B5EF4-FFF2-40B4-BE49-F238E27FC236}">
                <a16:creationId xmlns:a16="http://schemas.microsoft.com/office/drawing/2014/main" id="{0ABA205B-9E12-44B1-A996-D8A93D84D6DC}"/>
              </a:ext>
            </a:extLst>
          </p:cNvPr>
          <p:cNvSpPr/>
          <p:nvPr userDrawn="1"/>
        </p:nvSpPr>
        <p:spPr>
          <a:xfrm rot="10800000">
            <a:off x="624316" y="0"/>
            <a:ext cx="6858000" cy="6858000"/>
          </a:xfrm>
          <a:custGeom>
            <a:avLst/>
            <a:gdLst>
              <a:gd name="connsiteX0" fmla="*/ 0 w 2298700"/>
              <a:gd name="connsiteY0" fmla="*/ 0 h 2298700"/>
              <a:gd name="connsiteX1" fmla="*/ 2298700 w 2298700"/>
              <a:gd name="connsiteY1" fmla="*/ 0 h 2298700"/>
              <a:gd name="connsiteX2" fmla="*/ 0 w 2298700"/>
              <a:gd name="connsiteY2" fmla="*/ 2298700 h 2298700"/>
              <a:gd name="connsiteX3" fmla="*/ 0 w 2298700"/>
              <a:gd name="connsiteY3" fmla="*/ 0 h 2298700"/>
            </a:gdLst>
            <a:ahLst/>
            <a:cxnLst>
              <a:cxn ang="0">
                <a:pos x="connsiteX0" y="connsiteY0"/>
              </a:cxn>
              <a:cxn ang="0">
                <a:pos x="connsiteX1" y="connsiteY1"/>
              </a:cxn>
              <a:cxn ang="0">
                <a:pos x="connsiteX2" y="connsiteY2"/>
              </a:cxn>
              <a:cxn ang="0">
                <a:pos x="connsiteX3" y="connsiteY3"/>
              </a:cxn>
            </a:cxnLst>
            <a:rect l="l" t="t" r="r" b="b"/>
            <a:pathLst>
              <a:path w="2298700" h="2298700">
                <a:moveTo>
                  <a:pt x="0" y="0"/>
                </a:moveTo>
                <a:lnTo>
                  <a:pt x="2298700" y="0"/>
                </a:lnTo>
                <a:cubicBezTo>
                  <a:pt x="1029163" y="0"/>
                  <a:pt x="0" y="1029163"/>
                  <a:pt x="0" y="2298700"/>
                </a:cubicBezTo>
                <a:lnTo>
                  <a:pt x="0" y="0"/>
                </a:lnTo>
                <a:close/>
              </a:path>
            </a:pathLst>
          </a:custGeom>
          <a:solidFill>
            <a:srgbClr val="0DB7C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14" name="Text Placeholder 3">
            <a:extLst>
              <a:ext uri="{FF2B5EF4-FFF2-40B4-BE49-F238E27FC236}">
                <a16:creationId xmlns:a16="http://schemas.microsoft.com/office/drawing/2014/main" id="{EC3910F1-D605-4498-A958-35982DB6AA36}"/>
              </a:ext>
            </a:extLst>
          </p:cNvPr>
          <p:cNvSpPr>
            <a:spLocks noGrp="1"/>
          </p:cNvSpPr>
          <p:nvPr>
            <p:ph type="body" sz="quarter" idx="15" hasCustomPrompt="1"/>
          </p:nvPr>
        </p:nvSpPr>
        <p:spPr>
          <a:xfrm>
            <a:off x="8029753" y="512763"/>
            <a:ext cx="3646309" cy="498598"/>
          </a:xfrm>
          <a:prstGeom prst="rect">
            <a:avLst/>
          </a:prstGeom>
        </p:spPr>
        <p:txBody>
          <a:bodyPr wrap="square" lIns="0" tIns="0" rIns="0" bIns="0">
            <a:spAutoFit/>
          </a:bodyPr>
          <a:lstStyle>
            <a:lvl1pPr marL="7938" indent="-7938" rtl="0">
              <a:spcBef>
                <a:spcPts val="0"/>
              </a:spcBef>
              <a:buNone/>
              <a:tabLst/>
              <a:defRPr sz="3600" b="1" i="0">
                <a:solidFill>
                  <a:schemeClr val="bg1"/>
                </a:solidFill>
                <a:latin typeface="Leelawadee" panose="020B0502040204020203" pitchFamily="34" charset="-34"/>
                <a:cs typeface="Leelawadee" panose="020B0502040204020203" pitchFamily="34" charset="-34"/>
              </a:defRPr>
            </a:lvl1pPr>
          </a:lstStyle>
          <a:p>
            <a:pPr lvl="0"/>
            <a:r>
              <a:rPr lang="en-US" noProof="0"/>
              <a:t>Title</a:t>
            </a:r>
          </a:p>
        </p:txBody>
      </p:sp>
      <p:pic>
        <p:nvPicPr>
          <p:cNvPr id="15" name="Picture 14" descr="Logo&#10;&#10;Description automatically generated">
            <a:extLst>
              <a:ext uri="{FF2B5EF4-FFF2-40B4-BE49-F238E27FC236}">
                <a16:creationId xmlns:a16="http://schemas.microsoft.com/office/drawing/2014/main" id="{31900DC2-D885-4DFA-9785-CFFD77135EC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287179" y="5739255"/>
            <a:ext cx="1557599" cy="729808"/>
          </a:xfrm>
          <a:prstGeom prst="rect">
            <a:avLst/>
          </a:prstGeom>
        </p:spPr>
      </p:pic>
      <p:sp>
        <p:nvSpPr>
          <p:cNvPr id="16" name="Text Placeholder 3">
            <a:extLst>
              <a:ext uri="{FF2B5EF4-FFF2-40B4-BE49-F238E27FC236}">
                <a16:creationId xmlns:a16="http://schemas.microsoft.com/office/drawing/2014/main" id="{5920EABA-9D8D-40A1-916A-855DEAACBCA3}"/>
              </a:ext>
            </a:extLst>
          </p:cNvPr>
          <p:cNvSpPr>
            <a:spLocks noGrp="1"/>
          </p:cNvSpPr>
          <p:nvPr>
            <p:ph type="body" sz="quarter" idx="16" hasCustomPrompt="1"/>
          </p:nvPr>
        </p:nvSpPr>
        <p:spPr>
          <a:xfrm>
            <a:off x="8029753" y="1835306"/>
            <a:ext cx="3646309" cy="276999"/>
          </a:xfrm>
          <a:prstGeom prst="rect">
            <a:avLst/>
          </a:prstGeom>
        </p:spPr>
        <p:txBody>
          <a:bodyPr wrap="square" lIns="0" tIns="0" rIns="0" bIns="0">
            <a:spAutoFit/>
          </a:bodyPr>
          <a:lstStyle>
            <a:lvl1pPr marL="7938" indent="-7938" algn="l" rtl="0">
              <a:spcBef>
                <a:spcPts val="0"/>
              </a:spcBef>
              <a:buNone/>
              <a:tabLst/>
              <a:defRPr sz="2000" b="0" i="0">
                <a:solidFill>
                  <a:schemeClr val="bg1"/>
                </a:solidFill>
                <a:latin typeface="Leelawadee" panose="020B0502040204020203" pitchFamily="34" charset="-34"/>
                <a:cs typeface="Leelawadee" panose="020B0502040204020203" pitchFamily="34" charset="-34"/>
              </a:defRPr>
            </a:lvl1pPr>
          </a:lstStyle>
          <a:p>
            <a:pPr lvl="0"/>
            <a:r>
              <a:rPr lang="en-US" noProof="0"/>
              <a:t>Subtitle</a:t>
            </a:r>
          </a:p>
        </p:txBody>
      </p:sp>
      <p:pic>
        <p:nvPicPr>
          <p:cNvPr id="9" name="Picture 8" descr="A picture containing tree, green, plant, broccoli&#10;&#10;Description automatically generated">
            <a:extLst>
              <a:ext uri="{FF2B5EF4-FFF2-40B4-BE49-F238E27FC236}">
                <a16:creationId xmlns:a16="http://schemas.microsoft.com/office/drawing/2014/main" id="{14D423CC-B1D8-4141-9159-9656653D1A07}"/>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flipV="1">
            <a:off x="-34288" y="0"/>
            <a:ext cx="7526731" cy="6846212"/>
          </a:xfrm>
          <a:prstGeom prst="rect">
            <a:avLst/>
          </a:prstGeom>
        </p:spPr>
      </p:pic>
    </p:spTree>
    <p:extLst>
      <p:ext uri="{BB962C8B-B14F-4D97-AF65-F5344CB8AC3E}">
        <p14:creationId xmlns:p14="http://schemas.microsoft.com/office/powerpoint/2010/main" val="1693664984"/>
      </p:ext>
    </p:extLst>
  </p:cSld>
  <p:clrMapOvr>
    <a:masterClrMapping/>
  </p:clrMapOvr>
  <p:extLst>
    <p:ext uri="{DCECCB84-F9BA-43D5-87BE-67443E8EF086}">
      <p15:sldGuideLst xmlns:p15="http://schemas.microsoft.com/office/powerpoint/2012/main">
        <p15:guide id="1" pos="7355">
          <p15:clr>
            <a:srgbClr val="FBAE40"/>
          </p15:clr>
        </p15:guide>
        <p15:guide id="2" pos="325">
          <p15:clr>
            <a:srgbClr val="FBAE40"/>
          </p15:clr>
        </p15:guide>
        <p15:guide id="3" orient="horz" pos="323">
          <p15:clr>
            <a:srgbClr val="FBAE40"/>
          </p15:clr>
        </p15:guide>
        <p15:guide id="4" orient="horz" pos="3997">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4-Sub-Divider">
    <p:bg>
      <p:bgPr>
        <a:solidFill>
          <a:schemeClr val="tx2">
            <a:lumMod val="75000"/>
          </a:schemeClr>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5A58F2E-9DF4-4F6C-B580-317E75D8C7C4}"/>
              </a:ext>
            </a:extLst>
          </p:cNvPr>
          <p:cNvGraphicFramePr>
            <a:graphicFrameLocks noChangeAspect="1"/>
          </p:cNvGraphicFramePr>
          <p:nvPr userDrawn="1">
            <p:custDataLst>
              <p:tags r:id="rId1"/>
            </p:custDataLst>
            <p:extLst>
              <p:ext uri="{D42A27DB-BD31-4B8C-83A1-F6EECF244321}">
                <p14:modId xmlns:p14="http://schemas.microsoft.com/office/powerpoint/2010/main" val="3600356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0" name="Object 9" hidden="1">
                        <a:extLst>
                          <a:ext uri="{FF2B5EF4-FFF2-40B4-BE49-F238E27FC236}">
                            <a16:creationId xmlns:a16="http://schemas.microsoft.com/office/drawing/2014/main" id="{05A58F2E-9DF4-4F6C-B580-317E75D8C7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3">
            <a:extLst>
              <a:ext uri="{FF2B5EF4-FFF2-40B4-BE49-F238E27FC236}">
                <a16:creationId xmlns:a16="http://schemas.microsoft.com/office/drawing/2014/main" id="{4EB15D48-DF0F-4E4A-983E-6AB408C95170}"/>
              </a:ext>
            </a:extLst>
          </p:cNvPr>
          <p:cNvSpPr>
            <a:spLocks noGrp="1"/>
          </p:cNvSpPr>
          <p:nvPr>
            <p:ph type="body" sz="quarter" idx="15" hasCustomPrompt="1"/>
          </p:nvPr>
        </p:nvSpPr>
        <p:spPr>
          <a:xfrm>
            <a:off x="5435595" y="838200"/>
            <a:ext cx="6240467" cy="553998"/>
          </a:xfrm>
          <a:prstGeom prst="rect">
            <a:avLst/>
          </a:prstGeom>
        </p:spPr>
        <p:txBody>
          <a:bodyPr wrap="square" lIns="0" tIns="0" rIns="0" bIns="0" anchor="t">
            <a:spAutoFit/>
          </a:bodyPr>
          <a:lstStyle>
            <a:lvl1pPr marL="7938" indent="-7938" algn="l" rtl="0">
              <a:spcBef>
                <a:spcPts val="0"/>
              </a:spcBef>
              <a:buNone/>
              <a:tabLst/>
              <a:defRPr sz="4000" b="1" i="0">
                <a:solidFill>
                  <a:schemeClr val="bg1"/>
                </a:solidFill>
                <a:latin typeface="Leelawadee" panose="020B0502040204020203" pitchFamily="34" charset="-34"/>
                <a:cs typeface="Leelawadee" panose="020B0502040204020203" pitchFamily="34" charset="-34"/>
              </a:defRPr>
            </a:lvl1pPr>
          </a:lstStyle>
          <a:p>
            <a:pPr lvl="0"/>
            <a:r>
              <a:rPr lang="en-US" noProof="0"/>
              <a:t>Title</a:t>
            </a:r>
          </a:p>
        </p:txBody>
      </p:sp>
      <p:sp>
        <p:nvSpPr>
          <p:cNvPr id="17" name="Rectangle 16">
            <a:extLst>
              <a:ext uri="{FF2B5EF4-FFF2-40B4-BE49-F238E27FC236}">
                <a16:creationId xmlns:a16="http://schemas.microsoft.com/office/drawing/2014/main" id="{3956A39B-AEE3-4A36-9B78-C6D8444FC4FB}"/>
              </a:ext>
            </a:extLst>
          </p:cNvPr>
          <p:cNvSpPr/>
          <p:nvPr userDrawn="1"/>
        </p:nvSpPr>
        <p:spPr>
          <a:xfrm>
            <a:off x="0" y="0"/>
            <a:ext cx="2298700" cy="229870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18" name="Rectangle 17">
            <a:extLst>
              <a:ext uri="{FF2B5EF4-FFF2-40B4-BE49-F238E27FC236}">
                <a16:creationId xmlns:a16="http://schemas.microsoft.com/office/drawing/2014/main" id="{AA0C1458-F91C-42F6-A58A-1557B900C99D}"/>
              </a:ext>
            </a:extLst>
          </p:cNvPr>
          <p:cNvSpPr/>
          <p:nvPr userDrawn="1"/>
        </p:nvSpPr>
        <p:spPr>
          <a:xfrm>
            <a:off x="0" y="2298701"/>
            <a:ext cx="2298700" cy="229870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19" name="Rectangle 18">
            <a:extLst>
              <a:ext uri="{FF2B5EF4-FFF2-40B4-BE49-F238E27FC236}">
                <a16:creationId xmlns:a16="http://schemas.microsoft.com/office/drawing/2014/main" id="{FBF23975-8EEB-4CCB-810E-3FF5C90F0B20}"/>
              </a:ext>
            </a:extLst>
          </p:cNvPr>
          <p:cNvSpPr/>
          <p:nvPr userDrawn="1"/>
        </p:nvSpPr>
        <p:spPr>
          <a:xfrm>
            <a:off x="2298700" y="0"/>
            <a:ext cx="2298700" cy="229870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20" name="Rectangle 19">
            <a:extLst>
              <a:ext uri="{FF2B5EF4-FFF2-40B4-BE49-F238E27FC236}">
                <a16:creationId xmlns:a16="http://schemas.microsoft.com/office/drawing/2014/main" id="{0331621E-35DA-4AA2-8F73-867A4F528C05}"/>
              </a:ext>
            </a:extLst>
          </p:cNvPr>
          <p:cNvSpPr/>
          <p:nvPr userDrawn="1"/>
        </p:nvSpPr>
        <p:spPr>
          <a:xfrm>
            <a:off x="2298700" y="2298701"/>
            <a:ext cx="2298700" cy="22987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21" name="Freeform: Shape 20">
            <a:extLst>
              <a:ext uri="{FF2B5EF4-FFF2-40B4-BE49-F238E27FC236}">
                <a16:creationId xmlns:a16="http://schemas.microsoft.com/office/drawing/2014/main" id="{727C2D0C-EFDB-46A7-9D43-089C57D1E59A}"/>
              </a:ext>
            </a:extLst>
          </p:cNvPr>
          <p:cNvSpPr/>
          <p:nvPr userDrawn="1"/>
        </p:nvSpPr>
        <p:spPr>
          <a:xfrm>
            <a:off x="0" y="0"/>
            <a:ext cx="2298700" cy="2298700"/>
          </a:xfrm>
          <a:custGeom>
            <a:avLst/>
            <a:gdLst>
              <a:gd name="connsiteX0" fmla="*/ 2298700 w 2298700"/>
              <a:gd name="connsiteY0" fmla="*/ 0 h 2298700"/>
              <a:gd name="connsiteX1" fmla="*/ 2298700 w 2298700"/>
              <a:gd name="connsiteY1" fmla="*/ 2298700 h 2298700"/>
              <a:gd name="connsiteX2" fmla="*/ 0 w 2298700"/>
              <a:gd name="connsiteY2" fmla="*/ 2298700 h 2298700"/>
              <a:gd name="connsiteX3" fmla="*/ 2298700 w 2298700"/>
              <a:gd name="connsiteY3" fmla="*/ 0 h 2298700"/>
            </a:gdLst>
            <a:ahLst/>
            <a:cxnLst>
              <a:cxn ang="0">
                <a:pos x="connsiteX0" y="connsiteY0"/>
              </a:cxn>
              <a:cxn ang="0">
                <a:pos x="connsiteX1" y="connsiteY1"/>
              </a:cxn>
              <a:cxn ang="0">
                <a:pos x="connsiteX2" y="connsiteY2"/>
              </a:cxn>
              <a:cxn ang="0">
                <a:pos x="connsiteX3" y="connsiteY3"/>
              </a:cxn>
            </a:cxnLst>
            <a:rect l="l" t="t" r="r" b="b"/>
            <a:pathLst>
              <a:path w="2298700" h="2298700">
                <a:moveTo>
                  <a:pt x="2298700" y="0"/>
                </a:moveTo>
                <a:lnTo>
                  <a:pt x="2298700" y="2298700"/>
                </a:lnTo>
                <a:lnTo>
                  <a:pt x="0" y="2298700"/>
                </a:lnTo>
                <a:cubicBezTo>
                  <a:pt x="0" y="1029163"/>
                  <a:pt x="1029163" y="0"/>
                  <a:pt x="2298700" y="0"/>
                </a:cubicBez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25" name="Freeform: Shape 24">
            <a:extLst>
              <a:ext uri="{FF2B5EF4-FFF2-40B4-BE49-F238E27FC236}">
                <a16:creationId xmlns:a16="http://schemas.microsoft.com/office/drawing/2014/main" id="{8976955E-701B-44AE-A68D-98818B963A07}"/>
              </a:ext>
            </a:extLst>
          </p:cNvPr>
          <p:cNvSpPr/>
          <p:nvPr userDrawn="1"/>
        </p:nvSpPr>
        <p:spPr>
          <a:xfrm rot="5400000">
            <a:off x="2298700" y="0"/>
            <a:ext cx="2298700" cy="2298700"/>
          </a:xfrm>
          <a:custGeom>
            <a:avLst/>
            <a:gdLst>
              <a:gd name="connsiteX0" fmla="*/ 2298700 w 2298700"/>
              <a:gd name="connsiteY0" fmla="*/ 0 h 2298700"/>
              <a:gd name="connsiteX1" fmla="*/ 2298700 w 2298700"/>
              <a:gd name="connsiteY1" fmla="*/ 2298700 h 2298700"/>
              <a:gd name="connsiteX2" fmla="*/ 0 w 2298700"/>
              <a:gd name="connsiteY2" fmla="*/ 2298700 h 2298700"/>
              <a:gd name="connsiteX3" fmla="*/ 2298700 w 2298700"/>
              <a:gd name="connsiteY3" fmla="*/ 0 h 2298700"/>
            </a:gdLst>
            <a:ahLst/>
            <a:cxnLst>
              <a:cxn ang="0">
                <a:pos x="connsiteX0" y="connsiteY0"/>
              </a:cxn>
              <a:cxn ang="0">
                <a:pos x="connsiteX1" y="connsiteY1"/>
              </a:cxn>
              <a:cxn ang="0">
                <a:pos x="connsiteX2" y="connsiteY2"/>
              </a:cxn>
              <a:cxn ang="0">
                <a:pos x="connsiteX3" y="connsiteY3"/>
              </a:cxn>
            </a:cxnLst>
            <a:rect l="l" t="t" r="r" b="b"/>
            <a:pathLst>
              <a:path w="2298700" h="2298700">
                <a:moveTo>
                  <a:pt x="2298700" y="0"/>
                </a:moveTo>
                <a:lnTo>
                  <a:pt x="2298700" y="2298700"/>
                </a:lnTo>
                <a:lnTo>
                  <a:pt x="0" y="2298700"/>
                </a:lnTo>
                <a:cubicBezTo>
                  <a:pt x="0" y="1029163"/>
                  <a:pt x="1029163" y="0"/>
                  <a:pt x="2298700" y="0"/>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26" name="Freeform: Shape 25">
            <a:extLst>
              <a:ext uri="{FF2B5EF4-FFF2-40B4-BE49-F238E27FC236}">
                <a16:creationId xmlns:a16="http://schemas.microsoft.com/office/drawing/2014/main" id="{AD56A1EA-FC5E-4993-AB05-118189343C56}"/>
              </a:ext>
            </a:extLst>
          </p:cNvPr>
          <p:cNvSpPr/>
          <p:nvPr userDrawn="1"/>
        </p:nvSpPr>
        <p:spPr>
          <a:xfrm flipV="1">
            <a:off x="0" y="2298700"/>
            <a:ext cx="2298700" cy="2298700"/>
          </a:xfrm>
          <a:custGeom>
            <a:avLst/>
            <a:gdLst>
              <a:gd name="connsiteX0" fmla="*/ 2298700 w 2298700"/>
              <a:gd name="connsiteY0" fmla="*/ 0 h 2298700"/>
              <a:gd name="connsiteX1" fmla="*/ 2298700 w 2298700"/>
              <a:gd name="connsiteY1" fmla="*/ 2298700 h 2298700"/>
              <a:gd name="connsiteX2" fmla="*/ 0 w 2298700"/>
              <a:gd name="connsiteY2" fmla="*/ 2298700 h 2298700"/>
              <a:gd name="connsiteX3" fmla="*/ 2298700 w 2298700"/>
              <a:gd name="connsiteY3" fmla="*/ 0 h 2298700"/>
            </a:gdLst>
            <a:ahLst/>
            <a:cxnLst>
              <a:cxn ang="0">
                <a:pos x="connsiteX0" y="connsiteY0"/>
              </a:cxn>
              <a:cxn ang="0">
                <a:pos x="connsiteX1" y="connsiteY1"/>
              </a:cxn>
              <a:cxn ang="0">
                <a:pos x="connsiteX2" y="connsiteY2"/>
              </a:cxn>
              <a:cxn ang="0">
                <a:pos x="connsiteX3" y="connsiteY3"/>
              </a:cxn>
            </a:cxnLst>
            <a:rect l="l" t="t" r="r" b="b"/>
            <a:pathLst>
              <a:path w="2298700" h="2298700">
                <a:moveTo>
                  <a:pt x="2298700" y="0"/>
                </a:moveTo>
                <a:lnTo>
                  <a:pt x="2298700" y="2298700"/>
                </a:lnTo>
                <a:lnTo>
                  <a:pt x="0" y="2298700"/>
                </a:lnTo>
                <a:cubicBezTo>
                  <a:pt x="0" y="1029163"/>
                  <a:pt x="1029163" y="0"/>
                  <a:pt x="229870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27" name="Freeform: Shape 26">
            <a:extLst>
              <a:ext uri="{FF2B5EF4-FFF2-40B4-BE49-F238E27FC236}">
                <a16:creationId xmlns:a16="http://schemas.microsoft.com/office/drawing/2014/main" id="{7E9A814E-EF2F-4F25-987E-2BE2D55CFB49}"/>
              </a:ext>
            </a:extLst>
          </p:cNvPr>
          <p:cNvSpPr/>
          <p:nvPr userDrawn="1"/>
        </p:nvSpPr>
        <p:spPr>
          <a:xfrm rot="16200000" flipV="1">
            <a:off x="2298700" y="2298700"/>
            <a:ext cx="2298700" cy="2298700"/>
          </a:xfrm>
          <a:custGeom>
            <a:avLst/>
            <a:gdLst>
              <a:gd name="connsiteX0" fmla="*/ 2298700 w 2298700"/>
              <a:gd name="connsiteY0" fmla="*/ 0 h 2298700"/>
              <a:gd name="connsiteX1" fmla="*/ 2298700 w 2298700"/>
              <a:gd name="connsiteY1" fmla="*/ 2298700 h 2298700"/>
              <a:gd name="connsiteX2" fmla="*/ 0 w 2298700"/>
              <a:gd name="connsiteY2" fmla="*/ 2298700 h 2298700"/>
              <a:gd name="connsiteX3" fmla="*/ 2298700 w 2298700"/>
              <a:gd name="connsiteY3" fmla="*/ 0 h 2298700"/>
            </a:gdLst>
            <a:ahLst/>
            <a:cxnLst>
              <a:cxn ang="0">
                <a:pos x="connsiteX0" y="connsiteY0"/>
              </a:cxn>
              <a:cxn ang="0">
                <a:pos x="connsiteX1" y="connsiteY1"/>
              </a:cxn>
              <a:cxn ang="0">
                <a:pos x="connsiteX2" y="connsiteY2"/>
              </a:cxn>
              <a:cxn ang="0">
                <a:pos x="connsiteX3" y="connsiteY3"/>
              </a:cxn>
            </a:cxnLst>
            <a:rect l="l" t="t" r="r" b="b"/>
            <a:pathLst>
              <a:path w="2298700" h="2298700">
                <a:moveTo>
                  <a:pt x="2298700" y="0"/>
                </a:moveTo>
                <a:lnTo>
                  <a:pt x="2298700" y="2298700"/>
                </a:lnTo>
                <a:lnTo>
                  <a:pt x="0" y="2298700"/>
                </a:lnTo>
                <a:cubicBezTo>
                  <a:pt x="0" y="1029163"/>
                  <a:pt x="1029163" y="0"/>
                  <a:pt x="2298700" y="0"/>
                </a:cubicBezTo>
                <a:close/>
              </a:path>
            </a:pathLst>
          </a:cu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30" name="Freeform: Shape 29">
            <a:extLst>
              <a:ext uri="{FF2B5EF4-FFF2-40B4-BE49-F238E27FC236}">
                <a16:creationId xmlns:a16="http://schemas.microsoft.com/office/drawing/2014/main" id="{BBB2655B-D5D6-4A1D-B4B8-2956811AF737}"/>
              </a:ext>
            </a:extLst>
          </p:cNvPr>
          <p:cNvSpPr/>
          <p:nvPr userDrawn="1"/>
        </p:nvSpPr>
        <p:spPr>
          <a:xfrm>
            <a:off x="2298698" y="2297153"/>
            <a:ext cx="2298700" cy="2298700"/>
          </a:xfrm>
          <a:custGeom>
            <a:avLst/>
            <a:gdLst>
              <a:gd name="connsiteX0" fmla="*/ 0 w 2298700"/>
              <a:gd name="connsiteY0" fmla="*/ 0 h 2298700"/>
              <a:gd name="connsiteX1" fmla="*/ 2298700 w 2298700"/>
              <a:gd name="connsiteY1" fmla="*/ 0 h 2298700"/>
              <a:gd name="connsiteX2" fmla="*/ 0 w 2298700"/>
              <a:gd name="connsiteY2" fmla="*/ 2298700 h 2298700"/>
              <a:gd name="connsiteX3" fmla="*/ 0 w 2298700"/>
              <a:gd name="connsiteY3" fmla="*/ 0 h 2298700"/>
            </a:gdLst>
            <a:ahLst/>
            <a:cxnLst>
              <a:cxn ang="0">
                <a:pos x="connsiteX0" y="connsiteY0"/>
              </a:cxn>
              <a:cxn ang="0">
                <a:pos x="connsiteX1" y="connsiteY1"/>
              </a:cxn>
              <a:cxn ang="0">
                <a:pos x="connsiteX2" y="connsiteY2"/>
              </a:cxn>
              <a:cxn ang="0">
                <a:pos x="connsiteX3" y="connsiteY3"/>
              </a:cxn>
            </a:cxnLst>
            <a:rect l="l" t="t" r="r" b="b"/>
            <a:pathLst>
              <a:path w="2298700" h="2298700">
                <a:moveTo>
                  <a:pt x="0" y="0"/>
                </a:moveTo>
                <a:lnTo>
                  <a:pt x="2298700" y="0"/>
                </a:lnTo>
                <a:cubicBezTo>
                  <a:pt x="1029163" y="0"/>
                  <a:pt x="0" y="1029163"/>
                  <a:pt x="0" y="2298700"/>
                </a:cubicBezTo>
                <a:lnTo>
                  <a:pt x="0" y="0"/>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38" name="Rectangle 37">
            <a:extLst>
              <a:ext uri="{FF2B5EF4-FFF2-40B4-BE49-F238E27FC236}">
                <a16:creationId xmlns:a16="http://schemas.microsoft.com/office/drawing/2014/main" id="{28977600-7B37-4D66-9510-62AFD35D16C1}"/>
              </a:ext>
            </a:extLst>
          </p:cNvPr>
          <p:cNvSpPr/>
          <p:nvPr userDrawn="1"/>
        </p:nvSpPr>
        <p:spPr>
          <a:xfrm>
            <a:off x="0" y="4595853"/>
            <a:ext cx="2298700" cy="226059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39" name="Rectangle 38">
            <a:extLst>
              <a:ext uri="{FF2B5EF4-FFF2-40B4-BE49-F238E27FC236}">
                <a16:creationId xmlns:a16="http://schemas.microsoft.com/office/drawing/2014/main" id="{CD1D6B52-EB68-4E52-8C05-C86E770A45AD}"/>
              </a:ext>
            </a:extLst>
          </p:cNvPr>
          <p:cNvSpPr/>
          <p:nvPr userDrawn="1"/>
        </p:nvSpPr>
        <p:spPr>
          <a:xfrm>
            <a:off x="2298700" y="4595853"/>
            <a:ext cx="2298700" cy="2262147"/>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40" name="Freeform: Shape 39">
            <a:extLst>
              <a:ext uri="{FF2B5EF4-FFF2-40B4-BE49-F238E27FC236}">
                <a16:creationId xmlns:a16="http://schemas.microsoft.com/office/drawing/2014/main" id="{816CDE59-A17D-4E82-A34F-000BDFB1796E}"/>
              </a:ext>
            </a:extLst>
          </p:cNvPr>
          <p:cNvSpPr/>
          <p:nvPr userDrawn="1"/>
        </p:nvSpPr>
        <p:spPr>
          <a:xfrm rot="10800000">
            <a:off x="2298696" y="4559299"/>
            <a:ext cx="2298700" cy="2298700"/>
          </a:xfrm>
          <a:custGeom>
            <a:avLst/>
            <a:gdLst>
              <a:gd name="connsiteX0" fmla="*/ 0 w 2298700"/>
              <a:gd name="connsiteY0" fmla="*/ 0 h 2298700"/>
              <a:gd name="connsiteX1" fmla="*/ 2298700 w 2298700"/>
              <a:gd name="connsiteY1" fmla="*/ 0 h 2298700"/>
              <a:gd name="connsiteX2" fmla="*/ 0 w 2298700"/>
              <a:gd name="connsiteY2" fmla="*/ 2298700 h 2298700"/>
              <a:gd name="connsiteX3" fmla="*/ 0 w 2298700"/>
              <a:gd name="connsiteY3" fmla="*/ 0 h 2298700"/>
            </a:gdLst>
            <a:ahLst/>
            <a:cxnLst>
              <a:cxn ang="0">
                <a:pos x="connsiteX0" y="connsiteY0"/>
              </a:cxn>
              <a:cxn ang="0">
                <a:pos x="connsiteX1" y="connsiteY1"/>
              </a:cxn>
              <a:cxn ang="0">
                <a:pos x="connsiteX2" y="connsiteY2"/>
              </a:cxn>
              <a:cxn ang="0">
                <a:pos x="connsiteX3" y="connsiteY3"/>
              </a:cxn>
            </a:cxnLst>
            <a:rect l="l" t="t" r="r" b="b"/>
            <a:pathLst>
              <a:path w="2298700" h="2298700">
                <a:moveTo>
                  <a:pt x="0" y="0"/>
                </a:moveTo>
                <a:lnTo>
                  <a:pt x="2298700" y="0"/>
                </a:lnTo>
                <a:cubicBezTo>
                  <a:pt x="1029163" y="0"/>
                  <a:pt x="0" y="1029163"/>
                  <a:pt x="0" y="2298700"/>
                </a:cubicBezTo>
                <a:lnTo>
                  <a:pt x="0" y="0"/>
                </a:lnTo>
                <a:close/>
              </a:path>
            </a:pathLst>
          </a:cu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41" name="Right Triangle 40">
            <a:extLst>
              <a:ext uri="{FF2B5EF4-FFF2-40B4-BE49-F238E27FC236}">
                <a16:creationId xmlns:a16="http://schemas.microsoft.com/office/drawing/2014/main" id="{162260A0-375C-4496-A48B-157CBE32291C}"/>
              </a:ext>
            </a:extLst>
          </p:cNvPr>
          <p:cNvSpPr/>
          <p:nvPr userDrawn="1"/>
        </p:nvSpPr>
        <p:spPr>
          <a:xfrm>
            <a:off x="0" y="5462546"/>
            <a:ext cx="2298692" cy="1395454"/>
          </a:xfrm>
          <a:prstGeom prst="rtTriangle">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Tree>
    <p:extLst>
      <p:ext uri="{BB962C8B-B14F-4D97-AF65-F5344CB8AC3E}">
        <p14:creationId xmlns:p14="http://schemas.microsoft.com/office/powerpoint/2010/main" val="368167286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Divider (Woman smiling) ">
    <p:bg>
      <p:bgPr>
        <a:solidFill>
          <a:schemeClr val="accent3">
            <a:lumMod val="50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06BCF3-DDAB-403D-8CA9-261FACF982E8}"/>
              </a:ext>
            </a:extLst>
          </p:cNvPr>
          <p:cNvGraphicFramePr>
            <a:graphicFrameLocks noChangeAspect="1"/>
          </p:cNvGraphicFramePr>
          <p:nvPr userDrawn="1">
            <p:custDataLst>
              <p:tags r:id="rId1"/>
            </p:custDataLst>
            <p:extLst>
              <p:ext uri="{D42A27DB-BD31-4B8C-83A1-F6EECF244321}">
                <p14:modId xmlns:p14="http://schemas.microsoft.com/office/powerpoint/2010/main" val="342674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7F06BCF3-DDAB-403D-8CA9-261FACF982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45600733-47C5-4699-8308-3A99A2581CA2}"/>
              </a:ext>
            </a:extLst>
          </p:cNvPr>
          <p:cNvSpPr/>
          <p:nvPr userDrawn="1"/>
        </p:nvSpPr>
        <p:spPr>
          <a:xfrm>
            <a:off x="0" y="0"/>
            <a:ext cx="7478038"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pic>
        <p:nvPicPr>
          <p:cNvPr id="4" name="Picture 3">
            <a:extLst>
              <a:ext uri="{FF2B5EF4-FFF2-40B4-BE49-F238E27FC236}">
                <a16:creationId xmlns:a16="http://schemas.microsoft.com/office/drawing/2014/main" id="{0A451B81-1027-4982-9013-959EF68B1421}"/>
              </a:ext>
            </a:extLst>
          </p:cNvPr>
          <p:cNvPicPr>
            <a:picLocks noChangeAspect="1"/>
          </p:cNvPicPr>
          <p:nvPr userDrawn="1"/>
        </p:nvPicPr>
        <p:blipFill rotWithShape="1">
          <a:blip r:embed="rId5">
            <a:extLst>
              <a:ext uri="{28A0092B-C50C-407E-A947-70E740481C1C}">
                <a14:useLocalDpi xmlns:a14="http://schemas.microsoft.com/office/drawing/2010/main"/>
              </a:ext>
            </a:extLst>
          </a:blip>
          <a:srcRect l="15384"/>
          <a:stretch/>
        </p:blipFill>
        <p:spPr>
          <a:xfrm>
            <a:off x="-1" y="0"/>
            <a:ext cx="7482317" cy="6858000"/>
          </a:xfrm>
          <a:prstGeom prst="rect">
            <a:avLst/>
          </a:prstGeom>
          <a:solidFill>
            <a:schemeClr val="accent3">
              <a:lumMod val="75000"/>
            </a:schemeClr>
          </a:solidFill>
        </p:spPr>
      </p:pic>
      <p:sp>
        <p:nvSpPr>
          <p:cNvPr id="13" name="Freeform: Shape 12">
            <a:extLst>
              <a:ext uri="{FF2B5EF4-FFF2-40B4-BE49-F238E27FC236}">
                <a16:creationId xmlns:a16="http://schemas.microsoft.com/office/drawing/2014/main" id="{0ABA205B-9E12-44B1-A996-D8A93D84D6DC}"/>
              </a:ext>
            </a:extLst>
          </p:cNvPr>
          <p:cNvSpPr/>
          <p:nvPr userDrawn="1"/>
        </p:nvSpPr>
        <p:spPr>
          <a:xfrm rot="10800000">
            <a:off x="624316" y="0"/>
            <a:ext cx="6858000" cy="6858000"/>
          </a:xfrm>
          <a:custGeom>
            <a:avLst/>
            <a:gdLst>
              <a:gd name="connsiteX0" fmla="*/ 0 w 2298700"/>
              <a:gd name="connsiteY0" fmla="*/ 0 h 2298700"/>
              <a:gd name="connsiteX1" fmla="*/ 2298700 w 2298700"/>
              <a:gd name="connsiteY1" fmla="*/ 0 h 2298700"/>
              <a:gd name="connsiteX2" fmla="*/ 0 w 2298700"/>
              <a:gd name="connsiteY2" fmla="*/ 2298700 h 2298700"/>
              <a:gd name="connsiteX3" fmla="*/ 0 w 2298700"/>
              <a:gd name="connsiteY3" fmla="*/ 0 h 2298700"/>
            </a:gdLst>
            <a:ahLst/>
            <a:cxnLst>
              <a:cxn ang="0">
                <a:pos x="connsiteX0" y="connsiteY0"/>
              </a:cxn>
              <a:cxn ang="0">
                <a:pos x="connsiteX1" y="connsiteY1"/>
              </a:cxn>
              <a:cxn ang="0">
                <a:pos x="connsiteX2" y="connsiteY2"/>
              </a:cxn>
              <a:cxn ang="0">
                <a:pos x="connsiteX3" y="connsiteY3"/>
              </a:cxn>
            </a:cxnLst>
            <a:rect l="l" t="t" r="r" b="b"/>
            <a:pathLst>
              <a:path w="2298700" h="2298700">
                <a:moveTo>
                  <a:pt x="0" y="0"/>
                </a:moveTo>
                <a:lnTo>
                  <a:pt x="2298700" y="0"/>
                </a:lnTo>
                <a:cubicBezTo>
                  <a:pt x="1029163" y="0"/>
                  <a:pt x="0" y="1029163"/>
                  <a:pt x="0" y="2298700"/>
                </a:cubicBezTo>
                <a:lnTo>
                  <a:pt x="0" y="0"/>
                </a:lnTo>
                <a:close/>
              </a:path>
            </a:pathLst>
          </a:custGeom>
          <a:solidFill>
            <a:srgbClr val="0DB7C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14" name="Text Placeholder 3">
            <a:extLst>
              <a:ext uri="{FF2B5EF4-FFF2-40B4-BE49-F238E27FC236}">
                <a16:creationId xmlns:a16="http://schemas.microsoft.com/office/drawing/2014/main" id="{EC3910F1-D605-4498-A958-35982DB6AA36}"/>
              </a:ext>
            </a:extLst>
          </p:cNvPr>
          <p:cNvSpPr>
            <a:spLocks noGrp="1"/>
          </p:cNvSpPr>
          <p:nvPr>
            <p:ph type="body" sz="quarter" idx="15" hasCustomPrompt="1"/>
          </p:nvPr>
        </p:nvSpPr>
        <p:spPr>
          <a:xfrm>
            <a:off x="8029753" y="512763"/>
            <a:ext cx="3646309" cy="498598"/>
          </a:xfrm>
          <a:prstGeom prst="rect">
            <a:avLst/>
          </a:prstGeom>
        </p:spPr>
        <p:txBody>
          <a:bodyPr wrap="square" lIns="0" tIns="0" rIns="0" bIns="0">
            <a:spAutoFit/>
          </a:bodyPr>
          <a:lstStyle>
            <a:lvl1pPr marL="7938" indent="-7938" rtl="0">
              <a:spcBef>
                <a:spcPts val="0"/>
              </a:spcBef>
              <a:buNone/>
              <a:tabLst/>
              <a:defRPr sz="3600" b="1" i="0">
                <a:solidFill>
                  <a:schemeClr val="bg1"/>
                </a:solidFill>
                <a:latin typeface="Leelawadee" panose="020B0502040204020203" pitchFamily="34" charset="-34"/>
                <a:cs typeface="Leelawadee" panose="020B0502040204020203" pitchFamily="34" charset="-34"/>
              </a:defRPr>
            </a:lvl1pPr>
          </a:lstStyle>
          <a:p>
            <a:pPr lvl="0"/>
            <a:r>
              <a:rPr lang="en-US" noProof="0"/>
              <a:t>Title</a:t>
            </a:r>
          </a:p>
        </p:txBody>
      </p:sp>
      <p:pic>
        <p:nvPicPr>
          <p:cNvPr id="15" name="Picture 14" descr="Logo&#10;&#10;Description automatically generated">
            <a:extLst>
              <a:ext uri="{FF2B5EF4-FFF2-40B4-BE49-F238E27FC236}">
                <a16:creationId xmlns:a16="http://schemas.microsoft.com/office/drawing/2014/main" id="{31900DC2-D885-4DFA-9785-CFFD77135EC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287179" y="5739255"/>
            <a:ext cx="1557599" cy="729808"/>
          </a:xfrm>
          <a:prstGeom prst="rect">
            <a:avLst/>
          </a:prstGeom>
        </p:spPr>
      </p:pic>
      <p:sp>
        <p:nvSpPr>
          <p:cNvPr id="16" name="Text Placeholder 3">
            <a:extLst>
              <a:ext uri="{FF2B5EF4-FFF2-40B4-BE49-F238E27FC236}">
                <a16:creationId xmlns:a16="http://schemas.microsoft.com/office/drawing/2014/main" id="{5920EABA-9D8D-40A1-916A-855DEAACBCA3}"/>
              </a:ext>
            </a:extLst>
          </p:cNvPr>
          <p:cNvSpPr>
            <a:spLocks noGrp="1"/>
          </p:cNvSpPr>
          <p:nvPr>
            <p:ph type="body" sz="quarter" idx="16" hasCustomPrompt="1"/>
          </p:nvPr>
        </p:nvSpPr>
        <p:spPr>
          <a:xfrm>
            <a:off x="8029753" y="1835306"/>
            <a:ext cx="3646309" cy="276999"/>
          </a:xfrm>
          <a:prstGeom prst="rect">
            <a:avLst/>
          </a:prstGeom>
        </p:spPr>
        <p:txBody>
          <a:bodyPr wrap="square" lIns="0" tIns="0" rIns="0" bIns="0">
            <a:spAutoFit/>
          </a:bodyPr>
          <a:lstStyle>
            <a:lvl1pPr marL="7938" indent="-7938" algn="l" rtl="0">
              <a:spcBef>
                <a:spcPts val="0"/>
              </a:spcBef>
              <a:buNone/>
              <a:tabLst/>
              <a:defRPr sz="2000" b="0" i="0">
                <a:solidFill>
                  <a:schemeClr val="bg1"/>
                </a:solidFill>
                <a:latin typeface="Leelawadee" panose="020B0502040204020203" pitchFamily="34" charset="-34"/>
                <a:cs typeface="Leelawadee" panose="020B0502040204020203" pitchFamily="34" charset="-34"/>
              </a:defRPr>
            </a:lvl1pPr>
          </a:lstStyle>
          <a:p>
            <a:pPr lvl="0"/>
            <a:r>
              <a:rPr lang="en-US" noProof="0"/>
              <a:t>Subtitle</a:t>
            </a:r>
          </a:p>
        </p:txBody>
      </p:sp>
    </p:spTree>
    <p:extLst>
      <p:ext uri="{BB962C8B-B14F-4D97-AF65-F5344CB8AC3E}">
        <p14:creationId xmlns:p14="http://schemas.microsoft.com/office/powerpoint/2010/main" val="1681466198"/>
      </p:ext>
    </p:extLst>
  </p:cSld>
  <p:clrMapOvr>
    <a:masterClrMapping/>
  </p:clrMapOvr>
  <p:extLst>
    <p:ext uri="{DCECCB84-F9BA-43D5-87BE-67443E8EF086}">
      <p15:sldGuideLst xmlns:p15="http://schemas.microsoft.com/office/powerpoint/2012/main">
        <p15:guide id="1" pos="7355">
          <p15:clr>
            <a:srgbClr val="FBAE40"/>
          </p15:clr>
        </p15:guide>
        <p15:guide id="2" pos="325">
          <p15:clr>
            <a:srgbClr val="FBAE40"/>
          </p15:clr>
        </p15:guide>
        <p15:guide id="3" orient="horz" pos="323">
          <p15:clr>
            <a:srgbClr val="FBAE40"/>
          </p15:clr>
        </p15:guide>
        <p15:guide id="4" orient="horz" pos="3997">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theme" Target="../theme/theme2.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9" Type="http://schemas.openxmlformats.org/officeDocument/2006/relationships/image" Target="../media/image122.emf"/><Relationship Id="rId3" Type="http://schemas.openxmlformats.org/officeDocument/2006/relationships/slideLayout" Target="../slideLayouts/slideLayout88.xml"/><Relationship Id="rId21" Type="http://schemas.openxmlformats.org/officeDocument/2006/relationships/slideLayout" Target="../slideLayouts/slideLayout106.xml"/><Relationship Id="rId34" Type="http://schemas.openxmlformats.org/officeDocument/2006/relationships/slideLayout" Target="../slideLayouts/slideLayout119.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oleObject" Target="../embeddings/oleObject67.bin"/><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tags" Target="../tags/tag69.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theme" Target="../theme/theme3.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slideLayout" Target="../slideLayouts/slideLayout116.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image" Target="../media/image159.png"/><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theme" Target="../theme/theme4.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10" Type="http://schemas.openxmlformats.org/officeDocument/2006/relationships/slideLayout" Target="../slideLayouts/slideLayout130.xml"/><Relationship Id="rId19" Type="http://schemas.openxmlformats.org/officeDocument/2006/relationships/image" Target="../media/image160.svg"/><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84F95AF-2496-4632-A158-835CEA47C88B}"/>
              </a:ext>
            </a:extLst>
          </p:cNvPr>
          <p:cNvGraphicFramePr>
            <a:graphicFrameLocks noChangeAspect="1"/>
          </p:cNvGraphicFramePr>
          <p:nvPr userDrawn="1">
            <p:custDataLst>
              <p:tags r:id="rId68"/>
            </p:custDataLst>
            <p:extLst>
              <p:ext uri="{D42A27DB-BD31-4B8C-83A1-F6EECF244321}">
                <p14:modId xmlns:p14="http://schemas.microsoft.com/office/powerpoint/2010/main" val="734795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9" imgW="443" imgH="443" progId="TCLayout.ActiveDocument.1">
                  <p:embed/>
                </p:oleObj>
              </mc:Choice>
              <mc:Fallback>
                <p:oleObj name="think-cell Slide" r:id="rId69" imgW="443" imgH="443" progId="TCLayout.ActiveDocument.1">
                  <p:embed/>
                  <p:pic>
                    <p:nvPicPr>
                      <p:cNvPr id="8" name="Object 7" hidden="1">
                        <a:extLst>
                          <a:ext uri="{FF2B5EF4-FFF2-40B4-BE49-F238E27FC236}">
                            <a16:creationId xmlns:a16="http://schemas.microsoft.com/office/drawing/2014/main" id="{184F95AF-2496-4632-A158-835CEA47C88B}"/>
                          </a:ext>
                        </a:extLst>
                      </p:cNvPr>
                      <p:cNvPicPr/>
                      <p:nvPr/>
                    </p:nvPicPr>
                    <p:blipFill>
                      <a:blip r:embed="rId7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mn-lt"/>
                <a:ea typeface="+mn-ea"/>
                <a:cs typeface="+mn-cs"/>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mn-lt"/>
                <a:ea typeface="+mn-ea"/>
                <a:cs typeface="+mn-cs"/>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mn-lt"/>
                <a:ea typeface="+mn-ea"/>
                <a:cs typeface="+mn-cs"/>
              </a:defRPr>
            </a:lvl1pPr>
          </a:lstStyle>
          <a:p>
            <a:fld id="{801FD0BA-3AA9-459F-A2B0-5B0986A4C245}" type="slidenum">
              <a:rPr lang="en-US" smtClean="0"/>
              <a:pPr/>
              <a:t>‹#›</a:t>
            </a:fld>
            <a:endParaRPr lang="en-US"/>
          </a:p>
        </p:txBody>
      </p:sp>
    </p:spTree>
    <p:extLst>
      <p:ext uri="{BB962C8B-B14F-4D97-AF65-F5344CB8AC3E}">
        <p14:creationId xmlns:p14="http://schemas.microsoft.com/office/powerpoint/2010/main" val="765661222"/>
      </p:ext>
    </p:extLst>
  </p:cSld>
  <p:clrMap bg1="lt1" tx1="dk1" bg2="lt2" tx2="dk2" accent1="accent1" accent2="accent2" accent3="accent3" accent4="accent4" accent5="accent5" accent6="accent6" hlink="hlink" folHlink="folHlink"/>
  <p:sldLayoutIdLst>
    <p:sldLayoutId id="2147483759" r:id="rId1"/>
    <p:sldLayoutId id="2147483655" r:id="rId2"/>
    <p:sldLayoutId id="2147483720" r:id="rId3"/>
    <p:sldLayoutId id="2147483790" r:id="rId4"/>
    <p:sldLayoutId id="2147483791" r:id="rId5"/>
    <p:sldLayoutId id="2147483792" r:id="rId6"/>
    <p:sldLayoutId id="2147483793" r:id="rId7"/>
    <p:sldLayoutId id="2147483794" r:id="rId8"/>
    <p:sldLayoutId id="2147483795" r:id="rId9"/>
    <p:sldLayoutId id="2147483796" r:id="rId10"/>
    <p:sldLayoutId id="2147483721" r:id="rId11"/>
    <p:sldLayoutId id="2147483760" r:id="rId12"/>
    <p:sldLayoutId id="2147483784" r:id="rId13"/>
    <p:sldLayoutId id="2147483715" r:id="rId14"/>
    <p:sldLayoutId id="2147483708" r:id="rId15"/>
    <p:sldLayoutId id="2147483761" r:id="rId16"/>
    <p:sldLayoutId id="2147483754" r:id="rId17"/>
    <p:sldLayoutId id="2147483724" r:id="rId18"/>
    <p:sldLayoutId id="2147483682" r:id="rId19"/>
    <p:sldLayoutId id="2147483704" r:id="rId20"/>
    <p:sldLayoutId id="2147483763" r:id="rId21"/>
    <p:sldLayoutId id="2147483811" r:id="rId22"/>
    <p:sldLayoutId id="2147483809" r:id="rId23"/>
    <p:sldLayoutId id="2147483815" r:id="rId24"/>
    <p:sldLayoutId id="2147483814" r:id="rId25"/>
    <p:sldLayoutId id="2147483764" r:id="rId26"/>
    <p:sldLayoutId id="2147483765" r:id="rId27"/>
    <p:sldLayoutId id="2147483766" r:id="rId28"/>
    <p:sldLayoutId id="2147483668" r:id="rId29"/>
    <p:sldLayoutId id="2147483771" r:id="rId30"/>
    <p:sldLayoutId id="2147483769" r:id="rId31"/>
    <p:sldLayoutId id="2147483770" r:id="rId32"/>
    <p:sldLayoutId id="2147483768" r:id="rId33"/>
    <p:sldLayoutId id="2147483767" r:id="rId34"/>
    <p:sldLayoutId id="2147483787" r:id="rId35"/>
    <p:sldLayoutId id="2147483788" r:id="rId36"/>
    <p:sldLayoutId id="2147483810" r:id="rId37"/>
    <p:sldLayoutId id="2147483789" r:id="rId38"/>
    <p:sldLayoutId id="2147483762" r:id="rId39"/>
    <p:sldLayoutId id="2147483676" r:id="rId40"/>
    <p:sldLayoutId id="2147483727" r:id="rId41"/>
    <p:sldLayoutId id="2147483706" r:id="rId42"/>
    <p:sldLayoutId id="2147483756" r:id="rId43"/>
    <p:sldLayoutId id="2147483757" r:id="rId44"/>
    <p:sldLayoutId id="2147483758" r:id="rId45"/>
    <p:sldLayoutId id="2147483680" r:id="rId46"/>
    <p:sldLayoutId id="2147483688" r:id="rId47"/>
    <p:sldLayoutId id="2147483703" r:id="rId48"/>
    <p:sldLayoutId id="2147483772" r:id="rId49"/>
    <p:sldLayoutId id="2147483773" r:id="rId50"/>
    <p:sldLayoutId id="2147483785" r:id="rId51"/>
    <p:sldLayoutId id="2147483774" r:id="rId52"/>
    <p:sldLayoutId id="2147483775" r:id="rId53"/>
    <p:sldLayoutId id="2147483776" r:id="rId54"/>
    <p:sldLayoutId id="2147483777" r:id="rId55"/>
    <p:sldLayoutId id="2147483778" r:id="rId56"/>
    <p:sldLayoutId id="2147483779" r:id="rId57"/>
    <p:sldLayoutId id="2147483780" r:id="rId58"/>
    <p:sldLayoutId id="2147483781" r:id="rId59"/>
    <p:sldLayoutId id="2147483782" r:id="rId60"/>
    <p:sldLayoutId id="2147483783" r:id="rId61"/>
    <p:sldLayoutId id="2147483744" r:id="rId62"/>
    <p:sldLayoutId id="2147483786" r:id="rId63"/>
    <p:sldLayoutId id="2147483753" r:id="rId64"/>
    <p:sldLayoutId id="2147483673" r:id="rId65"/>
    <p:sldLayoutId id="2147483801" r:id="rId66"/>
  </p:sldLayoutIdLst>
  <p:hf hdr="0" ftr="0" dt="0"/>
  <p:txStyles>
    <p:titleStyle>
      <a:lvl1pPr algn="l" defTabSz="914400" rtl="0" eaLnBrk="1" latinLnBrk="0" hangingPunct="1">
        <a:lnSpc>
          <a:spcPct val="90000"/>
        </a:lnSpc>
        <a:spcBef>
          <a:spcPct val="0"/>
        </a:spcBef>
        <a:buNone/>
        <a:defRPr sz="4400" kern="1200">
          <a:solidFill>
            <a:srgbClr val="133CCF"/>
          </a:solidFill>
          <a:latin typeface="+mj-lt"/>
          <a:ea typeface="+mj-ea"/>
          <a:cs typeface="+mj-cs"/>
        </a:defRPr>
      </a:lvl1pPr>
    </p:titleStyle>
    <p:bodyStyle>
      <a:lvl1pPr marL="171450" indent="-171450" algn="l" defTabSz="914400" rtl="0" eaLnBrk="1" latinLnBrk="0" hangingPunct="1">
        <a:lnSpc>
          <a:spcPct val="90000"/>
        </a:lnSpc>
        <a:spcBef>
          <a:spcPts val="1000"/>
        </a:spcBef>
        <a:buFont typeface="Arial" panose="020B0604020202020204" pitchFamily="34" charset="0"/>
        <a:buChar char="•"/>
        <a:tabLst/>
        <a:defRPr sz="2800" kern="1200">
          <a:solidFill>
            <a:srgbClr val="133CCF"/>
          </a:solidFill>
          <a:latin typeface="+mn-lt"/>
          <a:ea typeface="+mn-ea"/>
          <a:cs typeface="+mn-cs"/>
        </a:defRPr>
      </a:lvl1pPr>
      <a:lvl2pPr marL="344488" indent="-173038" algn="l" defTabSz="914400" rtl="0" eaLnBrk="1" latinLnBrk="0" hangingPunct="1">
        <a:lnSpc>
          <a:spcPct val="90000"/>
        </a:lnSpc>
        <a:spcBef>
          <a:spcPts val="500"/>
        </a:spcBef>
        <a:buSzPct val="70000"/>
        <a:buFont typeface="Courier New" panose="02070309020205020404" pitchFamily="49" charset="0"/>
        <a:buChar char="o"/>
        <a:tabLst/>
        <a:defRPr sz="1800" kern="1200">
          <a:solidFill>
            <a:srgbClr val="133CCF"/>
          </a:solidFill>
          <a:latin typeface="+mn-lt"/>
          <a:ea typeface="+mn-ea"/>
          <a:cs typeface="+mn-cs"/>
        </a:defRPr>
      </a:lvl2pPr>
      <a:lvl3pPr marL="517525" indent="-173038" algn="l" defTabSz="914400" rtl="0" eaLnBrk="1" latinLnBrk="0" hangingPunct="1">
        <a:lnSpc>
          <a:spcPct val="90000"/>
        </a:lnSpc>
        <a:spcBef>
          <a:spcPts val="500"/>
        </a:spcBef>
        <a:buFont typeface="Wingdings" pitchFamily="2" charset="2"/>
        <a:buChar char="§"/>
        <a:tabLst/>
        <a:defRPr sz="1800" kern="1200">
          <a:solidFill>
            <a:srgbClr val="133CCF"/>
          </a:solidFill>
          <a:latin typeface="+mn-lt"/>
          <a:ea typeface="+mn-ea"/>
          <a:cs typeface="+mn-cs"/>
        </a:defRPr>
      </a:lvl3pPr>
      <a:lvl4pPr marL="690563" indent="-173038" algn="l" defTabSz="914400" rtl="0" eaLnBrk="1" latinLnBrk="0" hangingPunct="1">
        <a:lnSpc>
          <a:spcPct val="90000"/>
        </a:lnSpc>
        <a:spcBef>
          <a:spcPts val="500"/>
        </a:spcBef>
        <a:buSzPct val="70000"/>
        <a:buFont typeface="Wingdings" pitchFamily="2" charset="2"/>
        <a:buChar char="q"/>
        <a:tabLst/>
        <a:defRPr sz="1800" kern="1200">
          <a:solidFill>
            <a:srgbClr val="133CCF"/>
          </a:solidFill>
          <a:latin typeface="+mn-lt"/>
          <a:ea typeface="+mn-ea"/>
          <a:cs typeface="+mn-cs"/>
        </a:defRPr>
      </a:lvl4pPr>
      <a:lvl5pPr marL="863600" indent="-173038" algn="l" defTabSz="914400" rtl="0" eaLnBrk="1" latinLnBrk="0" hangingPunct="1">
        <a:lnSpc>
          <a:spcPct val="90000"/>
        </a:lnSpc>
        <a:spcBef>
          <a:spcPts val="500"/>
        </a:spcBef>
        <a:buSzPct val="80000"/>
        <a:buFont typeface="Wingdings" pitchFamily="2" charset="2"/>
        <a:buChar char="v"/>
        <a:tabLst/>
        <a:defRPr sz="1800" kern="1200">
          <a:solidFill>
            <a:srgbClr val="133CC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6" userDrawn="1">
          <p15:clr>
            <a:srgbClr val="F26B43"/>
          </p15:clr>
        </p15:guide>
        <p15:guide id="2" pos="7304" userDrawn="1">
          <p15:clr>
            <a:srgbClr val="F26B43"/>
          </p15:clr>
        </p15:guide>
        <p15:guide id="3" orient="horz" pos="4056" userDrawn="1">
          <p15:clr>
            <a:srgbClr val="F26B43"/>
          </p15:clr>
        </p15:guide>
        <p15:guide id="4" orient="horz" pos="69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DD812B6-E6FD-4736-B1A0-626F8CA6130D}"/>
              </a:ext>
            </a:extLst>
          </p:cNvPr>
          <p:cNvSpPr/>
          <p:nvPr userDrawn="1"/>
        </p:nvSpPr>
        <p:spPr>
          <a:xfrm>
            <a:off x="12274974" y="999067"/>
            <a:ext cx="406400" cy="457200"/>
          </a:xfrm>
          <a:prstGeom prst="rect">
            <a:avLst/>
          </a:prstGeom>
          <a:solidFill>
            <a:srgbClr val="FBF1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8" name="Rectangle 7">
            <a:extLst>
              <a:ext uri="{FF2B5EF4-FFF2-40B4-BE49-F238E27FC236}">
                <a16:creationId xmlns:a16="http://schemas.microsoft.com/office/drawing/2014/main" id="{7E0CAC90-82FA-4C22-B033-1858C523192F}"/>
              </a:ext>
            </a:extLst>
          </p:cNvPr>
          <p:cNvSpPr/>
          <p:nvPr userDrawn="1"/>
        </p:nvSpPr>
        <p:spPr>
          <a:xfrm>
            <a:off x="12274974" y="1498600"/>
            <a:ext cx="406400" cy="457200"/>
          </a:xfrm>
          <a:prstGeom prst="rect">
            <a:avLst/>
          </a:prstGeom>
          <a:solidFill>
            <a:srgbClr val="D3E0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9" name="Rectangle 8">
            <a:extLst>
              <a:ext uri="{FF2B5EF4-FFF2-40B4-BE49-F238E27FC236}">
                <a16:creationId xmlns:a16="http://schemas.microsoft.com/office/drawing/2014/main" id="{EC5AA6F3-60DC-4CC3-A715-8A72B9EDE31E}"/>
              </a:ext>
            </a:extLst>
          </p:cNvPr>
          <p:cNvSpPr/>
          <p:nvPr userDrawn="1"/>
        </p:nvSpPr>
        <p:spPr>
          <a:xfrm>
            <a:off x="12274974" y="1998133"/>
            <a:ext cx="406400" cy="457200"/>
          </a:xfrm>
          <a:prstGeom prst="rect">
            <a:avLst/>
          </a:prstGeom>
          <a:solidFill>
            <a:srgbClr val="FAA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10" name="Rectangle 9">
            <a:extLst>
              <a:ext uri="{FF2B5EF4-FFF2-40B4-BE49-F238E27FC236}">
                <a16:creationId xmlns:a16="http://schemas.microsoft.com/office/drawing/2014/main" id="{619A5C3A-A1A1-4707-B380-41492E2702CC}"/>
              </a:ext>
            </a:extLst>
          </p:cNvPr>
          <p:cNvSpPr/>
          <p:nvPr userDrawn="1"/>
        </p:nvSpPr>
        <p:spPr>
          <a:xfrm>
            <a:off x="12274974" y="2497667"/>
            <a:ext cx="406400" cy="457200"/>
          </a:xfrm>
          <a:prstGeom prst="rect">
            <a:avLst/>
          </a:prstGeom>
          <a:solidFill>
            <a:srgbClr val="EA4B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11" name="Rectangle 10">
            <a:extLst>
              <a:ext uri="{FF2B5EF4-FFF2-40B4-BE49-F238E27FC236}">
                <a16:creationId xmlns:a16="http://schemas.microsoft.com/office/drawing/2014/main" id="{FD42668D-9449-4EEC-8ABC-3066145EA1E2}"/>
              </a:ext>
            </a:extLst>
          </p:cNvPr>
          <p:cNvSpPr/>
          <p:nvPr userDrawn="1"/>
        </p:nvSpPr>
        <p:spPr>
          <a:xfrm>
            <a:off x="12274974" y="0"/>
            <a:ext cx="406400" cy="457200"/>
          </a:xfrm>
          <a:prstGeom prst="rect">
            <a:avLst/>
          </a:prstGeom>
          <a:solidFill>
            <a:srgbClr val="8182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12" name="Rectangle 11">
            <a:extLst>
              <a:ext uri="{FF2B5EF4-FFF2-40B4-BE49-F238E27FC236}">
                <a16:creationId xmlns:a16="http://schemas.microsoft.com/office/drawing/2014/main" id="{BB47992D-D1C4-4C87-BF33-D272978ADFA6}"/>
              </a:ext>
            </a:extLst>
          </p:cNvPr>
          <p:cNvSpPr/>
          <p:nvPr userDrawn="1"/>
        </p:nvSpPr>
        <p:spPr>
          <a:xfrm>
            <a:off x="12274974" y="499533"/>
            <a:ext cx="406400" cy="457200"/>
          </a:xfrm>
          <a:prstGeom prst="rect">
            <a:avLst/>
          </a:prstGeom>
          <a:solidFill>
            <a:srgbClr val="BDBE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13" name="Rectangle 12">
            <a:extLst>
              <a:ext uri="{FF2B5EF4-FFF2-40B4-BE49-F238E27FC236}">
                <a16:creationId xmlns:a16="http://schemas.microsoft.com/office/drawing/2014/main" id="{AAFE726A-1997-4755-BAC2-A02982F9C1DA}"/>
              </a:ext>
            </a:extLst>
          </p:cNvPr>
          <p:cNvSpPr/>
          <p:nvPr userDrawn="1"/>
        </p:nvSpPr>
        <p:spPr>
          <a:xfrm>
            <a:off x="12272965" y="2997199"/>
            <a:ext cx="406400" cy="457200"/>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Tree>
    <p:extLst>
      <p:ext uri="{BB962C8B-B14F-4D97-AF65-F5344CB8AC3E}">
        <p14:creationId xmlns:p14="http://schemas.microsoft.com/office/powerpoint/2010/main" val="918421098"/>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Lst>
  <p:txStyles>
    <p:titleStyle>
      <a:lvl1pPr algn="l" defTabSz="609630" rtl="0" eaLnBrk="1" latinLnBrk="0" hangingPunct="1">
        <a:lnSpc>
          <a:spcPct val="90000"/>
        </a:lnSpc>
        <a:spcBef>
          <a:spcPct val="0"/>
        </a:spcBef>
        <a:buNone/>
        <a:defRPr sz="2933" kern="1200">
          <a:solidFill>
            <a:schemeClr val="tx1"/>
          </a:solidFill>
          <a:latin typeface="+mj-lt"/>
          <a:ea typeface="+mj-ea"/>
          <a:cs typeface="+mj-cs"/>
        </a:defRPr>
      </a:lvl1pPr>
    </p:titleStyle>
    <p:body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
          <p15:clr>
            <a:srgbClr val="F26B43"/>
          </p15:clr>
        </p15:guide>
        <p15:guide id="2" orient="horz" pos="6120">
          <p15:clr>
            <a:srgbClr val="F26B43"/>
          </p15:clr>
        </p15:guide>
        <p15:guide id="3" orient="horz" pos="360">
          <p15:clr>
            <a:srgbClr val="F26B43"/>
          </p15:clr>
        </p15:guide>
        <p15:guide id="4" pos="5760">
          <p15:clr>
            <a:srgbClr val="F26B43"/>
          </p15:clr>
        </p15:guide>
        <p15:guide id="5" orient="horz" pos="32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50703A8-6350-4708-9AC8-A48C7D4667FE}"/>
              </a:ext>
            </a:extLst>
          </p:cNvPr>
          <p:cNvGraphicFramePr>
            <a:graphicFrameLocks noChangeAspect="1"/>
          </p:cNvGraphicFramePr>
          <p:nvPr userDrawn="1">
            <p:custDataLst>
              <p:tags r:id="rId37"/>
            </p:custDataLst>
            <p:extLst>
              <p:ext uri="{D42A27DB-BD31-4B8C-83A1-F6EECF244321}">
                <p14:modId xmlns:p14="http://schemas.microsoft.com/office/powerpoint/2010/main" val="1922827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5" imgH="416" progId="TCLayout.ActiveDocument.1">
                  <p:embed/>
                </p:oleObj>
              </mc:Choice>
              <mc:Fallback>
                <p:oleObj name="think-cell Slide" r:id="rId38" imgW="415" imgH="416" progId="TCLayout.ActiveDocument.1">
                  <p:embed/>
                  <p:pic>
                    <p:nvPicPr>
                      <p:cNvPr id="8" name="Object 7" hidden="1">
                        <a:extLst>
                          <a:ext uri="{FF2B5EF4-FFF2-40B4-BE49-F238E27FC236}">
                            <a16:creationId xmlns:a16="http://schemas.microsoft.com/office/drawing/2014/main" id="{750703A8-6350-4708-9AC8-A48C7D4667FE}"/>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188638203"/>
      </p:ext>
    </p:extLst>
  </p:cSld>
  <p:clrMap bg1="lt1" tx1="dk1" bg2="lt2" tx2="dk2" accent1="accent1" accent2="accent2" accent3="accent3" accent4="accent4" accent5="accent5" accent6="accent6" hlink="hlink" folHlink="folHlink"/>
  <p:sldLayoutIdLst>
    <p:sldLayoutId id="2147484258" r:id="rId1"/>
    <p:sldLayoutId id="2147484259" r:id="rId2"/>
    <p:sldLayoutId id="2147484260" r:id="rId3"/>
    <p:sldLayoutId id="2147484261" r:id="rId4"/>
    <p:sldLayoutId id="2147484262" r:id="rId5"/>
    <p:sldLayoutId id="2147484263" r:id="rId6"/>
    <p:sldLayoutId id="2147484264" r:id="rId7"/>
    <p:sldLayoutId id="2147484265" r:id="rId8"/>
    <p:sldLayoutId id="2147484266" r:id="rId9"/>
    <p:sldLayoutId id="2147484267" r:id="rId10"/>
    <p:sldLayoutId id="2147484268" r:id="rId11"/>
    <p:sldLayoutId id="2147484269" r:id="rId12"/>
    <p:sldLayoutId id="2147484270" r:id="rId13"/>
    <p:sldLayoutId id="2147484271" r:id="rId14"/>
    <p:sldLayoutId id="2147484272" r:id="rId15"/>
    <p:sldLayoutId id="2147484273" r:id="rId16"/>
    <p:sldLayoutId id="2147484274" r:id="rId17"/>
    <p:sldLayoutId id="2147484275" r:id="rId18"/>
    <p:sldLayoutId id="2147484276" r:id="rId19"/>
    <p:sldLayoutId id="2147484277" r:id="rId20"/>
    <p:sldLayoutId id="2147484278" r:id="rId21"/>
    <p:sldLayoutId id="2147484279" r:id="rId22"/>
    <p:sldLayoutId id="2147484280" r:id="rId23"/>
    <p:sldLayoutId id="2147484281" r:id="rId24"/>
    <p:sldLayoutId id="2147484282" r:id="rId25"/>
    <p:sldLayoutId id="2147484283" r:id="rId26"/>
    <p:sldLayoutId id="2147484284" r:id="rId27"/>
    <p:sldLayoutId id="2147484285" r:id="rId28"/>
    <p:sldLayoutId id="2147484286" r:id="rId29"/>
    <p:sldLayoutId id="2147484287" r:id="rId30"/>
    <p:sldLayoutId id="2147484288" r:id="rId31"/>
    <p:sldLayoutId id="2147484289" r:id="rId32"/>
    <p:sldLayoutId id="2147484290" r:id="rId33"/>
    <p:sldLayoutId id="2147484291" r:id="rId34"/>
    <p:sldLayoutId id="2147484292" r:id="rId3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E1F3FA"/>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DC4F1B2-C409-4C13-9490-4AC2ED5BAC70}"/>
              </a:ext>
            </a:extLst>
          </p:cNvPr>
          <p:cNvSpPr>
            <a:spLocks noGrp="1"/>
          </p:cNvSpPr>
          <p:nvPr>
            <p:ph type="body" idx="1"/>
          </p:nvPr>
        </p:nvSpPr>
        <p:spPr>
          <a:xfrm>
            <a:off x="342900" y="1600200"/>
            <a:ext cx="5905500" cy="44243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Graphic 5">
            <a:extLst>
              <a:ext uri="{FF2B5EF4-FFF2-40B4-BE49-F238E27FC236}">
                <a16:creationId xmlns:a16="http://schemas.microsoft.com/office/drawing/2014/main" id="{B6CBCCF8-7317-D425-044B-87972013E74B}"/>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202394" y="141214"/>
            <a:ext cx="780831" cy="187399"/>
          </a:xfrm>
          <a:prstGeom prst="rect">
            <a:avLst/>
          </a:prstGeom>
        </p:spPr>
      </p:pic>
      <p:sp>
        <p:nvSpPr>
          <p:cNvPr id="8" name="Title Placeholder 7">
            <a:extLst>
              <a:ext uri="{FF2B5EF4-FFF2-40B4-BE49-F238E27FC236}">
                <a16:creationId xmlns:a16="http://schemas.microsoft.com/office/drawing/2014/main" id="{7AD74610-525F-7E94-8E92-C6C2D08801DC}"/>
              </a:ext>
            </a:extLst>
          </p:cNvPr>
          <p:cNvSpPr>
            <a:spLocks noGrp="1"/>
          </p:cNvSpPr>
          <p:nvPr>
            <p:ph type="title"/>
          </p:nvPr>
        </p:nvSpPr>
        <p:spPr>
          <a:xfrm>
            <a:off x="342900" y="689347"/>
            <a:ext cx="5905500" cy="332399"/>
          </a:xfrm>
          <a:prstGeom prst="rect">
            <a:avLst/>
          </a:prstGeom>
        </p:spPr>
        <p:txBody>
          <a:bodyPr vert="horz" wrap="square" lIns="0" tIns="0" rIns="0" bIns="0" rtlCol="0" anchor="t">
            <a:spAutoFit/>
          </a:bodyPr>
          <a:lstStyle/>
          <a:p>
            <a:r>
              <a:rPr lang="en-US"/>
              <a:t>Click to edit Master title style</a:t>
            </a:r>
          </a:p>
        </p:txBody>
      </p:sp>
      <p:sp>
        <p:nvSpPr>
          <p:cNvPr id="13" name="object 17">
            <a:extLst>
              <a:ext uri="{FF2B5EF4-FFF2-40B4-BE49-F238E27FC236}">
                <a16:creationId xmlns:a16="http://schemas.microsoft.com/office/drawing/2014/main" id="{20C45D39-6A1A-D2A5-5E8F-0BC655E1AD99}"/>
              </a:ext>
            </a:extLst>
          </p:cNvPr>
          <p:cNvSpPr txBox="1">
            <a:spLocks/>
          </p:cNvSpPr>
          <p:nvPr userDrawn="1"/>
        </p:nvSpPr>
        <p:spPr>
          <a:xfrm>
            <a:off x="11649283" y="210332"/>
            <a:ext cx="425305" cy="129074"/>
          </a:xfrm>
          <a:prstGeom prst="rect">
            <a:avLst/>
          </a:prstGeom>
        </p:spPr>
        <p:txBody>
          <a:bodyPr vert="horz" wrap="square" lIns="0" tIns="12700" rIns="0" bIns="0" rtlCol="0" anchor="t" anchorCtr="0">
            <a:spAutoFit/>
          </a:bodyPr>
          <a:lstStyle>
            <a:lvl1pPr algn="l" defTabSz="914400" rtl="0" eaLnBrk="1" latinLnBrk="0" hangingPunct="1">
              <a:lnSpc>
                <a:spcPct val="90000"/>
              </a:lnSpc>
              <a:spcBef>
                <a:spcPct val="0"/>
              </a:spcBef>
              <a:buNone/>
              <a:defRPr sz="3000" b="0" kern="1200" spc="0" baseline="0">
                <a:solidFill>
                  <a:schemeClr val="bg1"/>
                </a:solidFill>
                <a:latin typeface="Fibra One UltraBold" panose="00000900000000000000" pitchFamily="50" charset="0"/>
                <a:ea typeface="+mj-ea"/>
                <a:cs typeface="+mj-cs"/>
              </a:defRPr>
            </a:lvl1pPr>
          </a:lstStyle>
          <a:p>
            <a:pPr marL="12700" marR="0" lvl="0" indent="0" algn="ctr" defTabSz="914400" rtl="0" eaLnBrk="1" fontAlgn="auto" latinLnBrk="0" hangingPunct="1">
              <a:lnSpc>
                <a:spcPct val="114000"/>
              </a:lnSpc>
              <a:spcBef>
                <a:spcPts val="100"/>
              </a:spcBef>
              <a:spcAft>
                <a:spcPts val="0"/>
              </a:spcAft>
              <a:buClrTx/>
              <a:buSzTx/>
              <a:buFontTx/>
              <a:buNone/>
              <a:tabLst/>
              <a:defRPr/>
            </a:pPr>
            <a:fld id="{DC653A1D-CE81-1B46-9F19-36F2F8F55CD9}" type="slidenum">
              <a:rPr kumimoji="0" lang="en-IN" sz="700" b="1" i="0" u="none" strike="noStrike" kern="1200" cap="none" spc="0" normalizeH="0" baseline="0" noProof="0" smtClean="0">
                <a:ln>
                  <a:noFill/>
                </a:ln>
                <a:solidFill>
                  <a:srgbClr val="001D90"/>
                </a:solidFill>
                <a:effectLst/>
                <a:uLnTx/>
                <a:uFillTx/>
                <a:latin typeface="Fibra One Bold" pitchFamily="2" charset="77"/>
                <a:ea typeface="+mj-ea"/>
                <a:cs typeface="+mj-cs"/>
              </a:rPr>
              <a:pPr marL="12700" marR="0" lvl="0" indent="0" algn="ctr" defTabSz="914400" rtl="0" eaLnBrk="1" fontAlgn="auto" latinLnBrk="0" hangingPunct="1">
                <a:lnSpc>
                  <a:spcPct val="114000"/>
                </a:lnSpc>
                <a:spcBef>
                  <a:spcPts val="100"/>
                </a:spcBef>
                <a:spcAft>
                  <a:spcPts val="0"/>
                </a:spcAft>
                <a:buClrTx/>
                <a:buSzTx/>
                <a:buFontTx/>
                <a:buNone/>
                <a:tabLst/>
                <a:defRPr/>
              </a:pPr>
              <a:t>‹#›</a:t>
            </a:fld>
            <a:endParaRPr kumimoji="0" lang="en-IN" sz="600" b="0" i="0" u="none" strike="noStrike" kern="1200" cap="none" spc="0" normalizeH="0" baseline="0" noProof="0">
              <a:ln>
                <a:noFill/>
              </a:ln>
              <a:solidFill>
                <a:srgbClr val="001D90"/>
              </a:solidFill>
              <a:effectLst/>
              <a:uLnTx/>
              <a:uFillTx/>
              <a:latin typeface="Fibra One" pitchFamily="2" charset="77"/>
              <a:ea typeface="+mj-ea"/>
              <a:cs typeface="+mj-cs"/>
            </a:endParaRPr>
          </a:p>
        </p:txBody>
      </p:sp>
      <p:sp>
        <p:nvSpPr>
          <p:cNvPr id="14" name="object 17">
            <a:extLst>
              <a:ext uri="{FF2B5EF4-FFF2-40B4-BE49-F238E27FC236}">
                <a16:creationId xmlns:a16="http://schemas.microsoft.com/office/drawing/2014/main" id="{87327101-3F34-1284-7267-592FB554D688}"/>
              </a:ext>
            </a:extLst>
          </p:cNvPr>
          <p:cNvSpPr txBox="1">
            <a:spLocks/>
          </p:cNvSpPr>
          <p:nvPr userDrawn="1"/>
        </p:nvSpPr>
        <p:spPr>
          <a:xfrm rot="5400000">
            <a:off x="9824267" y="4472372"/>
            <a:ext cx="4116588" cy="129074"/>
          </a:xfrm>
          <a:prstGeom prst="rect">
            <a:avLst/>
          </a:prstGeom>
        </p:spPr>
        <p:txBody>
          <a:bodyPr vert="horz" wrap="square" lIns="0" tIns="12700" rIns="0" bIns="0" rtlCol="0" anchor="t" anchorCtr="0">
            <a:spAutoFit/>
          </a:bodyPr>
          <a:lstStyle>
            <a:lvl1pPr algn="l" defTabSz="914400" rtl="0" eaLnBrk="1" latinLnBrk="0" hangingPunct="1">
              <a:lnSpc>
                <a:spcPct val="90000"/>
              </a:lnSpc>
              <a:spcBef>
                <a:spcPct val="0"/>
              </a:spcBef>
              <a:buNone/>
              <a:defRPr sz="3000" b="0" kern="1200" spc="0" baseline="0">
                <a:solidFill>
                  <a:schemeClr val="bg1"/>
                </a:solidFill>
                <a:latin typeface="Fibra One UltraBold" panose="00000900000000000000" pitchFamily="50" charset="0"/>
                <a:ea typeface="+mj-ea"/>
                <a:cs typeface="+mj-cs"/>
              </a:defRPr>
            </a:lvl1pPr>
          </a:lstStyle>
          <a:p>
            <a:pPr marL="12700" marR="0" lvl="0" indent="0" algn="r" defTabSz="914400" rtl="0" eaLnBrk="1" fontAlgn="auto" latinLnBrk="0" hangingPunct="1">
              <a:lnSpc>
                <a:spcPct val="114000"/>
              </a:lnSpc>
              <a:spcBef>
                <a:spcPts val="100"/>
              </a:spcBef>
              <a:spcAft>
                <a:spcPts val="0"/>
              </a:spcAft>
              <a:buClrTx/>
              <a:buSzTx/>
              <a:buFontTx/>
              <a:buNone/>
              <a:tabLst/>
              <a:defRPr/>
            </a:pPr>
            <a:r>
              <a:rPr kumimoji="0" lang="en-IN" sz="700" b="1" i="0" u="none" strike="noStrike" kern="1200" cap="none" spc="0" normalizeH="0" baseline="0" noProof="0">
                <a:ln>
                  <a:noFill/>
                </a:ln>
                <a:solidFill>
                  <a:srgbClr val="000000">
                    <a:lumMod val="65000"/>
                    <a:lumOff val="35000"/>
                  </a:srgbClr>
                </a:solidFill>
                <a:effectLst/>
                <a:uLnTx/>
                <a:uFillTx/>
                <a:latin typeface="Fibra One Bold" pitchFamily="2" charset="77"/>
                <a:ea typeface="+mj-ea"/>
                <a:cs typeface="+mj-cs"/>
              </a:rPr>
              <a:t>2023  PepsiCo ESG Summary Overview</a:t>
            </a:r>
          </a:p>
        </p:txBody>
      </p:sp>
      <p:sp>
        <p:nvSpPr>
          <p:cNvPr id="2" name="TextBox 1">
            <a:extLst>
              <a:ext uri="{FF2B5EF4-FFF2-40B4-BE49-F238E27FC236}">
                <a16:creationId xmlns:a16="http://schemas.microsoft.com/office/drawing/2014/main" id="{D2F91D82-D516-1FE6-233D-08336FB9A392}"/>
              </a:ext>
            </a:extLst>
          </p:cNvPr>
          <p:cNvSpPr txBox="1"/>
          <p:nvPr userDrawn="1"/>
        </p:nvSpPr>
        <p:spPr>
          <a:xfrm>
            <a:off x="-1" y="6676328"/>
            <a:ext cx="2227811" cy="200055"/>
          </a:xfrm>
          <a:prstGeom prst="rect">
            <a:avLst/>
          </a:prstGeom>
          <a:noFill/>
        </p:spPr>
        <p:txBody>
          <a:bodyPr wrap="square" rtlCol="0">
            <a:spAutoFit/>
          </a:bodyPr>
          <a:lstStyle/>
          <a:p>
            <a:r>
              <a:rPr lang="en-US" sz="700" b="0" i="0" u="none" strike="noStrike" err="1">
                <a:solidFill>
                  <a:srgbClr val="0065E5"/>
                </a:solidFill>
                <a:effectLst/>
                <a:latin typeface="Fibra One Light" panose="020B0604020202020204" charset="0"/>
              </a:rPr>
              <a:t>pepsico</a:t>
            </a:r>
            <a:r>
              <a:rPr lang="en-US" sz="700" b="0" i="0" u="none" strike="noStrike">
                <a:solidFill>
                  <a:srgbClr val="0065E5"/>
                </a:solidFill>
                <a:effectLst/>
                <a:latin typeface="Fibra One Light" panose="020B0604020202020204" charset="0"/>
              </a:rPr>
              <a:t> positive I </a:t>
            </a:r>
            <a:r>
              <a:rPr lang="en-US" sz="700" b="0" i="0" u="none" strike="noStrike">
                <a:solidFill>
                  <a:srgbClr val="8FDC42"/>
                </a:solidFill>
                <a:effectLst/>
                <a:latin typeface="Fibra One Light" panose="020B0604020202020204" charset="0"/>
              </a:rPr>
              <a:t>confidential &amp; proprietary</a:t>
            </a:r>
            <a:endParaRPr lang="en-US" sz="100">
              <a:solidFill>
                <a:srgbClr val="8FDC42"/>
              </a:solidFill>
              <a:latin typeface="Fibra One Light" panose="020B0604020202020204" charset="0"/>
            </a:endParaRPr>
          </a:p>
        </p:txBody>
      </p:sp>
    </p:spTree>
    <p:extLst>
      <p:ext uri="{BB962C8B-B14F-4D97-AF65-F5344CB8AC3E}">
        <p14:creationId xmlns:p14="http://schemas.microsoft.com/office/powerpoint/2010/main" val="2775989540"/>
      </p:ext>
    </p:extLst>
  </p:cSld>
  <p:clrMap bg1="lt1" tx1="dk1" bg2="lt2" tx2="dk2" accent1="accent1" accent2="accent2" accent3="accent3" accent4="accent4" accent5="accent5" accent6="accent6" hlink="hlink" folHlink="folHlink"/>
  <p:sldLayoutIdLst>
    <p:sldLayoutId id="2147484362" r:id="rId1"/>
    <p:sldLayoutId id="2147484363" r:id="rId2"/>
    <p:sldLayoutId id="2147484364" r:id="rId3"/>
    <p:sldLayoutId id="2147484365" r:id="rId4"/>
    <p:sldLayoutId id="2147484366" r:id="rId5"/>
    <p:sldLayoutId id="2147484367" r:id="rId6"/>
    <p:sldLayoutId id="2147484368" r:id="rId7"/>
    <p:sldLayoutId id="2147484369" r:id="rId8"/>
    <p:sldLayoutId id="2147484370" r:id="rId9"/>
    <p:sldLayoutId id="2147484371" r:id="rId10"/>
    <p:sldLayoutId id="2147484372" r:id="rId11"/>
    <p:sldLayoutId id="2147484373" r:id="rId12"/>
    <p:sldLayoutId id="2147484374" r:id="rId13"/>
    <p:sldLayoutId id="2147484375" r:id="rId14"/>
    <p:sldLayoutId id="2147484376" r:id="rId15"/>
    <p:sldLayoutId id="2147484377"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400" b="0" kern="1200" spc="0" baseline="0">
          <a:solidFill>
            <a:schemeClr val="tx1"/>
          </a:solidFill>
          <a:latin typeface="Fibra One UltraBold" panose="00000900000000000000" pitchFamily="50" charset="0"/>
          <a:ea typeface="+mj-ea"/>
          <a:cs typeface="+mj-cs"/>
        </a:defRPr>
      </a:lvl1pPr>
    </p:titleStyle>
    <p:bodyStyle>
      <a:lvl1pPr marL="0" indent="0" algn="l" defTabSz="914400" rtl="0" eaLnBrk="1" latinLnBrk="0" hangingPunct="1">
        <a:lnSpc>
          <a:spcPct val="110000"/>
        </a:lnSpc>
        <a:spcBef>
          <a:spcPts val="0"/>
        </a:spcBef>
        <a:spcAft>
          <a:spcPts val="900"/>
        </a:spcAft>
        <a:buFont typeface="Arial" panose="020B0604020202020204" pitchFamily="34" charset="0"/>
        <a:buNone/>
        <a:defRPr sz="1550" b="0" kern="1200">
          <a:solidFill>
            <a:schemeClr val="tx1"/>
          </a:solidFill>
          <a:latin typeface="Fibra One UltraBold" panose="00000900000000000000" pitchFamily="50" charset="0"/>
          <a:ea typeface="+mn-ea"/>
          <a:cs typeface="+mn-cs"/>
        </a:defRPr>
      </a:lvl1pPr>
      <a:lvl2pPr marL="0" indent="0" algn="l" defTabSz="914400" rtl="0" eaLnBrk="1" latinLnBrk="0" hangingPunct="1">
        <a:lnSpc>
          <a:spcPct val="110000"/>
        </a:lnSpc>
        <a:spcBef>
          <a:spcPts val="0"/>
        </a:spcBef>
        <a:spcAft>
          <a:spcPts val="900"/>
        </a:spcAft>
        <a:buFont typeface="Arial" panose="020B0604020202020204" pitchFamily="34" charset="0"/>
        <a:buNone/>
        <a:defRPr sz="1400" b="1" kern="1200">
          <a:solidFill>
            <a:schemeClr val="tx1"/>
          </a:solidFill>
          <a:latin typeface="+mn-lt"/>
          <a:ea typeface="+mn-ea"/>
          <a:cs typeface="+mn-cs"/>
        </a:defRPr>
      </a:lvl2pPr>
      <a:lvl3pPr marL="228600" indent="-228600" algn="l" defTabSz="914400" rtl="0" eaLnBrk="1" latinLnBrk="0" hangingPunct="1">
        <a:lnSpc>
          <a:spcPct val="110000"/>
        </a:lnSpc>
        <a:spcBef>
          <a:spcPts val="0"/>
        </a:spcBef>
        <a:spcAft>
          <a:spcPts val="900"/>
        </a:spcAft>
        <a:buClr>
          <a:schemeClr val="tx2"/>
        </a:buClr>
        <a:buFont typeface="Wingdings 2" panose="05020102010507070707" pitchFamily="18" charset="2"/>
        <a:buChar char=""/>
        <a:defRPr sz="1400" b="1"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900"/>
        </a:spcAft>
        <a:buFont typeface="Arial" panose="020B0604020202020204" pitchFamily="34" charset="0"/>
        <a:buNone/>
        <a:defRPr sz="155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900"/>
        </a:spcAft>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08">
          <p15:clr>
            <a:srgbClr val="F26B43"/>
          </p15:clr>
        </p15:guide>
        <p15:guide id="3" pos="7416">
          <p15:clr>
            <a:srgbClr val="F26B43"/>
          </p15:clr>
        </p15:guide>
        <p15:guide id="4" pos="216">
          <p15:clr>
            <a:srgbClr val="F26B43"/>
          </p15:clr>
        </p15:guide>
        <p15:guide id="5" pos="3816">
          <p15:clr>
            <a:srgbClr val="F26B43"/>
          </p15:clr>
        </p15:guide>
        <p15:guide id="6" orient="horz" pos="432">
          <p15:clr>
            <a:srgbClr val="F26B43"/>
          </p15:clr>
        </p15:guide>
        <p15:guide id="7" orient="horz" pos="816">
          <p15:clr>
            <a:srgbClr val="F26B43"/>
          </p15:clr>
        </p15:guide>
        <p15:guide id="8" pos="6216">
          <p15:clr>
            <a:srgbClr val="F26B43"/>
          </p15:clr>
        </p15:guide>
        <p15:guide id="9" orient="horz" pos="2496">
          <p15:clr>
            <a:srgbClr val="F26B43"/>
          </p15:clr>
        </p15:guide>
        <p15:guide id="10" orient="horz" pos="4190">
          <p15:clr>
            <a:srgbClr val="F26B43"/>
          </p15:clr>
        </p15:guide>
        <p15:guide id="11" pos="1416">
          <p15:clr>
            <a:srgbClr val="F26B43"/>
          </p15:clr>
        </p15:guide>
        <p15:guide id="12" pos="2616">
          <p15:clr>
            <a:srgbClr val="F26B43"/>
          </p15:clr>
        </p15:guide>
        <p15:guide id="13" pos="5016">
          <p15:clr>
            <a:srgbClr val="F26B43"/>
          </p15:clr>
        </p15:guide>
        <p15:guide id="14" orient="horz" pos="1224">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08.png"/><Relationship Id="rId3" Type="http://schemas.openxmlformats.org/officeDocument/2006/relationships/notesSlide" Target="../notesSlides/notesSlide1.xml"/><Relationship Id="rId7" Type="http://schemas.openxmlformats.org/officeDocument/2006/relationships/image" Target="../media/image207.png"/><Relationship Id="rId2" Type="http://schemas.openxmlformats.org/officeDocument/2006/relationships/slideLayout" Target="../slideLayouts/slideLayout1.xml"/><Relationship Id="rId1" Type="http://schemas.openxmlformats.org/officeDocument/2006/relationships/tags" Target="../tags/tag101.xml"/><Relationship Id="rId6" Type="http://schemas.openxmlformats.org/officeDocument/2006/relationships/image" Target="../media/image4.emf"/><Relationship Id="rId5" Type="http://schemas.openxmlformats.org/officeDocument/2006/relationships/image" Target="../media/image2.emf"/><Relationship Id="rId10" Type="http://schemas.openxmlformats.org/officeDocument/2006/relationships/image" Target="../media/image6.emf"/><Relationship Id="rId4" Type="http://schemas.openxmlformats.org/officeDocument/2006/relationships/oleObject" Target="../embeddings/oleObject99.bin"/><Relationship Id="rId9" Type="http://schemas.openxmlformats.org/officeDocument/2006/relationships/image" Target="../media/image209.png"/></Relationships>
</file>

<file path=ppt/slides/_rels/slide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notesSlide" Target="../notesSlides/notesSlide2.xml"/><Relationship Id="rId7" Type="http://schemas.openxmlformats.org/officeDocument/2006/relationships/image" Target="../media/image211.svg"/><Relationship Id="rId2" Type="http://schemas.openxmlformats.org/officeDocument/2006/relationships/slideLayout" Target="../slideLayouts/slideLayout1.xml"/><Relationship Id="rId1" Type="http://schemas.openxmlformats.org/officeDocument/2006/relationships/tags" Target="../tags/tag102.xml"/><Relationship Id="rId6" Type="http://schemas.openxmlformats.org/officeDocument/2006/relationships/image" Target="../media/image210.png"/><Relationship Id="rId5" Type="http://schemas.openxmlformats.org/officeDocument/2006/relationships/image" Target="../media/image2.emf"/><Relationship Id="rId10" Type="http://schemas.openxmlformats.org/officeDocument/2006/relationships/image" Target="../media/image213.png"/><Relationship Id="rId4" Type="http://schemas.openxmlformats.org/officeDocument/2006/relationships/oleObject" Target="../embeddings/oleObject99.bin"/><Relationship Id="rId9" Type="http://schemas.openxmlformats.org/officeDocument/2006/relationships/image" Target="../media/image212.png"/></Relationships>
</file>

<file path=ppt/slides/_rels/slide3.xml.rels><?xml version="1.0" encoding="UTF-8" standalone="yes"?>
<Relationships xmlns="http://schemas.openxmlformats.org/package/2006/relationships"><Relationship Id="rId8" Type="http://schemas.openxmlformats.org/officeDocument/2006/relationships/image" Target="../media/image25.emf"/><Relationship Id="rId13" Type="http://schemas.openxmlformats.org/officeDocument/2006/relationships/image" Target="../media/image216.png"/><Relationship Id="rId3" Type="http://schemas.openxmlformats.org/officeDocument/2006/relationships/notesSlide" Target="../notesSlides/notesSlide3.xml"/><Relationship Id="rId7" Type="http://schemas.openxmlformats.org/officeDocument/2006/relationships/image" Target="../media/image2.emf"/><Relationship Id="rId12" Type="http://schemas.microsoft.com/office/2007/relationships/hdphoto" Target="../media/hdphoto2.wdp"/><Relationship Id="rId2" Type="http://schemas.openxmlformats.org/officeDocument/2006/relationships/slideLayout" Target="../slideLayouts/slideLayout1.xml"/><Relationship Id="rId16" Type="http://schemas.openxmlformats.org/officeDocument/2006/relationships/image" Target="../media/image218.png"/><Relationship Id="rId1" Type="http://schemas.openxmlformats.org/officeDocument/2006/relationships/tags" Target="../tags/tag103.xml"/><Relationship Id="rId6" Type="http://schemas.openxmlformats.org/officeDocument/2006/relationships/oleObject" Target="../embeddings/oleObject99.bin"/><Relationship Id="rId11" Type="http://schemas.openxmlformats.org/officeDocument/2006/relationships/image" Target="../media/image215.png"/><Relationship Id="rId5" Type="http://schemas.openxmlformats.org/officeDocument/2006/relationships/image" Target="../media/image214.svg"/><Relationship Id="rId15" Type="http://schemas.openxmlformats.org/officeDocument/2006/relationships/image" Target="../media/image217.png"/><Relationship Id="rId10" Type="http://schemas.openxmlformats.org/officeDocument/2006/relationships/image" Target="../media/image6.emf"/><Relationship Id="rId4" Type="http://schemas.openxmlformats.org/officeDocument/2006/relationships/image" Target="../media/image210.png"/><Relationship Id="rId9" Type="http://schemas.openxmlformats.org/officeDocument/2006/relationships/image" Target="../media/image26.emf"/><Relationship Id="rId14" Type="http://schemas.microsoft.com/office/2007/relationships/hdphoto" Target="../media/hdphoto3.wdp"/></Relationships>
</file>

<file path=ppt/slides/_rels/slide4.xml.rels><?xml version="1.0" encoding="UTF-8" standalone="yes"?>
<Relationships xmlns="http://schemas.openxmlformats.org/package/2006/relationships"><Relationship Id="rId8" Type="http://schemas.openxmlformats.org/officeDocument/2006/relationships/image" Target="../media/image223.png"/><Relationship Id="rId13" Type="http://schemas.openxmlformats.org/officeDocument/2006/relationships/image" Target="../media/image227.jpeg"/><Relationship Id="rId3" Type="http://schemas.openxmlformats.org/officeDocument/2006/relationships/image" Target="../media/image4.emf"/><Relationship Id="rId7" Type="http://schemas.openxmlformats.org/officeDocument/2006/relationships/image" Target="../media/image222.jpeg"/><Relationship Id="rId12" Type="http://schemas.openxmlformats.org/officeDocument/2006/relationships/image" Target="../media/image226.pn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221.jpeg"/><Relationship Id="rId11" Type="http://schemas.openxmlformats.org/officeDocument/2006/relationships/image" Target="../media/image225.jpeg"/><Relationship Id="rId5" Type="http://schemas.openxmlformats.org/officeDocument/2006/relationships/image" Target="../media/image220.jpeg"/><Relationship Id="rId15" Type="http://schemas.openxmlformats.org/officeDocument/2006/relationships/image" Target="../media/image229.png"/><Relationship Id="rId10" Type="http://schemas.openxmlformats.org/officeDocument/2006/relationships/image" Target="../media/image6.emf"/><Relationship Id="rId4" Type="http://schemas.openxmlformats.org/officeDocument/2006/relationships/image" Target="../media/image219.jpeg"/><Relationship Id="rId9" Type="http://schemas.openxmlformats.org/officeDocument/2006/relationships/image" Target="../media/image224.svg"/><Relationship Id="rId14" Type="http://schemas.openxmlformats.org/officeDocument/2006/relationships/image" Target="../media/image228.jpeg"/></Relationships>
</file>

<file path=ppt/slides/_rels/slide5.xml.rels><?xml version="1.0" encoding="UTF-8" standalone="yes"?>
<Relationships xmlns="http://schemas.openxmlformats.org/package/2006/relationships"><Relationship Id="rId8" Type="http://schemas.openxmlformats.org/officeDocument/2006/relationships/image" Target="../media/image232.png"/><Relationship Id="rId13" Type="http://schemas.openxmlformats.org/officeDocument/2006/relationships/image" Target="../media/image6.emf"/><Relationship Id="rId3" Type="http://schemas.openxmlformats.org/officeDocument/2006/relationships/notesSlide" Target="../notesSlides/notesSlide5.xml"/><Relationship Id="rId7" Type="http://schemas.openxmlformats.org/officeDocument/2006/relationships/image" Target="../media/image231.png"/><Relationship Id="rId12" Type="http://schemas.openxmlformats.org/officeDocument/2006/relationships/image" Target="../media/image236.png"/><Relationship Id="rId2" Type="http://schemas.openxmlformats.org/officeDocument/2006/relationships/slideLayout" Target="../slideLayouts/slideLayout1.xml"/><Relationship Id="rId1" Type="http://schemas.openxmlformats.org/officeDocument/2006/relationships/tags" Target="../tags/tag104.xml"/><Relationship Id="rId6" Type="http://schemas.openxmlformats.org/officeDocument/2006/relationships/image" Target="../media/image230.png"/><Relationship Id="rId11" Type="http://schemas.openxmlformats.org/officeDocument/2006/relationships/image" Target="../media/image235.svg"/><Relationship Id="rId5" Type="http://schemas.openxmlformats.org/officeDocument/2006/relationships/image" Target="../media/image2.emf"/><Relationship Id="rId15" Type="http://schemas.openxmlformats.org/officeDocument/2006/relationships/image" Target="../media/image237.png"/><Relationship Id="rId10" Type="http://schemas.openxmlformats.org/officeDocument/2006/relationships/image" Target="../media/image234.png"/><Relationship Id="rId4" Type="http://schemas.openxmlformats.org/officeDocument/2006/relationships/oleObject" Target="../embeddings/oleObject99.bin"/><Relationship Id="rId9" Type="http://schemas.openxmlformats.org/officeDocument/2006/relationships/image" Target="../media/image233.png"/><Relationship Id="rId14" Type="http://schemas.openxmlformats.org/officeDocument/2006/relationships/image" Target="../media/image4.emf"/></Relationships>
</file>

<file path=ppt/slides/_rels/slide6.xml.rels><?xml version="1.0" encoding="UTF-8" standalone="yes"?>
<Relationships xmlns="http://schemas.openxmlformats.org/package/2006/relationships"><Relationship Id="rId8" Type="http://schemas.openxmlformats.org/officeDocument/2006/relationships/image" Target="../media/image238.jpeg"/><Relationship Id="rId13" Type="http://schemas.openxmlformats.org/officeDocument/2006/relationships/image" Target="../media/image241.png"/><Relationship Id="rId18" Type="http://schemas.openxmlformats.org/officeDocument/2006/relationships/image" Target="../media/image246.svg"/><Relationship Id="rId3" Type="http://schemas.openxmlformats.org/officeDocument/2006/relationships/notesSlide" Target="../notesSlides/notesSlide6.xml"/><Relationship Id="rId21" Type="http://schemas.openxmlformats.org/officeDocument/2006/relationships/image" Target="../media/image249.png"/><Relationship Id="rId7" Type="http://schemas.openxmlformats.org/officeDocument/2006/relationships/image" Target="../media/image2.emf"/><Relationship Id="rId12" Type="http://schemas.openxmlformats.org/officeDocument/2006/relationships/image" Target="../media/image26.emf"/><Relationship Id="rId17" Type="http://schemas.openxmlformats.org/officeDocument/2006/relationships/image" Target="../media/image245.png"/><Relationship Id="rId2" Type="http://schemas.openxmlformats.org/officeDocument/2006/relationships/slideLayout" Target="../slideLayouts/slideLayout1.xml"/><Relationship Id="rId16" Type="http://schemas.openxmlformats.org/officeDocument/2006/relationships/image" Target="../media/image244.svg"/><Relationship Id="rId20" Type="http://schemas.openxmlformats.org/officeDocument/2006/relationships/image" Target="../media/image248.svg"/><Relationship Id="rId1" Type="http://schemas.openxmlformats.org/officeDocument/2006/relationships/tags" Target="../tags/tag105.xml"/><Relationship Id="rId6" Type="http://schemas.openxmlformats.org/officeDocument/2006/relationships/oleObject" Target="../embeddings/oleObject99.bin"/><Relationship Id="rId11" Type="http://schemas.openxmlformats.org/officeDocument/2006/relationships/image" Target="../media/image25.emf"/><Relationship Id="rId24" Type="http://schemas.openxmlformats.org/officeDocument/2006/relationships/image" Target="../media/image252.svg"/><Relationship Id="rId5" Type="http://schemas.openxmlformats.org/officeDocument/2006/relationships/image" Target="../media/image211.svg"/><Relationship Id="rId15" Type="http://schemas.openxmlformats.org/officeDocument/2006/relationships/image" Target="../media/image243.png"/><Relationship Id="rId23" Type="http://schemas.openxmlformats.org/officeDocument/2006/relationships/image" Target="../media/image251.png"/><Relationship Id="rId10" Type="http://schemas.openxmlformats.org/officeDocument/2006/relationships/image" Target="../media/image240.png"/><Relationship Id="rId19" Type="http://schemas.openxmlformats.org/officeDocument/2006/relationships/image" Target="../media/image247.png"/><Relationship Id="rId4" Type="http://schemas.openxmlformats.org/officeDocument/2006/relationships/image" Target="../media/image210.png"/><Relationship Id="rId9" Type="http://schemas.openxmlformats.org/officeDocument/2006/relationships/image" Target="../media/image239.png"/><Relationship Id="rId14" Type="http://schemas.openxmlformats.org/officeDocument/2006/relationships/image" Target="../media/image242.svg"/><Relationship Id="rId22" Type="http://schemas.openxmlformats.org/officeDocument/2006/relationships/image" Target="../media/image250.svg"/></Relationships>
</file>

<file path=ppt/slides/_rels/slide7.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notesSlide" Target="../notesSlides/notesSlide7.xml"/><Relationship Id="rId7" Type="http://schemas.openxmlformats.org/officeDocument/2006/relationships/image" Target="../media/image208.png"/><Relationship Id="rId2" Type="http://schemas.openxmlformats.org/officeDocument/2006/relationships/slideLayout" Target="../slideLayouts/slideLayout1.xml"/><Relationship Id="rId1" Type="http://schemas.openxmlformats.org/officeDocument/2006/relationships/tags" Target="../tags/tag106.xml"/><Relationship Id="rId6" Type="http://schemas.openxmlformats.org/officeDocument/2006/relationships/image" Target="../media/image253.png"/><Relationship Id="rId5" Type="http://schemas.openxmlformats.org/officeDocument/2006/relationships/image" Target="../media/image2.emf"/><Relationship Id="rId10" Type="http://schemas.openxmlformats.org/officeDocument/2006/relationships/image" Target="../media/image26.emf"/><Relationship Id="rId4" Type="http://schemas.openxmlformats.org/officeDocument/2006/relationships/oleObject" Target="../embeddings/oleObject99.bin"/><Relationship Id="rId9" Type="http://schemas.openxmlformats.org/officeDocument/2006/relationships/image" Target="../media/image25.emf"/></Relationships>
</file>

<file path=ppt/slides/_rels/slide8.xml.rels><?xml version="1.0" encoding="UTF-8" standalone="yes"?>
<Relationships xmlns="http://schemas.openxmlformats.org/package/2006/relationships"><Relationship Id="rId8" Type="http://schemas.openxmlformats.org/officeDocument/2006/relationships/hyperlink" Target="mailto:catherine.walton@pepsico.com" TargetMode="External"/><Relationship Id="rId3" Type="http://schemas.openxmlformats.org/officeDocument/2006/relationships/image" Target="../media/image31.emf"/><Relationship Id="rId7" Type="http://schemas.openxmlformats.org/officeDocument/2006/relationships/hyperlink" Target="mailto:shanna.parra@pepsico.com" TargetMode="External"/><Relationship Id="rId2" Type="http://schemas.openxmlformats.org/officeDocument/2006/relationships/notesSlide" Target="../notesSlides/notesSlide8.xml"/><Relationship Id="rId1" Type="http://schemas.openxmlformats.org/officeDocument/2006/relationships/slideLayout" Target="../slideLayouts/slideLayout38.xml"/><Relationship Id="rId6" Type="http://schemas.openxmlformats.org/officeDocument/2006/relationships/image" Target="../media/image255.jpeg"/><Relationship Id="rId5" Type="http://schemas.openxmlformats.org/officeDocument/2006/relationships/image" Target="../media/image254.jpeg"/><Relationship Id="rId10" Type="http://schemas.openxmlformats.org/officeDocument/2006/relationships/image" Target="../media/image6.emf"/><Relationship Id="rId4" Type="http://schemas.openxmlformats.org/officeDocument/2006/relationships/image" Target="../media/image5.emf"/><Relationship Id="rId9"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EA0D60-693D-E877-223A-9F212EFBA2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think-cell data - do not delete" hidden="1">
                        <a:extLst>
                          <a:ext uri="{FF2B5EF4-FFF2-40B4-BE49-F238E27FC236}">
                            <a16:creationId xmlns:a16="http://schemas.microsoft.com/office/drawing/2014/main" id="{CCEA0D60-693D-E877-223A-9F212EFBA2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Freeform: Shape 23">
            <a:extLst>
              <a:ext uri="{FF2B5EF4-FFF2-40B4-BE49-F238E27FC236}">
                <a16:creationId xmlns:a16="http://schemas.microsoft.com/office/drawing/2014/main" id="{8A936C7D-2260-18B6-6EBB-7C833C66FDA0}"/>
              </a:ext>
            </a:extLst>
          </p:cNvPr>
          <p:cNvSpPr/>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rgbClr val="011D8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3" name="Freeform: Shape 152">
            <a:extLst>
              <a:ext uri="{FF2B5EF4-FFF2-40B4-BE49-F238E27FC236}">
                <a16:creationId xmlns:a16="http://schemas.microsoft.com/office/drawing/2014/main" id="{AA1519D7-BEC6-9471-0E3C-4717484AD84D}"/>
              </a:ext>
            </a:extLst>
          </p:cNvPr>
          <p:cNvSpPr/>
          <p:nvPr/>
        </p:nvSpPr>
        <p:spPr>
          <a:xfrm>
            <a:off x="5690212" y="3923670"/>
            <a:ext cx="6501788" cy="2934330"/>
          </a:xfrm>
          <a:custGeom>
            <a:avLst/>
            <a:gdLst>
              <a:gd name="connsiteX0" fmla="*/ 617182 w 6501788"/>
              <a:gd name="connsiteY0" fmla="*/ 0 h 2934330"/>
              <a:gd name="connsiteX1" fmla="*/ 864318 w 6501788"/>
              <a:gd name="connsiteY1" fmla="*/ 0 h 2934330"/>
              <a:gd name="connsiteX2" fmla="*/ 6254652 w 6501788"/>
              <a:gd name="connsiteY2" fmla="*/ 0 h 2934330"/>
              <a:gd name="connsiteX3" fmla="*/ 6501788 w 6501788"/>
              <a:gd name="connsiteY3" fmla="*/ 0 h 2934330"/>
              <a:gd name="connsiteX4" fmla="*/ 6501788 w 6501788"/>
              <a:gd name="connsiteY4" fmla="*/ 2934330 h 2934330"/>
              <a:gd name="connsiteX5" fmla="*/ 6254652 w 6501788"/>
              <a:gd name="connsiteY5" fmla="*/ 2934330 h 2934330"/>
              <a:gd name="connsiteX6" fmla="*/ 247136 w 6501788"/>
              <a:gd name="connsiteY6" fmla="*/ 2934330 h 2934330"/>
              <a:gd name="connsiteX7" fmla="*/ 0 w 6501788"/>
              <a:gd name="connsiteY7" fmla="*/ 2934330 h 2934330"/>
              <a:gd name="connsiteX8" fmla="*/ 0 w 6501788"/>
              <a:gd name="connsiteY8" fmla="*/ 617182 h 2934330"/>
              <a:gd name="connsiteX9" fmla="*/ 617182 w 6501788"/>
              <a:gd name="connsiteY9" fmla="*/ 0 h 293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01788" h="2934330">
                <a:moveTo>
                  <a:pt x="617182" y="0"/>
                </a:moveTo>
                <a:lnTo>
                  <a:pt x="864318" y="0"/>
                </a:lnTo>
                <a:lnTo>
                  <a:pt x="6254652" y="0"/>
                </a:lnTo>
                <a:lnTo>
                  <a:pt x="6501788" y="0"/>
                </a:lnTo>
                <a:lnTo>
                  <a:pt x="6501788" y="2934330"/>
                </a:lnTo>
                <a:lnTo>
                  <a:pt x="6254652" y="2934330"/>
                </a:lnTo>
                <a:lnTo>
                  <a:pt x="247136" y="2934330"/>
                </a:lnTo>
                <a:lnTo>
                  <a:pt x="0" y="2934330"/>
                </a:lnTo>
                <a:lnTo>
                  <a:pt x="0" y="617182"/>
                </a:lnTo>
                <a:cubicBezTo>
                  <a:pt x="0" y="276322"/>
                  <a:pt x="276322" y="0"/>
                  <a:pt x="617182" y="0"/>
                </a:cubicBezTo>
                <a:close/>
              </a:path>
            </a:pathLst>
          </a:cu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8" name="Freeform: Shape 117">
            <a:extLst>
              <a:ext uri="{FF2B5EF4-FFF2-40B4-BE49-F238E27FC236}">
                <a16:creationId xmlns:a16="http://schemas.microsoft.com/office/drawing/2014/main" id="{7DE6E473-127C-64AB-0043-B7009D936BA0}"/>
              </a:ext>
            </a:extLst>
          </p:cNvPr>
          <p:cNvSpPr/>
          <p:nvPr/>
        </p:nvSpPr>
        <p:spPr>
          <a:xfrm rot="16200000" flipH="1">
            <a:off x="7088976" y="-1471855"/>
            <a:ext cx="3208088" cy="6997963"/>
          </a:xfrm>
          <a:custGeom>
            <a:avLst/>
            <a:gdLst>
              <a:gd name="connsiteX0" fmla="*/ 0 w 3329214"/>
              <a:gd name="connsiteY0" fmla="*/ 1664608 h 6997963"/>
              <a:gd name="connsiteX1" fmla="*/ 0 w 3329214"/>
              <a:gd name="connsiteY1" fmla="*/ 6997963 h 6997963"/>
              <a:gd name="connsiteX2" fmla="*/ 3329214 w 3329214"/>
              <a:gd name="connsiteY2" fmla="*/ 6997963 h 6997963"/>
              <a:gd name="connsiteX3" fmla="*/ 3329214 w 3329214"/>
              <a:gd name="connsiteY3" fmla="*/ 1664607 h 6997963"/>
              <a:gd name="connsiteX4" fmla="*/ 1664607 w 3329214"/>
              <a:gd name="connsiteY4" fmla="*/ 1 h 6997963"/>
              <a:gd name="connsiteX5" fmla="*/ 0 w 3329214"/>
              <a:gd name="connsiteY5" fmla="*/ 1664608 h 699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29214" h="6997963">
                <a:moveTo>
                  <a:pt x="0" y="1664608"/>
                </a:moveTo>
                <a:lnTo>
                  <a:pt x="0" y="6997963"/>
                </a:lnTo>
                <a:lnTo>
                  <a:pt x="3329214" y="6997963"/>
                </a:lnTo>
                <a:lnTo>
                  <a:pt x="3329214" y="1664607"/>
                </a:lnTo>
                <a:cubicBezTo>
                  <a:pt x="3329214" y="745270"/>
                  <a:pt x="2583944" y="0"/>
                  <a:pt x="1664607" y="1"/>
                </a:cubicBezTo>
                <a:cubicBezTo>
                  <a:pt x="745270" y="1"/>
                  <a:pt x="0" y="745270"/>
                  <a:pt x="0" y="1664608"/>
                </a:cubicBez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TextBox 17">
            <a:extLst>
              <a:ext uri="{FF2B5EF4-FFF2-40B4-BE49-F238E27FC236}">
                <a16:creationId xmlns:a16="http://schemas.microsoft.com/office/drawing/2014/main" id="{F116E6BD-A270-84AB-BC72-5F2B291AF79B}"/>
              </a:ext>
            </a:extLst>
          </p:cNvPr>
          <p:cNvSpPr txBox="1"/>
          <p:nvPr/>
        </p:nvSpPr>
        <p:spPr>
          <a:xfrm>
            <a:off x="8534400" y="1506761"/>
            <a:ext cx="3453699" cy="1001493"/>
          </a:xfrm>
          <a:prstGeom prst="rect">
            <a:avLst/>
          </a:prstGeom>
          <a:noFill/>
        </p:spPr>
        <p:txBody>
          <a:bodyPr wrap="square" lIns="91440" tIns="45720" rIns="91440" bIns="45720" rtlCol="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accent5"/>
                </a:solidFill>
                <a:effectLst/>
                <a:uLnTx/>
                <a:uFillTx/>
                <a:ea typeface="+mj-ea"/>
                <a:cs typeface="+mj-cs"/>
              </a:rPr>
              <a:t>A Portfolio of Advantaged</a:t>
            </a:r>
            <a:br>
              <a:rPr kumimoji="0" lang="en-US" sz="3600" b="1" i="0" u="none" strike="noStrike" kern="1200" cap="none" spc="0" normalizeH="0" baseline="0" noProof="0">
                <a:ln>
                  <a:noFill/>
                </a:ln>
                <a:solidFill>
                  <a:schemeClr val="accent5"/>
                </a:solidFill>
                <a:effectLst/>
                <a:uLnTx/>
                <a:uFillTx/>
                <a:ea typeface="+mj-ea"/>
                <a:cs typeface="+mj-cs"/>
              </a:rPr>
            </a:br>
            <a:r>
              <a:rPr kumimoji="0" lang="en-US" sz="3600" b="1" i="0" u="none" strike="noStrike" kern="1200" cap="none" spc="0" normalizeH="0" baseline="0" noProof="0">
                <a:ln>
                  <a:noFill/>
                </a:ln>
                <a:solidFill>
                  <a:schemeClr val="accent5"/>
                </a:solidFill>
                <a:effectLst/>
                <a:uLnTx/>
                <a:uFillTx/>
                <a:ea typeface="+mj-ea"/>
                <a:cs typeface="+mj-cs"/>
              </a:rPr>
              <a:t>Sustainability Solutions</a:t>
            </a:r>
          </a:p>
        </p:txBody>
      </p:sp>
      <p:sp>
        <p:nvSpPr>
          <p:cNvPr id="10" name="Freeform: Shape 9">
            <a:extLst>
              <a:ext uri="{FF2B5EF4-FFF2-40B4-BE49-F238E27FC236}">
                <a16:creationId xmlns:a16="http://schemas.microsoft.com/office/drawing/2014/main" id="{AAC7B71D-5429-0BA9-66DE-D51C3896627F}"/>
              </a:ext>
            </a:extLst>
          </p:cNvPr>
          <p:cNvSpPr/>
          <p:nvPr/>
        </p:nvSpPr>
        <p:spPr>
          <a:xfrm flipH="1" flipV="1">
            <a:off x="10458450" y="-1"/>
            <a:ext cx="1733550" cy="1463137"/>
          </a:xfrm>
          <a:custGeom>
            <a:avLst/>
            <a:gdLst>
              <a:gd name="connsiteX0" fmla="*/ 0 w 4441488"/>
              <a:gd name="connsiteY0" fmla="*/ 0 h 3748669"/>
              <a:gd name="connsiteX1" fmla="*/ 47134 w 4441488"/>
              <a:gd name="connsiteY1" fmla="*/ 139302 h 3748669"/>
              <a:gd name="connsiteX2" fmla="*/ 4181197 w 4441488"/>
              <a:gd name="connsiteY2" fmla="*/ 3702186 h 3748669"/>
              <a:gd name="connsiteX3" fmla="*/ 4441488 w 4441488"/>
              <a:gd name="connsiteY3" fmla="*/ 3748669 h 3748669"/>
              <a:gd name="connsiteX4" fmla="*/ 0 w 4441488"/>
              <a:gd name="connsiteY4" fmla="*/ 3748669 h 3748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1488" h="3748669">
                <a:moveTo>
                  <a:pt x="0" y="0"/>
                </a:moveTo>
                <a:lnTo>
                  <a:pt x="47134" y="139302"/>
                </a:lnTo>
                <a:cubicBezTo>
                  <a:pt x="707026" y="1941551"/>
                  <a:pt x="2266187" y="3310318"/>
                  <a:pt x="4181197" y="3702186"/>
                </a:cubicBezTo>
                <a:lnTo>
                  <a:pt x="4441488" y="3748669"/>
                </a:lnTo>
                <a:lnTo>
                  <a:pt x="0" y="3748669"/>
                </a:ln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Text Placeholder 1">
            <a:extLst>
              <a:ext uri="{FF2B5EF4-FFF2-40B4-BE49-F238E27FC236}">
                <a16:creationId xmlns:a16="http://schemas.microsoft.com/office/drawing/2014/main" id="{9CA97012-959C-3DA5-36C9-417F63226D9E}"/>
              </a:ext>
            </a:extLst>
          </p:cNvPr>
          <p:cNvSpPr txBox="1">
            <a:spLocks/>
          </p:cNvSpPr>
          <p:nvPr/>
        </p:nvSpPr>
        <p:spPr>
          <a:xfrm>
            <a:off x="596900" y="2288262"/>
            <a:ext cx="3944010" cy="2211165"/>
          </a:xfrm>
          <a:prstGeom prst="rect">
            <a:avLst/>
          </a:prstGeom>
        </p:spPr>
        <p:txBody>
          <a:bodyPr vert="horz" lIns="0" tIns="0" rIns="0" bIns="0" rtlCol="0">
            <a:noAutofit/>
          </a:bodyPr>
          <a:lstStyle>
            <a:lvl1pPr marL="171450" indent="-171450" algn="l" defTabSz="914400" rtl="0" eaLnBrk="1" latinLnBrk="0" hangingPunct="1">
              <a:lnSpc>
                <a:spcPct val="90000"/>
              </a:lnSpc>
              <a:spcBef>
                <a:spcPts val="1000"/>
              </a:spcBef>
              <a:buFont typeface="Arial" panose="020B0604020202020204" pitchFamily="34" charset="0"/>
              <a:buChar char="•"/>
              <a:tabLst/>
              <a:defRPr sz="2800" kern="1200">
                <a:solidFill>
                  <a:srgbClr val="133CCF"/>
                </a:solidFill>
                <a:latin typeface="+mn-lt"/>
                <a:ea typeface="+mn-ea"/>
                <a:cs typeface="+mn-cs"/>
              </a:defRPr>
            </a:lvl1pPr>
            <a:lvl2pPr marL="344488" indent="-173038" algn="l" defTabSz="914400" rtl="0" eaLnBrk="1" latinLnBrk="0" hangingPunct="1">
              <a:lnSpc>
                <a:spcPct val="90000"/>
              </a:lnSpc>
              <a:spcBef>
                <a:spcPts val="500"/>
              </a:spcBef>
              <a:buSzPct val="70000"/>
              <a:buFont typeface="Courier New" panose="02070309020205020404" pitchFamily="49" charset="0"/>
              <a:buChar char="o"/>
              <a:tabLst/>
              <a:defRPr sz="1800" kern="1200">
                <a:solidFill>
                  <a:srgbClr val="133CCF"/>
                </a:solidFill>
                <a:latin typeface="+mn-lt"/>
                <a:ea typeface="+mn-ea"/>
                <a:cs typeface="+mn-cs"/>
              </a:defRPr>
            </a:lvl2pPr>
            <a:lvl3pPr marL="517525" indent="-173038" algn="l" defTabSz="914400" rtl="0" eaLnBrk="1" latinLnBrk="0" hangingPunct="1">
              <a:lnSpc>
                <a:spcPct val="90000"/>
              </a:lnSpc>
              <a:spcBef>
                <a:spcPts val="500"/>
              </a:spcBef>
              <a:buFont typeface="Wingdings" pitchFamily="2" charset="2"/>
              <a:buChar char="§"/>
              <a:tabLst/>
              <a:defRPr sz="1800" kern="1200">
                <a:solidFill>
                  <a:srgbClr val="133CCF"/>
                </a:solidFill>
                <a:latin typeface="+mn-lt"/>
                <a:ea typeface="+mn-ea"/>
                <a:cs typeface="+mn-cs"/>
              </a:defRPr>
            </a:lvl3pPr>
            <a:lvl4pPr marL="690563" indent="-173038" algn="l" defTabSz="914400" rtl="0" eaLnBrk="1" latinLnBrk="0" hangingPunct="1">
              <a:lnSpc>
                <a:spcPct val="90000"/>
              </a:lnSpc>
              <a:spcBef>
                <a:spcPts val="500"/>
              </a:spcBef>
              <a:buSzPct val="70000"/>
              <a:buFont typeface="Wingdings" pitchFamily="2" charset="2"/>
              <a:buChar char="q"/>
              <a:tabLst/>
              <a:defRPr sz="1800" kern="1200">
                <a:solidFill>
                  <a:srgbClr val="133CCF"/>
                </a:solidFill>
                <a:latin typeface="+mn-lt"/>
                <a:ea typeface="+mn-ea"/>
                <a:cs typeface="+mn-cs"/>
              </a:defRPr>
            </a:lvl4pPr>
            <a:lvl5pPr marL="863600" indent="-173038" algn="l" defTabSz="914400" rtl="0" eaLnBrk="1" latinLnBrk="0" hangingPunct="1">
              <a:lnSpc>
                <a:spcPct val="90000"/>
              </a:lnSpc>
              <a:spcBef>
                <a:spcPts val="500"/>
              </a:spcBef>
              <a:buSzPct val="80000"/>
              <a:buFont typeface="Wingdings" pitchFamily="2" charset="2"/>
              <a:buChar char="v"/>
              <a:tabLst/>
              <a:defRPr sz="1800" kern="1200">
                <a:solidFill>
                  <a:srgbClr val="133CC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IN" sz="5400">
                <a:solidFill>
                  <a:schemeClr val="bg1"/>
                </a:solidFill>
                <a:ea typeface="+mj-ea"/>
                <a:cs typeface="+mj-cs"/>
              </a:rPr>
              <a:t>What is </a:t>
            </a:r>
            <a:r>
              <a:rPr lang="en-IN" sz="5400" b="1">
                <a:solidFill>
                  <a:schemeClr val="bg1"/>
                </a:solidFill>
                <a:ea typeface="+mj-ea"/>
                <a:cs typeface="+mj-cs"/>
              </a:rPr>
              <a:t>Partners for Tomorrow?</a:t>
            </a:r>
          </a:p>
        </p:txBody>
      </p:sp>
      <p:pic>
        <p:nvPicPr>
          <p:cNvPr id="25" name="Picture 24">
            <a:extLst>
              <a:ext uri="{FF2B5EF4-FFF2-40B4-BE49-F238E27FC236}">
                <a16:creationId xmlns:a16="http://schemas.microsoft.com/office/drawing/2014/main" id="{D084A322-F64D-220F-29EF-70B8F98DBE5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flipH="1" flipV="1">
            <a:off x="3805844" y="5227092"/>
            <a:ext cx="1884368" cy="1630905"/>
          </a:xfrm>
          <a:prstGeom prst="rect">
            <a:avLst/>
          </a:prstGeom>
        </p:spPr>
      </p:pic>
      <p:grpSp>
        <p:nvGrpSpPr>
          <p:cNvPr id="4" name="Group 3">
            <a:extLst>
              <a:ext uri="{FF2B5EF4-FFF2-40B4-BE49-F238E27FC236}">
                <a16:creationId xmlns:a16="http://schemas.microsoft.com/office/drawing/2014/main" id="{EBCA9BBD-4D38-9A4E-5F6B-76BA47F7E140}"/>
              </a:ext>
            </a:extLst>
          </p:cNvPr>
          <p:cNvGrpSpPr/>
          <p:nvPr/>
        </p:nvGrpSpPr>
        <p:grpSpPr>
          <a:xfrm>
            <a:off x="5428413" y="545132"/>
            <a:ext cx="2924756" cy="2924750"/>
            <a:chOff x="6024015" y="317772"/>
            <a:chExt cx="2876551" cy="2876546"/>
          </a:xfrm>
        </p:grpSpPr>
        <p:grpSp>
          <p:nvGrpSpPr>
            <p:cNvPr id="120" name="Group 119">
              <a:extLst>
                <a:ext uri="{FF2B5EF4-FFF2-40B4-BE49-F238E27FC236}">
                  <a16:creationId xmlns:a16="http://schemas.microsoft.com/office/drawing/2014/main" id="{E3A7802B-6B15-BC45-4D04-1C51823AA966}"/>
                </a:ext>
              </a:extLst>
            </p:cNvPr>
            <p:cNvGrpSpPr/>
            <p:nvPr/>
          </p:nvGrpSpPr>
          <p:grpSpPr>
            <a:xfrm>
              <a:off x="6024015" y="317772"/>
              <a:ext cx="2876551" cy="2876546"/>
              <a:chOff x="1469271" y="4001173"/>
              <a:chExt cx="1869924" cy="1869922"/>
            </a:xfrm>
            <a:solidFill>
              <a:schemeClr val="accent5">
                <a:lumMod val="20000"/>
                <a:lumOff val="80000"/>
                <a:alpha val="22000"/>
              </a:schemeClr>
            </a:solidFill>
          </p:grpSpPr>
          <p:sp>
            <p:nvSpPr>
              <p:cNvPr id="121" name="Freeform: Shape 120">
                <a:extLst>
                  <a:ext uri="{FF2B5EF4-FFF2-40B4-BE49-F238E27FC236}">
                    <a16:creationId xmlns:a16="http://schemas.microsoft.com/office/drawing/2014/main" id="{BECF3584-F03D-0568-F812-D5A4B004E6C7}"/>
                  </a:ext>
                </a:extLst>
              </p:cNvPr>
              <p:cNvSpPr/>
              <p:nvPr/>
            </p:nvSpPr>
            <p:spPr>
              <a:xfrm rot="5400000">
                <a:off x="2052037" y="4583938"/>
                <a:ext cx="704392" cy="704393"/>
              </a:xfrm>
              <a:custGeom>
                <a:avLst/>
                <a:gdLst>
                  <a:gd name="connsiteX0" fmla="*/ 588565 w 1177129"/>
                  <a:gd name="connsiteY0" fmla="*/ 1177130 h 1177129"/>
                  <a:gd name="connsiteX1" fmla="*/ 0 w 1177129"/>
                  <a:gd name="connsiteY1" fmla="*/ 588565 h 1177129"/>
                  <a:gd name="connsiteX2" fmla="*/ 588565 w 1177129"/>
                  <a:gd name="connsiteY2" fmla="*/ 0 h 1177129"/>
                  <a:gd name="connsiteX3" fmla="*/ 1177130 w 1177129"/>
                  <a:gd name="connsiteY3" fmla="*/ 588565 h 1177129"/>
                  <a:gd name="connsiteX4" fmla="*/ 588565 w 1177129"/>
                  <a:gd name="connsiteY4" fmla="*/ 1177130 h 1177129"/>
                  <a:gd name="connsiteX5" fmla="*/ 588565 w 1177129"/>
                  <a:gd name="connsiteY5" fmla="*/ 68899 h 1177129"/>
                  <a:gd name="connsiteX6" fmla="*/ 68830 w 1177129"/>
                  <a:gd name="connsiteY6" fmla="*/ 588634 h 1177129"/>
                  <a:gd name="connsiteX7" fmla="*/ 588565 w 1177129"/>
                  <a:gd name="connsiteY7" fmla="*/ 1108369 h 1177129"/>
                  <a:gd name="connsiteX8" fmla="*/ 1108300 w 1177129"/>
                  <a:gd name="connsiteY8" fmla="*/ 588634 h 1177129"/>
                  <a:gd name="connsiteX9" fmla="*/ 588565 w 1177129"/>
                  <a:gd name="connsiteY9" fmla="*/ 68899 h 1177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7129" h="1177129">
                    <a:moveTo>
                      <a:pt x="588565" y="1177130"/>
                    </a:moveTo>
                    <a:cubicBezTo>
                      <a:pt x="264032" y="1177130"/>
                      <a:pt x="0" y="913098"/>
                      <a:pt x="0" y="588565"/>
                    </a:cubicBezTo>
                    <a:cubicBezTo>
                      <a:pt x="0" y="264032"/>
                      <a:pt x="264032" y="0"/>
                      <a:pt x="588565" y="0"/>
                    </a:cubicBezTo>
                    <a:cubicBezTo>
                      <a:pt x="913098" y="0"/>
                      <a:pt x="1177130" y="264032"/>
                      <a:pt x="1177130" y="588565"/>
                    </a:cubicBezTo>
                    <a:cubicBezTo>
                      <a:pt x="1177130" y="913098"/>
                      <a:pt x="913098" y="1177130"/>
                      <a:pt x="588565" y="1177130"/>
                    </a:cubicBezTo>
                    <a:close/>
                    <a:moveTo>
                      <a:pt x="588565" y="68899"/>
                    </a:moveTo>
                    <a:cubicBezTo>
                      <a:pt x="302026" y="68899"/>
                      <a:pt x="68830" y="302026"/>
                      <a:pt x="68830" y="588634"/>
                    </a:cubicBezTo>
                    <a:cubicBezTo>
                      <a:pt x="68830" y="875241"/>
                      <a:pt x="301957" y="1108369"/>
                      <a:pt x="588565" y="1108369"/>
                    </a:cubicBezTo>
                    <a:cubicBezTo>
                      <a:pt x="875173" y="1108369"/>
                      <a:pt x="1108300" y="875241"/>
                      <a:pt x="1108300" y="588634"/>
                    </a:cubicBezTo>
                    <a:cubicBezTo>
                      <a:pt x="1108300" y="302026"/>
                      <a:pt x="875173" y="68899"/>
                      <a:pt x="588565" y="68899"/>
                    </a:cubicBezTo>
                    <a:close/>
                  </a:path>
                </a:pathLst>
              </a:custGeom>
              <a:grpFill/>
              <a:ln w="6883"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A3BBC495-706C-33BD-F780-5F9573BACA43}"/>
                  </a:ext>
                </a:extLst>
              </p:cNvPr>
              <p:cNvSpPr/>
              <p:nvPr/>
            </p:nvSpPr>
            <p:spPr>
              <a:xfrm rot="5400000">
                <a:off x="2121850" y="4653751"/>
                <a:ext cx="564766" cy="564766"/>
              </a:xfrm>
              <a:custGeom>
                <a:avLst/>
                <a:gdLst>
                  <a:gd name="connsiteX0" fmla="*/ 471898 w 943796"/>
                  <a:gd name="connsiteY0" fmla="*/ 943796 h 943796"/>
                  <a:gd name="connsiteX1" fmla="*/ 0 w 943796"/>
                  <a:gd name="connsiteY1" fmla="*/ 471898 h 943796"/>
                  <a:gd name="connsiteX2" fmla="*/ 471898 w 943796"/>
                  <a:gd name="connsiteY2" fmla="*/ 0 h 943796"/>
                  <a:gd name="connsiteX3" fmla="*/ 943796 w 943796"/>
                  <a:gd name="connsiteY3" fmla="*/ 471898 h 943796"/>
                  <a:gd name="connsiteX4" fmla="*/ 471898 w 943796"/>
                  <a:gd name="connsiteY4" fmla="*/ 943796 h 943796"/>
                  <a:gd name="connsiteX5" fmla="*/ 471898 w 943796"/>
                  <a:gd name="connsiteY5" fmla="*/ 68899 h 943796"/>
                  <a:gd name="connsiteX6" fmla="*/ 68830 w 943796"/>
                  <a:gd name="connsiteY6" fmla="*/ 471967 h 943796"/>
                  <a:gd name="connsiteX7" fmla="*/ 471898 w 943796"/>
                  <a:gd name="connsiteY7" fmla="*/ 875035 h 943796"/>
                  <a:gd name="connsiteX8" fmla="*/ 874966 w 943796"/>
                  <a:gd name="connsiteY8" fmla="*/ 471967 h 943796"/>
                  <a:gd name="connsiteX9" fmla="*/ 471898 w 943796"/>
                  <a:gd name="connsiteY9" fmla="*/ 68899 h 943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3796" h="943796">
                    <a:moveTo>
                      <a:pt x="471898" y="943796"/>
                    </a:moveTo>
                    <a:cubicBezTo>
                      <a:pt x="211721" y="943796"/>
                      <a:pt x="0" y="732144"/>
                      <a:pt x="0" y="471898"/>
                    </a:cubicBezTo>
                    <a:cubicBezTo>
                      <a:pt x="0" y="211652"/>
                      <a:pt x="211652" y="0"/>
                      <a:pt x="471898" y="0"/>
                    </a:cubicBezTo>
                    <a:cubicBezTo>
                      <a:pt x="732144" y="0"/>
                      <a:pt x="943796" y="211652"/>
                      <a:pt x="943796" y="471898"/>
                    </a:cubicBezTo>
                    <a:cubicBezTo>
                      <a:pt x="943796" y="732144"/>
                      <a:pt x="732144" y="943796"/>
                      <a:pt x="471898" y="943796"/>
                    </a:cubicBezTo>
                    <a:close/>
                    <a:moveTo>
                      <a:pt x="471898" y="68899"/>
                    </a:moveTo>
                    <a:cubicBezTo>
                      <a:pt x="249646" y="68899"/>
                      <a:pt x="68830" y="249715"/>
                      <a:pt x="68830" y="471967"/>
                    </a:cubicBezTo>
                    <a:cubicBezTo>
                      <a:pt x="68830" y="694219"/>
                      <a:pt x="249646" y="875035"/>
                      <a:pt x="471898" y="875035"/>
                    </a:cubicBezTo>
                    <a:cubicBezTo>
                      <a:pt x="694150" y="875035"/>
                      <a:pt x="874966" y="694219"/>
                      <a:pt x="874966" y="471967"/>
                    </a:cubicBezTo>
                    <a:cubicBezTo>
                      <a:pt x="874966" y="249715"/>
                      <a:pt x="694150" y="68899"/>
                      <a:pt x="471898" y="68899"/>
                    </a:cubicBezTo>
                    <a:close/>
                  </a:path>
                </a:pathLst>
              </a:custGeom>
              <a:grpFill/>
              <a:ln w="6883" cap="flat">
                <a:noFill/>
                <a:prstDash val="solid"/>
                <a:miter/>
              </a:ln>
            </p:spPr>
            <p:txBody>
              <a:bodyPr rtlCol="0" anchor="ctr"/>
              <a:lstStyle/>
              <a:p>
                <a:endParaRPr lang="en-US"/>
              </a:p>
            </p:txBody>
          </p:sp>
          <p:sp>
            <p:nvSpPr>
              <p:cNvPr id="123" name="Freeform: Shape 122">
                <a:extLst>
                  <a:ext uri="{FF2B5EF4-FFF2-40B4-BE49-F238E27FC236}">
                    <a16:creationId xmlns:a16="http://schemas.microsoft.com/office/drawing/2014/main" id="{1E3B5F9C-49F8-1570-CBC4-E467AC5BA04B}"/>
                  </a:ext>
                </a:extLst>
              </p:cNvPr>
              <p:cNvSpPr/>
              <p:nvPr/>
            </p:nvSpPr>
            <p:spPr>
              <a:xfrm rot="5400000">
                <a:off x="2194176" y="4726077"/>
                <a:ext cx="420114" cy="420115"/>
              </a:xfrm>
              <a:custGeom>
                <a:avLst/>
                <a:gdLst>
                  <a:gd name="connsiteX0" fmla="*/ 351033 w 702065"/>
                  <a:gd name="connsiteY0" fmla="*/ 702065 h 702065"/>
                  <a:gd name="connsiteX1" fmla="*/ 0 w 702065"/>
                  <a:gd name="connsiteY1" fmla="*/ 351033 h 702065"/>
                  <a:gd name="connsiteX2" fmla="*/ 351033 w 702065"/>
                  <a:gd name="connsiteY2" fmla="*/ 0 h 702065"/>
                  <a:gd name="connsiteX3" fmla="*/ 702065 w 702065"/>
                  <a:gd name="connsiteY3" fmla="*/ 351033 h 702065"/>
                  <a:gd name="connsiteX4" fmla="*/ 351033 w 702065"/>
                  <a:gd name="connsiteY4" fmla="*/ 702065 h 702065"/>
                  <a:gd name="connsiteX5" fmla="*/ 351033 w 702065"/>
                  <a:gd name="connsiteY5" fmla="*/ 68830 h 702065"/>
                  <a:gd name="connsiteX6" fmla="*/ 68830 w 702065"/>
                  <a:gd name="connsiteY6" fmla="*/ 351033 h 702065"/>
                  <a:gd name="connsiteX7" fmla="*/ 351033 w 702065"/>
                  <a:gd name="connsiteY7" fmla="*/ 633235 h 702065"/>
                  <a:gd name="connsiteX8" fmla="*/ 633235 w 702065"/>
                  <a:gd name="connsiteY8" fmla="*/ 351033 h 702065"/>
                  <a:gd name="connsiteX9" fmla="*/ 351033 w 702065"/>
                  <a:gd name="connsiteY9" fmla="*/ 68830 h 702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2065" h="702065">
                    <a:moveTo>
                      <a:pt x="351033" y="702065"/>
                    </a:moveTo>
                    <a:cubicBezTo>
                      <a:pt x="157483" y="702065"/>
                      <a:pt x="0" y="544582"/>
                      <a:pt x="0" y="351033"/>
                    </a:cubicBezTo>
                    <a:cubicBezTo>
                      <a:pt x="0" y="157483"/>
                      <a:pt x="157483" y="0"/>
                      <a:pt x="351033" y="0"/>
                    </a:cubicBezTo>
                    <a:cubicBezTo>
                      <a:pt x="544582" y="0"/>
                      <a:pt x="702065" y="157483"/>
                      <a:pt x="702065" y="351033"/>
                    </a:cubicBezTo>
                    <a:cubicBezTo>
                      <a:pt x="702065" y="544582"/>
                      <a:pt x="544582" y="702065"/>
                      <a:pt x="351033" y="702065"/>
                    </a:cubicBezTo>
                    <a:close/>
                    <a:moveTo>
                      <a:pt x="351033" y="68830"/>
                    </a:moveTo>
                    <a:cubicBezTo>
                      <a:pt x="195408" y="68830"/>
                      <a:pt x="68830" y="195408"/>
                      <a:pt x="68830" y="351033"/>
                    </a:cubicBezTo>
                    <a:cubicBezTo>
                      <a:pt x="68830" y="506657"/>
                      <a:pt x="195408" y="633235"/>
                      <a:pt x="351033" y="633235"/>
                    </a:cubicBezTo>
                    <a:cubicBezTo>
                      <a:pt x="506657" y="633235"/>
                      <a:pt x="633235" y="506657"/>
                      <a:pt x="633235" y="351033"/>
                    </a:cubicBezTo>
                    <a:cubicBezTo>
                      <a:pt x="633235" y="195408"/>
                      <a:pt x="506657" y="68830"/>
                      <a:pt x="351033" y="68830"/>
                    </a:cubicBezTo>
                    <a:close/>
                  </a:path>
                </a:pathLst>
              </a:custGeom>
              <a:grpFill/>
              <a:ln w="6883"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0EBF095A-F92B-FCC3-1579-04431C4F2A84}"/>
                  </a:ext>
                </a:extLst>
              </p:cNvPr>
              <p:cNvSpPr/>
              <p:nvPr/>
            </p:nvSpPr>
            <p:spPr>
              <a:xfrm rot="5400000">
                <a:off x="1987825" y="4519726"/>
                <a:ext cx="832815" cy="832816"/>
              </a:xfrm>
              <a:custGeom>
                <a:avLst/>
                <a:gdLst>
                  <a:gd name="connsiteX0" fmla="*/ 695871 w 1391741"/>
                  <a:gd name="connsiteY0" fmla="*/ 1391741 h 1391741"/>
                  <a:gd name="connsiteX1" fmla="*/ 0 w 1391741"/>
                  <a:gd name="connsiteY1" fmla="*/ 695871 h 1391741"/>
                  <a:gd name="connsiteX2" fmla="*/ 695871 w 1391741"/>
                  <a:gd name="connsiteY2" fmla="*/ 0 h 1391741"/>
                  <a:gd name="connsiteX3" fmla="*/ 1391741 w 1391741"/>
                  <a:gd name="connsiteY3" fmla="*/ 695871 h 1391741"/>
                  <a:gd name="connsiteX4" fmla="*/ 695871 w 1391741"/>
                  <a:gd name="connsiteY4" fmla="*/ 1391741 h 1391741"/>
                  <a:gd name="connsiteX5" fmla="*/ 695871 w 1391741"/>
                  <a:gd name="connsiteY5" fmla="*/ 68761 h 1391741"/>
                  <a:gd name="connsiteX6" fmla="*/ 68830 w 1391741"/>
                  <a:gd name="connsiteY6" fmla="*/ 695802 h 1391741"/>
                  <a:gd name="connsiteX7" fmla="*/ 695871 w 1391741"/>
                  <a:gd name="connsiteY7" fmla="*/ 1322843 h 1391741"/>
                  <a:gd name="connsiteX8" fmla="*/ 1322912 w 1391741"/>
                  <a:gd name="connsiteY8" fmla="*/ 695802 h 1391741"/>
                  <a:gd name="connsiteX9" fmla="*/ 695871 w 1391741"/>
                  <a:gd name="connsiteY9" fmla="*/ 68761 h 1391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1741" h="1391741">
                    <a:moveTo>
                      <a:pt x="695871" y="1391741"/>
                    </a:moveTo>
                    <a:cubicBezTo>
                      <a:pt x="312144" y="1391741"/>
                      <a:pt x="0" y="1079529"/>
                      <a:pt x="0" y="695871"/>
                    </a:cubicBezTo>
                    <a:cubicBezTo>
                      <a:pt x="0" y="312213"/>
                      <a:pt x="312213" y="0"/>
                      <a:pt x="695871" y="0"/>
                    </a:cubicBezTo>
                    <a:cubicBezTo>
                      <a:pt x="1079529" y="0"/>
                      <a:pt x="1391741" y="312213"/>
                      <a:pt x="1391741" y="695871"/>
                    </a:cubicBezTo>
                    <a:cubicBezTo>
                      <a:pt x="1391741" y="1079529"/>
                      <a:pt x="1079529" y="1391741"/>
                      <a:pt x="695871" y="1391741"/>
                    </a:cubicBezTo>
                    <a:close/>
                    <a:moveTo>
                      <a:pt x="695871" y="68761"/>
                    </a:moveTo>
                    <a:cubicBezTo>
                      <a:pt x="350069" y="68761"/>
                      <a:pt x="68830" y="350069"/>
                      <a:pt x="68830" y="695802"/>
                    </a:cubicBezTo>
                    <a:cubicBezTo>
                      <a:pt x="68830" y="1041535"/>
                      <a:pt x="350138" y="1322843"/>
                      <a:pt x="695871" y="1322843"/>
                    </a:cubicBezTo>
                    <a:cubicBezTo>
                      <a:pt x="1041604" y="1322843"/>
                      <a:pt x="1322912" y="1041535"/>
                      <a:pt x="1322912" y="695802"/>
                    </a:cubicBezTo>
                    <a:cubicBezTo>
                      <a:pt x="1322912" y="350069"/>
                      <a:pt x="1041604" y="68761"/>
                      <a:pt x="695871" y="68761"/>
                    </a:cubicBezTo>
                    <a:close/>
                  </a:path>
                </a:pathLst>
              </a:custGeom>
              <a:grpFill/>
              <a:ln w="6883"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3C299051-C838-B6A6-9E2E-44EC82BF2B3E}"/>
                  </a:ext>
                </a:extLst>
              </p:cNvPr>
              <p:cNvSpPr/>
              <p:nvPr/>
            </p:nvSpPr>
            <p:spPr>
              <a:xfrm rot="5400000">
                <a:off x="1922255" y="4454155"/>
                <a:ext cx="963957" cy="963958"/>
              </a:xfrm>
              <a:custGeom>
                <a:avLst/>
                <a:gdLst>
                  <a:gd name="connsiteX0" fmla="*/ 805448 w 1610895"/>
                  <a:gd name="connsiteY0" fmla="*/ 1610896 h 1610895"/>
                  <a:gd name="connsiteX1" fmla="*/ 0 w 1610895"/>
                  <a:gd name="connsiteY1" fmla="*/ 805448 h 1610895"/>
                  <a:gd name="connsiteX2" fmla="*/ 805448 w 1610895"/>
                  <a:gd name="connsiteY2" fmla="*/ 0 h 1610895"/>
                  <a:gd name="connsiteX3" fmla="*/ 1610896 w 1610895"/>
                  <a:gd name="connsiteY3" fmla="*/ 805448 h 1610895"/>
                  <a:gd name="connsiteX4" fmla="*/ 805448 w 1610895"/>
                  <a:gd name="connsiteY4" fmla="*/ 1610896 h 1610895"/>
                  <a:gd name="connsiteX5" fmla="*/ 805448 w 1610895"/>
                  <a:gd name="connsiteY5" fmla="*/ 68899 h 1610895"/>
                  <a:gd name="connsiteX6" fmla="*/ 68830 w 1610895"/>
                  <a:gd name="connsiteY6" fmla="*/ 805517 h 1610895"/>
                  <a:gd name="connsiteX7" fmla="*/ 805448 w 1610895"/>
                  <a:gd name="connsiteY7" fmla="*/ 1542135 h 1610895"/>
                  <a:gd name="connsiteX8" fmla="*/ 1542066 w 1610895"/>
                  <a:gd name="connsiteY8" fmla="*/ 805517 h 1610895"/>
                  <a:gd name="connsiteX9" fmla="*/ 805448 w 1610895"/>
                  <a:gd name="connsiteY9" fmla="*/ 68899 h 1610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0895" h="1610895">
                    <a:moveTo>
                      <a:pt x="805448" y="1610896"/>
                    </a:moveTo>
                    <a:cubicBezTo>
                      <a:pt x="361357" y="1610896"/>
                      <a:pt x="0" y="1249607"/>
                      <a:pt x="0" y="805448"/>
                    </a:cubicBezTo>
                    <a:cubicBezTo>
                      <a:pt x="0" y="361288"/>
                      <a:pt x="361288" y="0"/>
                      <a:pt x="805448" y="0"/>
                    </a:cubicBezTo>
                    <a:cubicBezTo>
                      <a:pt x="1249607" y="0"/>
                      <a:pt x="1610896" y="361288"/>
                      <a:pt x="1610896" y="805448"/>
                    </a:cubicBezTo>
                    <a:cubicBezTo>
                      <a:pt x="1610896" y="1249607"/>
                      <a:pt x="1249607" y="1610896"/>
                      <a:pt x="805448" y="1610896"/>
                    </a:cubicBezTo>
                    <a:close/>
                    <a:moveTo>
                      <a:pt x="805448" y="68899"/>
                    </a:moveTo>
                    <a:cubicBezTo>
                      <a:pt x="399283" y="68899"/>
                      <a:pt x="68830" y="399351"/>
                      <a:pt x="68830" y="805517"/>
                    </a:cubicBezTo>
                    <a:cubicBezTo>
                      <a:pt x="68830" y="1211682"/>
                      <a:pt x="399283" y="1542135"/>
                      <a:pt x="805448" y="1542135"/>
                    </a:cubicBezTo>
                    <a:cubicBezTo>
                      <a:pt x="1211613" y="1542135"/>
                      <a:pt x="1542066" y="1211682"/>
                      <a:pt x="1542066" y="805517"/>
                    </a:cubicBezTo>
                    <a:cubicBezTo>
                      <a:pt x="1542066" y="399351"/>
                      <a:pt x="1211613" y="68899"/>
                      <a:pt x="805448" y="68899"/>
                    </a:cubicBezTo>
                    <a:close/>
                  </a:path>
                </a:pathLst>
              </a:custGeom>
              <a:grpFill/>
              <a:ln w="6883"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BA4008B5-C8DC-93D0-26BC-6E536C4546D8}"/>
                  </a:ext>
                </a:extLst>
              </p:cNvPr>
              <p:cNvSpPr/>
              <p:nvPr/>
            </p:nvSpPr>
            <p:spPr>
              <a:xfrm rot="5400000">
                <a:off x="1855077" y="4386978"/>
                <a:ext cx="1098311" cy="1098313"/>
              </a:xfrm>
              <a:custGeom>
                <a:avLst/>
                <a:gdLst>
                  <a:gd name="connsiteX0" fmla="*/ 917709 w 1835419"/>
                  <a:gd name="connsiteY0" fmla="*/ 1835419 h 1835419"/>
                  <a:gd name="connsiteX1" fmla="*/ 0 w 1835419"/>
                  <a:gd name="connsiteY1" fmla="*/ 917709 h 1835419"/>
                  <a:gd name="connsiteX2" fmla="*/ 917709 w 1835419"/>
                  <a:gd name="connsiteY2" fmla="*/ 0 h 1835419"/>
                  <a:gd name="connsiteX3" fmla="*/ 1835419 w 1835419"/>
                  <a:gd name="connsiteY3" fmla="*/ 917709 h 1835419"/>
                  <a:gd name="connsiteX4" fmla="*/ 917709 w 1835419"/>
                  <a:gd name="connsiteY4" fmla="*/ 1835419 h 1835419"/>
                  <a:gd name="connsiteX5" fmla="*/ 917709 w 1835419"/>
                  <a:gd name="connsiteY5" fmla="*/ 68761 h 1835419"/>
                  <a:gd name="connsiteX6" fmla="*/ 68830 w 1835419"/>
                  <a:gd name="connsiteY6" fmla="*/ 917641 h 1835419"/>
                  <a:gd name="connsiteX7" fmla="*/ 917709 w 1835419"/>
                  <a:gd name="connsiteY7" fmla="*/ 1766520 h 1835419"/>
                  <a:gd name="connsiteX8" fmla="*/ 1766589 w 1835419"/>
                  <a:gd name="connsiteY8" fmla="*/ 917641 h 1835419"/>
                  <a:gd name="connsiteX9" fmla="*/ 917709 w 1835419"/>
                  <a:gd name="connsiteY9" fmla="*/ 68761 h 1835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5419" h="1835419">
                    <a:moveTo>
                      <a:pt x="917709" y="1835419"/>
                    </a:moveTo>
                    <a:cubicBezTo>
                      <a:pt x="411672" y="1835419"/>
                      <a:pt x="0" y="1423747"/>
                      <a:pt x="0" y="917709"/>
                    </a:cubicBezTo>
                    <a:cubicBezTo>
                      <a:pt x="0" y="411672"/>
                      <a:pt x="411672" y="0"/>
                      <a:pt x="917709" y="0"/>
                    </a:cubicBezTo>
                    <a:cubicBezTo>
                      <a:pt x="1423747" y="0"/>
                      <a:pt x="1835419" y="411672"/>
                      <a:pt x="1835419" y="917709"/>
                    </a:cubicBezTo>
                    <a:cubicBezTo>
                      <a:pt x="1835419" y="1423747"/>
                      <a:pt x="1423747" y="1835419"/>
                      <a:pt x="917709" y="1835419"/>
                    </a:cubicBezTo>
                    <a:close/>
                    <a:moveTo>
                      <a:pt x="917709" y="68761"/>
                    </a:moveTo>
                    <a:cubicBezTo>
                      <a:pt x="449597" y="68761"/>
                      <a:pt x="68830" y="449597"/>
                      <a:pt x="68830" y="917641"/>
                    </a:cubicBezTo>
                    <a:cubicBezTo>
                      <a:pt x="68830" y="1385684"/>
                      <a:pt x="449666" y="1766520"/>
                      <a:pt x="917709" y="1766520"/>
                    </a:cubicBezTo>
                    <a:cubicBezTo>
                      <a:pt x="1385753" y="1766520"/>
                      <a:pt x="1766589" y="1385684"/>
                      <a:pt x="1766589" y="917641"/>
                    </a:cubicBezTo>
                    <a:cubicBezTo>
                      <a:pt x="1766589" y="449597"/>
                      <a:pt x="1385753" y="68761"/>
                      <a:pt x="917709" y="68761"/>
                    </a:cubicBezTo>
                    <a:close/>
                  </a:path>
                </a:pathLst>
              </a:custGeom>
              <a:grpFill/>
              <a:ln w="6883" cap="flat">
                <a:no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FECC0DEA-7B09-562C-B60E-3D24DB64776C}"/>
                  </a:ext>
                </a:extLst>
              </p:cNvPr>
              <p:cNvSpPr/>
              <p:nvPr/>
            </p:nvSpPr>
            <p:spPr>
              <a:xfrm rot="5400000">
                <a:off x="1784441" y="4316341"/>
                <a:ext cx="1239585" cy="1239586"/>
              </a:xfrm>
              <a:custGeom>
                <a:avLst/>
                <a:gdLst>
                  <a:gd name="connsiteX0" fmla="*/ 1035753 w 2071505"/>
                  <a:gd name="connsiteY0" fmla="*/ 2071506 h 2071505"/>
                  <a:gd name="connsiteX1" fmla="*/ 0 w 2071505"/>
                  <a:gd name="connsiteY1" fmla="*/ 1035753 h 2071505"/>
                  <a:gd name="connsiteX2" fmla="*/ 1035753 w 2071505"/>
                  <a:gd name="connsiteY2" fmla="*/ 0 h 2071505"/>
                  <a:gd name="connsiteX3" fmla="*/ 2071506 w 2071505"/>
                  <a:gd name="connsiteY3" fmla="*/ 1035753 h 2071505"/>
                  <a:gd name="connsiteX4" fmla="*/ 1035753 w 2071505"/>
                  <a:gd name="connsiteY4" fmla="*/ 2071506 h 2071505"/>
                  <a:gd name="connsiteX5" fmla="*/ 1035753 w 2071505"/>
                  <a:gd name="connsiteY5" fmla="*/ 68761 h 2071505"/>
                  <a:gd name="connsiteX6" fmla="*/ 68830 w 2071505"/>
                  <a:gd name="connsiteY6" fmla="*/ 1035684 h 2071505"/>
                  <a:gd name="connsiteX7" fmla="*/ 1035753 w 2071505"/>
                  <a:gd name="connsiteY7" fmla="*/ 2002607 h 2071505"/>
                  <a:gd name="connsiteX8" fmla="*/ 2002676 w 2071505"/>
                  <a:gd name="connsiteY8" fmla="*/ 1035684 h 2071505"/>
                  <a:gd name="connsiteX9" fmla="*/ 1035753 w 2071505"/>
                  <a:gd name="connsiteY9" fmla="*/ 68761 h 207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71505" h="2071505">
                    <a:moveTo>
                      <a:pt x="1035753" y="2071506"/>
                    </a:moveTo>
                    <a:cubicBezTo>
                      <a:pt x="464602" y="2071506"/>
                      <a:pt x="0" y="1606835"/>
                      <a:pt x="0" y="1035753"/>
                    </a:cubicBezTo>
                    <a:cubicBezTo>
                      <a:pt x="0" y="464671"/>
                      <a:pt x="464671" y="0"/>
                      <a:pt x="1035753" y="0"/>
                    </a:cubicBezTo>
                    <a:cubicBezTo>
                      <a:pt x="1606835" y="0"/>
                      <a:pt x="2071506" y="464671"/>
                      <a:pt x="2071506" y="1035753"/>
                    </a:cubicBezTo>
                    <a:cubicBezTo>
                      <a:pt x="2071506" y="1606835"/>
                      <a:pt x="1606835" y="2071506"/>
                      <a:pt x="1035753" y="2071506"/>
                    </a:cubicBezTo>
                    <a:close/>
                    <a:moveTo>
                      <a:pt x="1035753" y="68761"/>
                    </a:moveTo>
                    <a:cubicBezTo>
                      <a:pt x="502596" y="68761"/>
                      <a:pt x="68830" y="502527"/>
                      <a:pt x="68830" y="1035684"/>
                    </a:cubicBezTo>
                    <a:cubicBezTo>
                      <a:pt x="68830" y="1568841"/>
                      <a:pt x="502596" y="2002607"/>
                      <a:pt x="1035753" y="2002607"/>
                    </a:cubicBezTo>
                    <a:cubicBezTo>
                      <a:pt x="1568910" y="2002607"/>
                      <a:pt x="2002676" y="1568841"/>
                      <a:pt x="2002676" y="1035684"/>
                    </a:cubicBezTo>
                    <a:cubicBezTo>
                      <a:pt x="2002676" y="502527"/>
                      <a:pt x="1568910" y="68761"/>
                      <a:pt x="1035753" y="68761"/>
                    </a:cubicBezTo>
                    <a:close/>
                  </a:path>
                </a:pathLst>
              </a:custGeom>
              <a:grpFill/>
              <a:ln w="6883" cap="flat">
                <a:no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A719EA8F-71CB-8066-86E7-FFC8D51FDB17}"/>
                  </a:ext>
                </a:extLst>
              </p:cNvPr>
              <p:cNvSpPr/>
              <p:nvPr/>
            </p:nvSpPr>
            <p:spPr>
              <a:xfrm rot="5400000">
                <a:off x="1709521" y="4241420"/>
                <a:ext cx="1389426" cy="1389427"/>
              </a:xfrm>
              <a:custGeom>
                <a:avLst/>
                <a:gdLst>
                  <a:gd name="connsiteX0" fmla="*/ 1160955 w 2321908"/>
                  <a:gd name="connsiteY0" fmla="*/ 2321909 h 2321908"/>
                  <a:gd name="connsiteX1" fmla="*/ 0 w 2321908"/>
                  <a:gd name="connsiteY1" fmla="*/ 1160955 h 2321908"/>
                  <a:gd name="connsiteX2" fmla="*/ 1160955 w 2321908"/>
                  <a:gd name="connsiteY2" fmla="*/ 0 h 2321908"/>
                  <a:gd name="connsiteX3" fmla="*/ 2321909 w 2321908"/>
                  <a:gd name="connsiteY3" fmla="*/ 1160955 h 2321908"/>
                  <a:gd name="connsiteX4" fmla="*/ 1160955 w 2321908"/>
                  <a:gd name="connsiteY4" fmla="*/ 2321909 h 2321908"/>
                  <a:gd name="connsiteX5" fmla="*/ 1160955 w 2321908"/>
                  <a:gd name="connsiteY5" fmla="*/ 68899 h 2321908"/>
                  <a:gd name="connsiteX6" fmla="*/ 68830 w 2321908"/>
                  <a:gd name="connsiteY6" fmla="*/ 1161023 h 2321908"/>
                  <a:gd name="connsiteX7" fmla="*/ 1160955 w 2321908"/>
                  <a:gd name="connsiteY7" fmla="*/ 2253148 h 2321908"/>
                  <a:gd name="connsiteX8" fmla="*/ 2253079 w 2321908"/>
                  <a:gd name="connsiteY8" fmla="*/ 1161023 h 2321908"/>
                  <a:gd name="connsiteX9" fmla="*/ 1160955 w 2321908"/>
                  <a:gd name="connsiteY9" fmla="*/ 68899 h 2321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21908" h="2321908">
                    <a:moveTo>
                      <a:pt x="1160955" y="2321909"/>
                    </a:moveTo>
                    <a:cubicBezTo>
                      <a:pt x="520836" y="2321909"/>
                      <a:pt x="0" y="1801142"/>
                      <a:pt x="0" y="1160955"/>
                    </a:cubicBezTo>
                    <a:cubicBezTo>
                      <a:pt x="0" y="520767"/>
                      <a:pt x="520767" y="0"/>
                      <a:pt x="1160955" y="0"/>
                    </a:cubicBezTo>
                    <a:cubicBezTo>
                      <a:pt x="1801142" y="0"/>
                      <a:pt x="2321909" y="520767"/>
                      <a:pt x="2321909" y="1160955"/>
                    </a:cubicBezTo>
                    <a:cubicBezTo>
                      <a:pt x="2321909" y="1801142"/>
                      <a:pt x="1801142" y="2321909"/>
                      <a:pt x="1160955" y="2321909"/>
                    </a:cubicBezTo>
                    <a:close/>
                    <a:moveTo>
                      <a:pt x="1160955" y="68899"/>
                    </a:moveTo>
                    <a:cubicBezTo>
                      <a:pt x="558762" y="68899"/>
                      <a:pt x="68830" y="558830"/>
                      <a:pt x="68830" y="1161023"/>
                    </a:cubicBezTo>
                    <a:cubicBezTo>
                      <a:pt x="68830" y="1763217"/>
                      <a:pt x="558762" y="2253148"/>
                      <a:pt x="1160955" y="2253148"/>
                    </a:cubicBezTo>
                    <a:cubicBezTo>
                      <a:pt x="1763148" y="2253148"/>
                      <a:pt x="2253079" y="1763217"/>
                      <a:pt x="2253079" y="1161023"/>
                    </a:cubicBezTo>
                    <a:cubicBezTo>
                      <a:pt x="2253079" y="558830"/>
                      <a:pt x="1763148" y="68899"/>
                      <a:pt x="1160955" y="68899"/>
                    </a:cubicBezTo>
                    <a:close/>
                  </a:path>
                </a:pathLst>
              </a:custGeom>
              <a:grpFill/>
              <a:ln w="6883"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B35128E7-8C04-0351-504D-964C4AEE54F1}"/>
                  </a:ext>
                </a:extLst>
              </p:cNvPr>
              <p:cNvSpPr/>
              <p:nvPr/>
            </p:nvSpPr>
            <p:spPr>
              <a:xfrm rot="5400000">
                <a:off x="1631757" y="4163699"/>
                <a:ext cx="1544869" cy="1544870"/>
              </a:xfrm>
              <a:custGeom>
                <a:avLst/>
                <a:gdLst>
                  <a:gd name="connsiteX0" fmla="*/ 1290837 w 2581673"/>
                  <a:gd name="connsiteY0" fmla="*/ 2581673 h 2581673"/>
                  <a:gd name="connsiteX1" fmla="*/ 0 w 2581673"/>
                  <a:gd name="connsiteY1" fmla="*/ 1290837 h 2581673"/>
                  <a:gd name="connsiteX2" fmla="*/ 1290837 w 2581673"/>
                  <a:gd name="connsiteY2" fmla="*/ 0 h 2581673"/>
                  <a:gd name="connsiteX3" fmla="*/ 2581673 w 2581673"/>
                  <a:gd name="connsiteY3" fmla="*/ 1290837 h 2581673"/>
                  <a:gd name="connsiteX4" fmla="*/ 1290837 w 2581673"/>
                  <a:gd name="connsiteY4" fmla="*/ 2581673 h 2581673"/>
                  <a:gd name="connsiteX5" fmla="*/ 1290837 w 2581673"/>
                  <a:gd name="connsiteY5" fmla="*/ 68761 h 2581673"/>
                  <a:gd name="connsiteX6" fmla="*/ 68830 w 2581673"/>
                  <a:gd name="connsiteY6" fmla="*/ 1290768 h 2581673"/>
                  <a:gd name="connsiteX7" fmla="*/ 1290837 w 2581673"/>
                  <a:gd name="connsiteY7" fmla="*/ 2512774 h 2581673"/>
                  <a:gd name="connsiteX8" fmla="*/ 2512843 w 2581673"/>
                  <a:gd name="connsiteY8" fmla="*/ 1290768 h 2581673"/>
                  <a:gd name="connsiteX9" fmla="*/ 1290837 w 2581673"/>
                  <a:gd name="connsiteY9" fmla="*/ 68761 h 2581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81673" h="2581673">
                    <a:moveTo>
                      <a:pt x="1290837" y="2581673"/>
                    </a:moveTo>
                    <a:cubicBezTo>
                      <a:pt x="579066" y="2581673"/>
                      <a:pt x="0" y="2002607"/>
                      <a:pt x="0" y="1290837"/>
                    </a:cubicBezTo>
                    <a:cubicBezTo>
                      <a:pt x="0" y="579066"/>
                      <a:pt x="579066" y="0"/>
                      <a:pt x="1290837" y="0"/>
                    </a:cubicBezTo>
                    <a:cubicBezTo>
                      <a:pt x="2002607" y="0"/>
                      <a:pt x="2581673" y="579066"/>
                      <a:pt x="2581673" y="1290837"/>
                    </a:cubicBezTo>
                    <a:cubicBezTo>
                      <a:pt x="2581673" y="2002607"/>
                      <a:pt x="2002607" y="2581673"/>
                      <a:pt x="1290837" y="2581673"/>
                    </a:cubicBezTo>
                    <a:close/>
                    <a:moveTo>
                      <a:pt x="1290837" y="68761"/>
                    </a:moveTo>
                    <a:cubicBezTo>
                      <a:pt x="616992" y="68761"/>
                      <a:pt x="68830" y="616992"/>
                      <a:pt x="68830" y="1290768"/>
                    </a:cubicBezTo>
                    <a:cubicBezTo>
                      <a:pt x="68830" y="1964544"/>
                      <a:pt x="617060" y="2512774"/>
                      <a:pt x="1290837" y="2512774"/>
                    </a:cubicBezTo>
                    <a:cubicBezTo>
                      <a:pt x="1964613" y="2512774"/>
                      <a:pt x="2512843" y="1964544"/>
                      <a:pt x="2512843" y="1290768"/>
                    </a:cubicBezTo>
                    <a:cubicBezTo>
                      <a:pt x="2512843" y="616992"/>
                      <a:pt x="1964613" y="68761"/>
                      <a:pt x="1290837" y="68761"/>
                    </a:cubicBezTo>
                    <a:close/>
                  </a:path>
                </a:pathLst>
              </a:custGeom>
              <a:grpFill/>
              <a:ln w="6883"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2B9B0961-DDB7-E610-0884-505BE9718D7C}"/>
                  </a:ext>
                </a:extLst>
              </p:cNvPr>
              <p:cNvSpPr/>
              <p:nvPr/>
            </p:nvSpPr>
            <p:spPr>
              <a:xfrm rot="5400000">
                <a:off x="1550494" y="4082394"/>
                <a:ext cx="1707478" cy="1707480"/>
              </a:xfrm>
              <a:custGeom>
                <a:avLst/>
                <a:gdLst>
                  <a:gd name="connsiteX0" fmla="*/ 1426707 w 2853414"/>
                  <a:gd name="connsiteY0" fmla="*/ 2853414 h 2853414"/>
                  <a:gd name="connsiteX1" fmla="*/ 0 w 2853414"/>
                  <a:gd name="connsiteY1" fmla="*/ 1426707 h 2853414"/>
                  <a:gd name="connsiteX2" fmla="*/ 1426707 w 2853414"/>
                  <a:gd name="connsiteY2" fmla="*/ 0 h 2853414"/>
                  <a:gd name="connsiteX3" fmla="*/ 2853414 w 2853414"/>
                  <a:gd name="connsiteY3" fmla="*/ 1426707 h 2853414"/>
                  <a:gd name="connsiteX4" fmla="*/ 1426707 w 2853414"/>
                  <a:gd name="connsiteY4" fmla="*/ 2853414 h 2853414"/>
                  <a:gd name="connsiteX5" fmla="*/ 1426707 w 2853414"/>
                  <a:gd name="connsiteY5" fmla="*/ 68830 h 2853414"/>
                  <a:gd name="connsiteX6" fmla="*/ 68830 w 2853414"/>
                  <a:gd name="connsiteY6" fmla="*/ 1426707 h 2853414"/>
                  <a:gd name="connsiteX7" fmla="*/ 1426707 w 2853414"/>
                  <a:gd name="connsiteY7" fmla="*/ 2784584 h 2853414"/>
                  <a:gd name="connsiteX8" fmla="*/ 2784584 w 2853414"/>
                  <a:gd name="connsiteY8" fmla="*/ 1426707 h 2853414"/>
                  <a:gd name="connsiteX9" fmla="*/ 1426707 w 2853414"/>
                  <a:gd name="connsiteY9" fmla="*/ 68830 h 285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3414" h="2853414">
                    <a:moveTo>
                      <a:pt x="1426707" y="2853414"/>
                    </a:moveTo>
                    <a:cubicBezTo>
                      <a:pt x="640050" y="2853414"/>
                      <a:pt x="0" y="2213433"/>
                      <a:pt x="0" y="1426707"/>
                    </a:cubicBezTo>
                    <a:cubicBezTo>
                      <a:pt x="0" y="639981"/>
                      <a:pt x="639981" y="0"/>
                      <a:pt x="1426707" y="0"/>
                    </a:cubicBezTo>
                    <a:cubicBezTo>
                      <a:pt x="2213433" y="0"/>
                      <a:pt x="2853414" y="639981"/>
                      <a:pt x="2853414" y="1426707"/>
                    </a:cubicBezTo>
                    <a:cubicBezTo>
                      <a:pt x="2853414" y="2213433"/>
                      <a:pt x="2213433" y="2853414"/>
                      <a:pt x="1426707" y="2853414"/>
                    </a:cubicBezTo>
                    <a:close/>
                    <a:moveTo>
                      <a:pt x="1426707" y="68830"/>
                    </a:moveTo>
                    <a:cubicBezTo>
                      <a:pt x="677975" y="68830"/>
                      <a:pt x="68830" y="677975"/>
                      <a:pt x="68830" y="1426707"/>
                    </a:cubicBezTo>
                    <a:cubicBezTo>
                      <a:pt x="68830" y="2175439"/>
                      <a:pt x="677975" y="2784584"/>
                      <a:pt x="1426707" y="2784584"/>
                    </a:cubicBezTo>
                    <a:cubicBezTo>
                      <a:pt x="2175439" y="2784584"/>
                      <a:pt x="2784584" y="2175439"/>
                      <a:pt x="2784584" y="1426707"/>
                    </a:cubicBezTo>
                    <a:cubicBezTo>
                      <a:pt x="2784584" y="677975"/>
                      <a:pt x="2175439" y="68830"/>
                      <a:pt x="1426707" y="68830"/>
                    </a:cubicBezTo>
                    <a:close/>
                  </a:path>
                </a:pathLst>
              </a:custGeom>
              <a:grpFill/>
              <a:ln w="6883"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59D0397C-76B9-5419-CDEF-E394CCC9F19E}"/>
                  </a:ext>
                </a:extLst>
              </p:cNvPr>
              <p:cNvSpPr/>
              <p:nvPr/>
            </p:nvSpPr>
            <p:spPr>
              <a:xfrm rot="5400000">
                <a:off x="1469272" y="4001172"/>
                <a:ext cx="1869922" cy="1869924"/>
              </a:xfrm>
              <a:custGeom>
                <a:avLst/>
                <a:gdLst>
                  <a:gd name="connsiteX0" fmla="*/ 1562440 w 3124879"/>
                  <a:gd name="connsiteY0" fmla="*/ 3124879 h 3124879"/>
                  <a:gd name="connsiteX1" fmla="*/ 457650 w 3124879"/>
                  <a:gd name="connsiteY1" fmla="*/ 2667229 h 3124879"/>
                  <a:gd name="connsiteX2" fmla="*/ 0 w 3124879"/>
                  <a:gd name="connsiteY2" fmla="*/ 1562440 h 3124879"/>
                  <a:gd name="connsiteX3" fmla="*/ 457650 w 3124879"/>
                  <a:gd name="connsiteY3" fmla="*/ 457650 h 3124879"/>
                  <a:gd name="connsiteX4" fmla="*/ 1562440 w 3124879"/>
                  <a:gd name="connsiteY4" fmla="*/ 0 h 3124879"/>
                  <a:gd name="connsiteX5" fmla="*/ 2667229 w 3124879"/>
                  <a:gd name="connsiteY5" fmla="*/ 457650 h 3124879"/>
                  <a:gd name="connsiteX6" fmla="*/ 3124879 w 3124879"/>
                  <a:gd name="connsiteY6" fmla="*/ 1562440 h 3124879"/>
                  <a:gd name="connsiteX7" fmla="*/ 2667229 w 3124879"/>
                  <a:gd name="connsiteY7" fmla="*/ 2667229 h 3124879"/>
                  <a:gd name="connsiteX8" fmla="*/ 1562440 w 3124879"/>
                  <a:gd name="connsiteY8" fmla="*/ 3124879 h 3124879"/>
                  <a:gd name="connsiteX9" fmla="*/ 1562440 w 3124879"/>
                  <a:gd name="connsiteY9" fmla="*/ 68830 h 3124879"/>
                  <a:gd name="connsiteX10" fmla="*/ 68830 w 3124879"/>
                  <a:gd name="connsiteY10" fmla="*/ 1562440 h 3124879"/>
                  <a:gd name="connsiteX11" fmla="*/ 1562440 w 3124879"/>
                  <a:gd name="connsiteY11" fmla="*/ 3056049 h 3124879"/>
                  <a:gd name="connsiteX12" fmla="*/ 3056049 w 3124879"/>
                  <a:gd name="connsiteY12" fmla="*/ 1562440 h 3124879"/>
                  <a:gd name="connsiteX13" fmla="*/ 1562440 w 3124879"/>
                  <a:gd name="connsiteY13" fmla="*/ 68830 h 3124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24879" h="3124879">
                    <a:moveTo>
                      <a:pt x="1562440" y="3124879"/>
                    </a:moveTo>
                    <a:cubicBezTo>
                      <a:pt x="1145124" y="3124879"/>
                      <a:pt x="752724" y="2962372"/>
                      <a:pt x="457650" y="2667229"/>
                    </a:cubicBezTo>
                    <a:cubicBezTo>
                      <a:pt x="162576" y="2372086"/>
                      <a:pt x="0" y="1979756"/>
                      <a:pt x="0" y="1562440"/>
                    </a:cubicBezTo>
                    <a:cubicBezTo>
                      <a:pt x="0" y="1145124"/>
                      <a:pt x="162507" y="752724"/>
                      <a:pt x="457650" y="457650"/>
                    </a:cubicBezTo>
                    <a:cubicBezTo>
                      <a:pt x="752793" y="162576"/>
                      <a:pt x="1145124" y="0"/>
                      <a:pt x="1562440" y="0"/>
                    </a:cubicBezTo>
                    <a:cubicBezTo>
                      <a:pt x="1979756" y="0"/>
                      <a:pt x="2372155" y="162507"/>
                      <a:pt x="2667229" y="457650"/>
                    </a:cubicBezTo>
                    <a:cubicBezTo>
                      <a:pt x="2962303" y="752724"/>
                      <a:pt x="3124879" y="1145124"/>
                      <a:pt x="3124879" y="1562440"/>
                    </a:cubicBezTo>
                    <a:cubicBezTo>
                      <a:pt x="3124879" y="1979756"/>
                      <a:pt x="2962372" y="2372155"/>
                      <a:pt x="2667229" y="2667229"/>
                    </a:cubicBezTo>
                    <a:cubicBezTo>
                      <a:pt x="2372086" y="2962303"/>
                      <a:pt x="1979756" y="3124879"/>
                      <a:pt x="1562440" y="3124879"/>
                    </a:cubicBezTo>
                    <a:close/>
                    <a:moveTo>
                      <a:pt x="1562440" y="68830"/>
                    </a:moveTo>
                    <a:cubicBezTo>
                      <a:pt x="738889" y="68830"/>
                      <a:pt x="68830" y="738889"/>
                      <a:pt x="68830" y="1562440"/>
                    </a:cubicBezTo>
                    <a:cubicBezTo>
                      <a:pt x="68830" y="2385990"/>
                      <a:pt x="738889" y="3056049"/>
                      <a:pt x="1562440" y="3056049"/>
                    </a:cubicBezTo>
                    <a:cubicBezTo>
                      <a:pt x="2385990" y="3056049"/>
                      <a:pt x="3056049" y="2385990"/>
                      <a:pt x="3056049" y="1562440"/>
                    </a:cubicBezTo>
                    <a:cubicBezTo>
                      <a:pt x="3056049" y="738889"/>
                      <a:pt x="2385990" y="68830"/>
                      <a:pt x="1562440" y="68830"/>
                    </a:cubicBezTo>
                    <a:close/>
                  </a:path>
                </a:pathLst>
              </a:custGeom>
              <a:grpFill/>
              <a:ln w="6883" cap="flat">
                <a:noFill/>
                <a:prstDash val="solid"/>
                <a:miter/>
              </a:ln>
            </p:spPr>
            <p:txBody>
              <a:bodyPr rtlCol="0" anchor="ctr"/>
              <a:lstStyle/>
              <a:p>
                <a:endParaRPr lang="en-US"/>
              </a:p>
            </p:txBody>
          </p:sp>
        </p:grpSp>
        <p:pic>
          <p:nvPicPr>
            <p:cNvPr id="21" name="Picture 20" descr="Diagram&#10;&#10;Description automatically generated">
              <a:extLst>
                <a:ext uri="{FF2B5EF4-FFF2-40B4-BE49-F238E27FC236}">
                  <a16:creationId xmlns:a16="http://schemas.microsoft.com/office/drawing/2014/main" id="{E6694CCE-1404-ED47-73A1-25D7CCEE9CA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346345" y="640100"/>
              <a:ext cx="2231890" cy="2231890"/>
            </a:xfrm>
            <a:prstGeom prst="rect">
              <a:avLst/>
            </a:prstGeom>
          </p:spPr>
        </p:pic>
      </p:grpSp>
      <p:sp>
        <p:nvSpPr>
          <p:cNvPr id="155" name="Freeform: Shape 154">
            <a:extLst>
              <a:ext uri="{FF2B5EF4-FFF2-40B4-BE49-F238E27FC236}">
                <a16:creationId xmlns:a16="http://schemas.microsoft.com/office/drawing/2014/main" id="{410B3CCA-72F5-3462-E8FE-A5FE97FAB1BB}"/>
              </a:ext>
            </a:extLst>
          </p:cNvPr>
          <p:cNvSpPr/>
          <p:nvPr/>
        </p:nvSpPr>
        <p:spPr>
          <a:xfrm>
            <a:off x="5952290" y="3517270"/>
            <a:ext cx="6159500" cy="3340730"/>
          </a:xfrm>
          <a:custGeom>
            <a:avLst/>
            <a:gdLst>
              <a:gd name="connsiteX0" fmla="*/ 637559 w 6159500"/>
              <a:gd name="connsiteY0" fmla="*/ 0 h 3340730"/>
              <a:gd name="connsiteX1" fmla="*/ 6159500 w 6159500"/>
              <a:gd name="connsiteY1" fmla="*/ 0 h 3340730"/>
              <a:gd name="connsiteX2" fmla="*/ 196850 w 6159500"/>
              <a:gd name="connsiteY2" fmla="*/ 3340730 h 3340730"/>
              <a:gd name="connsiteX3" fmla="*/ 0 w 6159500"/>
              <a:gd name="connsiteY3" fmla="*/ 3340730 h 3340730"/>
              <a:gd name="connsiteX4" fmla="*/ 0 w 6159500"/>
              <a:gd name="connsiteY4" fmla="*/ 637558 h 3340730"/>
              <a:gd name="connsiteX5" fmla="*/ 637559 w 6159500"/>
              <a:gd name="connsiteY5" fmla="*/ 0 h 3340730"/>
              <a:gd name="connsiteX0" fmla="*/ 196850 w 6159500"/>
              <a:gd name="connsiteY0" fmla="*/ 3340730 h 3432170"/>
              <a:gd name="connsiteX1" fmla="*/ 0 w 6159500"/>
              <a:gd name="connsiteY1" fmla="*/ 3340730 h 3432170"/>
              <a:gd name="connsiteX2" fmla="*/ 0 w 6159500"/>
              <a:gd name="connsiteY2" fmla="*/ 637558 h 3432170"/>
              <a:gd name="connsiteX3" fmla="*/ 637559 w 6159500"/>
              <a:gd name="connsiteY3" fmla="*/ 0 h 3432170"/>
              <a:gd name="connsiteX4" fmla="*/ 6159500 w 6159500"/>
              <a:gd name="connsiteY4" fmla="*/ 0 h 3432170"/>
              <a:gd name="connsiteX5" fmla="*/ 288290 w 6159500"/>
              <a:gd name="connsiteY5" fmla="*/ 3432170 h 3432170"/>
              <a:gd name="connsiteX0" fmla="*/ 196850 w 6159500"/>
              <a:gd name="connsiteY0" fmla="*/ 3340730 h 3340730"/>
              <a:gd name="connsiteX1" fmla="*/ 0 w 6159500"/>
              <a:gd name="connsiteY1" fmla="*/ 3340730 h 3340730"/>
              <a:gd name="connsiteX2" fmla="*/ 0 w 6159500"/>
              <a:gd name="connsiteY2" fmla="*/ 637558 h 3340730"/>
              <a:gd name="connsiteX3" fmla="*/ 637559 w 6159500"/>
              <a:gd name="connsiteY3" fmla="*/ 0 h 3340730"/>
              <a:gd name="connsiteX4" fmla="*/ 6159500 w 6159500"/>
              <a:gd name="connsiteY4" fmla="*/ 0 h 3340730"/>
              <a:gd name="connsiteX0" fmla="*/ 0 w 6159500"/>
              <a:gd name="connsiteY0" fmla="*/ 3340730 h 3340730"/>
              <a:gd name="connsiteX1" fmla="*/ 0 w 6159500"/>
              <a:gd name="connsiteY1" fmla="*/ 637558 h 3340730"/>
              <a:gd name="connsiteX2" fmla="*/ 637559 w 6159500"/>
              <a:gd name="connsiteY2" fmla="*/ 0 h 3340730"/>
              <a:gd name="connsiteX3" fmla="*/ 6159500 w 6159500"/>
              <a:gd name="connsiteY3" fmla="*/ 0 h 3340730"/>
            </a:gdLst>
            <a:ahLst/>
            <a:cxnLst>
              <a:cxn ang="0">
                <a:pos x="connsiteX0" y="connsiteY0"/>
              </a:cxn>
              <a:cxn ang="0">
                <a:pos x="connsiteX1" y="connsiteY1"/>
              </a:cxn>
              <a:cxn ang="0">
                <a:pos x="connsiteX2" y="connsiteY2"/>
              </a:cxn>
              <a:cxn ang="0">
                <a:pos x="connsiteX3" y="connsiteY3"/>
              </a:cxn>
            </a:cxnLst>
            <a:rect l="l" t="t" r="r" b="b"/>
            <a:pathLst>
              <a:path w="6159500" h="3340730">
                <a:moveTo>
                  <a:pt x="0" y="3340730"/>
                </a:moveTo>
                <a:lnTo>
                  <a:pt x="0" y="637558"/>
                </a:lnTo>
                <a:cubicBezTo>
                  <a:pt x="0" y="285445"/>
                  <a:pt x="285445" y="0"/>
                  <a:pt x="637559" y="0"/>
                </a:cubicBezTo>
                <a:lnTo>
                  <a:pt x="6159500" y="0"/>
                </a:lnTo>
              </a:path>
            </a:pathLst>
          </a:custGeom>
          <a:noFill/>
          <a:ln>
            <a:solidFill>
              <a:schemeClr val="accent3"/>
            </a:solidFill>
            <a:prstDash val="dash"/>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9" name="Rectangle: Rounded Corners 118">
            <a:extLst>
              <a:ext uri="{FF2B5EF4-FFF2-40B4-BE49-F238E27FC236}">
                <a16:creationId xmlns:a16="http://schemas.microsoft.com/office/drawing/2014/main" id="{AE977EF2-1B64-7F80-6F72-3EBF5D102F0A}"/>
              </a:ext>
            </a:extLst>
          </p:cNvPr>
          <p:cNvSpPr/>
          <p:nvPr/>
        </p:nvSpPr>
        <p:spPr>
          <a:xfrm>
            <a:off x="7959794" y="3482341"/>
            <a:ext cx="2446848" cy="68580"/>
          </a:xfrm>
          <a:prstGeom prst="roundRect">
            <a:avLst>
              <a:gd name="adj" fmla="val 5000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3" name="Straight Connector 132">
            <a:extLst>
              <a:ext uri="{FF2B5EF4-FFF2-40B4-BE49-F238E27FC236}">
                <a16:creationId xmlns:a16="http://schemas.microsoft.com/office/drawing/2014/main" id="{D352BF4A-17EA-EE73-EAD4-4A3CAA4BB27C}"/>
              </a:ext>
            </a:extLst>
          </p:cNvPr>
          <p:cNvCxnSpPr>
            <a:cxnSpLocks/>
          </p:cNvCxnSpPr>
          <p:nvPr/>
        </p:nvCxnSpPr>
        <p:spPr>
          <a:xfrm>
            <a:off x="6477000" y="5247315"/>
            <a:ext cx="5101281" cy="0"/>
          </a:xfrm>
          <a:prstGeom prst="line">
            <a:avLst/>
          </a:prstGeom>
          <a:ln cap="rnd">
            <a:solidFill>
              <a:schemeClr val="bg1">
                <a:alpha val="68000"/>
              </a:schemeClr>
            </a:solidFill>
            <a:round/>
          </a:ln>
        </p:spPr>
        <p:style>
          <a:lnRef idx="1">
            <a:schemeClr val="accent1"/>
          </a:lnRef>
          <a:fillRef idx="0">
            <a:schemeClr val="accent1"/>
          </a:fillRef>
          <a:effectRef idx="0">
            <a:schemeClr val="accent1"/>
          </a:effectRef>
          <a:fontRef idx="minor">
            <a:schemeClr val="tx1"/>
          </a:fontRef>
        </p:style>
      </p:cxnSp>
      <p:grpSp>
        <p:nvGrpSpPr>
          <p:cNvPr id="148" name="Group 147">
            <a:extLst>
              <a:ext uri="{FF2B5EF4-FFF2-40B4-BE49-F238E27FC236}">
                <a16:creationId xmlns:a16="http://schemas.microsoft.com/office/drawing/2014/main" id="{C3865B21-D221-6596-B1CB-9FF969ED9489}"/>
              </a:ext>
            </a:extLst>
          </p:cNvPr>
          <p:cNvGrpSpPr/>
          <p:nvPr/>
        </p:nvGrpSpPr>
        <p:grpSpPr>
          <a:xfrm>
            <a:off x="5801042" y="4202843"/>
            <a:ext cx="6278663" cy="954107"/>
            <a:chOff x="6103837" y="4202843"/>
            <a:chExt cx="5491264" cy="954107"/>
          </a:xfrm>
        </p:grpSpPr>
        <p:sp>
          <p:nvSpPr>
            <p:cNvPr id="19" name="TextBox 18">
              <a:extLst>
                <a:ext uri="{FF2B5EF4-FFF2-40B4-BE49-F238E27FC236}">
                  <a16:creationId xmlns:a16="http://schemas.microsoft.com/office/drawing/2014/main" id="{E781C894-A74A-11D5-9768-A58BC9BF7B5F}"/>
                </a:ext>
              </a:extLst>
            </p:cNvPr>
            <p:cNvSpPr txBox="1">
              <a:spLocks/>
            </p:cNvSpPr>
            <p:nvPr/>
          </p:nvSpPr>
          <p:spPr>
            <a:xfrm>
              <a:off x="6572251" y="4202843"/>
              <a:ext cx="5022850" cy="954107"/>
            </a:xfrm>
            <a:prstGeom prst="rect">
              <a:avLst/>
            </a:prstGeom>
            <a:noFill/>
          </p:spPr>
          <p:txBody>
            <a:bodyPr wrap="square" lIns="91440" tIns="45720" rIns="91440" bIns="4572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700" b="1" i="0" u="none" strike="noStrike" kern="1200" cap="none" spc="0" normalizeH="0" baseline="0" noProof="0">
                  <a:ln>
                    <a:noFill/>
                  </a:ln>
                  <a:solidFill>
                    <a:schemeClr val="bg1"/>
                  </a:solidFill>
                  <a:effectLst/>
                  <a:uLnTx/>
                  <a:uFillTx/>
                  <a:ea typeface="+mj-ea"/>
                  <a:cs typeface="+mj-cs"/>
                </a:rPr>
                <a:t>Mutually beneficial for our customers </a:t>
              </a:r>
              <a:r>
                <a:rPr kumimoji="0" lang="en-US" sz="2700" b="1" i="0" strike="noStrike" kern="1200" cap="none" spc="0" normalizeH="0" baseline="0" noProof="0">
                  <a:ln>
                    <a:noFill/>
                  </a:ln>
                  <a:solidFill>
                    <a:schemeClr val="bg1"/>
                  </a:solidFill>
                  <a:effectLst/>
                  <a:uLnTx/>
                  <a:uFillTx/>
                  <a:ea typeface="+mj-ea"/>
                  <a:cs typeface="+mj-cs"/>
                </a:rPr>
                <a:t>and </a:t>
              </a:r>
              <a:r>
                <a:rPr kumimoji="0" lang="en-US" sz="2700" b="1" i="0" u="none" strike="noStrike" kern="1200" cap="none" spc="0" normalizeH="0" baseline="0" noProof="0">
                  <a:ln>
                    <a:noFill/>
                  </a:ln>
                  <a:solidFill>
                    <a:schemeClr val="bg1"/>
                  </a:solidFill>
                  <a:effectLst/>
                  <a:uLnTx/>
                  <a:uFillTx/>
                  <a:ea typeface="+mj-ea"/>
                  <a:cs typeface="+mj-cs"/>
                </a:rPr>
                <a:t>PepsiCo</a:t>
              </a:r>
            </a:p>
          </p:txBody>
        </p:sp>
        <p:grpSp>
          <p:nvGrpSpPr>
            <p:cNvPr id="140" name="Group 139">
              <a:extLst>
                <a:ext uri="{FF2B5EF4-FFF2-40B4-BE49-F238E27FC236}">
                  <a16:creationId xmlns:a16="http://schemas.microsoft.com/office/drawing/2014/main" id="{BCC206DC-2DD7-1FCD-6F35-B10496AD4172}"/>
                </a:ext>
              </a:extLst>
            </p:cNvPr>
            <p:cNvGrpSpPr/>
            <p:nvPr/>
          </p:nvGrpSpPr>
          <p:grpSpPr>
            <a:xfrm>
              <a:off x="6103837" y="4288075"/>
              <a:ext cx="271293" cy="271293"/>
              <a:chOff x="6043010" y="8131597"/>
              <a:chExt cx="3314699" cy="3314700"/>
            </a:xfrm>
          </p:grpSpPr>
          <p:pic>
            <p:nvPicPr>
              <p:cNvPr id="137" name="Picture 136">
                <a:extLst>
                  <a:ext uri="{FF2B5EF4-FFF2-40B4-BE49-F238E27FC236}">
                    <a16:creationId xmlns:a16="http://schemas.microsoft.com/office/drawing/2014/main" id="{ED98F47E-2E2D-8739-F81A-9270AC7F78A4}"/>
                  </a:ext>
                </a:extLst>
              </p:cNvPr>
              <p:cNvPicPr>
                <a:picLocks/>
              </p:cNvPicPr>
              <p:nvPr/>
            </p:nvPicPr>
            <p:blipFill>
              <a:blip r:embed="rId8" cstate="screen">
                <a:extLst>
                  <a:ext uri="{28A0092B-C50C-407E-A947-70E740481C1C}">
                    <a14:useLocalDpi xmlns:a14="http://schemas.microsoft.com/office/drawing/2010/main"/>
                  </a:ext>
                </a:extLst>
              </a:blip>
              <a:srcRect l="36669" t="14450" r="36669" b="14450"/>
              <a:stretch>
                <a:fillRect/>
              </a:stretch>
            </p:blipFill>
            <p:spPr>
              <a:xfrm>
                <a:off x="6043010" y="8131597"/>
                <a:ext cx="3314699" cy="3314700"/>
              </a:xfrm>
              <a:custGeom>
                <a:avLst/>
                <a:gdLst>
                  <a:gd name="connsiteX0" fmla="*/ 1657349 w 3314699"/>
                  <a:gd name="connsiteY0" fmla="*/ 0 h 3314700"/>
                  <a:gd name="connsiteX1" fmla="*/ 3314699 w 3314699"/>
                  <a:gd name="connsiteY1" fmla="*/ 1657350 h 3314700"/>
                  <a:gd name="connsiteX2" fmla="*/ 1657349 w 3314699"/>
                  <a:gd name="connsiteY2" fmla="*/ 3314700 h 3314700"/>
                  <a:gd name="connsiteX3" fmla="*/ 0 w 3314699"/>
                  <a:gd name="connsiteY3" fmla="*/ 1657350 h 3314700"/>
                  <a:gd name="connsiteX4" fmla="*/ 1657349 w 3314699"/>
                  <a:gd name="connsiteY4" fmla="*/ 0 h 3314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699" h="3314700">
                    <a:moveTo>
                      <a:pt x="1657349" y="0"/>
                    </a:moveTo>
                    <a:cubicBezTo>
                      <a:pt x="2572678" y="0"/>
                      <a:pt x="3314699" y="742021"/>
                      <a:pt x="3314699" y="1657350"/>
                    </a:cubicBezTo>
                    <a:cubicBezTo>
                      <a:pt x="3314699" y="2572679"/>
                      <a:pt x="2572678" y="3314700"/>
                      <a:pt x="1657349" y="3314700"/>
                    </a:cubicBezTo>
                    <a:cubicBezTo>
                      <a:pt x="742020" y="3314700"/>
                      <a:pt x="0" y="2572679"/>
                      <a:pt x="0" y="1657350"/>
                    </a:cubicBezTo>
                    <a:cubicBezTo>
                      <a:pt x="0" y="742021"/>
                      <a:pt x="742020" y="0"/>
                      <a:pt x="1657349" y="0"/>
                    </a:cubicBezTo>
                    <a:close/>
                  </a:path>
                </a:pathLst>
              </a:custGeom>
              <a:ln w="3175">
                <a:solidFill>
                  <a:schemeClr val="bg1"/>
                </a:solidFill>
              </a:ln>
            </p:spPr>
          </p:pic>
          <p:sp>
            <p:nvSpPr>
              <p:cNvPr id="139" name="Oval 138">
                <a:extLst>
                  <a:ext uri="{FF2B5EF4-FFF2-40B4-BE49-F238E27FC236}">
                    <a16:creationId xmlns:a16="http://schemas.microsoft.com/office/drawing/2014/main" id="{BBB9A0B3-E81C-714F-6140-DDE34199F18F}"/>
                  </a:ext>
                </a:extLst>
              </p:cNvPr>
              <p:cNvSpPr>
                <a:spLocks/>
              </p:cNvSpPr>
              <p:nvPr/>
            </p:nvSpPr>
            <p:spPr>
              <a:xfrm>
                <a:off x="6602601" y="8691189"/>
                <a:ext cx="2195504" cy="2195505"/>
              </a:xfrm>
              <a:prstGeom prst="ellipse">
                <a:avLst/>
              </a:prstGeom>
              <a:solidFill>
                <a:schemeClr val="bg1"/>
              </a:solidFill>
              <a:ln w="3175">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a:p>
            </p:txBody>
          </p:sp>
        </p:grpSp>
      </p:grpSp>
      <p:grpSp>
        <p:nvGrpSpPr>
          <p:cNvPr id="147" name="Group 146">
            <a:extLst>
              <a:ext uri="{FF2B5EF4-FFF2-40B4-BE49-F238E27FC236}">
                <a16:creationId xmlns:a16="http://schemas.microsoft.com/office/drawing/2014/main" id="{EF753CDA-2422-A86D-59A8-EAF3DAEF96F7}"/>
              </a:ext>
            </a:extLst>
          </p:cNvPr>
          <p:cNvGrpSpPr/>
          <p:nvPr/>
        </p:nvGrpSpPr>
        <p:grpSpPr>
          <a:xfrm>
            <a:off x="5801042" y="5460789"/>
            <a:ext cx="6278663" cy="923330"/>
            <a:chOff x="6103837" y="5460789"/>
            <a:chExt cx="5491264" cy="923330"/>
          </a:xfrm>
        </p:grpSpPr>
        <p:sp>
          <p:nvSpPr>
            <p:cNvPr id="20" name="TextBox 19">
              <a:extLst>
                <a:ext uri="{FF2B5EF4-FFF2-40B4-BE49-F238E27FC236}">
                  <a16:creationId xmlns:a16="http://schemas.microsoft.com/office/drawing/2014/main" id="{78EDB603-E414-268B-333F-3F7BA8176A9E}"/>
                </a:ext>
              </a:extLst>
            </p:cNvPr>
            <p:cNvSpPr txBox="1">
              <a:spLocks/>
            </p:cNvSpPr>
            <p:nvPr/>
          </p:nvSpPr>
          <p:spPr>
            <a:xfrm>
              <a:off x="6572251" y="5460789"/>
              <a:ext cx="5022850" cy="923330"/>
            </a:xfrm>
            <a:prstGeom prst="rect">
              <a:avLst/>
            </a:prstGeom>
            <a:noFill/>
          </p:spPr>
          <p:txBody>
            <a:bodyPr wrap="square" lIns="91440" tIns="45720" rIns="91440" bIns="4572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700" b="1" i="0" u="none" strike="noStrike" kern="1200" cap="none" spc="0" normalizeH="0" baseline="0" noProof="0">
                  <a:ln>
                    <a:noFill/>
                  </a:ln>
                  <a:solidFill>
                    <a:schemeClr val="bg1"/>
                  </a:solidFill>
                  <a:effectLst/>
                  <a:uLnTx/>
                  <a:uFillTx/>
                  <a:ea typeface="+mj-ea"/>
                  <a:cs typeface="+mj-cs"/>
                </a:rPr>
                <a:t>Driving progress toward sustainability goals </a:t>
              </a:r>
              <a:r>
                <a:rPr kumimoji="0" lang="en-US" sz="2700" b="1" i="0" strike="noStrike" kern="1200" cap="none" spc="0" normalizeH="0" baseline="0" noProof="0">
                  <a:ln>
                    <a:noFill/>
                  </a:ln>
                  <a:solidFill>
                    <a:schemeClr val="bg1"/>
                  </a:solidFill>
                  <a:effectLst/>
                  <a:uLnTx/>
                  <a:uFillTx/>
                  <a:ea typeface="+mj-ea"/>
                  <a:cs typeface="+mj-cs"/>
                </a:rPr>
                <a:t>and</a:t>
              </a:r>
              <a:r>
                <a:rPr kumimoji="0" lang="en-US" sz="2700" b="1" i="0" u="none" strike="noStrike" kern="1200" cap="none" spc="0" normalizeH="0" baseline="0" noProof="0">
                  <a:ln>
                    <a:noFill/>
                  </a:ln>
                  <a:solidFill>
                    <a:schemeClr val="bg1"/>
                  </a:solidFill>
                  <a:effectLst/>
                  <a:uLnTx/>
                  <a:uFillTx/>
                  <a:ea typeface="+mj-ea"/>
                  <a:cs typeface="+mj-cs"/>
                </a:rPr>
                <a:t> commercial value</a:t>
              </a:r>
            </a:p>
          </p:txBody>
        </p:sp>
        <p:grpSp>
          <p:nvGrpSpPr>
            <p:cNvPr id="144" name="Group 143">
              <a:extLst>
                <a:ext uri="{FF2B5EF4-FFF2-40B4-BE49-F238E27FC236}">
                  <a16:creationId xmlns:a16="http://schemas.microsoft.com/office/drawing/2014/main" id="{C13D529B-8EF1-1844-9657-825F9657EA64}"/>
                </a:ext>
              </a:extLst>
            </p:cNvPr>
            <p:cNvGrpSpPr/>
            <p:nvPr/>
          </p:nvGrpSpPr>
          <p:grpSpPr>
            <a:xfrm>
              <a:off x="6103837" y="5573950"/>
              <a:ext cx="271293" cy="271293"/>
              <a:chOff x="6043010" y="8131597"/>
              <a:chExt cx="3314699" cy="3314700"/>
            </a:xfrm>
          </p:grpSpPr>
          <p:pic>
            <p:nvPicPr>
              <p:cNvPr id="145" name="Picture 144">
                <a:extLst>
                  <a:ext uri="{FF2B5EF4-FFF2-40B4-BE49-F238E27FC236}">
                    <a16:creationId xmlns:a16="http://schemas.microsoft.com/office/drawing/2014/main" id="{F7779CCF-59B1-D7A7-89C1-74992572D07D}"/>
                  </a:ext>
                </a:extLst>
              </p:cNvPr>
              <p:cNvPicPr>
                <a:picLocks/>
              </p:cNvPicPr>
              <p:nvPr/>
            </p:nvPicPr>
            <p:blipFill>
              <a:blip r:embed="rId8" cstate="screen">
                <a:extLst>
                  <a:ext uri="{28A0092B-C50C-407E-A947-70E740481C1C}">
                    <a14:useLocalDpi xmlns:a14="http://schemas.microsoft.com/office/drawing/2010/main"/>
                  </a:ext>
                </a:extLst>
              </a:blip>
              <a:srcRect l="36669" t="14450" r="36669" b="14450"/>
              <a:stretch>
                <a:fillRect/>
              </a:stretch>
            </p:blipFill>
            <p:spPr>
              <a:xfrm>
                <a:off x="6043010" y="8131597"/>
                <a:ext cx="3314699" cy="3314700"/>
              </a:xfrm>
              <a:custGeom>
                <a:avLst/>
                <a:gdLst>
                  <a:gd name="connsiteX0" fmla="*/ 1657349 w 3314699"/>
                  <a:gd name="connsiteY0" fmla="*/ 0 h 3314700"/>
                  <a:gd name="connsiteX1" fmla="*/ 3314699 w 3314699"/>
                  <a:gd name="connsiteY1" fmla="*/ 1657350 h 3314700"/>
                  <a:gd name="connsiteX2" fmla="*/ 1657349 w 3314699"/>
                  <a:gd name="connsiteY2" fmla="*/ 3314700 h 3314700"/>
                  <a:gd name="connsiteX3" fmla="*/ 0 w 3314699"/>
                  <a:gd name="connsiteY3" fmla="*/ 1657350 h 3314700"/>
                  <a:gd name="connsiteX4" fmla="*/ 1657349 w 3314699"/>
                  <a:gd name="connsiteY4" fmla="*/ 0 h 3314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699" h="3314700">
                    <a:moveTo>
                      <a:pt x="1657349" y="0"/>
                    </a:moveTo>
                    <a:cubicBezTo>
                      <a:pt x="2572678" y="0"/>
                      <a:pt x="3314699" y="742021"/>
                      <a:pt x="3314699" y="1657350"/>
                    </a:cubicBezTo>
                    <a:cubicBezTo>
                      <a:pt x="3314699" y="2572679"/>
                      <a:pt x="2572678" y="3314700"/>
                      <a:pt x="1657349" y="3314700"/>
                    </a:cubicBezTo>
                    <a:cubicBezTo>
                      <a:pt x="742020" y="3314700"/>
                      <a:pt x="0" y="2572679"/>
                      <a:pt x="0" y="1657350"/>
                    </a:cubicBezTo>
                    <a:cubicBezTo>
                      <a:pt x="0" y="742021"/>
                      <a:pt x="742020" y="0"/>
                      <a:pt x="1657349" y="0"/>
                    </a:cubicBezTo>
                    <a:close/>
                  </a:path>
                </a:pathLst>
              </a:custGeom>
              <a:ln w="3175">
                <a:solidFill>
                  <a:schemeClr val="bg1"/>
                </a:solidFill>
              </a:ln>
            </p:spPr>
          </p:pic>
          <p:sp>
            <p:nvSpPr>
              <p:cNvPr id="146" name="Oval 145">
                <a:extLst>
                  <a:ext uri="{FF2B5EF4-FFF2-40B4-BE49-F238E27FC236}">
                    <a16:creationId xmlns:a16="http://schemas.microsoft.com/office/drawing/2014/main" id="{0CFCB821-9D77-595D-B3C0-7476B8DE23BC}"/>
                  </a:ext>
                </a:extLst>
              </p:cNvPr>
              <p:cNvSpPr>
                <a:spLocks/>
              </p:cNvSpPr>
              <p:nvPr/>
            </p:nvSpPr>
            <p:spPr>
              <a:xfrm>
                <a:off x="6602601" y="8691189"/>
                <a:ext cx="2195504" cy="2195505"/>
              </a:xfrm>
              <a:prstGeom prst="ellipse">
                <a:avLst/>
              </a:prstGeom>
              <a:solidFill>
                <a:schemeClr val="bg1"/>
              </a:solidFill>
              <a:ln w="3175">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a:p>
            </p:txBody>
          </p:sp>
        </p:grpSp>
      </p:grpSp>
      <p:sp>
        <p:nvSpPr>
          <p:cNvPr id="149" name="object 54">
            <a:extLst>
              <a:ext uri="{FF2B5EF4-FFF2-40B4-BE49-F238E27FC236}">
                <a16:creationId xmlns:a16="http://schemas.microsoft.com/office/drawing/2014/main" id="{CCD97C72-08C1-9182-64EA-173AB796784B}"/>
              </a:ext>
            </a:extLst>
          </p:cNvPr>
          <p:cNvSpPr/>
          <p:nvPr/>
        </p:nvSpPr>
        <p:spPr>
          <a:xfrm>
            <a:off x="787399" y="5716782"/>
            <a:ext cx="474345" cy="474345"/>
          </a:xfrm>
          <a:custGeom>
            <a:avLst/>
            <a:gdLst/>
            <a:ahLst/>
            <a:cxnLst/>
            <a:rect l="l" t="t" r="r" b="b"/>
            <a:pathLst>
              <a:path w="474345" h="474345">
                <a:moveTo>
                  <a:pt x="267887" y="0"/>
                </a:moveTo>
                <a:lnTo>
                  <a:pt x="206224" y="0"/>
                </a:lnTo>
                <a:lnTo>
                  <a:pt x="194722" y="2338"/>
                </a:lnTo>
                <a:lnTo>
                  <a:pt x="185303" y="8706"/>
                </a:lnTo>
                <a:lnTo>
                  <a:pt x="178939" y="18129"/>
                </a:lnTo>
                <a:lnTo>
                  <a:pt x="176601" y="29632"/>
                </a:lnTo>
                <a:lnTo>
                  <a:pt x="176601" y="176601"/>
                </a:lnTo>
                <a:lnTo>
                  <a:pt x="29622" y="176601"/>
                </a:lnTo>
                <a:lnTo>
                  <a:pt x="18120" y="178940"/>
                </a:lnTo>
                <a:lnTo>
                  <a:pt x="8701" y="185308"/>
                </a:lnTo>
                <a:lnTo>
                  <a:pt x="2337" y="194730"/>
                </a:lnTo>
                <a:lnTo>
                  <a:pt x="0" y="206234"/>
                </a:lnTo>
                <a:lnTo>
                  <a:pt x="0" y="267887"/>
                </a:lnTo>
                <a:lnTo>
                  <a:pt x="2337" y="279389"/>
                </a:lnTo>
                <a:lnTo>
                  <a:pt x="8701" y="288807"/>
                </a:lnTo>
                <a:lnTo>
                  <a:pt x="18120" y="295171"/>
                </a:lnTo>
                <a:lnTo>
                  <a:pt x="29622" y="297509"/>
                </a:lnTo>
                <a:lnTo>
                  <a:pt x="176601" y="297509"/>
                </a:lnTo>
                <a:lnTo>
                  <a:pt x="176601" y="444489"/>
                </a:lnTo>
                <a:lnTo>
                  <a:pt x="178939" y="455991"/>
                </a:lnTo>
                <a:lnTo>
                  <a:pt x="185303" y="465409"/>
                </a:lnTo>
                <a:lnTo>
                  <a:pt x="194722" y="471773"/>
                </a:lnTo>
                <a:lnTo>
                  <a:pt x="206224" y="474111"/>
                </a:lnTo>
                <a:lnTo>
                  <a:pt x="267887" y="474111"/>
                </a:lnTo>
                <a:lnTo>
                  <a:pt x="279389" y="471773"/>
                </a:lnTo>
                <a:lnTo>
                  <a:pt x="288807" y="465409"/>
                </a:lnTo>
                <a:lnTo>
                  <a:pt x="295171" y="455991"/>
                </a:lnTo>
                <a:lnTo>
                  <a:pt x="297509" y="444489"/>
                </a:lnTo>
                <a:lnTo>
                  <a:pt x="297509" y="297509"/>
                </a:lnTo>
                <a:lnTo>
                  <a:pt x="444489" y="297509"/>
                </a:lnTo>
                <a:lnTo>
                  <a:pt x="455991" y="295171"/>
                </a:lnTo>
                <a:lnTo>
                  <a:pt x="465409" y="288807"/>
                </a:lnTo>
                <a:lnTo>
                  <a:pt x="471773" y="279389"/>
                </a:lnTo>
                <a:lnTo>
                  <a:pt x="474111" y="267887"/>
                </a:lnTo>
                <a:lnTo>
                  <a:pt x="474111" y="206234"/>
                </a:lnTo>
                <a:lnTo>
                  <a:pt x="471773" y="194730"/>
                </a:lnTo>
                <a:lnTo>
                  <a:pt x="465409" y="185308"/>
                </a:lnTo>
                <a:lnTo>
                  <a:pt x="455991" y="178940"/>
                </a:lnTo>
                <a:lnTo>
                  <a:pt x="444489" y="176601"/>
                </a:lnTo>
                <a:lnTo>
                  <a:pt x="297509" y="176601"/>
                </a:lnTo>
                <a:lnTo>
                  <a:pt x="297509" y="29632"/>
                </a:lnTo>
                <a:lnTo>
                  <a:pt x="295171" y="18129"/>
                </a:lnTo>
                <a:lnTo>
                  <a:pt x="288807" y="8706"/>
                </a:lnTo>
                <a:lnTo>
                  <a:pt x="279389" y="2338"/>
                </a:lnTo>
                <a:lnTo>
                  <a:pt x="267887" y="0"/>
                </a:lnTo>
                <a:close/>
              </a:path>
            </a:pathLst>
          </a:custGeom>
          <a:solidFill>
            <a:srgbClr val="FFC629"/>
          </a:solidFill>
        </p:spPr>
        <p:txBody>
          <a:bodyPr wrap="square" lIns="0" tIns="0" rIns="0" bIns="0" rtlCol="0"/>
          <a:lstStyle/>
          <a:p>
            <a:endParaRPr/>
          </a:p>
        </p:txBody>
      </p:sp>
      <p:sp>
        <p:nvSpPr>
          <p:cNvPr id="150" name="object 56">
            <a:extLst>
              <a:ext uri="{FF2B5EF4-FFF2-40B4-BE49-F238E27FC236}">
                <a16:creationId xmlns:a16="http://schemas.microsoft.com/office/drawing/2014/main" id="{EAA13ABF-B9A3-5324-CB30-D121145188B9}"/>
              </a:ext>
            </a:extLst>
          </p:cNvPr>
          <p:cNvSpPr/>
          <p:nvPr/>
        </p:nvSpPr>
        <p:spPr>
          <a:xfrm>
            <a:off x="1263318" y="5423749"/>
            <a:ext cx="290830" cy="290830"/>
          </a:xfrm>
          <a:custGeom>
            <a:avLst/>
            <a:gdLst/>
            <a:ahLst/>
            <a:cxnLst/>
            <a:rect l="l" t="t" r="r" b="b"/>
            <a:pathLst>
              <a:path w="290830" h="290829">
                <a:moveTo>
                  <a:pt x="164152" y="0"/>
                </a:moveTo>
                <a:lnTo>
                  <a:pt x="126373" y="0"/>
                </a:lnTo>
                <a:lnTo>
                  <a:pt x="119321" y="1433"/>
                </a:lnTo>
                <a:lnTo>
                  <a:pt x="113548" y="5336"/>
                </a:lnTo>
                <a:lnTo>
                  <a:pt x="109648" y="11109"/>
                </a:lnTo>
                <a:lnTo>
                  <a:pt x="108216" y="18156"/>
                </a:lnTo>
                <a:lnTo>
                  <a:pt x="108216" y="108216"/>
                </a:lnTo>
                <a:lnTo>
                  <a:pt x="18156" y="108216"/>
                </a:lnTo>
                <a:lnTo>
                  <a:pt x="11105" y="109650"/>
                </a:lnTo>
                <a:lnTo>
                  <a:pt x="5332" y="113552"/>
                </a:lnTo>
                <a:lnTo>
                  <a:pt x="1432" y="119326"/>
                </a:lnTo>
                <a:lnTo>
                  <a:pt x="0" y="126373"/>
                </a:lnTo>
                <a:lnTo>
                  <a:pt x="0" y="164152"/>
                </a:lnTo>
                <a:lnTo>
                  <a:pt x="1432" y="171198"/>
                </a:lnTo>
                <a:lnTo>
                  <a:pt x="5332" y="176972"/>
                </a:lnTo>
                <a:lnTo>
                  <a:pt x="11105" y="180874"/>
                </a:lnTo>
                <a:lnTo>
                  <a:pt x="18156" y="182308"/>
                </a:lnTo>
                <a:lnTo>
                  <a:pt x="108216" y="182308"/>
                </a:lnTo>
                <a:lnTo>
                  <a:pt x="108216" y="272368"/>
                </a:lnTo>
                <a:lnTo>
                  <a:pt x="109648" y="279419"/>
                </a:lnTo>
                <a:lnTo>
                  <a:pt x="113548" y="285192"/>
                </a:lnTo>
                <a:lnTo>
                  <a:pt x="119321" y="289092"/>
                </a:lnTo>
                <a:lnTo>
                  <a:pt x="126373" y="290525"/>
                </a:lnTo>
                <a:lnTo>
                  <a:pt x="164152" y="290525"/>
                </a:lnTo>
                <a:lnTo>
                  <a:pt x="171203" y="289092"/>
                </a:lnTo>
                <a:lnTo>
                  <a:pt x="176976" y="285192"/>
                </a:lnTo>
                <a:lnTo>
                  <a:pt x="180876" y="279419"/>
                </a:lnTo>
                <a:lnTo>
                  <a:pt x="182308" y="272368"/>
                </a:lnTo>
                <a:lnTo>
                  <a:pt x="182308" y="182308"/>
                </a:lnTo>
                <a:lnTo>
                  <a:pt x="272368" y="182308"/>
                </a:lnTo>
                <a:lnTo>
                  <a:pt x="279419" y="180874"/>
                </a:lnTo>
                <a:lnTo>
                  <a:pt x="285192" y="176972"/>
                </a:lnTo>
                <a:lnTo>
                  <a:pt x="289092" y="171198"/>
                </a:lnTo>
                <a:lnTo>
                  <a:pt x="290525" y="164152"/>
                </a:lnTo>
                <a:lnTo>
                  <a:pt x="290525" y="126373"/>
                </a:lnTo>
                <a:lnTo>
                  <a:pt x="289092" y="119326"/>
                </a:lnTo>
                <a:lnTo>
                  <a:pt x="285192" y="113552"/>
                </a:lnTo>
                <a:lnTo>
                  <a:pt x="279419" y="109650"/>
                </a:lnTo>
                <a:lnTo>
                  <a:pt x="272368" y="108216"/>
                </a:lnTo>
                <a:lnTo>
                  <a:pt x="182308" y="108216"/>
                </a:lnTo>
                <a:lnTo>
                  <a:pt x="182308" y="18156"/>
                </a:lnTo>
                <a:lnTo>
                  <a:pt x="180876" y="11109"/>
                </a:lnTo>
                <a:lnTo>
                  <a:pt x="176976" y="5336"/>
                </a:lnTo>
                <a:lnTo>
                  <a:pt x="171203" y="1433"/>
                </a:lnTo>
                <a:lnTo>
                  <a:pt x="164152" y="0"/>
                </a:lnTo>
                <a:close/>
              </a:path>
            </a:pathLst>
          </a:custGeom>
          <a:solidFill>
            <a:srgbClr val="4FD9EA"/>
          </a:solidFill>
        </p:spPr>
        <p:txBody>
          <a:bodyPr wrap="square" lIns="0" tIns="0" rIns="0" bIns="0" rtlCol="0"/>
          <a:lstStyle/>
          <a:p>
            <a:endParaRPr/>
          </a:p>
        </p:txBody>
      </p:sp>
      <p:sp>
        <p:nvSpPr>
          <p:cNvPr id="151" name="object 31">
            <a:extLst>
              <a:ext uri="{FF2B5EF4-FFF2-40B4-BE49-F238E27FC236}">
                <a16:creationId xmlns:a16="http://schemas.microsoft.com/office/drawing/2014/main" id="{852225A8-5C58-5C05-AAC6-FF533E80C300}"/>
              </a:ext>
            </a:extLst>
          </p:cNvPr>
          <p:cNvSpPr/>
          <p:nvPr/>
        </p:nvSpPr>
        <p:spPr>
          <a:xfrm>
            <a:off x="5080744" y="181051"/>
            <a:ext cx="445770" cy="514350"/>
          </a:xfrm>
          <a:custGeom>
            <a:avLst/>
            <a:gdLst/>
            <a:ahLst/>
            <a:cxnLst/>
            <a:rect l="l" t="t" r="r" b="b"/>
            <a:pathLst>
              <a:path w="445769" h="514350">
                <a:moveTo>
                  <a:pt x="20650" y="235432"/>
                </a:moveTo>
                <a:lnTo>
                  <a:pt x="20002" y="234696"/>
                </a:lnTo>
                <a:lnTo>
                  <a:pt x="19519" y="234950"/>
                </a:lnTo>
                <a:lnTo>
                  <a:pt x="20650" y="235432"/>
                </a:lnTo>
                <a:close/>
              </a:path>
              <a:path w="445769" h="514350">
                <a:moveTo>
                  <a:pt x="24422" y="232410"/>
                </a:moveTo>
                <a:lnTo>
                  <a:pt x="19697" y="231140"/>
                </a:lnTo>
                <a:lnTo>
                  <a:pt x="18821" y="232410"/>
                </a:lnTo>
                <a:lnTo>
                  <a:pt x="17970" y="232410"/>
                </a:lnTo>
                <a:lnTo>
                  <a:pt x="20002" y="234696"/>
                </a:lnTo>
                <a:lnTo>
                  <a:pt x="24422" y="232410"/>
                </a:lnTo>
                <a:close/>
              </a:path>
              <a:path w="445769" h="514350">
                <a:moveTo>
                  <a:pt x="57772" y="282422"/>
                </a:moveTo>
                <a:lnTo>
                  <a:pt x="57734" y="281546"/>
                </a:lnTo>
                <a:lnTo>
                  <a:pt x="57543" y="281000"/>
                </a:lnTo>
                <a:lnTo>
                  <a:pt x="57543" y="280187"/>
                </a:lnTo>
                <a:lnTo>
                  <a:pt x="56629" y="280492"/>
                </a:lnTo>
                <a:lnTo>
                  <a:pt x="55765" y="280758"/>
                </a:lnTo>
                <a:lnTo>
                  <a:pt x="55003" y="281317"/>
                </a:lnTo>
                <a:lnTo>
                  <a:pt x="55308" y="282333"/>
                </a:lnTo>
                <a:lnTo>
                  <a:pt x="55460" y="282790"/>
                </a:lnTo>
                <a:lnTo>
                  <a:pt x="56159" y="283387"/>
                </a:lnTo>
                <a:lnTo>
                  <a:pt x="57721" y="283387"/>
                </a:lnTo>
                <a:lnTo>
                  <a:pt x="57772" y="282422"/>
                </a:lnTo>
                <a:close/>
              </a:path>
              <a:path w="445769" h="514350">
                <a:moveTo>
                  <a:pt x="226923" y="324650"/>
                </a:moveTo>
                <a:lnTo>
                  <a:pt x="226809" y="324027"/>
                </a:lnTo>
                <a:lnTo>
                  <a:pt x="225425" y="324662"/>
                </a:lnTo>
                <a:lnTo>
                  <a:pt x="226923" y="324650"/>
                </a:lnTo>
                <a:close/>
              </a:path>
              <a:path w="445769" h="514350">
                <a:moveTo>
                  <a:pt x="230339" y="324637"/>
                </a:moveTo>
                <a:lnTo>
                  <a:pt x="226923" y="324650"/>
                </a:lnTo>
                <a:lnTo>
                  <a:pt x="227647" y="328510"/>
                </a:lnTo>
                <a:lnTo>
                  <a:pt x="230339" y="324637"/>
                </a:lnTo>
                <a:close/>
              </a:path>
              <a:path w="445769" h="514350">
                <a:moveTo>
                  <a:pt x="445731" y="238760"/>
                </a:moveTo>
                <a:lnTo>
                  <a:pt x="443598" y="237490"/>
                </a:lnTo>
                <a:lnTo>
                  <a:pt x="438404" y="233680"/>
                </a:lnTo>
                <a:lnTo>
                  <a:pt x="439064" y="229870"/>
                </a:lnTo>
                <a:lnTo>
                  <a:pt x="442887" y="228600"/>
                </a:lnTo>
                <a:lnTo>
                  <a:pt x="442036" y="223520"/>
                </a:lnTo>
                <a:lnTo>
                  <a:pt x="436664" y="228600"/>
                </a:lnTo>
                <a:lnTo>
                  <a:pt x="436092" y="227330"/>
                </a:lnTo>
                <a:lnTo>
                  <a:pt x="435521" y="226060"/>
                </a:lnTo>
                <a:lnTo>
                  <a:pt x="433247" y="220980"/>
                </a:lnTo>
                <a:lnTo>
                  <a:pt x="431292" y="222250"/>
                </a:lnTo>
                <a:lnTo>
                  <a:pt x="427990" y="223520"/>
                </a:lnTo>
                <a:lnTo>
                  <a:pt x="417233" y="226060"/>
                </a:lnTo>
                <a:lnTo>
                  <a:pt x="411772" y="226060"/>
                </a:lnTo>
                <a:lnTo>
                  <a:pt x="406285" y="223520"/>
                </a:lnTo>
                <a:lnTo>
                  <a:pt x="404266" y="223520"/>
                </a:lnTo>
                <a:lnTo>
                  <a:pt x="401434" y="227330"/>
                </a:lnTo>
                <a:lnTo>
                  <a:pt x="399376" y="227330"/>
                </a:lnTo>
                <a:lnTo>
                  <a:pt x="393547" y="223520"/>
                </a:lnTo>
                <a:lnTo>
                  <a:pt x="389839" y="222250"/>
                </a:lnTo>
                <a:lnTo>
                  <a:pt x="386524" y="220980"/>
                </a:lnTo>
                <a:lnTo>
                  <a:pt x="384784" y="227330"/>
                </a:lnTo>
                <a:lnTo>
                  <a:pt x="382638" y="223520"/>
                </a:lnTo>
                <a:lnTo>
                  <a:pt x="381000" y="222250"/>
                </a:lnTo>
                <a:lnTo>
                  <a:pt x="377710" y="219710"/>
                </a:lnTo>
                <a:lnTo>
                  <a:pt x="374713" y="219710"/>
                </a:lnTo>
                <a:lnTo>
                  <a:pt x="373126" y="220256"/>
                </a:lnTo>
                <a:lnTo>
                  <a:pt x="373126" y="274320"/>
                </a:lnTo>
                <a:lnTo>
                  <a:pt x="372935" y="274320"/>
                </a:lnTo>
                <a:lnTo>
                  <a:pt x="371436" y="275590"/>
                </a:lnTo>
                <a:lnTo>
                  <a:pt x="370027" y="274320"/>
                </a:lnTo>
                <a:lnTo>
                  <a:pt x="368350" y="274320"/>
                </a:lnTo>
                <a:lnTo>
                  <a:pt x="368985" y="273773"/>
                </a:lnTo>
                <a:lnTo>
                  <a:pt x="370027" y="274243"/>
                </a:lnTo>
                <a:lnTo>
                  <a:pt x="371436" y="275247"/>
                </a:lnTo>
                <a:lnTo>
                  <a:pt x="372999" y="273862"/>
                </a:lnTo>
                <a:lnTo>
                  <a:pt x="373126" y="274320"/>
                </a:lnTo>
                <a:lnTo>
                  <a:pt x="373126" y="220256"/>
                </a:lnTo>
                <a:lnTo>
                  <a:pt x="367284" y="222250"/>
                </a:lnTo>
                <a:lnTo>
                  <a:pt x="363816" y="220980"/>
                </a:lnTo>
                <a:lnTo>
                  <a:pt x="363867" y="212090"/>
                </a:lnTo>
                <a:lnTo>
                  <a:pt x="362000" y="210820"/>
                </a:lnTo>
                <a:lnTo>
                  <a:pt x="359892" y="209550"/>
                </a:lnTo>
                <a:lnTo>
                  <a:pt x="354215" y="205740"/>
                </a:lnTo>
                <a:lnTo>
                  <a:pt x="351586" y="203212"/>
                </a:lnTo>
                <a:lnTo>
                  <a:pt x="351586" y="280746"/>
                </a:lnTo>
                <a:lnTo>
                  <a:pt x="351472" y="280492"/>
                </a:lnTo>
                <a:lnTo>
                  <a:pt x="351586" y="280746"/>
                </a:lnTo>
                <a:lnTo>
                  <a:pt x="351586" y="203212"/>
                </a:lnTo>
                <a:lnTo>
                  <a:pt x="350278" y="201955"/>
                </a:lnTo>
                <a:lnTo>
                  <a:pt x="350278" y="279857"/>
                </a:lnTo>
                <a:lnTo>
                  <a:pt x="349542" y="279768"/>
                </a:lnTo>
                <a:lnTo>
                  <a:pt x="349732" y="279781"/>
                </a:lnTo>
                <a:lnTo>
                  <a:pt x="349999" y="279806"/>
                </a:lnTo>
                <a:lnTo>
                  <a:pt x="350189" y="279844"/>
                </a:lnTo>
                <a:lnTo>
                  <a:pt x="350278" y="201955"/>
                </a:lnTo>
                <a:lnTo>
                  <a:pt x="349986" y="201676"/>
                </a:lnTo>
                <a:lnTo>
                  <a:pt x="349986" y="278841"/>
                </a:lnTo>
                <a:lnTo>
                  <a:pt x="349567" y="279095"/>
                </a:lnTo>
                <a:lnTo>
                  <a:pt x="349567" y="279717"/>
                </a:lnTo>
                <a:lnTo>
                  <a:pt x="349262" y="279730"/>
                </a:lnTo>
                <a:lnTo>
                  <a:pt x="348792" y="279704"/>
                </a:lnTo>
                <a:lnTo>
                  <a:pt x="348983" y="279704"/>
                </a:lnTo>
                <a:lnTo>
                  <a:pt x="349173" y="279717"/>
                </a:lnTo>
                <a:lnTo>
                  <a:pt x="349567" y="279717"/>
                </a:lnTo>
                <a:lnTo>
                  <a:pt x="349567" y="279095"/>
                </a:lnTo>
                <a:lnTo>
                  <a:pt x="349338" y="279222"/>
                </a:lnTo>
                <a:lnTo>
                  <a:pt x="349986" y="278841"/>
                </a:lnTo>
                <a:lnTo>
                  <a:pt x="349986" y="201676"/>
                </a:lnTo>
                <a:lnTo>
                  <a:pt x="348932" y="200660"/>
                </a:lnTo>
                <a:lnTo>
                  <a:pt x="343192" y="198120"/>
                </a:lnTo>
                <a:lnTo>
                  <a:pt x="329463" y="194310"/>
                </a:lnTo>
                <a:lnTo>
                  <a:pt x="323684" y="190500"/>
                </a:lnTo>
                <a:lnTo>
                  <a:pt x="312839" y="182880"/>
                </a:lnTo>
                <a:lnTo>
                  <a:pt x="308546" y="180340"/>
                </a:lnTo>
                <a:lnTo>
                  <a:pt x="306895" y="179666"/>
                </a:lnTo>
                <a:lnTo>
                  <a:pt x="306895" y="251421"/>
                </a:lnTo>
                <a:lnTo>
                  <a:pt x="305955" y="254000"/>
                </a:lnTo>
                <a:lnTo>
                  <a:pt x="303834" y="254000"/>
                </a:lnTo>
                <a:lnTo>
                  <a:pt x="302945" y="251460"/>
                </a:lnTo>
                <a:lnTo>
                  <a:pt x="303314" y="251460"/>
                </a:lnTo>
                <a:lnTo>
                  <a:pt x="303834" y="253111"/>
                </a:lnTo>
                <a:lnTo>
                  <a:pt x="305955" y="252780"/>
                </a:lnTo>
                <a:lnTo>
                  <a:pt x="306895" y="251421"/>
                </a:lnTo>
                <a:lnTo>
                  <a:pt x="306895" y="179666"/>
                </a:lnTo>
                <a:lnTo>
                  <a:pt x="302336" y="177800"/>
                </a:lnTo>
                <a:lnTo>
                  <a:pt x="302272" y="177609"/>
                </a:lnTo>
                <a:lnTo>
                  <a:pt x="302272" y="250190"/>
                </a:lnTo>
                <a:lnTo>
                  <a:pt x="295732" y="252730"/>
                </a:lnTo>
                <a:lnTo>
                  <a:pt x="292201" y="257810"/>
                </a:lnTo>
                <a:lnTo>
                  <a:pt x="285216" y="264160"/>
                </a:lnTo>
                <a:lnTo>
                  <a:pt x="283298" y="265430"/>
                </a:lnTo>
                <a:lnTo>
                  <a:pt x="282867" y="269240"/>
                </a:lnTo>
                <a:lnTo>
                  <a:pt x="282041" y="270510"/>
                </a:lnTo>
                <a:lnTo>
                  <a:pt x="281520" y="270510"/>
                </a:lnTo>
                <a:lnTo>
                  <a:pt x="274294" y="273050"/>
                </a:lnTo>
                <a:lnTo>
                  <a:pt x="268490" y="278130"/>
                </a:lnTo>
                <a:lnTo>
                  <a:pt x="262940" y="283210"/>
                </a:lnTo>
                <a:lnTo>
                  <a:pt x="256489" y="287020"/>
                </a:lnTo>
                <a:lnTo>
                  <a:pt x="254812" y="287020"/>
                </a:lnTo>
                <a:lnTo>
                  <a:pt x="251637" y="294640"/>
                </a:lnTo>
                <a:lnTo>
                  <a:pt x="251460" y="296722"/>
                </a:lnTo>
                <a:lnTo>
                  <a:pt x="251333" y="298450"/>
                </a:lnTo>
                <a:lnTo>
                  <a:pt x="246621" y="298450"/>
                </a:lnTo>
                <a:lnTo>
                  <a:pt x="246989" y="297916"/>
                </a:lnTo>
                <a:lnTo>
                  <a:pt x="246087" y="297916"/>
                </a:lnTo>
                <a:lnTo>
                  <a:pt x="246113" y="298450"/>
                </a:lnTo>
                <a:lnTo>
                  <a:pt x="246113" y="299199"/>
                </a:lnTo>
                <a:lnTo>
                  <a:pt x="245287" y="300418"/>
                </a:lnTo>
                <a:lnTo>
                  <a:pt x="240538" y="304825"/>
                </a:lnTo>
                <a:lnTo>
                  <a:pt x="240360" y="304825"/>
                </a:lnTo>
                <a:lnTo>
                  <a:pt x="240487" y="304888"/>
                </a:lnTo>
                <a:lnTo>
                  <a:pt x="246443" y="305765"/>
                </a:lnTo>
                <a:lnTo>
                  <a:pt x="246468" y="306070"/>
                </a:lnTo>
                <a:lnTo>
                  <a:pt x="241604" y="306070"/>
                </a:lnTo>
                <a:lnTo>
                  <a:pt x="240449" y="304914"/>
                </a:lnTo>
                <a:lnTo>
                  <a:pt x="238607" y="306616"/>
                </a:lnTo>
                <a:lnTo>
                  <a:pt x="236613" y="308216"/>
                </a:lnTo>
                <a:lnTo>
                  <a:pt x="236004" y="308584"/>
                </a:lnTo>
                <a:lnTo>
                  <a:pt x="243243" y="309778"/>
                </a:lnTo>
                <a:lnTo>
                  <a:pt x="243547" y="309143"/>
                </a:lnTo>
                <a:lnTo>
                  <a:pt x="243751" y="308889"/>
                </a:lnTo>
                <a:lnTo>
                  <a:pt x="243852" y="309880"/>
                </a:lnTo>
                <a:lnTo>
                  <a:pt x="243243" y="309880"/>
                </a:lnTo>
                <a:lnTo>
                  <a:pt x="242697" y="309803"/>
                </a:lnTo>
                <a:lnTo>
                  <a:pt x="242697" y="379895"/>
                </a:lnTo>
                <a:lnTo>
                  <a:pt x="241947" y="379056"/>
                </a:lnTo>
                <a:lnTo>
                  <a:pt x="242697" y="379895"/>
                </a:lnTo>
                <a:lnTo>
                  <a:pt x="242697" y="309803"/>
                </a:lnTo>
                <a:lnTo>
                  <a:pt x="235724" y="308762"/>
                </a:lnTo>
                <a:lnTo>
                  <a:pt x="236004" y="308584"/>
                </a:lnTo>
                <a:lnTo>
                  <a:pt x="234784" y="308381"/>
                </a:lnTo>
                <a:lnTo>
                  <a:pt x="231825" y="310972"/>
                </a:lnTo>
                <a:lnTo>
                  <a:pt x="231838" y="311137"/>
                </a:lnTo>
                <a:lnTo>
                  <a:pt x="231978" y="312229"/>
                </a:lnTo>
                <a:lnTo>
                  <a:pt x="230479" y="318516"/>
                </a:lnTo>
                <a:lnTo>
                  <a:pt x="231825" y="323367"/>
                </a:lnTo>
                <a:lnTo>
                  <a:pt x="233540" y="323151"/>
                </a:lnTo>
                <a:lnTo>
                  <a:pt x="233641" y="323850"/>
                </a:lnTo>
                <a:lnTo>
                  <a:pt x="232321" y="323850"/>
                </a:lnTo>
                <a:lnTo>
                  <a:pt x="232321" y="496277"/>
                </a:lnTo>
                <a:lnTo>
                  <a:pt x="231267" y="499719"/>
                </a:lnTo>
                <a:lnTo>
                  <a:pt x="230251" y="500418"/>
                </a:lnTo>
                <a:lnTo>
                  <a:pt x="228396" y="498970"/>
                </a:lnTo>
                <a:lnTo>
                  <a:pt x="227368" y="497230"/>
                </a:lnTo>
                <a:lnTo>
                  <a:pt x="227799" y="494614"/>
                </a:lnTo>
                <a:lnTo>
                  <a:pt x="228549" y="496404"/>
                </a:lnTo>
                <a:lnTo>
                  <a:pt x="232321" y="496277"/>
                </a:lnTo>
                <a:lnTo>
                  <a:pt x="232321" y="323850"/>
                </a:lnTo>
                <a:lnTo>
                  <a:pt x="231952" y="323850"/>
                </a:lnTo>
                <a:lnTo>
                  <a:pt x="231825" y="323367"/>
                </a:lnTo>
                <a:lnTo>
                  <a:pt x="231152" y="323456"/>
                </a:lnTo>
                <a:lnTo>
                  <a:pt x="230339" y="324637"/>
                </a:lnTo>
                <a:lnTo>
                  <a:pt x="230606" y="324637"/>
                </a:lnTo>
                <a:lnTo>
                  <a:pt x="227647" y="328930"/>
                </a:lnTo>
                <a:lnTo>
                  <a:pt x="226796" y="325120"/>
                </a:lnTo>
                <a:lnTo>
                  <a:pt x="224751" y="325120"/>
                </a:lnTo>
                <a:lnTo>
                  <a:pt x="224701" y="324980"/>
                </a:lnTo>
                <a:lnTo>
                  <a:pt x="225425" y="324662"/>
                </a:lnTo>
                <a:lnTo>
                  <a:pt x="224561" y="324662"/>
                </a:lnTo>
                <a:lnTo>
                  <a:pt x="224078" y="324662"/>
                </a:lnTo>
                <a:lnTo>
                  <a:pt x="223596" y="325755"/>
                </a:lnTo>
                <a:lnTo>
                  <a:pt x="224574" y="332600"/>
                </a:lnTo>
                <a:lnTo>
                  <a:pt x="219392" y="336918"/>
                </a:lnTo>
                <a:lnTo>
                  <a:pt x="218770" y="342671"/>
                </a:lnTo>
                <a:lnTo>
                  <a:pt x="218617" y="343027"/>
                </a:lnTo>
                <a:lnTo>
                  <a:pt x="219024" y="343242"/>
                </a:lnTo>
                <a:lnTo>
                  <a:pt x="219227" y="343484"/>
                </a:lnTo>
                <a:lnTo>
                  <a:pt x="222872" y="337769"/>
                </a:lnTo>
                <a:lnTo>
                  <a:pt x="227342" y="332473"/>
                </a:lnTo>
                <a:lnTo>
                  <a:pt x="227444" y="332740"/>
                </a:lnTo>
                <a:lnTo>
                  <a:pt x="222872" y="337820"/>
                </a:lnTo>
                <a:lnTo>
                  <a:pt x="222796" y="337959"/>
                </a:lnTo>
                <a:lnTo>
                  <a:pt x="222796" y="346710"/>
                </a:lnTo>
                <a:lnTo>
                  <a:pt x="221246" y="349250"/>
                </a:lnTo>
                <a:lnTo>
                  <a:pt x="220230" y="348627"/>
                </a:lnTo>
                <a:lnTo>
                  <a:pt x="220230" y="351790"/>
                </a:lnTo>
                <a:lnTo>
                  <a:pt x="219087" y="353466"/>
                </a:lnTo>
                <a:lnTo>
                  <a:pt x="219087" y="355168"/>
                </a:lnTo>
                <a:lnTo>
                  <a:pt x="218808" y="355473"/>
                </a:lnTo>
                <a:lnTo>
                  <a:pt x="219075" y="355168"/>
                </a:lnTo>
                <a:lnTo>
                  <a:pt x="219087" y="353466"/>
                </a:lnTo>
                <a:lnTo>
                  <a:pt x="218795" y="353898"/>
                </a:lnTo>
                <a:lnTo>
                  <a:pt x="218795" y="354761"/>
                </a:lnTo>
                <a:lnTo>
                  <a:pt x="218376" y="354774"/>
                </a:lnTo>
                <a:lnTo>
                  <a:pt x="218795" y="354761"/>
                </a:lnTo>
                <a:lnTo>
                  <a:pt x="218795" y="353898"/>
                </a:lnTo>
                <a:lnTo>
                  <a:pt x="218643" y="354114"/>
                </a:lnTo>
                <a:lnTo>
                  <a:pt x="218503" y="353987"/>
                </a:lnTo>
                <a:lnTo>
                  <a:pt x="219849" y="351967"/>
                </a:lnTo>
                <a:lnTo>
                  <a:pt x="220230" y="351790"/>
                </a:lnTo>
                <a:lnTo>
                  <a:pt x="220230" y="348627"/>
                </a:lnTo>
                <a:lnTo>
                  <a:pt x="219202" y="347980"/>
                </a:lnTo>
                <a:lnTo>
                  <a:pt x="219202" y="347611"/>
                </a:lnTo>
                <a:lnTo>
                  <a:pt x="221246" y="348818"/>
                </a:lnTo>
                <a:lnTo>
                  <a:pt x="222580" y="346557"/>
                </a:lnTo>
                <a:lnTo>
                  <a:pt x="222796" y="346710"/>
                </a:lnTo>
                <a:lnTo>
                  <a:pt x="222796" y="337959"/>
                </a:lnTo>
                <a:lnTo>
                  <a:pt x="219430" y="343814"/>
                </a:lnTo>
                <a:lnTo>
                  <a:pt x="219341" y="343636"/>
                </a:lnTo>
                <a:lnTo>
                  <a:pt x="219227" y="343496"/>
                </a:lnTo>
                <a:lnTo>
                  <a:pt x="219087" y="343636"/>
                </a:lnTo>
                <a:lnTo>
                  <a:pt x="219100" y="343801"/>
                </a:lnTo>
                <a:lnTo>
                  <a:pt x="219151" y="343941"/>
                </a:lnTo>
                <a:lnTo>
                  <a:pt x="219125" y="344144"/>
                </a:lnTo>
                <a:lnTo>
                  <a:pt x="219214" y="343979"/>
                </a:lnTo>
                <a:lnTo>
                  <a:pt x="219227" y="344157"/>
                </a:lnTo>
                <a:lnTo>
                  <a:pt x="219036" y="344170"/>
                </a:lnTo>
                <a:lnTo>
                  <a:pt x="218147" y="345122"/>
                </a:lnTo>
                <a:lnTo>
                  <a:pt x="218147" y="352742"/>
                </a:lnTo>
                <a:lnTo>
                  <a:pt x="218147" y="353910"/>
                </a:lnTo>
                <a:lnTo>
                  <a:pt x="218109" y="353263"/>
                </a:lnTo>
                <a:lnTo>
                  <a:pt x="218084" y="353110"/>
                </a:lnTo>
                <a:lnTo>
                  <a:pt x="218122" y="352755"/>
                </a:lnTo>
                <a:lnTo>
                  <a:pt x="218147" y="345122"/>
                </a:lnTo>
                <a:lnTo>
                  <a:pt x="217843" y="345440"/>
                </a:lnTo>
                <a:lnTo>
                  <a:pt x="217627" y="345440"/>
                </a:lnTo>
                <a:lnTo>
                  <a:pt x="217627" y="356222"/>
                </a:lnTo>
                <a:lnTo>
                  <a:pt x="215633" y="354164"/>
                </a:lnTo>
                <a:lnTo>
                  <a:pt x="217538" y="353212"/>
                </a:lnTo>
                <a:lnTo>
                  <a:pt x="215646" y="354164"/>
                </a:lnTo>
                <a:lnTo>
                  <a:pt x="216865" y="355422"/>
                </a:lnTo>
                <a:lnTo>
                  <a:pt x="217627" y="356222"/>
                </a:lnTo>
                <a:lnTo>
                  <a:pt x="217627" y="345440"/>
                </a:lnTo>
                <a:lnTo>
                  <a:pt x="216446" y="345440"/>
                </a:lnTo>
                <a:lnTo>
                  <a:pt x="216446" y="352196"/>
                </a:lnTo>
                <a:lnTo>
                  <a:pt x="216446" y="345440"/>
                </a:lnTo>
                <a:lnTo>
                  <a:pt x="215036" y="345440"/>
                </a:lnTo>
                <a:lnTo>
                  <a:pt x="214947" y="347980"/>
                </a:lnTo>
                <a:lnTo>
                  <a:pt x="214553" y="350329"/>
                </a:lnTo>
                <a:lnTo>
                  <a:pt x="214947" y="347522"/>
                </a:lnTo>
                <a:lnTo>
                  <a:pt x="215023" y="344563"/>
                </a:lnTo>
                <a:lnTo>
                  <a:pt x="214972" y="343433"/>
                </a:lnTo>
                <a:lnTo>
                  <a:pt x="214998" y="343154"/>
                </a:lnTo>
                <a:lnTo>
                  <a:pt x="215023" y="344563"/>
                </a:lnTo>
                <a:lnTo>
                  <a:pt x="215023" y="344766"/>
                </a:lnTo>
                <a:lnTo>
                  <a:pt x="216636" y="345313"/>
                </a:lnTo>
                <a:lnTo>
                  <a:pt x="217843" y="344500"/>
                </a:lnTo>
                <a:lnTo>
                  <a:pt x="219036" y="343662"/>
                </a:lnTo>
                <a:lnTo>
                  <a:pt x="218960" y="343446"/>
                </a:lnTo>
                <a:lnTo>
                  <a:pt x="218795" y="343268"/>
                </a:lnTo>
                <a:lnTo>
                  <a:pt x="218503" y="343217"/>
                </a:lnTo>
                <a:lnTo>
                  <a:pt x="217360" y="343166"/>
                </a:lnTo>
                <a:lnTo>
                  <a:pt x="216408" y="343535"/>
                </a:lnTo>
                <a:lnTo>
                  <a:pt x="215544" y="344131"/>
                </a:lnTo>
                <a:lnTo>
                  <a:pt x="216065" y="343230"/>
                </a:lnTo>
                <a:lnTo>
                  <a:pt x="216293" y="342176"/>
                </a:lnTo>
                <a:lnTo>
                  <a:pt x="209677" y="337629"/>
                </a:lnTo>
                <a:lnTo>
                  <a:pt x="212394" y="328015"/>
                </a:lnTo>
                <a:lnTo>
                  <a:pt x="211340" y="327583"/>
                </a:lnTo>
                <a:lnTo>
                  <a:pt x="207987" y="326224"/>
                </a:lnTo>
                <a:lnTo>
                  <a:pt x="207987" y="329552"/>
                </a:lnTo>
                <a:lnTo>
                  <a:pt x="207886" y="328650"/>
                </a:lnTo>
                <a:lnTo>
                  <a:pt x="207937" y="328828"/>
                </a:lnTo>
                <a:lnTo>
                  <a:pt x="207987" y="329552"/>
                </a:lnTo>
                <a:lnTo>
                  <a:pt x="207987" y="326224"/>
                </a:lnTo>
                <a:lnTo>
                  <a:pt x="204901" y="324967"/>
                </a:lnTo>
                <a:lnTo>
                  <a:pt x="204838" y="316750"/>
                </a:lnTo>
                <a:lnTo>
                  <a:pt x="202387" y="311988"/>
                </a:lnTo>
                <a:lnTo>
                  <a:pt x="202387" y="321779"/>
                </a:lnTo>
                <a:lnTo>
                  <a:pt x="202031" y="319239"/>
                </a:lnTo>
                <a:lnTo>
                  <a:pt x="202387" y="321779"/>
                </a:lnTo>
                <a:lnTo>
                  <a:pt x="202387" y="311988"/>
                </a:lnTo>
                <a:lnTo>
                  <a:pt x="201739" y="310718"/>
                </a:lnTo>
                <a:lnTo>
                  <a:pt x="195834" y="309308"/>
                </a:lnTo>
                <a:lnTo>
                  <a:pt x="195834" y="310972"/>
                </a:lnTo>
                <a:lnTo>
                  <a:pt x="191300" y="310197"/>
                </a:lnTo>
                <a:lnTo>
                  <a:pt x="195834" y="310972"/>
                </a:lnTo>
                <a:lnTo>
                  <a:pt x="195834" y="309308"/>
                </a:lnTo>
                <a:lnTo>
                  <a:pt x="193128" y="308648"/>
                </a:lnTo>
                <a:lnTo>
                  <a:pt x="192697" y="307886"/>
                </a:lnTo>
                <a:lnTo>
                  <a:pt x="195287" y="305308"/>
                </a:lnTo>
                <a:lnTo>
                  <a:pt x="190728" y="304355"/>
                </a:lnTo>
                <a:lnTo>
                  <a:pt x="188264" y="303834"/>
                </a:lnTo>
                <a:lnTo>
                  <a:pt x="186994" y="301802"/>
                </a:lnTo>
                <a:lnTo>
                  <a:pt x="182867" y="296862"/>
                </a:lnTo>
                <a:lnTo>
                  <a:pt x="186994" y="301790"/>
                </a:lnTo>
                <a:lnTo>
                  <a:pt x="188264" y="303822"/>
                </a:lnTo>
                <a:lnTo>
                  <a:pt x="190728" y="304342"/>
                </a:lnTo>
                <a:lnTo>
                  <a:pt x="188252" y="299897"/>
                </a:lnTo>
                <a:lnTo>
                  <a:pt x="181051" y="293154"/>
                </a:lnTo>
                <a:lnTo>
                  <a:pt x="173418" y="286778"/>
                </a:lnTo>
                <a:lnTo>
                  <a:pt x="167297" y="279095"/>
                </a:lnTo>
                <a:lnTo>
                  <a:pt x="166878" y="278320"/>
                </a:lnTo>
                <a:lnTo>
                  <a:pt x="166878" y="282105"/>
                </a:lnTo>
                <a:lnTo>
                  <a:pt x="166865" y="281965"/>
                </a:lnTo>
                <a:lnTo>
                  <a:pt x="166878" y="282105"/>
                </a:lnTo>
                <a:lnTo>
                  <a:pt x="166878" y="278320"/>
                </a:lnTo>
                <a:lnTo>
                  <a:pt x="166814" y="278193"/>
                </a:lnTo>
                <a:lnTo>
                  <a:pt x="165722" y="277774"/>
                </a:lnTo>
                <a:lnTo>
                  <a:pt x="164934" y="277863"/>
                </a:lnTo>
                <a:lnTo>
                  <a:pt x="171945" y="270903"/>
                </a:lnTo>
                <a:lnTo>
                  <a:pt x="186766" y="255879"/>
                </a:lnTo>
                <a:lnTo>
                  <a:pt x="187782" y="254838"/>
                </a:lnTo>
                <a:lnTo>
                  <a:pt x="188518" y="253593"/>
                </a:lnTo>
                <a:lnTo>
                  <a:pt x="188785" y="252145"/>
                </a:lnTo>
                <a:lnTo>
                  <a:pt x="188493" y="252018"/>
                </a:lnTo>
                <a:lnTo>
                  <a:pt x="188277" y="251815"/>
                </a:lnTo>
                <a:lnTo>
                  <a:pt x="187896" y="251764"/>
                </a:lnTo>
                <a:lnTo>
                  <a:pt x="185915" y="254000"/>
                </a:lnTo>
                <a:lnTo>
                  <a:pt x="183997" y="256311"/>
                </a:lnTo>
                <a:lnTo>
                  <a:pt x="181940" y="258470"/>
                </a:lnTo>
                <a:lnTo>
                  <a:pt x="175006" y="265518"/>
                </a:lnTo>
                <a:lnTo>
                  <a:pt x="167919" y="272427"/>
                </a:lnTo>
                <a:lnTo>
                  <a:pt x="164439" y="275958"/>
                </a:lnTo>
                <a:lnTo>
                  <a:pt x="164439" y="278511"/>
                </a:lnTo>
                <a:lnTo>
                  <a:pt x="164172" y="279971"/>
                </a:lnTo>
                <a:lnTo>
                  <a:pt x="131838" y="312712"/>
                </a:lnTo>
                <a:lnTo>
                  <a:pt x="130505" y="313156"/>
                </a:lnTo>
                <a:lnTo>
                  <a:pt x="136626" y="306070"/>
                </a:lnTo>
                <a:lnTo>
                  <a:pt x="142189" y="300990"/>
                </a:lnTo>
                <a:lnTo>
                  <a:pt x="143586" y="299720"/>
                </a:lnTo>
                <a:lnTo>
                  <a:pt x="150660" y="292100"/>
                </a:lnTo>
                <a:lnTo>
                  <a:pt x="157607" y="285750"/>
                </a:lnTo>
                <a:lnTo>
                  <a:pt x="159664" y="283210"/>
                </a:lnTo>
                <a:lnTo>
                  <a:pt x="160362" y="282295"/>
                </a:lnTo>
                <a:lnTo>
                  <a:pt x="162941" y="279793"/>
                </a:lnTo>
                <a:lnTo>
                  <a:pt x="163550" y="279400"/>
                </a:lnTo>
                <a:lnTo>
                  <a:pt x="163550" y="279196"/>
                </a:lnTo>
                <a:lnTo>
                  <a:pt x="164312" y="278460"/>
                </a:lnTo>
                <a:lnTo>
                  <a:pt x="164439" y="278511"/>
                </a:lnTo>
                <a:lnTo>
                  <a:pt x="164439" y="275958"/>
                </a:lnTo>
                <a:lnTo>
                  <a:pt x="164122" y="275247"/>
                </a:lnTo>
                <a:lnTo>
                  <a:pt x="163156" y="274231"/>
                </a:lnTo>
                <a:lnTo>
                  <a:pt x="156552" y="268198"/>
                </a:lnTo>
                <a:lnTo>
                  <a:pt x="149479" y="262712"/>
                </a:lnTo>
                <a:lnTo>
                  <a:pt x="142392" y="257060"/>
                </a:lnTo>
                <a:lnTo>
                  <a:pt x="136906" y="251663"/>
                </a:lnTo>
                <a:lnTo>
                  <a:pt x="137363" y="256921"/>
                </a:lnTo>
                <a:lnTo>
                  <a:pt x="141541" y="259080"/>
                </a:lnTo>
                <a:lnTo>
                  <a:pt x="146900" y="262597"/>
                </a:lnTo>
                <a:lnTo>
                  <a:pt x="151739" y="266776"/>
                </a:lnTo>
                <a:lnTo>
                  <a:pt x="156540" y="270979"/>
                </a:lnTo>
                <a:lnTo>
                  <a:pt x="161759" y="274637"/>
                </a:lnTo>
                <a:lnTo>
                  <a:pt x="163042" y="275361"/>
                </a:lnTo>
                <a:lnTo>
                  <a:pt x="163626" y="276491"/>
                </a:lnTo>
                <a:lnTo>
                  <a:pt x="163614" y="276758"/>
                </a:lnTo>
                <a:lnTo>
                  <a:pt x="163042" y="275590"/>
                </a:lnTo>
                <a:lnTo>
                  <a:pt x="161759" y="275590"/>
                </a:lnTo>
                <a:lnTo>
                  <a:pt x="158280" y="273050"/>
                </a:lnTo>
                <a:lnTo>
                  <a:pt x="156540" y="271780"/>
                </a:lnTo>
                <a:lnTo>
                  <a:pt x="151739" y="267970"/>
                </a:lnTo>
                <a:lnTo>
                  <a:pt x="146900" y="262890"/>
                </a:lnTo>
                <a:lnTo>
                  <a:pt x="141541" y="259080"/>
                </a:lnTo>
                <a:lnTo>
                  <a:pt x="137363" y="257810"/>
                </a:lnTo>
                <a:lnTo>
                  <a:pt x="137045" y="254000"/>
                </a:lnTo>
                <a:lnTo>
                  <a:pt x="136842" y="251625"/>
                </a:lnTo>
                <a:lnTo>
                  <a:pt x="136728" y="249682"/>
                </a:lnTo>
                <a:lnTo>
                  <a:pt x="135280" y="249923"/>
                </a:lnTo>
                <a:lnTo>
                  <a:pt x="135661" y="250380"/>
                </a:lnTo>
                <a:lnTo>
                  <a:pt x="129374" y="251460"/>
                </a:lnTo>
                <a:lnTo>
                  <a:pt x="128371" y="250190"/>
                </a:lnTo>
                <a:lnTo>
                  <a:pt x="128651" y="249758"/>
                </a:lnTo>
                <a:lnTo>
                  <a:pt x="129374" y="250939"/>
                </a:lnTo>
                <a:lnTo>
                  <a:pt x="135280" y="249923"/>
                </a:lnTo>
                <a:lnTo>
                  <a:pt x="133769" y="249809"/>
                </a:lnTo>
                <a:lnTo>
                  <a:pt x="132194" y="249694"/>
                </a:lnTo>
                <a:lnTo>
                  <a:pt x="141465" y="240169"/>
                </a:lnTo>
                <a:lnTo>
                  <a:pt x="150520" y="230530"/>
                </a:lnTo>
                <a:lnTo>
                  <a:pt x="159486" y="220776"/>
                </a:lnTo>
                <a:lnTo>
                  <a:pt x="165823" y="213817"/>
                </a:lnTo>
                <a:lnTo>
                  <a:pt x="167195" y="213360"/>
                </a:lnTo>
                <a:lnTo>
                  <a:pt x="167690" y="212090"/>
                </a:lnTo>
                <a:lnTo>
                  <a:pt x="167894" y="211531"/>
                </a:lnTo>
                <a:lnTo>
                  <a:pt x="169875" y="209372"/>
                </a:lnTo>
                <a:lnTo>
                  <a:pt x="171958" y="208203"/>
                </a:lnTo>
                <a:lnTo>
                  <a:pt x="177368" y="198374"/>
                </a:lnTo>
                <a:lnTo>
                  <a:pt x="181851" y="190779"/>
                </a:lnTo>
                <a:lnTo>
                  <a:pt x="186791" y="183502"/>
                </a:lnTo>
                <a:lnTo>
                  <a:pt x="192430" y="176669"/>
                </a:lnTo>
                <a:lnTo>
                  <a:pt x="193586" y="175412"/>
                </a:lnTo>
                <a:lnTo>
                  <a:pt x="193776" y="173812"/>
                </a:lnTo>
                <a:lnTo>
                  <a:pt x="194017" y="172173"/>
                </a:lnTo>
                <a:lnTo>
                  <a:pt x="196291" y="165049"/>
                </a:lnTo>
                <a:lnTo>
                  <a:pt x="200113" y="158673"/>
                </a:lnTo>
                <a:lnTo>
                  <a:pt x="204343" y="152412"/>
                </a:lnTo>
                <a:lnTo>
                  <a:pt x="207937" y="145453"/>
                </a:lnTo>
                <a:lnTo>
                  <a:pt x="210985" y="150202"/>
                </a:lnTo>
                <a:lnTo>
                  <a:pt x="211696" y="154952"/>
                </a:lnTo>
                <a:lnTo>
                  <a:pt x="215036" y="157314"/>
                </a:lnTo>
                <a:lnTo>
                  <a:pt x="221805" y="163118"/>
                </a:lnTo>
                <a:lnTo>
                  <a:pt x="225285" y="167271"/>
                </a:lnTo>
                <a:lnTo>
                  <a:pt x="225425" y="168910"/>
                </a:lnTo>
                <a:lnTo>
                  <a:pt x="228434" y="171323"/>
                </a:lnTo>
                <a:lnTo>
                  <a:pt x="232295" y="177076"/>
                </a:lnTo>
                <a:lnTo>
                  <a:pt x="236651" y="184492"/>
                </a:lnTo>
                <a:lnTo>
                  <a:pt x="241376" y="192405"/>
                </a:lnTo>
                <a:lnTo>
                  <a:pt x="268782" y="223342"/>
                </a:lnTo>
                <a:lnTo>
                  <a:pt x="271094" y="227596"/>
                </a:lnTo>
                <a:lnTo>
                  <a:pt x="271475" y="229870"/>
                </a:lnTo>
                <a:lnTo>
                  <a:pt x="272415" y="229997"/>
                </a:lnTo>
                <a:lnTo>
                  <a:pt x="273329" y="231660"/>
                </a:lnTo>
                <a:lnTo>
                  <a:pt x="275463" y="231838"/>
                </a:lnTo>
                <a:lnTo>
                  <a:pt x="278269" y="232854"/>
                </a:lnTo>
                <a:lnTo>
                  <a:pt x="280035" y="232829"/>
                </a:lnTo>
                <a:lnTo>
                  <a:pt x="284480" y="241731"/>
                </a:lnTo>
                <a:lnTo>
                  <a:pt x="293065" y="244068"/>
                </a:lnTo>
                <a:lnTo>
                  <a:pt x="295465" y="246938"/>
                </a:lnTo>
                <a:lnTo>
                  <a:pt x="295795" y="250190"/>
                </a:lnTo>
                <a:lnTo>
                  <a:pt x="298196" y="250190"/>
                </a:lnTo>
                <a:lnTo>
                  <a:pt x="296430" y="250558"/>
                </a:lnTo>
                <a:lnTo>
                  <a:pt x="294614" y="250850"/>
                </a:lnTo>
                <a:lnTo>
                  <a:pt x="293192" y="252234"/>
                </a:lnTo>
                <a:lnTo>
                  <a:pt x="288340" y="257289"/>
                </a:lnTo>
                <a:lnTo>
                  <a:pt x="283552" y="262382"/>
                </a:lnTo>
                <a:lnTo>
                  <a:pt x="278434" y="267233"/>
                </a:lnTo>
                <a:lnTo>
                  <a:pt x="272643" y="271526"/>
                </a:lnTo>
                <a:lnTo>
                  <a:pt x="267677" y="274637"/>
                </a:lnTo>
                <a:lnTo>
                  <a:pt x="263296" y="279488"/>
                </a:lnTo>
                <a:lnTo>
                  <a:pt x="255371" y="284365"/>
                </a:lnTo>
                <a:lnTo>
                  <a:pt x="253390" y="286397"/>
                </a:lnTo>
                <a:lnTo>
                  <a:pt x="248920" y="295046"/>
                </a:lnTo>
                <a:lnTo>
                  <a:pt x="246989" y="297916"/>
                </a:lnTo>
                <a:lnTo>
                  <a:pt x="251333" y="297916"/>
                </a:lnTo>
                <a:lnTo>
                  <a:pt x="251460" y="296722"/>
                </a:lnTo>
                <a:lnTo>
                  <a:pt x="251637" y="294474"/>
                </a:lnTo>
                <a:lnTo>
                  <a:pt x="254812" y="286486"/>
                </a:lnTo>
                <a:lnTo>
                  <a:pt x="256489" y="285927"/>
                </a:lnTo>
                <a:lnTo>
                  <a:pt x="262940" y="282168"/>
                </a:lnTo>
                <a:lnTo>
                  <a:pt x="268490" y="277037"/>
                </a:lnTo>
                <a:lnTo>
                  <a:pt x="274294" y="272313"/>
                </a:lnTo>
                <a:lnTo>
                  <a:pt x="281520" y="269786"/>
                </a:lnTo>
                <a:lnTo>
                  <a:pt x="282041" y="269735"/>
                </a:lnTo>
                <a:lnTo>
                  <a:pt x="282867" y="269036"/>
                </a:lnTo>
                <a:lnTo>
                  <a:pt x="283298" y="265163"/>
                </a:lnTo>
                <a:lnTo>
                  <a:pt x="285216" y="263766"/>
                </a:lnTo>
                <a:lnTo>
                  <a:pt x="292201" y="257060"/>
                </a:lnTo>
                <a:lnTo>
                  <a:pt x="295732" y="251853"/>
                </a:lnTo>
                <a:lnTo>
                  <a:pt x="300240" y="250190"/>
                </a:lnTo>
                <a:lnTo>
                  <a:pt x="302272" y="250190"/>
                </a:lnTo>
                <a:lnTo>
                  <a:pt x="302272" y="177609"/>
                </a:lnTo>
                <a:lnTo>
                  <a:pt x="301523" y="175260"/>
                </a:lnTo>
                <a:lnTo>
                  <a:pt x="300304" y="171450"/>
                </a:lnTo>
                <a:lnTo>
                  <a:pt x="298678" y="171450"/>
                </a:lnTo>
                <a:lnTo>
                  <a:pt x="299173" y="172720"/>
                </a:lnTo>
                <a:lnTo>
                  <a:pt x="299631" y="173990"/>
                </a:lnTo>
                <a:lnTo>
                  <a:pt x="297967" y="175260"/>
                </a:lnTo>
                <a:lnTo>
                  <a:pt x="295363" y="171450"/>
                </a:lnTo>
                <a:lnTo>
                  <a:pt x="292379" y="167640"/>
                </a:lnTo>
                <a:lnTo>
                  <a:pt x="288531" y="161290"/>
                </a:lnTo>
                <a:lnTo>
                  <a:pt x="286677" y="158750"/>
                </a:lnTo>
                <a:lnTo>
                  <a:pt x="278511" y="158750"/>
                </a:lnTo>
                <a:lnTo>
                  <a:pt x="276250" y="154940"/>
                </a:lnTo>
                <a:lnTo>
                  <a:pt x="274637" y="148590"/>
                </a:lnTo>
                <a:lnTo>
                  <a:pt x="272580" y="147320"/>
                </a:lnTo>
                <a:lnTo>
                  <a:pt x="267500" y="143510"/>
                </a:lnTo>
                <a:lnTo>
                  <a:pt x="264109" y="140970"/>
                </a:lnTo>
                <a:lnTo>
                  <a:pt x="259689" y="135890"/>
                </a:lnTo>
                <a:lnTo>
                  <a:pt x="259321" y="125730"/>
                </a:lnTo>
                <a:lnTo>
                  <a:pt x="259270" y="124460"/>
                </a:lnTo>
                <a:lnTo>
                  <a:pt x="257975" y="123190"/>
                </a:lnTo>
                <a:lnTo>
                  <a:pt x="252031" y="125730"/>
                </a:lnTo>
                <a:lnTo>
                  <a:pt x="251612" y="123190"/>
                </a:lnTo>
                <a:lnTo>
                  <a:pt x="248996" y="114300"/>
                </a:lnTo>
                <a:lnTo>
                  <a:pt x="248094" y="107950"/>
                </a:lnTo>
                <a:lnTo>
                  <a:pt x="242303" y="102870"/>
                </a:lnTo>
                <a:lnTo>
                  <a:pt x="241922" y="101600"/>
                </a:lnTo>
                <a:lnTo>
                  <a:pt x="242836" y="93980"/>
                </a:lnTo>
                <a:lnTo>
                  <a:pt x="241376" y="90170"/>
                </a:lnTo>
                <a:lnTo>
                  <a:pt x="235534" y="83820"/>
                </a:lnTo>
                <a:lnTo>
                  <a:pt x="233591" y="82550"/>
                </a:lnTo>
                <a:lnTo>
                  <a:pt x="231635" y="81280"/>
                </a:lnTo>
                <a:lnTo>
                  <a:pt x="234391" y="78740"/>
                </a:lnTo>
                <a:lnTo>
                  <a:pt x="237147" y="76200"/>
                </a:lnTo>
                <a:lnTo>
                  <a:pt x="238518" y="74930"/>
                </a:lnTo>
                <a:lnTo>
                  <a:pt x="232143" y="73660"/>
                </a:lnTo>
                <a:lnTo>
                  <a:pt x="231965" y="72390"/>
                </a:lnTo>
                <a:lnTo>
                  <a:pt x="231432" y="68580"/>
                </a:lnTo>
                <a:lnTo>
                  <a:pt x="228066" y="67310"/>
                </a:lnTo>
                <a:lnTo>
                  <a:pt x="230200" y="64770"/>
                </a:lnTo>
                <a:lnTo>
                  <a:pt x="233400" y="60960"/>
                </a:lnTo>
                <a:lnTo>
                  <a:pt x="229222" y="58420"/>
                </a:lnTo>
                <a:lnTo>
                  <a:pt x="226174" y="49530"/>
                </a:lnTo>
                <a:lnTo>
                  <a:pt x="231508" y="46990"/>
                </a:lnTo>
                <a:lnTo>
                  <a:pt x="227787" y="45720"/>
                </a:lnTo>
                <a:lnTo>
                  <a:pt x="220840" y="41910"/>
                </a:lnTo>
                <a:lnTo>
                  <a:pt x="220776" y="35560"/>
                </a:lnTo>
                <a:lnTo>
                  <a:pt x="220764" y="34290"/>
                </a:lnTo>
                <a:lnTo>
                  <a:pt x="222135" y="27940"/>
                </a:lnTo>
                <a:lnTo>
                  <a:pt x="223507" y="21590"/>
                </a:lnTo>
                <a:lnTo>
                  <a:pt x="223520" y="15240"/>
                </a:lnTo>
                <a:lnTo>
                  <a:pt x="220370" y="0"/>
                </a:lnTo>
                <a:lnTo>
                  <a:pt x="216433" y="2540"/>
                </a:lnTo>
                <a:lnTo>
                  <a:pt x="213664" y="3276"/>
                </a:lnTo>
                <a:lnTo>
                  <a:pt x="213664" y="151130"/>
                </a:lnTo>
                <a:lnTo>
                  <a:pt x="213563" y="155422"/>
                </a:lnTo>
                <a:lnTo>
                  <a:pt x="213588" y="151028"/>
                </a:lnTo>
                <a:lnTo>
                  <a:pt x="213664" y="3276"/>
                </a:lnTo>
                <a:lnTo>
                  <a:pt x="211658" y="3810"/>
                </a:lnTo>
                <a:lnTo>
                  <a:pt x="210604" y="7620"/>
                </a:lnTo>
                <a:lnTo>
                  <a:pt x="211963" y="12700"/>
                </a:lnTo>
                <a:lnTo>
                  <a:pt x="211328" y="13970"/>
                </a:lnTo>
                <a:lnTo>
                  <a:pt x="210680" y="14757"/>
                </a:lnTo>
                <a:lnTo>
                  <a:pt x="210680" y="143510"/>
                </a:lnTo>
                <a:lnTo>
                  <a:pt x="210235" y="145592"/>
                </a:lnTo>
                <a:lnTo>
                  <a:pt x="210146" y="145453"/>
                </a:lnTo>
                <a:lnTo>
                  <a:pt x="210642" y="143510"/>
                </a:lnTo>
                <a:lnTo>
                  <a:pt x="210680" y="14757"/>
                </a:lnTo>
                <a:lnTo>
                  <a:pt x="207124" y="19050"/>
                </a:lnTo>
                <a:lnTo>
                  <a:pt x="203949" y="21590"/>
                </a:lnTo>
                <a:lnTo>
                  <a:pt x="200812" y="26670"/>
                </a:lnTo>
                <a:lnTo>
                  <a:pt x="199059" y="29210"/>
                </a:lnTo>
                <a:lnTo>
                  <a:pt x="204673" y="27940"/>
                </a:lnTo>
                <a:lnTo>
                  <a:pt x="204025" y="30480"/>
                </a:lnTo>
                <a:lnTo>
                  <a:pt x="203123" y="35560"/>
                </a:lnTo>
                <a:lnTo>
                  <a:pt x="201053" y="33020"/>
                </a:lnTo>
                <a:lnTo>
                  <a:pt x="200025" y="31750"/>
                </a:lnTo>
                <a:lnTo>
                  <a:pt x="199885" y="31902"/>
                </a:lnTo>
                <a:lnTo>
                  <a:pt x="199885" y="158673"/>
                </a:lnTo>
                <a:lnTo>
                  <a:pt x="199339" y="158750"/>
                </a:lnTo>
                <a:lnTo>
                  <a:pt x="199605" y="158343"/>
                </a:lnTo>
                <a:lnTo>
                  <a:pt x="199885" y="158673"/>
                </a:lnTo>
                <a:lnTo>
                  <a:pt x="199885" y="31902"/>
                </a:lnTo>
                <a:lnTo>
                  <a:pt x="198856" y="33020"/>
                </a:lnTo>
                <a:lnTo>
                  <a:pt x="197319" y="31432"/>
                </a:lnTo>
                <a:lnTo>
                  <a:pt x="197319" y="78740"/>
                </a:lnTo>
                <a:lnTo>
                  <a:pt x="197319" y="82550"/>
                </a:lnTo>
                <a:lnTo>
                  <a:pt x="195097" y="82550"/>
                </a:lnTo>
                <a:lnTo>
                  <a:pt x="193738" y="81280"/>
                </a:lnTo>
                <a:lnTo>
                  <a:pt x="193738" y="81102"/>
                </a:lnTo>
                <a:lnTo>
                  <a:pt x="195097" y="81559"/>
                </a:lnTo>
                <a:lnTo>
                  <a:pt x="196862" y="81610"/>
                </a:lnTo>
                <a:lnTo>
                  <a:pt x="197319" y="82550"/>
                </a:lnTo>
                <a:lnTo>
                  <a:pt x="197319" y="78740"/>
                </a:lnTo>
                <a:lnTo>
                  <a:pt x="196926" y="79235"/>
                </a:lnTo>
                <a:lnTo>
                  <a:pt x="196926" y="80010"/>
                </a:lnTo>
                <a:lnTo>
                  <a:pt x="196837" y="80568"/>
                </a:lnTo>
                <a:lnTo>
                  <a:pt x="196723" y="80314"/>
                </a:lnTo>
                <a:lnTo>
                  <a:pt x="196786" y="80010"/>
                </a:lnTo>
                <a:lnTo>
                  <a:pt x="196926" y="80010"/>
                </a:lnTo>
                <a:lnTo>
                  <a:pt x="196926" y="79235"/>
                </a:lnTo>
                <a:lnTo>
                  <a:pt x="196303" y="79006"/>
                </a:lnTo>
                <a:lnTo>
                  <a:pt x="196481" y="78740"/>
                </a:lnTo>
                <a:lnTo>
                  <a:pt x="197319" y="78740"/>
                </a:lnTo>
                <a:lnTo>
                  <a:pt x="197319" y="31432"/>
                </a:lnTo>
                <a:lnTo>
                  <a:pt x="195173" y="29210"/>
                </a:lnTo>
                <a:lnTo>
                  <a:pt x="194017" y="34290"/>
                </a:lnTo>
                <a:lnTo>
                  <a:pt x="195453" y="41910"/>
                </a:lnTo>
                <a:lnTo>
                  <a:pt x="193687" y="48260"/>
                </a:lnTo>
                <a:lnTo>
                  <a:pt x="193205" y="52705"/>
                </a:lnTo>
                <a:lnTo>
                  <a:pt x="193205" y="174472"/>
                </a:lnTo>
                <a:lnTo>
                  <a:pt x="192798" y="174815"/>
                </a:lnTo>
                <a:lnTo>
                  <a:pt x="192074" y="173990"/>
                </a:lnTo>
                <a:lnTo>
                  <a:pt x="192138" y="172834"/>
                </a:lnTo>
                <a:lnTo>
                  <a:pt x="193205" y="174472"/>
                </a:lnTo>
                <a:lnTo>
                  <a:pt x="193205" y="52705"/>
                </a:lnTo>
                <a:lnTo>
                  <a:pt x="192722" y="57150"/>
                </a:lnTo>
                <a:lnTo>
                  <a:pt x="192976" y="59690"/>
                </a:lnTo>
                <a:lnTo>
                  <a:pt x="192659" y="59778"/>
                </a:lnTo>
                <a:lnTo>
                  <a:pt x="192659" y="73660"/>
                </a:lnTo>
                <a:lnTo>
                  <a:pt x="192595" y="74930"/>
                </a:lnTo>
                <a:lnTo>
                  <a:pt x="192493" y="76200"/>
                </a:lnTo>
                <a:lnTo>
                  <a:pt x="190868" y="76200"/>
                </a:lnTo>
                <a:lnTo>
                  <a:pt x="190106" y="74930"/>
                </a:lnTo>
                <a:lnTo>
                  <a:pt x="190309" y="74371"/>
                </a:lnTo>
                <a:lnTo>
                  <a:pt x="190868" y="75082"/>
                </a:lnTo>
                <a:lnTo>
                  <a:pt x="192506" y="75209"/>
                </a:lnTo>
                <a:lnTo>
                  <a:pt x="192608" y="74180"/>
                </a:lnTo>
                <a:lnTo>
                  <a:pt x="192620" y="73621"/>
                </a:lnTo>
                <a:lnTo>
                  <a:pt x="192659" y="59778"/>
                </a:lnTo>
                <a:lnTo>
                  <a:pt x="188226" y="60960"/>
                </a:lnTo>
                <a:lnTo>
                  <a:pt x="187998" y="63500"/>
                </a:lnTo>
                <a:lnTo>
                  <a:pt x="187845" y="68580"/>
                </a:lnTo>
                <a:lnTo>
                  <a:pt x="191541" y="64770"/>
                </a:lnTo>
                <a:lnTo>
                  <a:pt x="192074" y="67310"/>
                </a:lnTo>
                <a:lnTo>
                  <a:pt x="185940" y="72390"/>
                </a:lnTo>
                <a:lnTo>
                  <a:pt x="186575" y="81280"/>
                </a:lnTo>
                <a:lnTo>
                  <a:pt x="183057" y="92710"/>
                </a:lnTo>
                <a:lnTo>
                  <a:pt x="182562" y="99060"/>
                </a:lnTo>
                <a:lnTo>
                  <a:pt x="180174" y="109220"/>
                </a:lnTo>
                <a:lnTo>
                  <a:pt x="179844" y="113030"/>
                </a:lnTo>
                <a:lnTo>
                  <a:pt x="183857" y="121920"/>
                </a:lnTo>
                <a:lnTo>
                  <a:pt x="182410" y="124460"/>
                </a:lnTo>
                <a:lnTo>
                  <a:pt x="175196" y="129540"/>
                </a:lnTo>
                <a:lnTo>
                  <a:pt x="172339" y="130810"/>
                </a:lnTo>
                <a:lnTo>
                  <a:pt x="174117" y="137160"/>
                </a:lnTo>
                <a:lnTo>
                  <a:pt x="173494" y="137160"/>
                </a:lnTo>
                <a:lnTo>
                  <a:pt x="168757" y="138430"/>
                </a:lnTo>
                <a:lnTo>
                  <a:pt x="168173" y="143510"/>
                </a:lnTo>
                <a:lnTo>
                  <a:pt x="163487" y="148590"/>
                </a:lnTo>
                <a:lnTo>
                  <a:pt x="165582" y="154940"/>
                </a:lnTo>
                <a:lnTo>
                  <a:pt x="154305" y="153670"/>
                </a:lnTo>
                <a:lnTo>
                  <a:pt x="152844" y="156210"/>
                </a:lnTo>
                <a:lnTo>
                  <a:pt x="152120" y="162560"/>
                </a:lnTo>
                <a:lnTo>
                  <a:pt x="150228" y="165100"/>
                </a:lnTo>
                <a:lnTo>
                  <a:pt x="144106" y="165100"/>
                </a:lnTo>
                <a:lnTo>
                  <a:pt x="144437" y="173990"/>
                </a:lnTo>
                <a:lnTo>
                  <a:pt x="138658" y="172720"/>
                </a:lnTo>
                <a:lnTo>
                  <a:pt x="133299" y="172720"/>
                </a:lnTo>
                <a:lnTo>
                  <a:pt x="135636" y="173990"/>
                </a:lnTo>
                <a:lnTo>
                  <a:pt x="135483" y="175260"/>
                </a:lnTo>
                <a:lnTo>
                  <a:pt x="132651" y="181610"/>
                </a:lnTo>
                <a:lnTo>
                  <a:pt x="131940" y="180340"/>
                </a:lnTo>
                <a:lnTo>
                  <a:pt x="130505" y="177800"/>
                </a:lnTo>
                <a:lnTo>
                  <a:pt x="126479" y="180340"/>
                </a:lnTo>
                <a:lnTo>
                  <a:pt x="123710" y="177800"/>
                </a:lnTo>
                <a:lnTo>
                  <a:pt x="121285" y="179070"/>
                </a:lnTo>
                <a:lnTo>
                  <a:pt x="123393" y="184150"/>
                </a:lnTo>
                <a:lnTo>
                  <a:pt x="121361" y="191770"/>
                </a:lnTo>
                <a:lnTo>
                  <a:pt x="113626" y="191770"/>
                </a:lnTo>
                <a:lnTo>
                  <a:pt x="108369" y="189230"/>
                </a:lnTo>
                <a:lnTo>
                  <a:pt x="107835" y="195580"/>
                </a:lnTo>
                <a:lnTo>
                  <a:pt x="102120" y="196850"/>
                </a:lnTo>
                <a:lnTo>
                  <a:pt x="100444" y="201930"/>
                </a:lnTo>
                <a:lnTo>
                  <a:pt x="99364" y="203441"/>
                </a:lnTo>
                <a:lnTo>
                  <a:pt x="99364" y="209550"/>
                </a:lnTo>
                <a:lnTo>
                  <a:pt x="96240" y="212090"/>
                </a:lnTo>
                <a:lnTo>
                  <a:pt x="99225" y="209384"/>
                </a:lnTo>
                <a:lnTo>
                  <a:pt x="99364" y="209550"/>
                </a:lnTo>
                <a:lnTo>
                  <a:pt x="99364" y="203441"/>
                </a:lnTo>
                <a:lnTo>
                  <a:pt x="97701" y="205740"/>
                </a:lnTo>
                <a:lnTo>
                  <a:pt x="97409" y="206806"/>
                </a:lnTo>
                <a:lnTo>
                  <a:pt x="97701" y="204558"/>
                </a:lnTo>
                <a:lnTo>
                  <a:pt x="97370" y="204533"/>
                </a:lnTo>
                <a:lnTo>
                  <a:pt x="97320" y="205460"/>
                </a:lnTo>
                <a:lnTo>
                  <a:pt x="97256" y="207683"/>
                </a:lnTo>
                <a:lnTo>
                  <a:pt x="97294" y="205651"/>
                </a:lnTo>
                <a:lnTo>
                  <a:pt x="97320" y="205460"/>
                </a:lnTo>
                <a:lnTo>
                  <a:pt x="97320" y="204546"/>
                </a:lnTo>
                <a:lnTo>
                  <a:pt x="97040" y="204558"/>
                </a:lnTo>
                <a:lnTo>
                  <a:pt x="96697" y="204622"/>
                </a:lnTo>
                <a:lnTo>
                  <a:pt x="96621" y="205803"/>
                </a:lnTo>
                <a:lnTo>
                  <a:pt x="93675" y="208280"/>
                </a:lnTo>
                <a:lnTo>
                  <a:pt x="85432" y="201930"/>
                </a:lnTo>
                <a:lnTo>
                  <a:pt x="87071" y="213360"/>
                </a:lnTo>
                <a:lnTo>
                  <a:pt x="83426" y="207010"/>
                </a:lnTo>
                <a:lnTo>
                  <a:pt x="80848" y="208280"/>
                </a:lnTo>
                <a:lnTo>
                  <a:pt x="78727" y="214630"/>
                </a:lnTo>
                <a:lnTo>
                  <a:pt x="66116" y="214630"/>
                </a:lnTo>
                <a:lnTo>
                  <a:pt x="59715" y="222250"/>
                </a:lnTo>
                <a:lnTo>
                  <a:pt x="57797" y="222250"/>
                </a:lnTo>
                <a:lnTo>
                  <a:pt x="49377" y="219710"/>
                </a:lnTo>
                <a:lnTo>
                  <a:pt x="44665" y="226060"/>
                </a:lnTo>
                <a:lnTo>
                  <a:pt x="38061" y="224790"/>
                </a:lnTo>
                <a:lnTo>
                  <a:pt x="36868" y="227330"/>
                </a:lnTo>
                <a:lnTo>
                  <a:pt x="36347" y="231140"/>
                </a:lnTo>
                <a:lnTo>
                  <a:pt x="34556" y="231140"/>
                </a:lnTo>
                <a:lnTo>
                  <a:pt x="32740" y="229882"/>
                </a:lnTo>
                <a:lnTo>
                  <a:pt x="32740" y="233680"/>
                </a:lnTo>
                <a:lnTo>
                  <a:pt x="30048" y="231140"/>
                </a:lnTo>
                <a:lnTo>
                  <a:pt x="28803" y="231140"/>
                </a:lnTo>
                <a:lnTo>
                  <a:pt x="30670" y="228600"/>
                </a:lnTo>
                <a:lnTo>
                  <a:pt x="31610" y="229870"/>
                </a:lnTo>
                <a:lnTo>
                  <a:pt x="32639" y="229870"/>
                </a:lnTo>
                <a:lnTo>
                  <a:pt x="32740" y="233680"/>
                </a:lnTo>
                <a:lnTo>
                  <a:pt x="32740" y="229882"/>
                </a:lnTo>
                <a:lnTo>
                  <a:pt x="32258" y="228600"/>
                </a:lnTo>
                <a:lnTo>
                  <a:pt x="34848" y="226060"/>
                </a:lnTo>
                <a:lnTo>
                  <a:pt x="28130" y="227330"/>
                </a:lnTo>
                <a:lnTo>
                  <a:pt x="25565" y="227330"/>
                </a:lnTo>
                <a:lnTo>
                  <a:pt x="26631" y="233680"/>
                </a:lnTo>
                <a:lnTo>
                  <a:pt x="24701" y="234950"/>
                </a:lnTo>
                <a:lnTo>
                  <a:pt x="23876" y="235432"/>
                </a:lnTo>
                <a:lnTo>
                  <a:pt x="143306" y="235432"/>
                </a:lnTo>
                <a:lnTo>
                  <a:pt x="142570" y="236220"/>
                </a:lnTo>
                <a:lnTo>
                  <a:pt x="83553" y="236220"/>
                </a:lnTo>
                <a:lnTo>
                  <a:pt x="83553" y="284480"/>
                </a:lnTo>
                <a:lnTo>
                  <a:pt x="83121" y="284695"/>
                </a:lnTo>
                <a:lnTo>
                  <a:pt x="83540" y="284480"/>
                </a:lnTo>
                <a:lnTo>
                  <a:pt x="83553" y="236220"/>
                </a:lnTo>
                <a:lnTo>
                  <a:pt x="22542" y="236220"/>
                </a:lnTo>
                <a:lnTo>
                  <a:pt x="21361" y="236220"/>
                </a:lnTo>
                <a:lnTo>
                  <a:pt x="14719" y="237490"/>
                </a:lnTo>
                <a:lnTo>
                  <a:pt x="16014" y="241300"/>
                </a:lnTo>
                <a:lnTo>
                  <a:pt x="16738" y="243840"/>
                </a:lnTo>
                <a:lnTo>
                  <a:pt x="20929" y="240030"/>
                </a:lnTo>
                <a:lnTo>
                  <a:pt x="19316" y="245110"/>
                </a:lnTo>
                <a:lnTo>
                  <a:pt x="17399" y="243840"/>
                </a:lnTo>
                <a:lnTo>
                  <a:pt x="16738" y="243840"/>
                </a:lnTo>
                <a:lnTo>
                  <a:pt x="16141" y="243840"/>
                </a:lnTo>
                <a:lnTo>
                  <a:pt x="12407" y="245110"/>
                </a:lnTo>
                <a:lnTo>
                  <a:pt x="6438" y="245110"/>
                </a:lnTo>
                <a:lnTo>
                  <a:pt x="10693" y="252730"/>
                </a:lnTo>
                <a:lnTo>
                  <a:pt x="9664" y="254000"/>
                </a:lnTo>
                <a:lnTo>
                  <a:pt x="2844" y="251460"/>
                </a:lnTo>
                <a:lnTo>
                  <a:pt x="4686" y="257810"/>
                </a:lnTo>
                <a:lnTo>
                  <a:pt x="1651" y="261620"/>
                </a:lnTo>
                <a:lnTo>
                  <a:pt x="0" y="266700"/>
                </a:lnTo>
                <a:lnTo>
                  <a:pt x="8166" y="270510"/>
                </a:lnTo>
                <a:lnTo>
                  <a:pt x="8940" y="278130"/>
                </a:lnTo>
                <a:lnTo>
                  <a:pt x="16179" y="276860"/>
                </a:lnTo>
                <a:lnTo>
                  <a:pt x="16992" y="276860"/>
                </a:lnTo>
                <a:lnTo>
                  <a:pt x="18173" y="284480"/>
                </a:lnTo>
                <a:lnTo>
                  <a:pt x="21031" y="280670"/>
                </a:lnTo>
                <a:lnTo>
                  <a:pt x="26289" y="276860"/>
                </a:lnTo>
                <a:lnTo>
                  <a:pt x="28041" y="275590"/>
                </a:lnTo>
                <a:lnTo>
                  <a:pt x="30746" y="276860"/>
                </a:lnTo>
                <a:lnTo>
                  <a:pt x="32981" y="284480"/>
                </a:lnTo>
                <a:lnTo>
                  <a:pt x="34518" y="283210"/>
                </a:lnTo>
                <a:lnTo>
                  <a:pt x="42392" y="285750"/>
                </a:lnTo>
                <a:lnTo>
                  <a:pt x="43522" y="283210"/>
                </a:lnTo>
                <a:lnTo>
                  <a:pt x="45808" y="278130"/>
                </a:lnTo>
                <a:lnTo>
                  <a:pt x="51943" y="279400"/>
                </a:lnTo>
                <a:lnTo>
                  <a:pt x="52755" y="278130"/>
                </a:lnTo>
                <a:lnTo>
                  <a:pt x="54368" y="275590"/>
                </a:lnTo>
                <a:lnTo>
                  <a:pt x="55994" y="273050"/>
                </a:lnTo>
                <a:lnTo>
                  <a:pt x="58000" y="279400"/>
                </a:lnTo>
                <a:lnTo>
                  <a:pt x="59931" y="281940"/>
                </a:lnTo>
                <a:lnTo>
                  <a:pt x="62674" y="280670"/>
                </a:lnTo>
                <a:lnTo>
                  <a:pt x="61150" y="276860"/>
                </a:lnTo>
                <a:lnTo>
                  <a:pt x="66001" y="279400"/>
                </a:lnTo>
                <a:lnTo>
                  <a:pt x="68884" y="280670"/>
                </a:lnTo>
                <a:lnTo>
                  <a:pt x="73190" y="287020"/>
                </a:lnTo>
                <a:lnTo>
                  <a:pt x="77622" y="289560"/>
                </a:lnTo>
                <a:lnTo>
                  <a:pt x="82600" y="287020"/>
                </a:lnTo>
                <a:lnTo>
                  <a:pt x="80060" y="287020"/>
                </a:lnTo>
                <a:lnTo>
                  <a:pt x="80124" y="286854"/>
                </a:lnTo>
                <a:lnTo>
                  <a:pt x="81711" y="286562"/>
                </a:lnTo>
                <a:lnTo>
                  <a:pt x="82588" y="286880"/>
                </a:lnTo>
                <a:lnTo>
                  <a:pt x="84048" y="284480"/>
                </a:lnTo>
                <a:lnTo>
                  <a:pt x="84251" y="284480"/>
                </a:lnTo>
                <a:lnTo>
                  <a:pt x="86233" y="283210"/>
                </a:lnTo>
                <a:lnTo>
                  <a:pt x="86245" y="284480"/>
                </a:lnTo>
                <a:lnTo>
                  <a:pt x="89712" y="289560"/>
                </a:lnTo>
                <a:lnTo>
                  <a:pt x="90893" y="297180"/>
                </a:lnTo>
                <a:lnTo>
                  <a:pt x="99606" y="292100"/>
                </a:lnTo>
                <a:lnTo>
                  <a:pt x="99364" y="293370"/>
                </a:lnTo>
                <a:lnTo>
                  <a:pt x="101930" y="298450"/>
                </a:lnTo>
                <a:lnTo>
                  <a:pt x="107302" y="298450"/>
                </a:lnTo>
                <a:lnTo>
                  <a:pt x="114630" y="302260"/>
                </a:lnTo>
                <a:lnTo>
                  <a:pt x="119291" y="304800"/>
                </a:lnTo>
                <a:lnTo>
                  <a:pt x="125514" y="300990"/>
                </a:lnTo>
                <a:lnTo>
                  <a:pt x="125971" y="306070"/>
                </a:lnTo>
                <a:lnTo>
                  <a:pt x="128041" y="309880"/>
                </a:lnTo>
                <a:lnTo>
                  <a:pt x="128447" y="312420"/>
                </a:lnTo>
                <a:lnTo>
                  <a:pt x="130035" y="313690"/>
                </a:lnTo>
                <a:lnTo>
                  <a:pt x="130162" y="313537"/>
                </a:lnTo>
                <a:lnTo>
                  <a:pt x="131914" y="317703"/>
                </a:lnTo>
                <a:lnTo>
                  <a:pt x="138328" y="317487"/>
                </a:lnTo>
                <a:lnTo>
                  <a:pt x="140601" y="325729"/>
                </a:lnTo>
                <a:lnTo>
                  <a:pt x="142887" y="327710"/>
                </a:lnTo>
                <a:lnTo>
                  <a:pt x="145592" y="329552"/>
                </a:lnTo>
                <a:lnTo>
                  <a:pt x="150710" y="334251"/>
                </a:lnTo>
                <a:lnTo>
                  <a:pt x="155130" y="339712"/>
                </a:lnTo>
                <a:lnTo>
                  <a:pt x="159880" y="344906"/>
                </a:lnTo>
                <a:lnTo>
                  <a:pt x="165849" y="348703"/>
                </a:lnTo>
                <a:lnTo>
                  <a:pt x="166154" y="348818"/>
                </a:lnTo>
                <a:lnTo>
                  <a:pt x="166128" y="350608"/>
                </a:lnTo>
                <a:lnTo>
                  <a:pt x="167868" y="358787"/>
                </a:lnTo>
                <a:lnTo>
                  <a:pt x="171589" y="365696"/>
                </a:lnTo>
                <a:lnTo>
                  <a:pt x="176796" y="371640"/>
                </a:lnTo>
                <a:lnTo>
                  <a:pt x="182994" y="376961"/>
                </a:lnTo>
                <a:lnTo>
                  <a:pt x="181749" y="382803"/>
                </a:lnTo>
                <a:lnTo>
                  <a:pt x="184467" y="382765"/>
                </a:lnTo>
                <a:lnTo>
                  <a:pt x="181749" y="382816"/>
                </a:lnTo>
                <a:lnTo>
                  <a:pt x="183324" y="385445"/>
                </a:lnTo>
                <a:lnTo>
                  <a:pt x="184721" y="388073"/>
                </a:lnTo>
                <a:lnTo>
                  <a:pt x="191122" y="386143"/>
                </a:lnTo>
                <a:lnTo>
                  <a:pt x="193344" y="388404"/>
                </a:lnTo>
                <a:lnTo>
                  <a:pt x="193497" y="392303"/>
                </a:lnTo>
                <a:lnTo>
                  <a:pt x="191350" y="392430"/>
                </a:lnTo>
                <a:lnTo>
                  <a:pt x="188823" y="391223"/>
                </a:lnTo>
                <a:lnTo>
                  <a:pt x="187020" y="392303"/>
                </a:lnTo>
                <a:lnTo>
                  <a:pt x="186918" y="392430"/>
                </a:lnTo>
                <a:lnTo>
                  <a:pt x="191439" y="397497"/>
                </a:lnTo>
                <a:lnTo>
                  <a:pt x="189534" y="404342"/>
                </a:lnTo>
                <a:lnTo>
                  <a:pt x="196977" y="406869"/>
                </a:lnTo>
                <a:lnTo>
                  <a:pt x="197485" y="409613"/>
                </a:lnTo>
                <a:lnTo>
                  <a:pt x="199085" y="416890"/>
                </a:lnTo>
                <a:lnTo>
                  <a:pt x="197180" y="423811"/>
                </a:lnTo>
                <a:lnTo>
                  <a:pt x="205549" y="426542"/>
                </a:lnTo>
                <a:lnTo>
                  <a:pt x="206349" y="428421"/>
                </a:lnTo>
                <a:lnTo>
                  <a:pt x="202463" y="432460"/>
                </a:lnTo>
                <a:lnTo>
                  <a:pt x="206921" y="437159"/>
                </a:lnTo>
                <a:lnTo>
                  <a:pt x="202679" y="444614"/>
                </a:lnTo>
                <a:lnTo>
                  <a:pt x="204533" y="449186"/>
                </a:lnTo>
                <a:lnTo>
                  <a:pt x="200863" y="455079"/>
                </a:lnTo>
                <a:lnTo>
                  <a:pt x="206933" y="454482"/>
                </a:lnTo>
                <a:lnTo>
                  <a:pt x="200660" y="463296"/>
                </a:lnTo>
                <a:lnTo>
                  <a:pt x="202438" y="468337"/>
                </a:lnTo>
                <a:lnTo>
                  <a:pt x="206743" y="478040"/>
                </a:lnTo>
                <a:lnTo>
                  <a:pt x="213842" y="480301"/>
                </a:lnTo>
                <a:lnTo>
                  <a:pt x="209842" y="487438"/>
                </a:lnTo>
                <a:lnTo>
                  <a:pt x="211175" y="489839"/>
                </a:lnTo>
                <a:lnTo>
                  <a:pt x="215519" y="489292"/>
                </a:lnTo>
                <a:lnTo>
                  <a:pt x="216928" y="490258"/>
                </a:lnTo>
                <a:lnTo>
                  <a:pt x="217639" y="492264"/>
                </a:lnTo>
                <a:lnTo>
                  <a:pt x="220865" y="495033"/>
                </a:lnTo>
                <a:lnTo>
                  <a:pt x="218440" y="496430"/>
                </a:lnTo>
                <a:lnTo>
                  <a:pt x="216408" y="497916"/>
                </a:lnTo>
                <a:lnTo>
                  <a:pt x="219138" y="503872"/>
                </a:lnTo>
                <a:lnTo>
                  <a:pt x="223354" y="507695"/>
                </a:lnTo>
                <a:lnTo>
                  <a:pt x="231927" y="506514"/>
                </a:lnTo>
                <a:lnTo>
                  <a:pt x="233133" y="506463"/>
                </a:lnTo>
                <a:lnTo>
                  <a:pt x="237871" y="513918"/>
                </a:lnTo>
                <a:lnTo>
                  <a:pt x="241427" y="511479"/>
                </a:lnTo>
                <a:lnTo>
                  <a:pt x="244970" y="507314"/>
                </a:lnTo>
                <a:lnTo>
                  <a:pt x="245186" y="506463"/>
                </a:lnTo>
                <a:lnTo>
                  <a:pt x="245427" y="505523"/>
                </a:lnTo>
                <a:lnTo>
                  <a:pt x="235851" y="504101"/>
                </a:lnTo>
                <a:lnTo>
                  <a:pt x="245325" y="501853"/>
                </a:lnTo>
                <a:lnTo>
                  <a:pt x="246456" y="501865"/>
                </a:lnTo>
                <a:lnTo>
                  <a:pt x="245643" y="500418"/>
                </a:lnTo>
                <a:lnTo>
                  <a:pt x="243306" y="496277"/>
                </a:lnTo>
                <a:lnTo>
                  <a:pt x="243039" y="495795"/>
                </a:lnTo>
                <a:lnTo>
                  <a:pt x="243840" y="494614"/>
                </a:lnTo>
                <a:lnTo>
                  <a:pt x="246557" y="490613"/>
                </a:lnTo>
                <a:lnTo>
                  <a:pt x="246303" y="489292"/>
                </a:lnTo>
                <a:lnTo>
                  <a:pt x="244055" y="477570"/>
                </a:lnTo>
                <a:lnTo>
                  <a:pt x="241604" y="469709"/>
                </a:lnTo>
                <a:lnTo>
                  <a:pt x="245910" y="459879"/>
                </a:lnTo>
                <a:lnTo>
                  <a:pt x="245402" y="457250"/>
                </a:lnTo>
                <a:lnTo>
                  <a:pt x="244513" y="454482"/>
                </a:lnTo>
                <a:lnTo>
                  <a:pt x="243586" y="451573"/>
                </a:lnTo>
                <a:lnTo>
                  <a:pt x="238747" y="448741"/>
                </a:lnTo>
                <a:lnTo>
                  <a:pt x="243319" y="443204"/>
                </a:lnTo>
                <a:lnTo>
                  <a:pt x="242176" y="442480"/>
                </a:lnTo>
                <a:lnTo>
                  <a:pt x="238099" y="440563"/>
                </a:lnTo>
                <a:lnTo>
                  <a:pt x="236461" y="439077"/>
                </a:lnTo>
                <a:lnTo>
                  <a:pt x="242824" y="434784"/>
                </a:lnTo>
                <a:lnTo>
                  <a:pt x="244424" y="427913"/>
                </a:lnTo>
                <a:lnTo>
                  <a:pt x="236410" y="426847"/>
                </a:lnTo>
                <a:lnTo>
                  <a:pt x="241820" y="423608"/>
                </a:lnTo>
                <a:lnTo>
                  <a:pt x="240677" y="422122"/>
                </a:lnTo>
                <a:lnTo>
                  <a:pt x="242481" y="421030"/>
                </a:lnTo>
                <a:lnTo>
                  <a:pt x="242417" y="419950"/>
                </a:lnTo>
                <a:lnTo>
                  <a:pt x="240271" y="412889"/>
                </a:lnTo>
                <a:lnTo>
                  <a:pt x="246519" y="406869"/>
                </a:lnTo>
                <a:lnTo>
                  <a:pt x="239801" y="402399"/>
                </a:lnTo>
                <a:lnTo>
                  <a:pt x="240576" y="401434"/>
                </a:lnTo>
                <a:lnTo>
                  <a:pt x="243319" y="394004"/>
                </a:lnTo>
                <a:lnTo>
                  <a:pt x="244017" y="392430"/>
                </a:lnTo>
                <a:lnTo>
                  <a:pt x="246316" y="387299"/>
                </a:lnTo>
                <a:lnTo>
                  <a:pt x="246189" y="386143"/>
                </a:lnTo>
                <a:lnTo>
                  <a:pt x="245592" y="380568"/>
                </a:lnTo>
                <a:lnTo>
                  <a:pt x="245503" y="379730"/>
                </a:lnTo>
                <a:lnTo>
                  <a:pt x="251167" y="378460"/>
                </a:lnTo>
                <a:lnTo>
                  <a:pt x="251167" y="372110"/>
                </a:lnTo>
                <a:lnTo>
                  <a:pt x="259334" y="365760"/>
                </a:lnTo>
                <a:lnTo>
                  <a:pt x="262559" y="359410"/>
                </a:lnTo>
                <a:lnTo>
                  <a:pt x="263702" y="351790"/>
                </a:lnTo>
                <a:lnTo>
                  <a:pt x="263893" y="350520"/>
                </a:lnTo>
                <a:lnTo>
                  <a:pt x="264617" y="350520"/>
                </a:lnTo>
                <a:lnTo>
                  <a:pt x="265988" y="349250"/>
                </a:lnTo>
                <a:lnTo>
                  <a:pt x="274129" y="342900"/>
                </a:lnTo>
                <a:lnTo>
                  <a:pt x="282371" y="336550"/>
                </a:lnTo>
                <a:lnTo>
                  <a:pt x="289687" y="330200"/>
                </a:lnTo>
                <a:lnTo>
                  <a:pt x="290449" y="328930"/>
                </a:lnTo>
                <a:lnTo>
                  <a:pt x="295008" y="321310"/>
                </a:lnTo>
                <a:lnTo>
                  <a:pt x="295643" y="320040"/>
                </a:lnTo>
                <a:lnTo>
                  <a:pt x="297434" y="316230"/>
                </a:lnTo>
                <a:lnTo>
                  <a:pt x="303618" y="318770"/>
                </a:lnTo>
                <a:lnTo>
                  <a:pt x="305244" y="317500"/>
                </a:lnTo>
                <a:lnTo>
                  <a:pt x="306133" y="316230"/>
                </a:lnTo>
                <a:lnTo>
                  <a:pt x="310642" y="309880"/>
                </a:lnTo>
                <a:lnTo>
                  <a:pt x="314604" y="304800"/>
                </a:lnTo>
                <a:lnTo>
                  <a:pt x="325069" y="304800"/>
                </a:lnTo>
                <a:lnTo>
                  <a:pt x="324878" y="298450"/>
                </a:lnTo>
                <a:lnTo>
                  <a:pt x="329742" y="298450"/>
                </a:lnTo>
                <a:lnTo>
                  <a:pt x="332117" y="293370"/>
                </a:lnTo>
                <a:lnTo>
                  <a:pt x="333844" y="290830"/>
                </a:lnTo>
                <a:lnTo>
                  <a:pt x="342188" y="294640"/>
                </a:lnTo>
                <a:lnTo>
                  <a:pt x="343128" y="290830"/>
                </a:lnTo>
                <a:lnTo>
                  <a:pt x="343763" y="288290"/>
                </a:lnTo>
                <a:lnTo>
                  <a:pt x="338086" y="284480"/>
                </a:lnTo>
                <a:lnTo>
                  <a:pt x="341782" y="284480"/>
                </a:lnTo>
                <a:lnTo>
                  <a:pt x="344627" y="281940"/>
                </a:lnTo>
                <a:lnTo>
                  <a:pt x="346595" y="281940"/>
                </a:lnTo>
                <a:lnTo>
                  <a:pt x="348475" y="280670"/>
                </a:lnTo>
                <a:lnTo>
                  <a:pt x="348640" y="279946"/>
                </a:lnTo>
                <a:lnTo>
                  <a:pt x="349110" y="281736"/>
                </a:lnTo>
                <a:lnTo>
                  <a:pt x="345376" y="284200"/>
                </a:lnTo>
                <a:lnTo>
                  <a:pt x="350418" y="286194"/>
                </a:lnTo>
                <a:lnTo>
                  <a:pt x="350786" y="282829"/>
                </a:lnTo>
                <a:lnTo>
                  <a:pt x="351612" y="281152"/>
                </a:lnTo>
                <a:lnTo>
                  <a:pt x="352031" y="281152"/>
                </a:lnTo>
                <a:lnTo>
                  <a:pt x="352450" y="281139"/>
                </a:lnTo>
                <a:lnTo>
                  <a:pt x="352552" y="279908"/>
                </a:lnTo>
                <a:lnTo>
                  <a:pt x="352856" y="279196"/>
                </a:lnTo>
                <a:lnTo>
                  <a:pt x="353326" y="279400"/>
                </a:lnTo>
                <a:lnTo>
                  <a:pt x="352552" y="280670"/>
                </a:lnTo>
                <a:lnTo>
                  <a:pt x="352437" y="281940"/>
                </a:lnTo>
                <a:lnTo>
                  <a:pt x="357479" y="284480"/>
                </a:lnTo>
                <a:lnTo>
                  <a:pt x="354749" y="278130"/>
                </a:lnTo>
                <a:lnTo>
                  <a:pt x="354215" y="276860"/>
                </a:lnTo>
                <a:lnTo>
                  <a:pt x="357759" y="278130"/>
                </a:lnTo>
                <a:lnTo>
                  <a:pt x="360006" y="283210"/>
                </a:lnTo>
                <a:lnTo>
                  <a:pt x="365391" y="278130"/>
                </a:lnTo>
                <a:lnTo>
                  <a:pt x="371817" y="281940"/>
                </a:lnTo>
                <a:lnTo>
                  <a:pt x="384848" y="278130"/>
                </a:lnTo>
                <a:lnTo>
                  <a:pt x="392290" y="276860"/>
                </a:lnTo>
                <a:lnTo>
                  <a:pt x="399288" y="281940"/>
                </a:lnTo>
                <a:lnTo>
                  <a:pt x="401561" y="279400"/>
                </a:lnTo>
                <a:lnTo>
                  <a:pt x="396252" y="278130"/>
                </a:lnTo>
                <a:lnTo>
                  <a:pt x="397598" y="276860"/>
                </a:lnTo>
                <a:lnTo>
                  <a:pt x="398945" y="275590"/>
                </a:lnTo>
                <a:lnTo>
                  <a:pt x="408051" y="283210"/>
                </a:lnTo>
                <a:lnTo>
                  <a:pt x="411251" y="276860"/>
                </a:lnTo>
                <a:lnTo>
                  <a:pt x="413423" y="276860"/>
                </a:lnTo>
                <a:lnTo>
                  <a:pt x="413143" y="279400"/>
                </a:lnTo>
                <a:lnTo>
                  <a:pt x="419252" y="283210"/>
                </a:lnTo>
                <a:lnTo>
                  <a:pt x="421144" y="278130"/>
                </a:lnTo>
                <a:lnTo>
                  <a:pt x="428840" y="276860"/>
                </a:lnTo>
                <a:lnTo>
                  <a:pt x="432968" y="274320"/>
                </a:lnTo>
                <a:lnTo>
                  <a:pt x="435000" y="271780"/>
                </a:lnTo>
                <a:lnTo>
                  <a:pt x="439051" y="266700"/>
                </a:lnTo>
                <a:lnTo>
                  <a:pt x="439699" y="262890"/>
                </a:lnTo>
                <a:lnTo>
                  <a:pt x="436943" y="256540"/>
                </a:lnTo>
                <a:lnTo>
                  <a:pt x="441236" y="260350"/>
                </a:lnTo>
                <a:lnTo>
                  <a:pt x="442810" y="261620"/>
                </a:lnTo>
                <a:lnTo>
                  <a:pt x="443623" y="256540"/>
                </a:lnTo>
                <a:lnTo>
                  <a:pt x="444030" y="254000"/>
                </a:lnTo>
                <a:lnTo>
                  <a:pt x="444233" y="252730"/>
                </a:lnTo>
                <a:lnTo>
                  <a:pt x="444830" y="250190"/>
                </a:lnTo>
                <a:lnTo>
                  <a:pt x="442912" y="243840"/>
                </a:lnTo>
                <a:lnTo>
                  <a:pt x="440842" y="242633"/>
                </a:lnTo>
                <a:lnTo>
                  <a:pt x="440842" y="248920"/>
                </a:lnTo>
                <a:lnTo>
                  <a:pt x="439051" y="250190"/>
                </a:lnTo>
                <a:lnTo>
                  <a:pt x="437870" y="250190"/>
                </a:lnTo>
                <a:lnTo>
                  <a:pt x="435711" y="248920"/>
                </a:lnTo>
                <a:lnTo>
                  <a:pt x="436943" y="247650"/>
                </a:lnTo>
                <a:lnTo>
                  <a:pt x="435013" y="247650"/>
                </a:lnTo>
                <a:lnTo>
                  <a:pt x="433933" y="248920"/>
                </a:lnTo>
                <a:lnTo>
                  <a:pt x="432130" y="246380"/>
                </a:lnTo>
                <a:lnTo>
                  <a:pt x="433133" y="245110"/>
                </a:lnTo>
                <a:lnTo>
                  <a:pt x="434682" y="242570"/>
                </a:lnTo>
                <a:lnTo>
                  <a:pt x="434936" y="245110"/>
                </a:lnTo>
                <a:lnTo>
                  <a:pt x="435889" y="245110"/>
                </a:lnTo>
                <a:lnTo>
                  <a:pt x="436143" y="243840"/>
                </a:lnTo>
                <a:lnTo>
                  <a:pt x="436257" y="242570"/>
                </a:lnTo>
                <a:lnTo>
                  <a:pt x="440055" y="243840"/>
                </a:lnTo>
                <a:lnTo>
                  <a:pt x="438226" y="245110"/>
                </a:lnTo>
                <a:lnTo>
                  <a:pt x="438632" y="247650"/>
                </a:lnTo>
                <a:lnTo>
                  <a:pt x="439000" y="247650"/>
                </a:lnTo>
                <a:lnTo>
                  <a:pt x="440842" y="248920"/>
                </a:lnTo>
                <a:lnTo>
                  <a:pt x="440842" y="242633"/>
                </a:lnTo>
                <a:lnTo>
                  <a:pt x="442874" y="240030"/>
                </a:lnTo>
                <a:lnTo>
                  <a:pt x="445731" y="238760"/>
                </a:lnTo>
                <a:close/>
              </a:path>
            </a:pathLst>
          </a:custGeom>
          <a:solidFill>
            <a:srgbClr val="85D243"/>
          </a:solidFill>
        </p:spPr>
        <p:txBody>
          <a:bodyPr wrap="square" lIns="0" tIns="0" rIns="0" bIns="0" rtlCol="0"/>
          <a:lstStyle/>
          <a:p>
            <a:endParaRPr/>
          </a:p>
        </p:txBody>
      </p:sp>
      <p:pic>
        <p:nvPicPr>
          <p:cNvPr id="6" name="Picture 5" descr="Logo, company name&#10;&#10;Description automatically generated">
            <a:extLst>
              <a:ext uri="{FF2B5EF4-FFF2-40B4-BE49-F238E27FC236}">
                <a16:creationId xmlns:a16="http://schemas.microsoft.com/office/drawing/2014/main" id="{DF141121-BCCF-1F02-66C2-6404E265E893}"/>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l="21196" t="17928" r="20543" b="18722"/>
          <a:stretch/>
        </p:blipFill>
        <p:spPr>
          <a:xfrm>
            <a:off x="596900" y="287973"/>
            <a:ext cx="1709815" cy="1168664"/>
          </a:xfrm>
          <a:prstGeom prst="rect">
            <a:avLst/>
          </a:prstGeom>
        </p:spPr>
      </p:pic>
      <p:pic>
        <p:nvPicPr>
          <p:cNvPr id="7" name="Picture 6">
            <a:extLst>
              <a:ext uri="{FF2B5EF4-FFF2-40B4-BE49-F238E27FC236}">
                <a16:creationId xmlns:a16="http://schemas.microsoft.com/office/drawing/2014/main" id="{2F9F08B8-28E2-A4CD-ECD7-CC31F8B2C223}"/>
              </a:ext>
            </a:extLst>
          </p:cNvPr>
          <p:cNvPicPr>
            <a:picLocks noChangeAspect="1"/>
          </p:cNvPicPr>
          <p:nvPr/>
        </p:nvPicPr>
        <p:blipFill>
          <a:blip r:embed="rId10"/>
          <a:stretch>
            <a:fillRect/>
          </a:stretch>
        </p:blipFill>
        <p:spPr>
          <a:xfrm>
            <a:off x="292823" y="6592472"/>
            <a:ext cx="2324100" cy="107950"/>
          </a:xfrm>
          <a:prstGeom prst="rect">
            <a:avLst/>
          </a:prstGeom>
        </p:spPr>
      </p:pic>
      <p:sp>
        <p:nvSpPr>
          <p:cNvPr id="8" name="TextBox 7">
            <a:extLst>
              <a:ext uri="{FF2B5EF4-FFF2-40B4-BE49-F238E27FC236}">
                <a16:creationId xmlns:a16="http://schemas.microsoft.com/office/drawing/2014/main" id="{1D911606-79C9-DC68-D69A-1C1052ECEEC2}"/>
              </a:ext>
            </a:extLst>
          </p:cNvPr>
          <p:cNvSpPr txBox="1"/>
          <p:nvPr/>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ea typeface="+mj-ea"/>
                <a:cs typeface="+mj-cs"/>
              </a:rPr>
              <a:pPr algn="r"/>
              <a:t>1</a:t>
            </a:fld>
            <a:endParaRPr lang="en-US" sz="700" spc="300">
              <a:solidFill>
                <a:schemeClr val="bg1"/>
              </a:solidFill>
              <a:ea typeface="+mj-ea"/>
              <a:cs typeface="+mj-cs"/>
            </a:endParaRPr>
          </a:p>
        </p:txBody>
      </p:sp>
    </p:spTree>
    <p:extLst>
      <p:ext uri="{BB962C8B-B14F-4D97-AF65-F5344CB8AC3E}">
        <p14:creationId xmlns:p14="http://schemas.microsoft.com/office/powerpoint/2010/main" val="32230726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120B907-E21E-A08B-BF22-1E0D926137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think-cell data - do not delete" hidden="1">
                        <a:extLst>
                          <a:ext uri="{FF2B5EF4-FFF2-40B4-BE49-F238E27FC236}">
                            <a16:creationId xmlns:a16="http://schemas.microsoft.com/office/drawing/2014/main" id="{1120B907-E21E-A08B-BF22-1E0D926137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C188E51-E524-E8E8-A993-26ADCA678072}"/>
              </a:ext>
            </a:extLst>
          </p:cNvPr>
          <p:cNvSpPr/>
          <p:nvPr/>
        </p:nvSpPr>
        <p:spPr>
          <a:xfrm>
            <a:off x="0" y="0"/>
            <a:ext cx="12192000" cy="6858000"/>
          </a:xfrm>
          <a:prstGeom prst="rect">
            <a:avLst/>
          </a:prstGeom>
          <a:solidFill>
            <a:srgbClr val="011D8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3" name="Freeform: Shape 112">
            <a:extLst>
              <a:ext uri="{FF2B5EF4-FFF2-40B4-BE49-F238E27FC236}">
                <a16:creationId xmlns:a16="http://schemas.microsoft.com/office/drawing/2014/main" id="{B6C52B2A-5C44-B3FD-E4F3-DB8621D2316C}"/>
              </a:ext>
            </a:extLst>
          </p:cNvPr>
          <p:cNvSpPr>
            <a:spLocks noChangeAspect="1"/>
          </p:cNvSpPr>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065588 h 6858000"/>
              <a:gd name="connsiteX3" fmla="*/ 12166943 w 12192000"/>
              <a:gd name="connsiteY3" fmla="*/ 3121012 h 6858000"/>
              <a:gd name="connsiteX4" fmla="*/ 7453357 w 12192000"/>
              <a:gd name="connsiteY4" fmla="*/ 6799333 h 6858000"/>
              <a:gd name="connsiteX5" fmla="*/ 7124839 w 12192000"/>
              <a:gd name="connsiteY5" fmla="*/ 6858000 h 6858000"/>
              <a:gd name="connsiteX6" fmla="*/ 5067162 w 12192000"/>
              <a:gd name="connsiteY6" fmla="*/ 6858000 h 6858000"/>
              <a:gd name="connsiteX7" fmla="*/ 4738644 w 12192000"/>
              <a:gd name="connsiteY7" fmla="*/ 6799333 h 6858000"/>
              <a:gd name="connsiteX8" fmla="*/ 25057 w 12192000"/>
              <a:gd name="connsiteY8" fmla="*/ 3121012 h 6858000"/>
              <a:gd name="connsiteX9" fmla="*/ 0 w 12192000"/>
              <a:gd name="connsiteY9" fmla="*/ 306558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12192000" y="0"/>
                </a:lnTo>
                <a:lnTo>
                  <a:pt x="12192000" y="3065588"/>
                </a:lnTo>
                <a:lnTo>
                  <a:pt x="12166943" y="3121012"/>
                </a:lnTo>
                <a:cubicBezTo>
                  <a:pt x="11268390" y="4985813"/>
                  <a:pt x="9535940" y="6373175"/>
                  <a:pt x="7453357" y="6799333"/>
                </a:cubicBezTo>
                <a:lnTo>
                  <a:pt x="7124839" y="6858000"/>
                </a:lnTo>
                <a:lnTo>
                  <a:pt x="5067162" y="6858000"/>
                </a:lnTo>
                <a:lnTo>
                  <a:pt x="4738644" y="6799333"/>
                </a:lnTo>
                <a:cubicBezTo>
                  <a:pt x="2656060" y="6373175"/>
                  <a:pt x="923610" y="4985813"/>
                  <a:pt x="25057" y="3121012"/>
                </a:cubicBezTo>
                <a:lnTo>
                  <a:pt x="0" y="3065588"/>
                </a:lnTo>
                <a:close/>
              </a:path>
            </a:pathLst>
          </a:custGeom>
          <a:solidFill>
            <a:schemeClr val="tx1">
              <a:alpha val="1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92" name="Graphic 391">
            <a:extLst>
              <a:ext uri="{FF2B5EF4-FFF2-40B4-BE49-F238E27FC236}">
                <a16:creationId xmlns:a16="http://schemas.microsoft.com/office/drawing/2014/main" id="{786796F0-C89F-20E6-09D9-2ADA3F09F844}"/>
              </a:ext>
            </a:extLst>
          </p:cNvPr>
          <p:cNvPicPr>
            <a:picLocks noChangeAspect="1"/>
          </p:cNvPicPr>
          <p:nvPr/>
        </p:nvPicPr>
        <p:blipFill rotWithShape="1">
          <a:blip r:embed="rId6">
            <a:alphaModFix amt="10000"/>
            <a:extLst>
              <a:ext uri="{96DAC541-7B7A-43D3-8B79-37D633B846F1}">
                <asvg:svgBlip xmlns:asvg="http://schemas.microsoft.com/office/drawing/2016/SVG/main" r:embed="rId7"/>
              </a:ext>
            </a:extLst>
          </a:blip>
          <a:srcRect l="4551" t="12250" r="10206" b="48550"/>
          <a:stretch/>
        </p:blipFill>
        <p:spPr>
          <a:xfrm rot="10800000">
            <a:off x="1017357" y="146417"/>
            <a:ext cx="11417868" cy="5250642"/>
          </a:xfrm>
          <a:custGeom>
            <a:avLst/>
            <a:gdLst>
              <a:gd name="connsiteX0" fmla="*/ 11417868 w 11417868"/>
              <a:gd name="connsiteY0" fmla="*/ 5250642 h 5250642"/>
              <a:gd name="connsiteX1" fmla="*/ 0 w 11417868"/>
              <a:gd name="connsiteY1" fmla="*/ 5250642 h 5250642"/>
              <a:gd name="connsiteX2" fmla="*/ 0 w 11417868"/>
              <a:gd name="connsiteY2" fmla="*/ 0 h 5250642"/>
              <a:gd name="connsiteX3" fmla="*/ 11417868 w 11417868"/>
              <a:gd name="connsiteY3" fmla="*/ 0 h 5250642"/>
            </a:gdLst>
            <a:ahLst/>
            <a:cxnLst>
              <a:cxn ang="0">
                <a:pos x="connsiteX0" y="connsiteY0"/>
              </a:cxn>
              <a:cxn ang="0">
                <a:pos x="connsiteX1" y="connsiteY1"/>
              </a:cxn>
              <a:cxn ang="0">
                <a:pos x="connsiteX2" y="connsiteY2"/>
              </a:cxn>
              <a:cxn ang="0">
                <a:pos x="connsiteX3" y="connsiteY3"/>
              </a:cxn>
            </a:cxnLst>
            <a:rect l="l" t="t" r="r" b="b"/>
            <a:pathLst>
              <a:path w="11417868" h="5250642">
                <a:moveTo>
                  <a:pt x="11417868" y="5250642"/>
                </a:moveTo>
                <a:lnTo>
                  <a:pt x="0" y="5250642"/>
                </a:lnTo>
                <a:lnTo>
                  <a:pt x="0" y="0"/>
                </a:lnTo>
                <a:lnTo>
                  <a:pt x="11417868" y="0"/>
                </a:lnTo>
                <a:close/>
              </a:path>
            </a:pathLst>
          </a:custGeom>
        </p:spPr>
      </p:pic>
      <p:sp>
        <p:nvSpPr>
          <p:cNvPr id="137" name="Freeform: Shape 136">
            <a:extLst>
              <a:ext uri="{FF2B5EF4-FFF2-40B4-BE49-F238E27FC236}">
                <a16:creationId xmlns:a16="http://schemas.microsoft.com/office/drawing/2014/main" id="{10CA9F7A-DAE1-4D1D-00E8-B9C0BDADEC7E}"/>
              </a:ext>
            </a:extLst>
          </p:cNvPr>
          <p:cNvSpPr>
            <a:spLocks/>
          </p:cNvSpPr>
          <p:nvPr/>
        </p:nvSpPr>
        <p:spPr>
          <a:xfrm>
            <a:off x="2296325" y="0"/>
            <a:ext cx="7599350" cy="4000744"/>
          </a:xfrm>
          <a:custGeom>
            <a:avLst/>
            <a:gdLst>
              <a:gd name="connsiteX0" fmla="*/ 5365 w 7599350"/>
              <a:gd name="connsiteY0" fmla="*/ 0 h 4000744"/>
              <a:gd name="connsiteX1" fmla="*/ 7593985 w 7599350"/>
              <a:gd name="connsiteY1" fmla="*/ 0 h 4000744"/>
              <a:gd name="connsiteX2" fmla="*/ 7594406 w 7599350"/>
              <a:gd name="connsiteY2" fmla="*/ 5538 h 4000744"/>
              <a:gd name="connsiteX3" fmla="*/ 7599350 w 7599350"/>
              <a:gd name="connsiteY3" fmla="*/ 201069 h 4000744"/>
              <a:gd name="connsiteX4" fmla="*/ 3799675 w 7599350"/>
              <a:gd name="connsiteY4" fmla="*/ 4000744 h 4000744"/>
              <a:gd name="connsiteX5" fmla="*/ 0 w 7599350"/>
              <a:gd name="connsiteY5" fmla="*/ 201069 h 4000744"/>
              <a:gd name="connsiteX6" fmla="*/ 4944 w 7599350"/>
              <a:gd name="connsiteY6" fmla="*/ 5538 h 4000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99350" h="4000744">
                <a:moveTo>
                  <a:pt x="5365" y="0"/>
                </a:moveTo>
                <a:lnTo>
                  <a:pt x="7593985" y="0"/>
                </a:lnTo>
                <a:lnTo>
                  <a:pt x="7594406" y="5538"/>
                </a:lnTo>
                <a:cubicBezTo>
                  <a:pt x="7597689" y="70301"/>
                  <a:pt x="7599350" y="135491"/>
                  <a:pt x="7599350" y="201069"/>
                </a:cubicBezTo>
                <a:cubicBezTo>
                  <a:pt x="7599350" y="2299572"/>
                  <a:pt x="5898178" y="4000744"/>
                  <a:pt x="3799675" y="4000744"/>
                </a:cubicBezTo>
                <a:cubicBezTo>
                  <a:pt x="1701172" y="4000744"/>
                  <a:pt x="0" y="2299572"/>
                  <a:pt x="0" y="201069"/>
                </a:cubicBezTo>
                <a:cubicBezTo>
                  <a:pt x="0" y="135491"/>
                  <a:pt x="1662" y="70301"/>
                  <a:pt x="4944" y="5538"/>
                </a:cubicBezTo>
                <a:close/>
              </a:path>
            </a:pathLst>
          </a:custGeom>
          <a:solidFill>
            <a:srgbClr val="133CC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a:p>
        </p:txBody>
      </p:sp>
      <p:sp>
        <p:nvSpPr>
          <p:cNvPr id="6" name="Freeform: Shape 5">
            <a:extLst>
              <a:ext uri="{FF2B5EF4-FFF2-40B4-BE49-F238E27FC236}">
                <a16:creationId xmlns:a16="http://schemas.microsoft.com/office/drawing/2014/main" id="{74FC8F05-20CF-C584-71DF-34C04DB26681}"/>
              </a:ext>
            </a:extLst>
          </p:cNvPr>
          <p:cNvSpPr>
            <a:spLocks/>
          </p:cNvSpPr>
          <p:nvPr/>
        </p:nvSpPr>
        <p:spPr>
          <a:xfrm>
            <a:off x="177800" y="6086901"/>
            <a:ext cx="11819592" cy="771098"/>
          </a:xfrm>
          <a:custGeom>
            <a:avLst/>
            <a:gdLst>
              <a:gd name="connsiteX0" fmla="*/ 990833 w 11549483"/>
              <a:gd name="connsiteY0" fmla="*/ 0 h 1016000"/>
              <a:gd name="connsiteX1" fmla="*/ 10558650 w 11549483"/>
              <a:gd name="connsiteY1" fmla="*/ 0 h 1016000"/>
              <a:gd name="connsiteX2" fmla="*/ 11549483 w 11549483"/>
              <a:gd name="connsiteY2" fmla="*/ 990833 h 1016000"/>
              <a:gd name="connsiteX3" fmla="*/ 11549483 w 11549483"/>
              <a:gd name="connsiteY3" fmla="*/ 1016000 h 1016000"/>
              <a:gd name="connsiteX4" fmla="*/ 0 w 11549483"/>
              <a:gd name="connsiteY4" fmla="*/ 1016000 h 1016000"/>
              <a:gd name="connsiteX5" fmla="*/ 0 w 11549483"/>
              <a:gd name="connsiteY5" fmla="*/ 990833 h 1016000"/>
              <a:gd name="connsiteX6" fmla="*/ 990833 w 11549483"/>
              <a:gd name="connsiteY6" fmla="*/ 0 h 10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49483" h="1016000">
                <a:moveTo>
                  <a:pt x="990833" y="0"/>
                </a:moveTo>
                <a:lnTo>
                  <a:pt x="10558650" y="0"/>
                </a:lnTo>
                <a:cubicBezTo>
                  <a:pt x="11105872" y="0"/>
                  <a:pt x="11549483" y="443611"/>
                  <a:pt x="11549483" y="990833"/>
                </a:cubicBezTo>
                <a:lnTo>
                  <a:pt x="11549483" y="1016000"/>
                </a:lnTo>
                <a:lnTo>
                  <a:pt x="0" y="1016000"/>
                </a:lnTo>
                <a:lnTo>
                  <a:pt x="0" y="990833"/>
                </a:lnTo>
                <a:cubicBezTo>
                  <a:pt x="0" y="443611"/>
                  <a:pt x="443611" y="0"/>
                  <a:pt x="990833" y="0"/>
                </a:cubicBez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00"/>
          </a:p>
        </p:txBody>
      </p:sp>
      <p:sp>
        <p:nvSpPr>
          <p:cNvPr id="23" name="Rectangle 22">
            <a:extLst>
              <a:ext uri="{FF2B5EF4-FFF2-40B4-BE49-F238E27FC236}">
                <a16:creationId xmlns:a16="http://schemas.microsoft.com/office/drawing/2014/main" id="{5F805EEA-1FC2-B44B-E666-1A291BAF09AB}"/>
              </a:ext>
            </a:extLst>
          </p:cNvPr>
          <p:cNvSpPr/>
          <p:nvPr/>
        </p:nvSpPr>
        <p:spPr>
          <a:xfrm>
            <a:off x="5181787" y="5351450"/>
            <a:ext cx="1781176" cy="258775"/>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IN" sz="1600" b="1" i="0" u="none" strike="noStrike" kern="1200" cap="none" spc="0" normalizeH="0" baseline="0" noProof="0">
                <a:ln>
                  <a:noFill/>
                </a:ln>
                <a:solidFill>
                  <a:srgbClr val="8EDB43"/>
                </a:solidFill>
                <a:effectLst/>
                <a:uLnTx/>
                <a:uFillTx/>
                <a:ea typeface="+mj-ea"/>
                <a:cs typeface="+mj-cs"/>
              </a:rPr>
              <a:t>pep+ </a:t>
            </a:r>
            <a:r>
              <a:rPr kumimoji="0" lang="en-IN" sz="1600" b="1" i="0" u="none" strike="noStrike" kern="1200" cap="none" spc="0" normalizeH="0" baseline="0" noProof="0" err="1">
                <a:ln>
                  <a:noFill/>
                </a:ln>
                <a:solidFill>
                  <a:srgbClr val="8EDB43"/>
                </a:solidFill>
                <a:effectLst/>
                <a:uLnTx/>
                <a:uFillTx/>
                <a:ea typeface="+mj-ea"/>
                <a:cs typeface="+mj-cs"/>
              </a:rPr>
              <a:t>REnew</a:t>
            </a:r>
            <a:r>
              <a:rPr kumimoji="0" lang="en-IN" sz="1600" b="1" i="0" u="none" strike="noStrike" kern="1200" cap="none" spc="0" normalizeH="0" baseline="0" noProof="0">
                <a:ln>
                  <a:noFill/>
                </a:ln>
                <a:solidFill>
                  <a:srgbClr val="8EDB43"/>
                </a:solidFill>
                <a:effectLst/>
                <a:uLnTx/>
                <a:uFillTx/>
                <a:ea typeface="+mj-ea"/>
                <a:cs typeface="+mj-cs"/>
              </a:rPr>
              <a:t> </a:t>
            </a:r>
            <a:endParaRPr kumimoji="0" lang="en-US" sz="1600" b="1" i="0" u="none" strike="noStrike" kern="1200" cap="none" spc="0" normalizeH="0" baseline="0" noProof="0">
              <a:ln>
                <a:noFill/>
              </a:ln>
              <a:solidFill>
                <a:srgbClr val="8EDB43"/>
              </a:solidFill>
              <a:effectLst/>
              <a:uLnTx/>
              <a:uFillTx/>
              <a:ea typeface="+mj-ea"/>
              <a:cs typeface="+mj-cs"/>
            </a:endParaRPr>
          </a:p>
        </p:txBody>
      </p:sp>
      <p:sp>
        <p:nvSpPr>
          <p:cNvPr id="138" name="Freeform: Shape 137">
            <a:extLst>
              <a:ext uri="{FF2B5EF4-FFF2-40B4-BE49-F238E27FC236}">
                <a16:creationId xmlns:a16="http://schemas.microsoft.com/office/drawing/2014/main" id="{C6DABDAB-E0D7-5095-14CF-4D27007B5048}"/>
              </a:ext>
            </a:extLst>
          </p:cNvPr>
          <p:cNvSpPr/>
          <p:nvPr/>
        </p:nvSpPr>
        <p:spPr>
          <a:xfrm rot="5400000">
            <a:off x="4095628" y="-1799303"/>
            <a:ext cx="4000744" cy="7599351"/>
          </a:xfrm>
          <a:custGeom>
            <a:avLst/>
            <a:gdLst>
              <a:gd name="connsiteX0" fmla="*/ 1 w 4000744"/>
              <a:gd name="connsiteY0" fmla="*/ 4626871 h 7599351"/>
              <a:gd name="connsiteX1" fmla="*/ 1 w 4000744"/>
              <a:gd name="connsiteY1" fmla="*/ 4452423 h 7599351"/>
              <a:gd name="connsiteX2" fmla="*/ 62925 w 4000744"/>
              <a:gd name="connsiteY2" fmla="*/ 4471994 h 7599351"/>
              <a:gd name="connsiteX3" fmla="*/ 201073 w 4000744"/>
              <a:gd name="connsiteY3" fmla="*/ 4485961 h 7599351"/>
              <a:gd name="connsiteX4" fmla="*/ 887356 w 4000744"/>
              <a:gd name="connsiteY4" fmla="*/ 3799677 h 7599351"/>
              <a:gd name="connsiteX5" fmla="*/ 201073 w 4000744"/>
              <a:gd name="connsiteY5" fmla="*/ 3113391 h 7599351"/>
              <a:gd name="connsiteX6" fmla="*/ 62925 w 4000744"/>
              <a:gd name="connsiteY6" fmla="*/ 3127357 h 7599351"/>
              <a:gd name="connsiteX7" fmla="*/ 1 w 4000744"/>
              <a:gd name="connsiteY7" fmla="*/ 3146929 h 7599351"/>
              <a:gd name="connsiteX8" fmla="*/ 1 w 4000744"/>
              <a:gd name="connsiteY8" fmla="*/ 2972480 h 7599351"/>
              <a:gd name="connsiteX9" fmla="*/ 29252 w 4000744"/>
              <a:gd name="connsiteY9" fmla="*/ 2963380 h 7599351"/>
              <a:gd name="connsiteX10" fmla="*/ 201073 w 4000744"/>
              <a:gd name="connsiteY10" fmla="*/ 2946004 h 7599351"/>
              <a:gd name="connsiteX11" fmla="*/ 1054742 w 4000744"/>
              <a:gd name="connsiteY11" fmla="*/ 3799677 h 7599351"/>
              <a:gd name="connsiteX12" fmla="*/ 201073 w 4000744"/>
              <a:gd name="connsiteY12" fmla="*/ 4653347 h 7599351"/>
              <a:gd name="connsiteX13" fmla="*/ 29252 w 4000744"/>
              <a:gd name="connsiteY13" fmla="*/ 4635972 h 7599351"/>
              <a:gd name="connsiteX14" fmla="*/ 1 w 4000744"/>
              <a:gd name="connsiteY14" fmla="*/ 5748133 h 7599351"/>
              <a:gd name="connsiteX15" fmla="*/ 1 w 4000744"/>
              <a:gd name="connsiteY15" fmla="*/ 5579165 h 7599351"/>
              <a:gd name="connsiteX16" fmla="*/ 18177 w 4000744"/>
              <a:gd name="connsiteY16" fmla="*/ 5581947 h 7599351"/>
              <a:gd name="connsiteX17" fmla="*/ 201071 w 4000744"/>
              <a:gd name="connsiteY17" fmla="*/ 5591214 h 7599351"/>
              <a:gd name="connsiteX18" fmla="*/ 1992443 w 4000744"/>
              <a:gd name="connsiteY18" fmla="*/ 3799842 h 7599351"/>
              <a:gd name="connsiteX19" fmla="*/ 201071 w 4000744"/>
              <a:gd name="connsiteY19" fmla="*/ 2008470 h 7599351"/>
              <a:gd name="connsiteX20" fmla="*/ 18177 w 4000744"/>
              <a:gd name="connsiteY20" fmla="*/ 2017736 h 7599351"/>
              <a:gd name="connsiteX21" fmla="*/ 1 w 4000744"/>
              <a:gd name="connsiteY21" fmla="*/ 2020518 h 7599351"/>
              <a:gd name="connsiteX22" fmla="*/ 1 w 4000744"/>
              <a:gd name="connsiteY22" fmla="*/ 1851210 h 7599351"/>
              <a:gd name="connsiteX23" fmla="*/ 1070 w 4000744"/>
              <a:gd name="connsiteY23" fmla="*/ 1851046 h 7599351"/>
              <a:gd name="connsiteX24" fmla="*/ 201071 w 4000744"/>
              <a:gd name="connsiteY24" fmla="*/ 1840915 h 7599351"/>
              <a:gd name="connsiteX25" fmla="*/ 2159830 w 4000744"/>
              <a:gd name="connsiteY25" fmla="*/ 3799675 h 7599351"/>
              <a:gd name="connsiteX26" fmla="*/ 201071 w 4000744"/>
              <a:gd name="connsiteY26" fmla="*/ 5758432 h 7599351"/>
              <a:gd name="connsiteX27" fmla="*/ 1098 w 4000744"/>
              <a:gd name="connsiteY27" fmla="*/ 5748302 h 7599351"/>
              <a:gd name="connsiteX28" fmla="*/ 1 w 4000744"/>
              <a:gd name="connsiteY28" fmla="*/ 6928825 h 7599351"/>
              <a:gd name="connsiteX29" fmla="*/ 1 w 4000744"/>
              <a:gd name="connsiteY29" fmla="*/ 6761269 h 7599351"/>
              <a:gd name="connsiteX30" fmla="*/ 201071 w 4000744"/>
              <a:gd name="connsiteY30" fmla="*/ 6771456 h 7599351"/>
              <a:gd name="connsiteX31" fmla="*/ 3172851 w 4000744"/>
              <a:gd name="connsiteY31" fmla="*/ 3799679 h 7599351"/>
              <a:gd name="connsiteX32" fmla="*/ 201071 w 4000744"/>
              <a:gd name="connsiteY32" fmla="*/ 827896 h 7599351"/>
              <a:gd name="connsiteX33" fmla="*/ 1 w 4000744"/>
              <a:gd name="connsiteY33" fmla="*/ 838083 h 7599351"/>
              <a:gd name="connsiteX34" fmla="*/ 1 w 4000744"/>
              <a:gd name="connsiteY34" fmla="*/ 670865 h 7599351"/>
              <a:gd name="connsiteX35" fmla="*/ 201071 w 4000744"/>
              <a:gd name="connsiteY35" fmla="*/ 660678 h 7599351"/>
              <a:gd name="connsiteX36" fmla="*/ 3340238 w 4000744"/>
              <a:gd name="connsiteY36" fmla="*/ 3799847 h 7599351"/>
              <a:gd name="connsiteX37" fmla="*/ 201071 w 4000744"/>
              <a:gd name="connsiteY37" fmla="*/ 6939011 h 7599351"/>
              <a:gd name="connsiteX38" fmla="*/ 0 w 4000744"/>
              <a:gd name="connsiteY38" fmla="*/ 4928501 h 7599351"/>
              <a:gd name="connsiteX39" fmla="*/ 0 w 4000744"/>
              <a:gd name="connsiteY39" fmla="*/ 4758936 h 7599351"/>
              <a:gd name="connsiteX40" fmla="*/ 3771 w 4000744"/>
              <a:gd name="connsiteY40" fmla="*/ 4760109 h 7599351"/>
              <a:gd name="connsiteX41" fmla="*/ 201070 w 4000744"/>
              <a:gd name="connsiteY41" fmla="*/ 4780059 h 7599351"/>
              <a:gd name="connsiteX42" fmla="*/ 1181285 w 4000744"/>
              <a:gd name="connsiteY42" fmla="*/ 3799844 h 7599351"/>
              <a:gd name="connsiteX43" fmla="*/ 201070 w 4000744"/>
              <a:gd name="connsiteY43" fmla="*/ 2819630 h 7599351"/>
              <a:gd name="connsiteX44" fmla="*/ 3771 w 4000744"/>
              <a:gd name="connsiteY44" fmla="*/ 2839580 h 7599351"/>
              <a:gd name="connsiteX45" fmla="*/ 0 w 4000744"/>
              <a:gd name="connsiteY45" fmla="*/ 2840753 h 7599351"/>
              <a:gd name="connsiteX46" fmla="*/ 0 w 4000744"/>
              <a:gd name="connsiteY46" fmla="*/ 2670845 h 7599351"/>
              <a:gd name="connsiteX47" fmla="*/ 83885 w 4000744"/>
              <a:gd name="connsiteY47" fmla="*/ 2658010 h 7599351"/>
              <a:gd name="connsiteX48" fmla="*/ 201070 w 4000744"/>
              <a:gd name="connsiteY48" fmla="*/ 2652075 h 7599351"/>
              <a:gd name="connsiteX49" fmla="*/ 1348672 w 4000744"/>
              <a:gd name="connsiteY49" fmla="*/ 3799677 h 7599351"/>
              <a:gd name="connsiteX50" fmla="*/ 201070 w 4000744"/>
              <a:gd name="connsiteY50" fmla="*/ 4947278 h 7599351"/>
              <a:gd name="connsiteX51" fmla="*/ 83912 w 4000744"/>
              <a:gd name="connsiteY51" fmla="*/ 4941343 h 7599351"/>
              <a:gd name="connsiteX52" fmla="*/ 0 w 4000744"/>
              <a:gd name="connsiteY52" fmla="*/ 5215188 h 7599351"/>
              <a:gd name="connsiteX53" fmla="*/ 0 w 4000744"/>
              <a:gd name="connsiteY53" fmla="*/ 5046223 h 7599351"/>
              <a:gd name="connsiteX54" fmla="*/ 72015 w 4000744"/>
              <a:gd name="connsiteY54" fmla="*/ 5057243 h 7599351"/>
              <a:gd name="connsiteX55" fmla="*/ 201071 w 4000744"/>
              <a:gd name="connsiteY55" fmla="*/ 5063781 h 7599351"/>
              <a:gd name="connsiteX56" fmla="*/ 1465008 w 4000744"/>
              <a:gd name="connsiteY56" fmla="*/ 3799844 h 7599351"/>
              <a:gd name="connsiteX57" fmla="*/ 201071 w 4000744"/>
              <a:gd name="connsiteY57" fmla="*/ 2535907 h 7599351"/>
              <a:gd name="connsiteX58" fmla="*/ 72043 w 4000744"/>
              <a:gd name="connsiteY58" fmla="*/ 2542444 h 7599351"/>
              <a:gd name="connsiteX59" fmla="*/ 0 w 4000744"/>
              <a:gd name="connsiteY59" fmla="*/ 2553470 h 7599351"/>
              <a:gd name="connsiteX60" fmla="*/ 0 w 4000744"/>
              <a:gd name="connsiteY60" fmla="*/ 2384164 h 7599351"/>
              <a:gd name="connsiteX61" fmla="*/ 54936 w 4000744"/>
              <a:gd name="connsiteY61" fmla="*/ 2375756 h 7599351"/>
              <a:gd name="connsiteX62" fmla="*/ 201071 w 4000744"/>
              <a:gd name="connsiteY62" fmla="*/ 2368352 h 7599351"/>
              <a:gd name="connsiteX63" fmla="*/ 1632395 w 4000744"/>
              <a:gd name="connsiteY63" fmla="*/ 3799676 h 7599351"/>
              <a:gd name="connsiteX64" fmla="*/ 201071 w 4000744"/>
              <a:gd name="connsiteY64" fmla="*/ 5231000 h 7599351"/>
              <a:gd name="connsiteX65" fmla="*/ 54936 w 4000744"/>
              <a:gd name="connsiteY65" fmla="*/ 5223596 h 7599351"/>
              <a:gd name="connsiteX66" fmla="*/ 0 w 4000744"/>
              <a:gd name="connsiteY66" fmla="*/ 5478871 h 7599351"/>
              <a:gd name="connsiteX67" fmla="*/ 0 w 4000744"/>
              <a:gd name="connsiteY67" fmla="*/ 5309567 h 7599351"/>
              <a:gd name="connsiteX68" fmla="*/ 45388 w 4000744"/>
              <a:gd name="connsiteY68" fmla="*/ 5316515 h 7599351"/>
              <a:gd name="connsiteX69" fmla="*/ 201070 w 4000744"/>
              <a:gd name="connsiteY69" fmla="*/ 5324403 h 7599351"/>
              <a:gd name="connsiteX70" fmla="*/ 1725962 w 4000744"/>
              <a:gd name="connsiteY70" fmla="*/ 3799511 h 7599351"/>
              <a:gd name="connsiteX71" fmla="*/ 201070 w 4000744"/>
              <a:gd name="connsiteY71" fmla="*/ 2274619 h 7599351"/>
              <a:gd name="connsiteX72" fmla="*/ 45361 w 4000744"/>
              <a:gd name="connsiteY72" fmla="*/ 2282507 h 7599351"/>
              <a:gd name="connsiteX73" fmla="*/ 0 w 4000744"/>
              <a:gd name="connsiteY73" fmla="*/ 2289450 h 7599351"/>
              <a:gd name="connsiteX74" fmla="*/ 0 w 4000744"/>
              <a:gd name="connsiteY74" fmla="*/ 2120489 h 7599351"/>
              <a:gd name="connsiteX75" fmla="*/ 28310 w 4000744"/>
              <a:gd name="connsiteY75" fmla="*/ 2116155 h 7599351"/>
              <a:gd name="connsiteX76" fmla="*/ 201070 w 4000744"/>
              <a:gd name="connsiteY76" fmla="*/ 2107400 h 7599351"/>
              <a:gd name="connsiteX77" fmla="*/ 1893346 w 4000744"/>
              <a:gd name="connsiteY77" fmla="*/ 3799679 h 7599351"/>
              <a:gd name="connsiteX78" fmla="*/ 201070 w 4000744"/>
              <a:gd name="connsiteY78" fmla="*/ 5491955 h 7599351"/>
              <a:gd name="connsiteX79" fmla="*/ 28282 w 4000744"/>
              <a:gd name="connsiteY79" fmla="*/ 5483200 h 7599351"/>
              <a:gd name="connsiteX80" fmla="*/ 0 w 4000744"/>
              <a:gd name="connsiteY80" fmla="*/ 6021257 h 7599351"/>
              <a:gd name="connsiteX81" fmla="*/ 0 w 4000744"/>
              <a:gd name="connsiteY81" fmla="*/ 5853700 h 7599351"/>
              <a:gd name="connsiteX82" fmla="*/ 201070 w 4000744"/>
              <a:gd name="connsiteY82" fmla="*/ 5863889 h 7599351"/>
              <a:gd name="connsiteX83" fmla="*/ 2265449 w 4000744"/>
              <a:gd name="connsiteY83" fmla="*/ 3799511 h 7599351"/>
              <a:gd name="connsiteX84" fmla="*/ 201070 w 4000744"/>
              <a:gd name="connsiteY84" fmla="*/ 1735130 h 7599351"/>
              <a:gd name="connsiteX85" fmla="*/ 0 w 4000744"/>
              <a:gd name="connsiteY85" fmla="*/ 1745317 h 7599351"/>
              <a:gd name="connsiteX86" fmla="*/ 0 w 4000744"/>
              <a:gd name="connsiteY86" fmla="*/ 1578097 h 7599351"/>
              <a:gd name="connsiteX87" fmla="*/ 201070 w 4000744"/>
              <a:gd name="connsiteY87" fmla="*/ 1567911 h 7599351"/>
              <a:gd name="connsiteX88" fmla="*/ 2432835 w 4000744"/>
              <a:gd name="connsiteY88" fmla="*/ 3799676 h 7599351"/>
              <a:gd name="connsiteX89" fmla="*/ 201070 w 4000744"/>
              <a:gd name="connsiteY89" fmla="*/ 6031443 h 7599351"/>
              <a:gd name="connsiteX90" fmla="*/ 0 w 4000744"/>
              <a:gd name="connsiteY90" fmla="*/ 6308321 h 7599351"/>
              <a:gd name="connsiteX91" fmla="*/ 0 w 4000744"/>
              <a:gd name="connsiteY91" fmla="*/ 6140766 h 7599351"/>
              <a:gd name="connsiteX92" fmla="*/ 201070 w 4000744"/>
              <a:gd name="connsiteY92" fmla="*/ 6150953 h 7599351"/>
              <a:gd name="connsiteX93" fmla="*/ 2552517 w 4000744"/>
              <a:gd name="connsiteY93" fmla="*/ 3799507 h 7599351"/>
              <a:gd name="connsiteX94" fmla="*/ 201070 w 4000744"/>
              <a:gd name="connsiteY94" fmla="*/ 1448061 h 7599351"/>
              <a:gd name="connsiteX95" fmla="*/ 0 w 4000744"/>
              <a:gd name="connsiteY95" fmla="*/ 1458247 h 7599351"/>
              <a:gd name="connsiteX96" fmla="*/ 0 w 4000744"/>
              <a:gd name="connsiteY96" fmla="*/ 1291029 h 7599351"/>
              <a:gd name="connsiteX97" fmla="*/ 201070 w 4000744"/>
              <a:gd name="connsiteY97" fmla="*/ 1280841 h 7599351"/>
              <a:gd name="connsiteX98" fmla="*/ 2719904 w 4000744"/>
              <a:gd name="connsiteY98" fmla="*/ 3799675 h 7599351"/>
              <a:gd name="connsiteX99" fmla="*/ 201070 w 4000744"/>
              <a:gd name="connsiteY99" fmla="*/ 6318507 h 7599351"/>
              <a:gd name="connsiteX100" fmla="*/ 0 w 4000744"/>
              <a:gd name="connsiteY100" fmla="*/ 6612795 h 7599351"/>
              <a:gd name="connsiteX101" fmla="*/ 0 w 4000744"/>
              <a:gd name="connsiteY101" fmla="*/ 6445576 h 7599351"/>
              <a:gd name="connsiteX102" fmla="*/ 201070 w 4000744"/>
              <a:gd name="connsiteY102" fmla="*/ 6455762 h 7599351"/>
              <a:gd name="connsiteX103" fmla="*/ 2856992 w 4000744"/>
              <a:gd name="connsiteY103" fmla="*/ 3799839 h 7599351"/>
              <a:gd name="connsiteX104" fmla="*/ 201070 w 4000744"/>
              <a:gd name="connsiteY104" fmla="*/ 1143917 h 7599351"/>
              <a:gd name="connsiteX105" fmla="*/ 0 w 4000744"/>
              <a:gd name="connsiteY105" fmla="*/ 1154105 h 7599351"/>
              <a:gd name="connsiteX106" fmla="*/ 0 w 4000744"/>
              <a:gd name="connsiteY106" fmla="*/ 986547 h 7599351"/>
              <a:gd name="connsiteX107" fmla="*/ 201070 w 4000744"/>
              <a:gd name="connsiteY107" fmla="*/ 976363 h 7599351"/>
              <a:gd name="connsiteX108" fmla="*/ 3024379 w 4000744"/>
              <a:gd name="connsiteY108" fmla="*/ 3799674 h 7599351"/>
              <a:gd name="connsiteX109" fmla="*/ 201070 w 4000744"/>
              <a:gd name="connsiteY109" fmla="*/ 6622981 h 7599351"/>
              <a:gd name="connsiteX110" fmla="*/ 0 w 4000744"/>
              <a:gd name="connsiteY110" fmla="*/ 7263003 h 7599351"/>
              <a:gd name="connsiteX111" fmla="*/ 0 w 4000744"/>
              <a:gd name="connsiteY111" fmla="*/ 7091692 h 7599351"/>
              <a:gd name="connsiteX112" fmla="*/ 201069 w 4000744"/>
              <a:gd name="connsiteY112" fmla="*/ 7101878 h 7599351"/>
              <a:gd name="connsiteX113" fmla="*/ 3503272 w 4000744"/>
              <a:gd name="connsiteY113" fmla="*/ 3799676 h 7599351"/>
              <a:gd name="connsiteX114" fmla="*/ 201069 w 4000744"/>
              <a:gd name="connsiteY114" fmla="*/ 497473 h 7599351"/>
              <a:gd name="connsiteX115" fmla="*/ 0 w 4000744"/>
              <a:gd name="connsiteY115" fmla="*/ 507659 h 7599351"/>
              <a:gd name="connsiteX116" fmla="*/ 0 w 4000744"/>
              <a:gd name="connsiteY116" fmla="*/ 336347 h 7599351"/>
              <a:gd name="connsiteX117" fmla="*/ 22786 w 4000744"/>
              <a:gd name="connsiteY117" fmla="*/ 334609 h 7599351"/>
              <a:gd name="connsiteX118" fmla="*/ 201069 w 4000744"/>
              <a:gd name="connsiteY118" fmla="*/ 330085 h 7599351"/>
              <a:gd name="connsiteX119" fmla="*/ 3670658 w 4000744"/>
              <a:gd name="connsiteY119" fmla="*/ 3799676 h 7599351"/>
              <a:gd name="connsiteX120" fmla="*/ 201069 w 4000744"/>
              <a:gd name="connsiteY120" fmla="*/ 7269265 h 7599351"/>
              <a:gd name="connsiteX121" fmla="*/ 22800 w 4000744"/>
              <a:gd name="connsiteY121" fmla="*/ 7264742 h 7599351"/>
              <a:gd name="connsiteX122" fmla="*/ 0 w 4000744"/>
              <a:gd name="connsiteY122" fmla="*/ 7593891 h 7599351"/>
              <a:gd name="connsiteX123" fmla="*/ 0 w 4000744"/>
              <a:gd name="connsiteY123" fmla="*/ 7426126 h 7599351"/>
              <a:gd name="connsiteX124" fmla="*/ 14441 w 4000744"/>
              <a:gd name="connsiteY124" fmla="*/ 7427229 h 7599351"/>
              <a:gd name="connsiteX125" fmla="*/ 201070 w 4000744"/>
              <a:gd name="connsiteY125" fmla="*/ 7431963 h 7599351"/>
              <a:gd name="connsiteX126" fmla="*/ 3833358 w 4000744"/>
              <a:gd name="connsiteY126" fmla="*/ 3799677 h 7599351"/>
              <a:gd name="connsiteX127" fmla="*/ 201070 w 4000744"/>
              <a:gd name="connsiteY127" fmla="*/ 167387 h 7599351"/>
              <a:gd name="connsiteX128" fmla="*/ 14441 w 4000744"/>
              <a:gd name="connsiteY128" fmla="*/ 172123 h 7599351"/>
              <a:gd name="connsiteX129" fmla="*/ 0 w 4000744"/>
              <a:gd name="connsiteY129" fmla="*/ 173224 h 7599351"/>
              <a:gd name="connsiteX130" fmla="*/ 0 w 4000744"/>
              <a:gd name="connsiteY130" fmla="*/ 5461 h 7599351"/>
              <a:gd name="connsiteX131" fmla="*/ 11538 w 4000744"/>
              <a:gd name="connsiteY131" fmla="*/ 4615 h 7599351"/>
              <a:gd name="connsiteX132" fmla="*/ 201070 w 4000744"/>
              <a:gd name="connsiteY132" fmla="*/ 0 h 7599351"/>
              <a:gd name="connsiteX133" fmla="*/ 2887792 w 4000744"/>
              <a:gd name="connsiteY133" fmla="*/ 1112953 h 7599351"/>
              <a:gd name="connsiteX134" fmla="*/ 4000744 w 4000744"/>
              <a:gd name="connsiteY134" fmla="*/ 3799677 h 7599351"/>
              <a:gd name="connsiteX135" fmla="*/ 2887791 w 4000744"/>
              <a:gd name="connsiteY135" fmla="*/ 6486398 h 7599351"/>
              <a:gd name="connsiteX136" fmla="*/ 201070 w 4000744"/>
              <a:gd name="connsiteY136" fmla="*/ 7599351 h 7599351"/>
              <a:gd name="connsiteX137" fmla="*/ 11536 w 4000744"/>
              <a:gd name="connsiteY137" fmla="*/ 7594738 h 7599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4000744" h="7599351">
                <a:moveTo>
                  <a:pt x="1" y="4626871"/>
                </a:moveTo>
                <a:lnTo>
                  <a:pt x="1" y="4452423"/>
                </a:lnTo>
                <a:lnTo>
                  <a:pt x="62925" y="4471994"/>
                </a:lnTo>
                <a:cubicBezTo>
                  <a:pt x="107562" y="4481151"/>
                  <a:pt x="153766" y="4485961"/>
                  <a:pt x="201073" y="4485961"/>
                </a:cubicBezTo>
                <a:cubicBezTo>
                  <a:pt x="579533" y="4485961"/>
                  <a:pt x="887356" y="4178136"/>
                  <a:pt x="887356" y="3799677"/>
                </a:cubicBezTo>
                <a:cubicBezTo>
                  <a:pt x="887356" y="3421215"/>
                  <a:pt x="579533" y="3113391"/>
                  <a:pt x="201073" y="3113391"/>
                </a:cubicBezTo>
                <a:cubicBezTo>
                  <a:pt x="153766" y="3113391"/>
                  <a:pt x="107562" y="3118201"/>
                  <a:pt x="62925" y="3127357"/>
                </a:cubicBezTo>
                <a:lnTo>
                  <a:pt x="1" y="3146929"/>
                </a:lnTo>
                <a:lnTo>
                  <a:pt x="1" y="2972480"/>
                </a:lnTo>
                <a:lnTo>
                  <a:pt x="29252" y="2963380"/>
                </a:lnTo>
                <a:cubicBezTo>
                  <a:pt x="84771" y="2951988"/>
                  <a:pt x="142237" y="2946004"/>
                  <a:pt x="201073" y="2946004"/>
                </a:cubicBezTo>
                <a:cubicBezTo>
                  <a:pt x="671762" y="2946004"/>
                  <a:pt x="1054742" y="3328985"/>
                  <a:pt x="1054742" y="3799677"/>
                </a:cubicBezTo>
                <a:cubicBezTo>
                  <a:pt x="1054742" y="4270366"/>
                  <a:pt x="671762" y="4653347"/>
                  <a:pt x="201073" y="4653347"/>
                </a:cubicBezTo>
                <a:cubicBezTo>
                  <a:pt x="142237" y="4653347"/>
                  <a:pt x="84771" y="4647363"/>
                  <a:pt x="29252" y="4635972"/>
                </a:cubicBezTo>
                <a:close/>
                <a:moveTo>
                  <a:pt x="1" y="5748133"/>
                </a:moveTo>
                <a:lnTo>
                  <a:pt x="1" y="5579165"/>
                </a:lnTo>
                <a:lnTo>
                  <a:pt x="18177" y="5581947"/>
                </a:lnTo>
                <a:cubicBezTo>
                  <a:pt x="78322" y="5588074"/>
                  <a:pt x="139337" y="5591214"/>
                  <a:pt x="201071" y="5591214"/>
                </a:cubicBezTo>
                <a:cubicBezTo>
                  <a:pt x="1188818" y="5591214"/>
                  <a:pt x="1992443" y="4787590"/>
                  <a:pt x="1992443" y="3799842"/>
                </a:cubicBezTo>
                <a:cubicBezTo>
                  <a:pt x="1992443" y="2812093"/>
                  <a:pt x="1188818" y="2008470"/>
                  <a:pt x="201071" y="2008470"/>
                </a:cubicBezTo>
                <a:cubicBezTo>
                  <a:pt x="139337" y="2008470"/>
                  <a:pt x="78322" y="2011609"/>
                  <a:pt x="18177" y="2017736"/>
                </a:cubicBezTo>
                <a:lnTo>
                  <a:pt x="1" y="2020518"/>
                </a:lnTo>
                <a:lnTo>
                  <a:pt x="1" y="1851210"/>
                </a:lnTo>
                <a:lnTo>
                  <a:pt x="1070" y="1851046"/>
                </a:lnTo>
                <a:cubicBezTo>
                  <a:pt x="66840" y="1844347"/>
                  <a:pt x="133562" y="1840915"/>
                  <a:pt x="201071" y="1840915"/>
                </a:cubicBezTo>
                <a:cubicBezTo>
                  <a:pt x="1281215" y="1840915"/>
                  <a:pt x="2159830" y="2719528"/>
                  <a:pt x="2159830" y="3799675"/>
                </a:cubicBezTo>
                <a:cubicBezTo>
                  <a:pt x="2159830" y="4879819"/>
                  <a:pt x="1281215" y="5758432"/>
                  <a:pt x="201071" y="5758432"/>
                </a:cubicBezTo>
                <a:cubicBezTo>
                  <a:pt x="133572" y="5758432"/>
                  <a:pt x="66859" y="5755000"/>
                  <a:pt x="1098" y="5748302"/>
                </a:cubicBezTo>
                <a:close/>
                <a:moveTo>
                  <a:pt x="1" y="6928825"/>
                </a:moveTo>
                <a:lnTo>
                  <a:pt x="1" y="6761269"/>
                </a:lnTo>
                <a:lnTo>
                  <a:pt x="201071" y="6771456"/>
                </a:lnTo>
                <a:cubicBezTo>
                  <a:pt x="1839618" y="6771456"/>
                  <a:pt x="3172851" y="5438225"/>
                  <a:pt x="3172851" y="3799679"/>
                </a:cubicBezTo>
                <a:cubicBezTo>
                  <a:pt x="3172851" y="2161131"/>
                  <a:pt x="1839618" y="827896"/>
                  <a:pt x="201071" y="827896"/>
                </a:cubicBezTo>
                <a:lnTo>
                  <a:pt x="1" y="838083"/>
                </a:lnTo>
                <a:lnTo>
                  <a:pt x="1" y="670865"/>
                </a:lnTo>
                <a:lnTo>
                  <a:pt x="201071" y="660678"/>
                </a:lnTo>
                <a:cubicBezTo>
                  <a:pt x="1932015" y="660678"/>
                  <a:pt x="3340238" y="2068900"/>
                  <a:pt x="3340238" y="3799847"/>
                </a:cubicBezTo>
                <a:cubicBezTo>
                  <a:pt x="3340238" y="5530790"/>
                  <a:pt x="1932015" y="6939011"/>
                  <a:pt x="201071" y="6939011"/>
                </a:cubicBezTo>
                <a:close/>
                <a:moveTo>
                  <a:pt x="0" y="4928501"/>
                </a:moveTo>
                <a:lnTo>
                  <a:pt x="0" y="4758936"/>
                </a:lnTo>
                <a:lnTo>
                  <a:pt x="3771" y="4760109"/>
                </a:lnTo>
                <a:cubicBezTo>
                  <a:pt x="67521" y="4773188"/>
                  <a:pt x="133508" y="4780059"/>
                  <a:pt x="201070" y="4780059"/>
                </a:cubicBezTo>
                <a:cubicBezTo>
                  <a:pt x="741561" y="4780059"/>
                  <a:pt x="1181285" y="4340336"/>
                  <a:pt x="1181285" y="3799844"/>
                </a:cubicBezTo>
                <a:cubicBezTo>
                  <a:pt x="1181285" y="3259353"/>
                  <a:pt x="741561" y="2819630"/>
                  <a:pt x="201070" y="2819630"/>
                </a:cubicBezTo>
                <a:cubicBezTo>
                  <a:pt x="133508" y="2819630"/>
                  <a:pt x="67521" y="2826500"/>
                  <a:pt x="3771" y="2839580"/>
                </a:cubicBezTo>
                <a:lnTo>
                  <a:pt x="0" y="2840753"/>
                </a:lnTo>
                <a:lnTo>
                  <a:pt x="0" y="2670845"/>
                </a:lnTo>
                <a:lnTo>
                  <a:pt x="83885" y="2658010"/>
                </a:lnTo>
                <a:cubicBezTo>
                  <a:pt x="122420" y="2654086"/>
                  <a:pt x="161514" y="2652075"/>
                  <a:pt x="201070" y="2652075"/>
                </a:cubicBezTo>
                <a:cubicBezTo>
                  <a:pt x="833958" y="2652075"/>
                  <a:pt x="1348672" y="3166788"/>
                  <a:pt x="1348672" y="3799677"/>
                </a:cubicBezTo>
                <a:cubicBezTo>
                  <a:pt x="1348672" y="4432565"/>
                  <a:pt x="833958" y="4947278"/>
                  <a:pt x="201070" y="4947278"/>
                </a:cubicBezTo>
                <a:cubicBezTo>
                  <a:pt x="161525" y="4947278"/>
                  <a:pt x="122440" y="4945267"/>
                  <a:pt x="83912" y="4941343"/>
                </a:cubicBezTo>
                <a:close/>
                <a:moveTo>
                  <a:pt x="0" y="5215188"/>
                </a:moveTo>
                <a:lnTo>
                  <a:pt x="0" y="5046223"/>
                </a:lnTo>
                <a:lnTo>
                  <a:pt x="72015" y="5057243"/>
                </a:lnTo>
                <a:cubicBezTo>
                  <a:pt x="114455" y="5061566"/>
                  <a:pt x="157509" y="5063781"/>
                  <a:pt x="201071" y="5063781"/>
                </a:cubicBezTo>
                <a:cubicBezTo>
                  <a:pt x="898069" y="5063781"/>
                  <a:pt x="1465008" y="4496839"/>
                  <a:pt x="1465008" y="3799844"/>
                </a:cubicBezTo>
                <a:cubicBezTo>
                  <a:pt x="1465008" y="3102845"/>
                  <a:pt x="898069" y="2535907"/>
                  <a:pt x="201071" y="2535907"/>
                </a:cubicBezTo>
                <a:cubicBezTo>
                  <a:pt x="157519" y="2535907"/>
                  <a:pt x="114474" y="2538121"/>
                  <a:pt x="72043" y="2542444"/>
                </a:cubicBezTo>
                <a:lnTo>
                  <a:pt x="0" y="2553470"/>
                </a:lnTo>
                <a:lnTo>
                  <a:pt x="0" y="2384164"/>
                </a:lnTo>
                <a:lnTo>
                  <a:pt x="54936" y="2375756"/>
                </a:lnTo>
                <a:cubicBezTo>
                  <a:pt x="102993" y="2370860"/>
                  <a:pt x="151745" y="2368352"/>
                  <a:pt x="201071" y="2368352"/>
                </a:cubicBezTo>
                <a:cubicBezTo>
                  <a:pt x="990299" y="2368352"/>
                  <a:pt x="1632395" y="3010448"/>
                  <a:pt x="1632395" y="3799676"/>
                </a:cubicBezTo>
                <a:cubicBezTo>
                  <a:pt x="1632395" y="4588904"/>
                  <a:pt x="990299" y="5231000"/>
                  <a:pt x="201071" y="5231000"/>
                </a:cubicBezTo>
                <a:cubicBezTo>
                  <a:pt x="151745" y="5231000"/>
                  <a:pt x="102993" y="5228491"/>
                  <a:pt x="54936" y="5223596"/>
                </a:cubicBezTo>
                <a:close/>
                <a:moveTo>
                  <a:pt x="0" y="5478871"/>
                </a:moveTo>
                <a:lnTo>
                  <a:pt x="0" y="5309567"/>
                </a:lnTo>
                <a:lnTo>
                  <a:pt x="45388" y="5316515"/>
                </a:lnTo>
                <a:cubicBezTo>
                  <a:pt x="96585" y="5321731"/>
                  <a:pt x="148521" y="5324403"/>
                  <a:pt x="201070" y="5324403"/>
                </a:cubicBezTo>
                <a:cubicBezTo>
                  <a:pt x="1041853" y="5324403"/>
                  <a:pt x="1725962" y="4640294"/>
                  <a:pt x="1725962" y="3799511"/>
                </a:cubicBezTo>
                <a:cubicBezTo>
                  <a:pt x="1725962" y="2958728"/>
                  <a:pt x="1041853" y="2274619"/>
                  <a:pt x="201070" y="2274619"/>
                </a:cubicBezTo>
                <a:cubicBezTo>
                  <a:pt x="148511" y="2274619"/>
                  <a:pt x="96565" y="2277292"/>
                  <a:pt x="45361" y="2282507"/>
                </a:cubicBezTo>
                <a:lnTo>
                  <a:pt x="0" y="2289450"/>
                </a:lnTo>
                <a:lnTo>
                  <a:pt x="0" y="2120489"/>
                </a:lnTo>
                <a:lnTo>
                  <a:pt x="28310" y="2116155"/>
                </a:lnTo>
                <a:cubicBezTo>
                  <a:pt x="85123" y="2110366"/>
                  <a:pt x="142757" y="2107400"/>
                  <a:pt x="201070" y="2107400"/>
                </a:cubicBezTo>
                <a:cubicBezTo>
                  <a:pt x="1134082" y="2107400"/>
                  <a:pt x="1893346" y="2866667"/>
                  <a:pt x="1893346" y="3799679"/>
                </a:cubicBezTo>
                <a:cubicBezTo>
                  <a:pt x="1893346" y="4732691"/>
                  <a:pt x="1134082" y="5491955"/>
                  <a:pt x="201070" y="5491955"/>
                </a:cubicBezTo>
                <a:cubicBezTo>
                  <a:pt x="142747" y="5491955"/>
                  <a:pt x="85103" y="5488989"/>
                  <a:pt x="28282" y="5483200"/>
                </a:cubicBezTo>
                <a:close/>
                <a:moveTo>
                  <a:pt x="0" y="6021257"/>
                </a:moveTo>
                <a:lnTo>
                  <a:pt x="0" y="5853700"/>
                </a:lnTo>
                <a:lnTo>
                  <a:pt x="201070" y="5863889"/>
                </a:lnTo>
                <a:cubicBezTo>
                  <a:pt x="1339299" y="5863889"/>
                  <a:pt x="2265449" y="4937738"/>
                  <a:pt x="2265449" y="3799511"/>
                </a:cubicBezTo>
                <a:cubicBezTo>
                  <a:pt x="2265449" y="2661280"/>
                  <a:pt x="1339299" y="1735130"/>
                  <a:pt x="201070" y="1735130"/>
                </a:cubicBezTo>
                <a:lnTo>
                  <a:pt x="0" y="1745317"/>
                </a:lnTo>
                <a:lnTo>
                  <a:pt x="0" y="1578097"/>
                </a:lnTo>
                <a:lnTo>
                  <a:pt x="201070" y="1567911"/>
                </a:lnTo>
                <a:cubicBezTo>
                  <a:pt x="1431696" y="1567911"/>
                  <a:pt x="2432835" y="2569051"/>
                  <a:pt x="2432835" y="3799676"/>
                </a:cubicBezTo>
                <a:cubicBezTo>
                  <a:pt x="2432835" y="5030303"/>
                  <a:pt x="1431696" y="6031443"/>
                  <a:pt x="201070" y="6031443"/>
                </a:cubicBezTo>
                <a:close/>
                <a:moveTo>
                  <a:pt x="0" y="6308321"/>
                </a:moveTo>
                <a:lnTo>
                  <a:pt x="0" y="6140766"/>
                </a:lnTo>
                <a:lnTo>
                  <a:pt x="201070" y="6150953"/>
                </a:lnTo>
                <a:cubicBezTo>
                  <a:pt x="1497647" y="6150953"/>
                  <a:pt x="2552517" y="5096084"/>
                  <a:pt x="2552517" y="3799507"/>
                </a:cubicBezTo>
                <a:cubicBezTo>
                  <a:pt x="2552517" y="2502930"/>
                  <a:pt x="1497647" y="1448061"/>
                  <a:pt x="201070" y="1448061"/>
                </a:cubicBezTo>
                <a:lnTo>
                  <a:pt x="0" y="1458247"/>
                </a:lnTo>
                <a:lnTo>
                  <a:pt x="0" y="1291029"/>
                </a:lnTo>
                <a:lnTo>
                  <a:pt x="201070" y="1280841"/>
                </a:lnTo>
                <a:cubicBezTo>
                  <a:pt x="1589877" y="1280841"/>
                  <a:pt x="2719904" y="2410869"/>
                  <a:pt x="2719904" y="3799675"/>
                </a:cubicBezTo>
                <a:cubicBezTo>
                  <a:pt x="2719904" y="5188481"/>
                  <a:pt x="1589877" y="6318507"/>
                  <a:pt x="201070" y="6318507"/>
                </a:cubicBezTo>
                <a:close/>
                <a:moveTo>
                  <a:pt x="0" y="6612795"/>
                </a:moveTo>
                <a:lnTo>
                  <a:pt x="0" y="6445576"/>
                </a:lnTo>
                <a:lnTo>
                  <a:pt x="201070" y="6455762"/>
                </a:lnTo>
                <a:cubicBezTo>
                  <a:pt x="1665535" y="6455762"/>
                  <a:pt x="2856992" y="5264306"/>
                  <a:pt x="2856992" y="3799839"/>
                </a:cubicBezTo>
                <a:cubicBezTo>
                  <a:pt x="2856992" y="2335374"/>
                  <a:pt x="1665535" y="1143917"/>
                  <a:pt x="201070" y="1143917"/>
                </a:cubicBezTo>
                <a:lnTo>
                  <a:pt x="0" y="1154105"/>
                </a:lnTo>
                <a:lnTo>
                  <a:pt x="0" y="986547"/>
                </a:lnTo>
                <a:lnTo>
                  <a:pt x="201070" y="976363"/>
                </a:lnTo>
                <a:cubicBezTo>
                  <a:pt x="1757932" y="976363"/>
                  <a:pt x="3024379" y="2242809"/>
                  <a:pt x="3024379" y="3799674"/>
                </a:cubicBezTo>
                <a:cubicBezTo>
                  <a:pt x="3024379" y="5356536"/>
                  <a:pt x="1757932" y="6622981"/>
                  <a:pt x="201070" y="6622981"/>
                </a:cubicBezTo>
                <a:close/>
                <a:moveTo>
                  <a:pt x="0" y="7263003"/>
                </a:moveTo>
                <a:lnTo>
                  <a:pt x="0" y="7091692"/>
                </a:lnTo>
                <a:lnTo>
                  <a:pt x="201069" y="7101878"/>
                </a:lnTo>
                <a:cubicBezTo>
                  <a:pt x="2021900" y="7101878"/>
                  <a:pt x="3503272" y="5620507"/>
                  <a:pt x="3503272" y="3799676"/>
                </a:cubicBezTo>
                <a:cubicBezTo>
                  <a:pt x="3503272" y="1978844"/>
                  <a:pt x="2021900" y="497473"/>
                  <a:pt x="201069" y="497473"/>
                </a:cubicBezTo>
                <a:lnTo>
                  <a:pt x="0" y="507659"/>
                </a:lnTo>
                <a:lnTo>
                  <a:pt x="0" y="336347"/>
                </a:lnTo>
                <a:lnTo>
                  <a:pt x="22786" y="334609"/>
                </a:lnTo>
                <a:cubicBezTo>
                  <a:pt x="81840" y="331605"/>
                  <a:pt x="141280" y="330085"/>
                  <a:pt x="201069" y="330085"/>
                </a:cubicBezTo>
                <a:cubicBezTo>
                  <a:pt x="2114297" y="330085"/>
                  <a:pt x="3670658" y="1886447"/>
                  <a:pt x="3670658" y="3799676"/>
                </a:cubicBezTo>
                <a:cubicBezTo>
                  <a:pt x="3670658" y="5712904"/>
                  <a:pt x="2114297" y="7269265"/>
                  <a:pt x="201069" y="7269265"/>
                </a:cubicBezTo>
                <a:cubicBezTo>
                  <a:pt x="141285" y="7269265"/>
                  <a:pt x="81851" y="7267745"/>
                  <a:pt x="22800" y="7264742"/>
                </a:cubicBezTo>
                <a:close/>
                <a:moveTo>
                  <a:pt x="0" y="7593891"/>
                </a:moveTo>
                <a:lnTo>
                  <a:pt x="0" y="7426126"/>
                </a:lnTo>
                <a:lnTo>
                  <a:pt x="14441" y="7427229"/>
                </a:lnTo>
                <a:cubicBezTo>
                  <a:pt x="76261" y="7430372"/>
                  <a:pt x="138483" y="7431963"/>
                  <a:pt x="201070" y="7431963"/>
                </a:cubicBezTo>
                <a:cubicBezTo>
                  <a:pt x="2203849" y="7431963"/>
                  <a:pt x="3833358" y="5802456"/>
                  <a:pt x="3833358" y="3799677"/>
                </a:cubicBezTo>
                <a:cubicBezTo>
                  <a:pt x="3833358" y="1796894"/>
                  <a:pt x="2203850" y="167387"/>
                  <a:pt x="201070" y="167387"/>
                </a:cubicBezTo>
                <a:cubicBezTo>
                  <a:pt x="138483" y="167387"/>
                  <a:pt x="76261" y="168978"/>
                  <a:pt x="14441" y="172123"/>
                </a:cubicBezTo>
                <a:lnTo>
                  <a:pt x="0" y="173224"/>
                </a:lnTo>
                <a:lnTo>
                  <a:pt x="0" y="5461"/>
                </a:lnTo>
                <a:lnTo>
                  <a:pt x="11538" y="4615"/>
                </a:lnTo>
                <a:cubicBezTo>
                  <a:pt x="74450" y="1544"/>
                  <a:pt x="137641" y="0"/>
                  <a:pt x="201070" y="0"/>
                </a:cubicBezTo>
                <a:cubicBezTo>
                  <a:pt x="1215935" y="0"/>
                  <a:pt x="2170205" y="395199"/>
                  <a:pt x="2887792" y="1112953"/>
                </a:cubicBezTo>
                <a:cubicBezTo>
                  <a:pt x="3605378" y="1830539"/>
                  <a:pt x="4000744" y="2784812"/>
                  <a:pt x="4000744" y="3799677"/>
                </a:cubicBezTo>
                <a:cubicBezTo>
                  <a:pt x="4000744" y="4814542"/>
                  <a:pt x="3605546" y="5768812"/>
                  <a:pt x="2887791" y="6486398"/>
                </a:cubicBezTo>
                <a:cubicBezTo>
                  <a:pt x="2170036" y="7203984"/>
                  <a:pt x="1215935" y="7599351"/>
                  <a:pt x="201070" y="7599351"/>
                </a:cubicBezTo>
                <a:cubicBezTo>
                  <a:pt x="137641" y="7599351"/>
                  <a:pt x="74449" y="7597807"/>
                  <a:pt x="11536" y="7594738"/>
                </a:cubicBezTo>
                <a:close/>
              </a:path>
            </a:pathLst>
          </a:custGeom>
          <a:solidFill>
            <a:schemeClr val="accent5">
              <a:alpha val="22000"/>
            </a:schemeClr>
          </a:solidFill>
          <a:ln w="6883" cap="flat">
            <a:noFill/>
            <a:prstDash val="solid"/>
            <a:miter/>
          </a:ln>
        </p:spPr>
        <p:txBody>
          <a:bodyPr wrap="square" rtlCol="0" anchor="ctr">
            <a:noAutofit/>
          </a:bodyPr>
          <a:lstStyle/>
          <a:p>
            <a:endParaRPr lang="en-US" sz="2000"/>
          </a:p>
        </p:txBody>
      </p:sp>
      <p:sp>
        <p:nvSpPr>
          <p:cNvPr id="93" name="Text Placeholder 3">
            <a:extLst>
              <a:ext uri="{FF2B5EF4-FFF2-40B4-BE49-F238E27FC236}">
                <a16:creationId xmlns:a16="http://schemas.microsoft.com/office/drawing/2014/main" id="{09E01744-4CF5-8307-468D-A2A7D90F91B0}"/>
              </a:ext>
            </a:extLst>
          </p:cNvPr>
          <p:cNvSpPr txBox="1">
            <a:spLocks/>
          </p:cNvSpPr>
          <p:nvPr/>
        </p:nvSpPr>
        <p:spPr>
          <a:xfrm>
            <a:off x="867276" y="6221650"/>
            <a:ext cx="10553700" cy="610423"/>
          </a:xfrm>
          <a:prstGeom prst="rect">
            <a:avLst/>
          </a:prstGeom>
          <a:ln>
            <a:noFill/>
          </a:ln>
        </p:spPr>
        <p:txBody>
          <a:bodyPr vert="horz" lIns="91440" tIns="45720" rIns="91440" bIns="45720" rtlCol="0" anchor="ctr">
            <a:noAutofit/>
          </a:bodyPr>
          <a:lstStyle>
            <a:lvl1pPr marL="171450" indent="-171450" algn="l" defTabSz="914400" rtl="0" eaLnBrk="1" latinLnBrk="0" hangingPunct="1">
              <a:lnSpc>
                <a:spcPct val="90000"/>
              </a:lnSpc>
              <a:spcBef>
                <a:spcPts val="1000"/>
              </a:spcBef>
              <a:buFont typeface="Arial" panose="020B0604020202020204" pitchFamily="34" charset="0"/>
              <a:buChar char="•"/>
              <a:tabLst/>
              <a:defRPr sz="2800" kern="1200">
                <a:solidFill>
                  <a:srgbClr val="133CCF"/>
                </a:solidFill>
                <a:latin typeface="+mn-lt"/>
                <a:ea typeface="+mn-ea"/>
                <a:cs typeface="+mn-cs"/>
              </a:defRPr>
            </a:lvl1pPr>
            <a:lvl2pPr marL="344488" indent="-173038" algn="l" defTabSz="914400" rtl="0" eaLnBrk="1" latinLnBrk="0" hangingPunct="1">
              <a:lnSpc>
                <a:spcPct val="90000"/>
              </a:lnSpc>
              <a:spcBef>
                <a:spcPts val="500"/>
              </a:spcBef>
              <a:buSzPct val="70000"/>
              <a:buFont typeface="Courier New" panose="02070309020205020404" pitchFamily="49" charset="0"/>
              <a:buChar char="o"/>
              <a:tabLst/>
              <a:defRPr sz="1800" kern="1200">
                <a:solidFill>
                  <a:srgbClr val="133CCF"/>
                </a:solidFill>
                <a:latin typeface="+mn-lt"/>
                <a:ea typeface="+mn-ea"/>
                <a:cs typeface="+mn-cs"/>
              </a:defRPr>
            </a:lvl2pPr>
            <a:lvl3pPr marL="517525" indent="-173038" algn="l" defTabSz="914400" rtl="0" eaLnBrk="1" latinLnBrk="0" hangingPunct="1">
              <a:lnSpc>
                <a:spcPct val="90000"/>
              </a:lnSpc>
              <a:spcBef>
                <a:spcPts val="500"/>
              </a:spcBef>
              <a:buFont typeface="Wingdings" pitchFamily="2" charset="2"/>
              <a:buChar char="§"/>
              <a:tabLst/>
              <a:defRPr sz="1800" kern="1200">
                <a:solidFill>
                  <a:srgbClr val="133CCF"/>
                </a:solidFill>
                <a:latin typeface="+mn-lt"/>
                <a:ea typeface="+mn-ea"/>
                <a:cs typeface="+mn-cs"/>
              </a:defRPr>
            </a:lvl3pPr>
            <a:lvl4pPr marL="690563" indent="-173038" algn="l" defTabSz="914400" rtl="0" eaLnBrk="1" latinLnBrk="0" hangingPunct="1">
              <a:lnSpc>
                <a:spcPct val="90000"/>
              </a:lnSpc>
              <a:spcBef>
                <a:spcPts val="500"/>
              </a:spcBef>
              <a:buSzPct val="70000"/>
              <a:buFont typeface="Wingdings" pitchFamily="2" charset="2"/>
              <a:buChar char="q"/>
              <a:tabLst/>
              <a:defRPr sz="1800" kern="1200">
                <a:solidFill>
                  <a:srgbClr val="133CCF"/>
                </a:solidFill>
                <a:latin typeface="+mn-lt"/>
                <a:ea typeface="+mn-ea"/>
                <a:cs typeface="+mn-cs"/>
              </a:defRPr>
            </a:lvl4pPr>
            <a:lvl5pPr marL="863600" indent="-173038" algn="l" defTabSz="914400" rtl="0" eaLnBrk="1" latinLnBrk="0" hangingPunct="1">
              <a:lnSpc>
                <a:spcPct val="90000"/>
              </a:lnSpc>
              <a:spcBef>
                <a:spcPts val="500"/>
              </a:spcBef>
              <a:buSzPct val="80000"/>
              <a:buFont typeface="Wingdings" pitchFamily="2" charset="2"/>
              <a:buChar char="v"/>
              <a:tabLst/>
              <a:defRPr sz="1800" kern="1200">
                <a:solidFill>
                  <a:srgbClr val="133CC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3100" b="1">
                <a:solidFill>
                  <a:schemeClr val="accent5"/>
                </a:solidFill>
                <a:ea typeface="+mj-ea"/>
                <a:cs typeface="+mj-cs"/>
              </a:rPr>
              <a:t>Solutions that span key sustainability categories</a:t>
            </a:r>
          </a:p>
        </p:txBody>
      </p:sp>
      <p:sp>
        <p:nvSpPr>
          <p:cNvPr id="95" name="Rectangle 94">
            <a:extLst>
              <a:ext uri="{FF2B5EF4-FFF2-40B4-BE49-F238E27FC236}">
                <a16:creationId xmlns:a16="http://schemas.microsoft.com/office/drawing/2014/main" id="{1C0EC5BC-FFA8-03C7-2AA6-663F7720C2BF}"/>
              </a:ext>
            </a:extLst>
          </p:cNvPr>
          <p:cNvSpPr/>
          <p:nvPr/>
        </p:nvSpPr>
        <p:spPr>
          <a:xfrm>
            <a:off x="5205412" y="4765445"/>
            <a:ext cx="1781176" cy="492443"/>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b="0" i="0" u="none" strike="noStrike" kern="1200" cap="none" spc="300" normalizeH="0" baseline="0" noProof="0">
                <a:ln>
                  <a:noFill/>
                </a:ln>
                <a:solidFill>
                  <a:schemeClr val="bg1"/>
                </a:solidFill>
                <a:effectLst/>
                <a:uLnTx/>
                <a:uFillTx/>
                <a:ea typeface="+mj-ea"/>
                <a:cs typeface="+mj-cs"/>
              </a:rPr>
              <a:t>ENERG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b="0" i="0" u="none" strike="noStrike" kern="1200" cap="none" spc="0" normalizeH="0" baseline="0" noProof="0">
                <a:ln>
                  <a:noFill/>
                </a:ln>
                <a:solidFill>
                  <a:schemeClr val="bg1"/>
                </a:solidFill>
                <a:effectLst/>
                <a:uLnTx/>
                <a:uFillTx/>
                <a:ea typeface="+mj-ea"/>
                <a:cs typeface="+mj-cs"/>
              </a:rPr>
              <a:t>FOR TOMORROW</a:t>
            </a:r>
          </a:p>
        </p:txBody>
      </p:sp>
      <p:sp>
        <p:nvSpPr>
          <p:cNvPr id="94" name="Rectangle 93">
            <a:extLst>
              <a:ext uri="{FF2B5EF4-FFF2-40B4-BE49-F238E27FC236}">
                <a16:creationId xmlns:a16="http://schemas.microsoft.com/office/drawing/2014/main" id="{71D7943F-60B1-A8AD-ECCC-04807EB51B86}"/>
              </a:ext>
            </a:extLst>
          </p:cNvPr>
          <p:cNvSpPr>
            <a:spLocks/>
          </p:cNvSpPr>
          <p:nvPr/>
        </p:nvSpPr>
        <p:spPr>
          <a:xfrm>
            <a:off x="982305" y="3662985"/>
            <a:ext cx="2259196" cy="492443"/>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b="0" i="0" u="none" strike="noStrike" kern="1200" cap="none" spc="300" normalizeH="0" baseline="0" noProof="0">
                <a:ln>
                  <a:noFill/>
                </a:ln>
                <a:solidFill>
                  <a:schemeClr val="bg1"/>
                </a:solidFill>
                <a:effectLst/>
                <a:uLnTx/>
                <a:uFillTx/>
                <a:ea typeface="+mj-ea"/>
                <a:cs typeface="+mj-cs"/>
              </a:rPr>
              <a:t>LEARNING</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b="0" i="0" u="none" strike="noStrike" kern="1200" cap="none" spc="0" normalizeH="0" baseline="0" noProof="0">
                <a:ln>
                  <a:noFill/>
                </a:ln>
                <a:solidFill>
                  <a:schemeClr val="bg1"/>
                </a:solidFill>
                <a:effectLst/>
                <a:uLnTx/>
                <a:uFillTx/>
                <a:ea typeface="+mj-ea"/>
                <a:cs typeface="+mj-cs"/>
              </a:rPr>
              <a:t>FOR TOMORROW</a:t>
            </a:r>
          </a:p>
        </p:txBody>
      </p:sp>
      <p:sp>
        <p:nvSpPr>
          <p:cNvPr id="97" name="Rectangle 96">
            <a:extLst>
              <a:ext uri="{FF2B5EF4-FFF2-40B4-BE49-F238E27FC236}">
                <a16:creationId xmlns:a16="http://schemas.microsoft.com/office/drawing/2014/main" id="{91BB182A-6D62-6334-B6C1-26B3E7208513}"/>
              </a:ext>
            </a:extLst>
          </p:cNvPr>
          <p:cNvSpPr>
            <a:spLocks/>
          </p:cNvSpPr>
          <p:nvPr/>
        </p:nvSpPr>
        <p:spPr>
          <a:xfrm>
            <a:off x="8886331" y="3797597"/>
            <a:ext cx="2259196" cy="492443"/>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IN" b="0" i="0" u="none" strike="noStrike" kern="1200" cap="none" spc="300" normalizeH="0" baseline="0" noProof="0">
                <a:ln>
                  <a:noFill/>
                </a:ln>
                <a:solidFill>
                  <a:schemeClr val="bg1"/>
                </a:solidFill>
                <a:effectLst/>
                <a:uLnTx/>
                <a:uFillTx/>
                <a:ea typeface="+mj-ea"/>
                <a:cs typeface="+mj-cs"/>
              </a:rPr>
              <a:t>PACKAGING</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IN" b="0" i="0" u="none" strike="noStrike" kern="1200" cap="none" spc="0" normalizeH="0" baseline="0" noProof="0">
                <a:ln>
                  <a:noFill/>
                </a:ln>
                <a:solidFill>
                  <a:schemeClr val="bg1"/>
                </a:solidFill>
                <a:effectLst/>
                <a:uLnTx/>
                <a:uFillTx/>
                <a:ea typeface="+mj-ea"/>
                <a:cs typeface="+mj-cs"/>
              </a:rPr>
              <a:t>FOR TOMORROW</a:t>
            </a:r>
          </a:p>
        </p:txBody>
      </p:sp>
      <p:sp>
        <p:nvSpPr>
          <p:cNvPr id="96" name="Rectangle 95">
            <a:extLst>
              <a:ext uri="{FF2B5EF4-FFF2-40B4-BE49-F238E27FC236}">
                <a16:creationId xmlns:a16="http://schemas.microsoft.com/office/drawing/2014/main" id="{66C80BE7-66C9-77CD-A096-88E478C783E6}"/>
              </a:ext>
            </a:extLst>
          </p:cNvPr>
          <p:cNvSpPr/>
          <p:nvPr/>
        </p:nvSpPr>
        <p:spPr>
          <a:xfrm>
            <a:off x="10174600" y="1553856"/>
            <a:ext cx="1781176" cy="492443"/>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IN" b="0" i="0" u="none" strike="noStrike" kern="1200" cap="none" spc="300" normalizeH="0" baseline="0" noProof="0">
                <a:ln>
                  <a:noFill/>
                </a:ln>
                <a:solidFill>
                  <a:schemeClr val="bg1"/>
                </a:solidFill>
                <a:effectLst/>
                <a:uLnTx/>
                <a:uFillTx/>
                <a:ea typeface="+mj-ea"/>
                <a:cs typeface="+mj-cs"/>
              </a:rPr>
              <a:t>RECYCLING</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IN" b="0" i="0" u="none" strike="noStrike" kern="1200" cap="none" spc="0" normalizeH="0" baseline="0" noProof="0">
                <a:ln>
                  <a:noFill/>
                </a:ln>
                <a:solidFill>
                  <a:schemeClr val="bg1"/>
                </a:solidFill>
                <a:effectLst/>
                <a:uLnTx/>
                <a:uFillTx/>
                <a:ea typeface="+mj-ea"/>
                <a:cs typeface="+mj-cs"/>
              </a:rPr>
              <a:t>FOR TOMORROW</a:t>
            </a:r>
          </a:p>
        </p:txBody>
      </p:sp>
      <p:sp>
        <p:nvSpPr>
          <p:cNvPr id="98" name="Rectangle 97">
            <a:extLst>
              <a:ext uri="{FF2B5EF4-FFF2-40B4-BE49-F238E27FC236}">
                <a16:creationId xmlns:a16="http://schemas.microsoft.com/office/drawing/2014/main" id="{F0E48CC6-1404-B4FB-BAAE-CC1A3FE405D3}"/>
              </a:ext>
            </a:extLst>
          </p:cNvPr>
          <p:cNvSpPr/>
          <p:nvPr/>
        </p:nvSpPr>
        <p:spPr>
          <a:xfrm>
            <a:off x="236224" y="1553856"/>
            <a:ext cx="1781176" cy="492443"/>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b="0" i="0" u="none" strike="noStrike" kern="1200" cap="none" spc="300" normalizeH="0" baseline="0" noProof="0">
                <a:ln>
                  <a:noFill/>
                </a:ln>
                <a:solidFill>
                  <a:schemeClr val="bg1"/>
                </a:solidFill>
                <a:effectLst/>
                <a:uLnTx/>
                <a:uFillTx/>
                <a:ea typeface="+mj-ea"/>
                <a:cs typeface="+mj-cs"/>
              </a:rPr>
              <a:t>AGRICULTUR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IN" b="0" i="0" u="none" strike="noStrike" kern="1200" cap="none" spc="0" normalizeH="0" baseline="0" noProof="0">
                <a:ln>
                  <a:noFill/>
                </a:ln>
                <a:solidFill>
                  <a:schemeClr val="bg1"/>
                </a:solidFill>
                <a:effectLst/>
                <a:uLnTx/>
                <a:uFillTx/>
                <a:ea typeface="+mj-ea"/>
                <a:cs typeface="+mj-cs"/>
              </a:rPr>
              <a:t>FOR TOMORROW</a:t>
            </a:r>
          </a:p>
        </p:txBody>
      </p:sp>
      <p:sp>
        <p:nvSpPr>
          <p:cNvPr id="22" name="Rectangle 21">
            <a:extLst>
              <a:ext uri="{FF2B5EF4-FFF2-40B4-BE49-F238E27FC236}">
                <a16:creationId xmlns:a16="http://schemas.microsoft.com/office/drawing/2014/main" id="{4772B4B3-DEAC-7A8E-279D-3C66EDC7B33D}"/>
              </a:ext>
            </a:extLst>
          </p:cNvPr>
          <p:cNvSpPr/>
          <p:nvPr/>
        </p:nvSpPr>
        <p:spPr>
          <a:xfrm>
            <a:off x="1309467" y="4276956"/>
            <a:ext cx="1899950" cy="760874"/>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r" defTabSz="914400" rtl="0" eaLnBrk="1" fontAlgn="auto" latinLnBrk="0" hangingPunct="1">
              <a:lnSpc>
                <a:spcPct val="100000"/>
              </a:lnSpc>
              <a:spcBef>
                <a:spcPts val="600"/>
              </a:spcBef>
              <a:spcAft>
                <a:spcPts val="0"/>
              </a:spcAft>
              <a:buClrTx/>
              <a:buSzTx/>
              <a:buFontTx/>
              <a:buNone/>
              <a:tabLst/>
              <a:defRPr/>
            </a:pPr>
            <a:r>
              <a:rPr kumimoji="0" lang="en-IN" sz="1600" b="1" i="0" u="none" strike="noStrike" kern="1200" cap="none" spc="0" normalizeH="0" baseline="0" noProof="0">
                <a:ln>
                  <a:noFill/>
                </a:ln>
                <a:solidFill>
                  <a:srgbClr val="8EDB43"/>
                </a:solidFill>
                <a:effectLst/>
                <a:uLnTx/>
                <a:uFillTx/>
                <a:ea typeface="+mj-ea"/>
                <a:cs typeface="+mj-cs"/>
              </a:rPr>
              <a:t>Sustainability Summit</a:t>
            </a:r>
          </a:p>
          <a:p>
            <a:pPr marL="0" marR="0" lvl="0" indent="0" algn="r" defTabSz="914400" rtl="0" eaLnBrk="1" fontAlgn="auto" latinLnBrk="0" hangingPunct="1">
              <a:lnSpc>
                <a:spcPct val="100000"/>
              </a:lnSpc>
              <a:spcBef>
                <a:spcPts val="600"/>
              </a:spcBef>
              <a:spcAft>
                <a:spcPts val="0"/>
              </a:spcAft>
              <a:buClrTx/>
              <a:buSzTx/>
              <a:buFontTx/>
              <a:buNone/>
              <a:tabLst/>
              <a:defRPr/>
            </a:pPr>
            <a:r>
              <a:rPr kumimoji="0" lang="en-IN" sz="1600" b="1" i="0" u="none" strike="noStrike" kern="1200" cap="none" spc="0" normalizeH="0" baseline="0" noProof="0">
                <a:ln>
                  <a:noFill/>
                </a:ln>
                <a:solidFill>
                  <a:srgbClr val="8EDB43"/>
                </a:solidFill>
                <a:effectLst/>
                <a:uLnTx/>
                <a:uFillTx/>
                <a:ea typeface="+mj-ea"/>
                <a:cs typeface="+mj-cs"/>
              </a:rPr>
              <a:t>Sustainability</a:t>
            </a:r>
            <a:br>
              <a:rPr kumimoji="0" lang="en-IN" sz="1600" b="1" i="0" u="none" strike="noStrike" kern="1200" cap="none" spc="0" normalizeH="0" baseline="0" noProof="0">
                <a:ln>
                  <a:noFill/>
                </a:ln>
                <a:solidFill>
                  <a:srgbClr val="8EDB43"/>
                </a:solidFill>
                <a:effectLst/>
                <a:uLnTx/>
                <a:uFillTx/>
                <a:ea typeface="+mj-ea"/>
                <a:cs typeface="+mj-cs"/>
              </a:rPr>
            </a:br>
            <a:r>
              <a:rPr kumimoji="0" lang="en-IN" sz="1600" b="1" i="0" u="none" strike="noStrike" kern="1200" cap="none" spc="0" normalizeH="0" baseline="0" noProof="0">
                <a:ln>
                  <a:noFill/>
                </a:ln>
                <a:solidFill>
                  <a:srgbClr val="8EDB43"/>
                </a:solidFill>
                <a:effectLst/>
                <a:uLnTx/>
                <a:uFillTx/>
                <a:ea typeface="+mj-ea"/>
                <a:cs typeface="+mj-cs"/>
              </a:rPr>
              <a:t>Action Center</a:t>
            </a:r>
            <a:endParaRPr kumimoji="0" lang="en-US" sz="1600" b="1" i="0" u="none" strike="noStrike" kern="1200" cap="none" spc="0" normalizeH="0" baseline="0" noProof="0">
              <a:ln>
                <a:noFill/>
              </a:ln>
              <a:solidFill>
                <a:srgbClr val="8EDB43"/>
              </a:solidFill>
              <a:effectLst/>
              <a:uLnTx/>
              <a:uFillTx/>
              <a:ea typeface="+mj-ea"/>
              <a:cs typeface="+mj-cs"/>
            </a:endParaRPr>
          </a:p>
        </p:txBody>
      </p:sp>
      <p:sp>
        <p:nvSpPr>
          <p:cNvPr id="24" name="Rectangle 23">
            <a:extLst>
              <a:ext uri="{FF2B5EF4-FFF2-40B4-BE49-F238E27FC236}">
                <a16:creationId xmlns:a16="http://schemas.microsoft.com/office/drawing/2014/main" id="{01C8EF56-1E4D-083B-D418-CDEB406D4763}"/>
              </a:ext>
            </a:extLst>
          </p:cNvPr>
          <p:cNvSpPr>
            <a:spLocks/>
          </p:cNvSpPr>
          <p:nvPr/>
        </p:nvSpPr>
        <p:spPr>
          <a:xfrm>
            <a:off x="10174600" y="2116950"/>
            <a:ext cx="2017400" cy="646331"/>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defTabSz="914400" rtl="0" eaLnBrk="1" fontAlgn="auto" latinLnBrk="0" hangingPunct="1">
              <a:lnSpc>
                <a:spcPct val="100000"/>
              </a:lnSpc>
              <a:spcBef>
                <a:spcPts val="600"/>
              </a:spcBef>
              <a:spcAft>
                <a:spcPts val="0"/>
              </a:spcAft>
              <a:buClrTx/>
              <a:buSzTx/>
              <a:buFontTx/>
              <a:buNone/>
              <a:tabLst/>
              <a:defRPr/>
            </a:pPr>
            <a:r>
              <a:rPr kumimoji="0" lang="en-IN" sz="1600" b="1" i="0" u="none" strike="noStrike" kern="1200" cap="none" spc="0" normalizeH="0" baseline="0" noProof="0" dirty="0">
                <a:ln>
                  <a:noFill/>
                </a:ln>
                <a:solidFill>
                  <a:srgbClr val="8EDB43"/>
                </a:solidFill>
                <a:effectLst/>
                <a:uLnTx/>
                <a:uFillTx/>
                <a:ea typeface="+mj-ea"/>
                <a:cs typeface="+mj-cs"/>
              </a:rPr>
              <a:t>CIRQU </a:t>
            </a:r>
            <a:br>
              <a:rPr kumimoji="0" lang="en-IN" sz="1600" b="1" i="0" u="none" strike="noStrike" kern="1200" cap="none" spc="0" normalizeH="0" baseline="0" noProof="0" dirty="0">
                <a:ln>
                  <a:noFill/>
                </a:ln>
                <a:solidFill>
                  <a:srgbClr val="8EDB43"/>
                </a:solidFill>
                <a:effectLst/>
                <a:uLnTx/>
                <a:uFillTx/>
                <a:ea typeface="+mj-ea"/>
                <a:cs typeface="+mj-cs"/>
              </a:rPr>
            </a:br>
            <a:r>
              <a:rPr kumimoji="0" lang="en-IN" sz="1600" b="1" i="0" u="none" strike="noStrike" kern="1200" cap="none" spc="0" normalizeH="0" baseline="0" noProof="0" dirty="0">
                <a:ln>
                  <a:noFill/>
                </a:ln>
                <a:solidFill>
                  <a:srgbClr val="8EDB43"/>
                </a:solidFill>
                <a:effectLst/>
                <a:uLnTx/>
                <a:uFillTx/>
                <a:ea typeface="+mj-ea"/>
                <a:cs typeface="+mj-cs"/>
              </a:rPr>
              <a:t>Oscar Sort</a:t>
            </a:r>
          </a:p>
          <a:p>
            <a:pPr marL="0" marR="0" lvl="0" indent="0" defTabSz="914400" rtl="0" eaLnBrk="1" fontAlgn="auto" latinLnBrk="0" hangingPunct="1">
              <a:lnSpc>
                <a:spcPct val="100000"/>
              </a:lnSpc>
              <a:spcBef>
                <a:spcPts val="600"/>
              </a:spcBef>
              <a:spcAft>
                <a:spcPts val="0"/>
              </a:spcAft>
              <a:buClrTx/>
              <a:buSzTx/>
              <a:buFontTx/>
              <a:buNone/>
              <a:tabLst/>
              <a:defRPr/>
            </a:pPr>
            <a:r>
              <a:rPr kumimoji="0" lang="en-IN" sz="1600" b="1" i="0" u="none" strike="noStrike" kern="1200" cap="none" spc="0" normalizeH="0" baseline="0" noProof="0" dirty="0">
                <a:ln>
                  <a:noFill/>
                </a:ln>
                <a:solidFill>
                  <a:srgbClr val="8EDB43"/>
                </a:solidFill>
                <a:effectLst/>
                <a:uLnTx/>
                <a:uFillTx/>
                <a:ea typeface="+mj-ea"/>
                <a:cs typeface="+mj-cs"/>
              </a:rPr>
              <a:t>Recycling Bins</a:t>
            </a:r>
            <a:br>
              <a:rPr kumimoji="0" lang="en-IN" sz="1600" b="1" i="0" u="none" strike="noStrike" kern="1200" cap="none" spc="0" normalizeH="0" baseline="0" noProof="0" dirty="0">
                <a:ln>
                  <a:noFill/>
                </a:ln>
                <a:solidFill>
                  <a:srgbClr val="8EDB43"/>
                </a:solidFill>
                <a:effectLst/>
                <a:uLnTx/>
                <a:uFillTx/>
                <a:ea typeface="+mj-ea"/>
                <a:cs typeface="+mj-cs"/>
              </a:rPr>
            </a:br>
            <a:r>
              <a:rPr kumimoji="0" lang="en-IN" sz="1600" b="1" i="0" u="none" strike="noStrike" kern="1200" cap="none" spc="0" normalizeH="0" baseline="0" noProof="0" dirty="0">
                <a:ln>
                  <a:noFill/>
                </a:ln>
                <a:solidFill>
                  <a:srgbClr val="8EDB43"/>
                </a:solidFill>
                <a:effectLst/>
                <a:uLnTx/>
                <a:uFillTx/>
                <a:ea typeface="+mj-ea"/>
                <a:cs typeface="+mj-cs"/>
              </a:rPr>
              <a:t>Recycle Rally</a:t>
            </a:r>
          </a:p>
          <a:p>
            <a:pPr marL="0" marR="0" lvl="0" indent="0" defTabSz="914400" rtl="0" eaLnBrk="1" fontAlgn="auto" latinLnBrk="0" hangingPunct="1">
              <a:lnSpc>
                <a:spcPct val="100000"/>
              </a:lnSpc>
              <a:spcBef>
                <a:spcPts val="600"/>
              </a:spcBef>
              <a:spcAft>
                <a:spcPts val="0"/>
              </a:spcAft>
              <a:buClrTx/>
              <a:buSzTx/>
              <a:buFontTx/>
              <a:buNone/>
              <a:tabLst/>
              <a:defRPr/>
            </a:pPr>
            <a:r>
              <a:rPr lang="en-IN" sz="1600" b="1">
                <a:solidFill>
                  <a:srgbClr val="8EDB43"/>
                </a:solidFill>
                <a:ea typeface="+mj-ea"/>
                <a:cs typeface="+mj-cs"/>
              </a:rPr>
              <a:t>Olyns </a:t>
            </a:r>
            <a:r>
              <a:rPr lang="en-IN" sz="1600" b="1" dirty="0">
                <a:solidFill>
                  <a:srgbClr val="8EDB43"/>
                </a:solidFill>
                <a:ea typeface="+mj-ea"/>
                <a:cs typeface="+mj-cs"/>
              </a:rPr>
              <a:t>Reverse Vending</a:t>
            </a:r>
            <a:endParaRPr kumimoji="0" lang="en-US" sz="1600" b="1" i="0" u="none" strike="noStrike" kern="1200" cap="none" spc="0" normalizeH="0" baseline="0" noProof="0" dirty="0">
              <a:ln>
                <a:noFill/>
              </a:ln>
              <a:solidFill>
                <a:srgbClr val="8EDB43"/>
              </a:solidFill>
              <a:effectLst/>
              <a:uLnTx/>
              <a:uFillTx/>
              <a:ea typeface="+mj-ea"/>
              <a:cs typeface="+mj-cs"/>
            </a:endParaRPr>
          </a:p>
        </p:txBody>
      </p:sp>
      <p:sp>
        <p:nvSpPr>
          <p:cNvPr id="25" name="Rectangle 24">
            <a:extLst>
              <a:ext uri="{FF2B5EF4-FFF2-40B4-BE49-F238E27FC236}">
                <a16:creationId xmlns:a16="http://schemas.microsoft.com/office/drawing/2014/main" id="{EEE92EF4-47A2-C697-60D0-9A33B3AE4281}"/>
              </a:ext>
            </a:extLst>
          </p:cNvPr>
          <p:cNvSpPr/>
          <p:nvPr/>
        </p:nvSpPr>
        <p:spPr>
          <a:xfrm>
            <a:off x="8886330" y="4423728"/>
            <a:ext cx="2528825" cy="1243265"/>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a:spcBef>
                <a:spcPts val="600"/>
              </a:spcBef>
              <a:defRPr/>
            </a:pPr>
            <a:r>
              <a:rPr kumimoji="0" lang="en-IN" sz="1600" b="1" i="0" u="none" strike="noStrike" kern="1200" cap="none" spc="0" normalizeH="0" baseline="0" noProof="0">
                <a:ln>
                  <a:noFill/>
                </a:ln>
                <a:solidFill>
                  <a:srgbClr val="8EDB43"/>
                </a:solidFill>
                <a:effectLst/>
                <a:uLnTx/>
                <a:uFillTx/>
                <a:ea typeface="+mj-ea"/>
                <a:cs typeface="+mj-cs"/>
              </a:rPr>
              <a:t>Sustainable Cups</a:t>
            </a:r>
          </a:p>
          <a:p>
            <a:pPr marL="0" marR="0" lvl="0" indent="0" defTabSz="914400" rtl="0" eaLnBrk="1" fontAlgn="auto" latinLnBrk="0" hangingPunct="1">
              <a:lnSpc>
                <a:spcPct val="100000"/>
              </a:lnSpc>
              <a:spcBef>
                <a:spcPts val="600"/>
              </a:spcBef>
              <a:spcAft>
                <a:spcPts val="0"/>
              </a:spcAft>
              <a:buClrTx/>
              <a:buSzTx/>
              <a:buFontTx/>
              <a:buNone/>
              <a:tabLst/>
              <a:defRPr/>
            </a:pPr>
            <a:endParaRPr lang="en-IN" sz="1600" b="1">
              <a:solidFill>
                <a:srgbClr val="8EDB43"/>
              </a:solidFill>
              <a:ea typeface="+mj-ea"/>
              <a:cs typeface="+mj-cs"/>
            </a:endParaRPr>
          </a:p>
          <a:p>
            <a:pPr marL="0" marR="0" lvl="0" indent="0" defTabSz="914400" rtl="0" eaLnBrk="1" fontAlgn="auto" latinLnBrk="0" hangingPunct="1">
              <a:lnSpc>
                <a:spcPct val="100000"/>
              </a:lnSpc>
              <a:spcBef>
                <a:spcPts val="600"/>
              </a:spcBef>
              <a:spcAft>
                <a:spcPts val="0"/>
              </a:spcAft>
              <a:buClrTx/>
              <a:buSzTx/>
              <a:buFontTx/>
              <a:buNone/>
              <a:tabLst/>
              <a:defRPr/>
            </a:pPr>
            <a:endParaRPr kumimoji="0" lang="en-US" sz="1600" b="1" i="0" u="none" strike="noStrike" kern="1200" cap="none" spc="0" normalizeH="0" baseline="0" noProof="0">
              <a:ln>
                <a:noFill/>
              </a:ln>
              <a:solidFill>
                <a:srgbClr val="8EDB43"/>
              </a:solidFill>
              <a:effectLst/>
              <a:uLnTx/>
              <a:uFillTx/>
              <a:ea typeface="+mj-ea"/>
              <a:cs typeface="+mj-cs"/>
            </a:endParaRPr>
          </a:p>
        </p:txBody>
      </p:sp>
      <p:sp>
        <p:nvSpPr>
          <p:cNvPr id="26" name="Rectangle 25">
            <a:extLst>
              <a:ext uri="{FF2B5EF4-FFF2-40B4-BE49-F238E27FC236}">
                <a16:creationId xmlns:a16="http://schemas.microsoft.com/office/drawing/2014/main" id="{EB72DBED-A601-4221-B465-325473C3726F}"/>
              </a:ext>
            </a:extLst>
          </p:cNvPr>
          <p:cNvSpPr>
            <a:spLocks/>
          </p:cNvSpPr>
          <p:nvPr/>
        </p:nvSpPr>
        <p:spPr>
          <a:xfrm>
            <a:off x="279197" y="2116950"/>
            <a:ext cx="1738203" cy="402367"/>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r" defTabSz="914400" rtl="0" eaLnBrk="1" fontAlgn="auto" latinLnBrk="0" hangingPunct="1">
              <a:lnSpc>
                <a:spcPct val="100000"/>
              </a:lnSpc>
              <a:spcBef>
                <a:spcPts val="600"/>
              </a:spcBef>
              <a:spcAft>
                <a:spcPts val="0"/>
              </a:spcAft>
              <a:buClrTx/>
              <a:buSzTx/>
              <a:buFontTx/>
              <a:buNone/>
              <a:tabLst/>
              <a:defRPr/>
            </a:pPr>
            <a:r>
              <a:rPr kumimoji="0" lang="en-IN" sz="1600" b="1" i="0" u="none" strike="noStrike" kern="1200" cap="none" spc="0" normalizeH="0" baseline="0" noProof="0">
                <a:ln>
                  <a:noFill/>
                </a:ln>
                <a:solidFill>
                  <a:srgbClr val="8EDB43"/>
                </a:solidFill>
                <a:effectLst/>
                <a:uLnTx/>
                <a:uFillTx/>
                <a:ea typeface="+mj-ea"/>
                <a:cs typeface="+mj-cs"/>
              </a:rPr>
              <a:t>Sow Positive (Sow+)</a:t>
            </a:r>
            <a:endParaRPr kumimoji="0" lang="en-US" sz="1600" b="1" i="0" u="none" strike="noStrike" kern="1200" cap="none" spc="0" normalizeH="0" baseline="0" noProof="0">
              <a:ln>
                <a:noFill/>
              </a:ln>
              <a:solidFill>
                <a:srgbClr val="8EDB43"/>
              </a:solidFill>
              <a:effectLst/>
              <a:uLnTx/>
              <a:uFillTx/>
              <a:ea typeface="+mj-ea"/>
              <a:cs typeface="+mj-cs"/>
            </a:endParaRPr>
          </a:p>
        </p:txBody>
      </p:sp>
      <p:pic>
        <p:nvPicPr>
          <p:cNvPr id="110" name="Picture 109">
            <a:extLst>
              <a:ext uri="{FF2B5EF4-FFF2-40B4-BE49-F238E27FC236}">
                <a16:creationId xmlns:a16="http://schemas.microsoft.com/office/drawing/2014/main" id="{CED3B19C-AD5F-D90D-1910-5B573208820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flipH="1">
            <a:off x="10973958" y="-1389"/>
            <a:ext cx="1218041" cy="1054204"/>
          </a:xfrm>
          <a:prstGeom prst="rect">
            <a:avLst/>
          </a:prstGeom>
        </p:spPr>
      </p:pic>
      <p:pic>
        <p:nvPicPr>
          <p:cNvPr id="80" name="Picture 79" descr="Diagram&#10;&#10;Description automatically generated">
            <a:extLst>
              <a:ext uri="{FF2B5EF4-FFF2-40B4-BE49-F238E27FC236}">
                <a16:creationId xmlns:a16="http://schemas.microsoft.com/office/drawing/2014/main" id="{F189CCCE-2726-4FE9-9791-AC0E25CB951E}"/>
              </a:ext>
            </a:extLst>
          </p:cNvPr>
          <p:cNvPicPr>
            <a:picLocks/>
          </p:cNvPicPr>
          <p:nvPr/>
        </p:nvPicPr>
        <p:blipFill rotWithShape="1">
          <a:blip r:embed="rId9">
            <a:extLst>
              <a:ext uri="{28A0092B-C50C-407E-A947-70E740481C1C}">
                <a14:useLocalDpi xmlns:a14="http://schemas.microsoft.com/office/drawing/2010/main"/>
              </a:ext>
            </a:extLst>
          </a:blip>
          <a:srcRect l="74471" t="4690" r="15972" b="78413"/>
          <a:stretch/>
        </p:blipFill>
        <p:spPr>
          <a:xfrm>
            <a:off x="5513387" y="3438531"/>
            <a:ext cx="1165226" cy="1158876"/>
          </a:xfrm>
          <a:custGeom>
            <a:avLst/>
            <a:gdLst>
              <a:gd name="connsiteX0" fmla="*/ 582613 w 1165226"/>
              <a:gd name="connsiteY0" fmla="*/ 0 h 1158876"/>
              <a:gd name="connsiteX1" fmla="*/ 1165226 w 1165226"/>
              <a:gd name="connsiteY1" fmla="*/ 579438 h 1158876"/>
              <a:gd name="connsiteX2" fmla="*/ 582613 w 1165226"/>
              <a:gd name="connsiteY2" fmla="*/ 1158876 h 1158876"/>
              <a:gd name="connsiteX3" fmla="*/ 0 w 1165226"/>
              <a:gd name="connsiteY3" fmla="*/ 579438 h 1158876"/>
              <a:gd name="connsiteX4" fmla="*/ 582613 w 1165226"/>
              <a:gd name="connsiteY4" fmla="*/ 0 h 1158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226" h="1158876">
                <a:moveTo>
                  <a:pt x="582613" y="0"/>
                </a:moveTo>
                <a:cubicBezTo>
                  <a:pt x="904381" y="0"/>
                  <a:pt x="1165226" y="259423"/>
                  <a:pt x="1165226" y="579438"/>
                </a:cubicBezTo>
                <a:cubicBezTo>
                  <a:pt x="1165226" y="899453"/>
                  <a:pt x="904381" y="1158876"/>
                  <a:pt x="582613" y="1158876"/>
                </a:cubicBezTo>
                <a:cubicBezTo>
                  <a:pt x="260845" y="1158876"/>
                  <a:pt x="0" y="899453"/>
                  <a:pt x="0" y="579438"/>
                </a:cubicBezTo>
                <a:cubicBezTo>
                  <a:pt x="0" y="259423"/>
                  <a:pt x="260845" y="0"/>
                  <a:pt x="582613" y="0"/>
                </a:cubicBezTo>
                <a:close/>
              </a:path>
            </a:pathLst>
          </a:custGeom>
          <a:ln w="6350">
            <a:solidFill>
              <a:srgbClr val="0052DB"/>
            </a:solidFill>
          </a:ln>
        </p:spPr>
      </p:pic>
      <p:grpSp>
        <p:nvGrpSpPr>
          <p:cNvPr id="393" name="Group 392">
            <a:extLst>
              <a:ext uri="{FF2B5EF4-FFF2-40B4-BE49-F238E27FC236}">
                <a16:creationId xmlns:a16="http://schemas.microsoft.com/office/drawing/2014/main" id="{1DC2A775-7F8A-C7BD-C6C1-0D7EF550CD21}"/>
              </a:ext>
            </a:extLst>
          </p:cNvPr>
          <p:cNvGrpSpPr/>
          <p:nvPr/>
        </p:nvGrpSpPr>
        <p:grpSpPr>
          <a:xfrm>
            <a:off x="248694" y="5330037"/>
            <a:ext cx="768663" cy="912391"/>
            <a:chOff x="352476" y="5607096"/>
            <a:chExt cx="619761" cy="735647"/>
          </a:xfrm>
        </p:grpSpPr>
        <p:sp>
          <p:nvSpPr>
            <p:cNvPr id="319" name="object 54">
              <a:extLst>
                <a:ext uri="{FF2B5EF4-FFF2-40B4-BE49-F238E27FC236}">
                  <a16:creationId xmlns:a16="http://schemas.microsoft.com/office/drawing/2014/main" id="{E514F0E0-B278-C065-6BB3-FD8357B8C793}"/>
                </a:ext>
              </a:extLst>
            </p:cNvPr>
            <p:cNvSpPr/>
            <p:nvPr/>
          </p:nvSpPr>
          <p:spPr>
            <a:xfrm>
              <a:off x="497892" y="5868398"/>
              <a:ext cx="474345" cy="474345"/>
            </a:xfrm>
            <a:custGeom>
              <a:avLst/>
              <a:gdLst/>
              <a:ahLst/>
              <a:cxnLst/>
              <a:rect l="l" t="t" r="r" b="b"/>
              <a:pathLst>
                <a:path w="474345" h="474345">
                  <a:moveTo>
                    <a:pt x="267887" y="0"/>
                  </a:moveTo>
                  <a:lnTo>
                    <a:pt x="206224" y="0"/>
                  </a:lnTo>
                  <a:lnTo>
                    <a:pt x="194722" y="2338"/>
                  </a:lnTo>
                  <a:lnTo>
                    <a:pt x="185303" y="8706"/>
                  </a:lnTo>
                  <a:lnTo>
                    <a:pt x="178939" y="18129"/>
                  </a:lnTo>
                  <a:lnTo>
                    <a:pt x="176601" y="29632"/>
                  </a:lnTo>
                  <a:lnTo>
                    <a:pt x="176601" y="176601"/>
                  </a:lnTo>
                  <a:lnTo>
                    <a:pt x="29622" y="176601"/>
                  </a:lnTo>
                  <a:lnTo>
                    <a:pt x="18120" y="178940"/>
                  </a:lnTo>
                  <a:lnTo>
                    <a:pt x="8701" y="185308"/>
                  </a:lnTo>
                  <a:lnTo>
                    <a:pt x="2337" y="194730"/>
                  </a:lnTo>
                  <a:lnTo>
                    <a:pt x="0" y="206234"/>
                  </a:lnTo>
                  <a:lnTo>
                    <a:pt x="0" y="267887"/>
                  </a:lnTo>
                  <a:lnTo>
                    <a:pt x="2337" y="279389"/>
                  </a:lnTo>
                  <a:lnTo>
                    <a:pt x="8701" y="288807"/>
                  </a:lnTo>
                  <a:lnTo>
                    <a:pt x="18120" y="295171"/>
                  </a:lnTo>
                  <a:lnTo>
                    <a:pt x="29622" y="297509"/>
                  </a:lnTo>
                  <a:lnTo>
                    <a:pt x="176601" y="297509"/>
                  </a:lnTo>
                  <a:lnTo>
                    <a:pt x="176601" y="444489"/>
                  </a:lnTo>
                  <a:lnTo>
                    <a:pt x="178939" y="455991"/>
                  </a:lnTo>
                  <a:lnTo>
                    <a:pt x="185303" y="465409"/>
                  </a:lnTo>
                  <a:lnTo>
                    <a:pt x="194722" y="471773"/>
                  </a:lnTo>
                  <a:lnTo>
                    <a:pt x="206224" y="474111"/>
                  </a:lnTo>
                  <a:lnTo>
                    <a:pt x="267887" y="474111"/>
                  </a:lnTo>
                  <a:lnTo>
                    <a:pt x="279389" y="471773"/>
                  </a:lnTo>
                  <a:lnTo>
                    <a:pt x="288807" y="465409"/>
                  </a:lnTo>
                  <a:lnTo>
                    <a:pt x="295171" y="455991"/>
                  </a:lnTo>
                  <a:lnTo>
                    <a:pt x="297509" y="444489"/>
                  </a:lnTo>
                  <a:lnTo>
                    <a:pt x="297509" y="297509"/>
                  </a:lnTo>
                  <a:lnTo>
                    <a:pt x="444489" y="297509"/>
                  </a:lnTo>
                  <a:lnTo>
                    <a:pt x="455991" y="295171"/>
                  </a:lnTo>
                  <a:lnTo>
                    <a:pt x="465409" y="288807"/>
                  </a:lnTo>
                  <a:lnTo>
                    <a:pt x="471773" y="279389"/>
                  </a:lnTo>
                  <a:lnTo>
                    <a:pt x="474111" y="267887"/>
                  </a:lnTo>
                  <a:lnTo>
                    <a:pt x="474111" y="206234"/>
                  </a:lnTo>
                  <a:lnTo>
                    <a:pt x="471773" y="194730"/>
                  </a:lnTo>
                  <a:lnTo>
                    <a:pt x="465409" y="185308"/>
                  </a:lnTo>
                  <a:lnTo>
                    <a:pt x="455991" y="178940"/>
                  </a:lnTo>
                  <a:lnTo>
                    <a:pt x="444489" y="176601"/>
                  </a:lnTo>
                  <a:lnTo>
                    <a:pt x="297509" y="176601"/>
                  </a:lnTo>
                  <a:lnTo>
                    <a:pt x="297509" y="29632"/>
                  </a:lnTo>
                  <a:lnTo>
                    <a:pt x="295171" y="18129"/>
                  </a:lnTo>
                  <a:lnTo>
                    <a:pt x="288807" y="8706"/>
                  </a:lnTo>
                  <a:lnTo>
                    <a:pt x="279389" y="2338"/>
                  </a:lnTo>
                  <a:lnTo>
                    <a:pt x="267887" y="0"/>
                  </a:lnTo>
                  <a:close/>
                </a:path>
              </a:pathLst>
            </a:custGeom>
            <a:solidFill>
              <a:srgbClr val="FFC629"/>
            </a:solidFill>
          </p:spPr>
          <p:txBody>
            <a:bodyPr wrap="square" lIns="0" tIns="0" rIns="0" bIns="0" rtlCol="0"/>
            <a:lstStyle/>
            <a:p>
              <a:endParaRPr/>
            </a:p>
          </p:txBody>
        </p:sp>
        <p:sp>
          <p:nvSpPr>
            <p:cNvPr id="320" name="object 56">
              <a:extLst>
                <a:ext uri="{FF2B5EF4-FFF2-40B4-BE49-F238E27FC236}">
                  <a16:creationId xmlns:a16="http://schemas.microsoft.com/office/drawing/2014/main" id="{FC675250-291F-D311-791C-AD7B2C468C6B}"/>
                </a:ext>
              </a:extLst>
            </p:cNvPr>
            <p:cNvSpPr/>
            <p:nvPr/>
          </p:nvSpPr>
          <p:spPr>
            <a:xfrm>
              <a:off x="352476" y="5607096"/>
              <a:ext cx="290830" cy="290830"/>
            </a:xfrm>
            <a:custGeom>
              <a:avLst/>
              <a:gdLst/>
              <a:ahLst/>
              <a:cxnLst/>
              <a:rect l="l" t="t" r="r" b="b"/>
              <a:pathLst>
                <a:path w="290830" h="290829">
                  <a:moveTo>
                    <a:pt x="164152" y="0"/>
                  </a:moveTo>
                  <a:lnTo>
                    <a:pt x="126373" y="0"/>
                  </a:lnTo>
                  <a:lnTo>
                    <a:pt x="119321" y="1433"/>
                  </a:lnTo>
                  <a:lnTo>
                    <a:pt x="113548" y="5336"/>
                  </a:lnTo>
                  <a:lnTo>
                    <a:pt x="109648" y="11109"/>
                  </a:lnTo>
                  <a:lnTo>
                    <a:pt x="108216" y="18156"/>
                  </a:lnTo>
                  <a:lnTo>
                    <a:pt x="108216" y="108216"/>
                  </a:lnTo>
                  <a:lnTo>
                    <a:pt x="18156" y="108216"/>
                  </a:lnTo>
                  <a:lnTo>
                    <a:pt x="11105" y="109650"/>
                  </a:lnTo>
                  <a:lnTo>
                    <a:pt x="5332" y="113552"/>
                  </a:lnTo>
                  <a:lnTo>
                    <a:pt x="1432" y="119326"/>
                  </a:lnTo>
                  <a:lnTo>
                    <a:pt x="0" y="126373"/>
                  </a:lnTo>
                  <a:lnTo>
                    <a:pt x="0" y="164152"/>
                  </a:lnTo>
                  <a:lnTo>
                    <a:pt x="1432" y="171198"/>
                  </a:lnTo>
                  <a:lnTo>
                    <a:pt x="5332" y="176972"/>
                  </a:lnTo>
                  <a:lnTo>
                    <a:pt x="11105" y="180874"/>
                  </a:lnTo>
                  <a:lnTo>
                    <a:pt x="18156" y="182308"/>
                  </a:lnTo>
                  <a:lnTo>
                    <a:pt x="108216" y="182308"/>
                  </a:lnTo>
                  <a:lnTo>
                    <a:pt x="108216" y="272368"/>
                  </a:lnTo>
                  <a:lnTo>
                    <a:pt x="109648" y="279419"/>
                  </a:lnTo>
                  <a:lnTo>
                    <a:pt x="113548" y="285192"/>
                  </a:lnTo>
                  <a:lnTo>
                    <a:pt x="119321" y="289092"/>
                  </a:lnTo>
                  <a:lnTo>
                    <a:pt x="126373" y="290525"/>
                  </a:lnTo>
                  <a:lnTo>
                    <a:pt x="164152" y="290525"/>
                  </a:lnTo>
                  <a:lnTo>
                    <a:pt x="171203" y="289092"/>
                  </a:lnTo>
                  <a:lnTo>
                    <a:pt x="176976" y="285192"/>
                  </a:lnTo>
                  <a:lnTo>
                    <a:pt x="180876" y="279419"/>
                  </a:lnTo>
                  <a:lnTo>
                    <a:pt x="182308" y="272368"/>
                  </a:lnTo>
                  <a:lnTo>
                    <a:pt x="182308" y="182308"/>
                  </a:lnTo>
                  <a:lnTo>
                    <a:pt x="272368" y="182308"/>
                  </a:lnTo>
                  <a:lnTo>
                    <a:pt x="279419" y="180874"/>
                  </a:lnTo>
                  <a:lnTo>
                    <a:pt x="285192" y="176972"/>
                  </a:lnTo>
                  <a:lnTo>
                    <a:pt x="289092" y="171198"/>
                  </a:lnTo>
                  <a:lnTo>
                    <a:pt x="290525" y="164152"/>
                  </a:lnTo>
                  <a:lnTo>
                    <a:pt x="290525" y="126373"/>
                  </a:lnTo>
                  <a:lnTo>
                    <a:pt x="289092" y="119326"/>
                  </a:lnTo>
                  <a:lnTo>
                    <a:pt x="285192" y="113552"/>
                  </a:lnTo>
                  <a:lnTo>
                    <a:pt x="279419" y="109650"/>
                  </a:lnTo>
                  <a:lnTo>
                    <a:pt x="272368" y="108216"/>
                  </a:lnTo>
                  <a:lnTo>
                    <a:pt x="182308" y="108216"/>
                  </a:lnTo>
                  <a:lnTo>
                    <a:pt x="182308" y="18156"/>
                  </a:lnTo>
                  <a:lnTo>
                    <a:pt x="180876" y="11109"/>
                  </a:lnTo>
                  <a:lnTo>
                    <a:pt x="176976" y="5336"/>
                  </a:lnTo>
                  <a:lnTo>
                    <a:pt x="171203" y="1433"/>
                  </a:lnTo>
                  <a:lnTo>
                    <a:pt x="164152" y="0"/>
                  </a:lnTo>
                  <a:close/>
                </a:path>
              </a:pathLst>
            </a:custGeom>
            <a:solidFill>
              <a:srgbClr val="4FD9EA"/>
            </a:solidFill>
          </p:spPr>
          <p:txBody>
            <a:bodyPr wrap="square" lIns="0" tIns="0" rIns="0" bIns="0" rtlCol="0"/>
            <a:lstStyle/>
            <a:p>
              <a:endParaRPr/>
            </a:p>
          </p:txBody>
        </p:sp>
      </p:grpSp>
      <p:sp>
        <p:nvSpPr>
          <p:cNvPr id="338" name="Freeform: Shape 337">
            <a:extLst>
              <a:ext uri="{FF2B5EF4-FFF2-40B4-BE49-F238E27FC236}">
                <a16:creationId xmlns:a16="http://schemas.microsoft.com/office/drawing/2014/main" id="{04C8DF6A-B0EF-9BF1-4CBE-EF7CB273DC91}"/>
              </a:ext>
            </a:extLst>
          </p:cNvPr>
          <p:cNvSpPr/>
          <p:nvPr/>
        </p:nvSpPr>
        <p:spPr>
          <a:xfrm>
            <a:off x="775282" y="549635"/>
            <a:ext cx="302631" cy="302596"/>
          </a:xfrm>
          <a:custGeom>
            <a:avLst/>
            <a:gdLst>
              <a:gd name="connsiteX0" fmla="*/ 0 w 292642"/>
              <a:gd name="connsiteY0" fmla="*/ 165316 h 292608"/>
              <a:gd name="connsiteX1" fmla="*/ 0 w 292642"/>
              <a:gd name="connsiteY1" fmla="*/ 127257 h 292608"/>
              <a:gd name="connsiteX2" fmla="*/ 18279 w 292642"/>
              <a:gd name="connsiteY2" fmla="*/ 108978 h 292608"/>
              <a:gd name="connsiteX3" fmla="*/ 109013 w 292642"/>
              <a:gd name="connsiteY3" fmla="*/ 108978 h 292608"/>
              <a:gd name="connsiteX4" fmla="*/ 109013 w 292642"/>
              <a:gd name="connsiteY4" fmla="*/ 18279 h 292608"/>
              <a:gd name="connsiteX5" fmla="*/ 127292 w 292642"/>
              <a:gd name="connsiteY5" fmla="*/ 0 h 292608"/>
              <a:gd name="connsiteX6" fmla="*/ 165351 w 292642"/>
              <a:gd name="connsiteY6" fmla="*/ 0 h 292608"/>
              <a:gd name="connsiteX7" fmla="*/ 183630 w 292642"/>
              <a:gd name="connsiteY7" fmla="*/ 18279 h 292608"/>
              <a:gd name="connsiteX8" fmla="*/ 183630 w 292642"/>
              <a:gd name="connsiteY8" fmla="*/ 108978 h 292608"/>
              <a:gd name="connsiteX9" fmla="*/ 274364 w 292642"/>
              <a:gd name="connsiteY9" fmla="*/ 108978 h 292608"/>
              <a:gd name="connsiteX10" fmla="*/ 292643 w 292642"/>
              <a:gd name="connsiteY10" fmla="*/ 127257 h 292608"/>
              <a:gd name="connsiteX11" fmla="*/ 292643 w 292642"/>
              <a:gd name="connsiteY11" fmla="*/ 165316 h 292608"/>
              <a:gd name="connsiteX12" fmla="*/ 274364 w 292642"/>
              <a:gd name="connsiteY12" fmla="*/ 183595 h 292608"/>
              <a:gd name="connsiteX13" fmla="*/ 183630 w 292642"/>
              <a:gd name="connsiteY13" fmla="*/ 183595 h 292608"/>
              <a:gd name="connsiteX14" fmla="*/ 183630 w 292642"/>
              <a:gd name="connsiteY14" fmla="*/ 274329 h 292608"/>
              <a:gd name="connsiteX15" fmla="*/ 165351 w 292642"/>
              <a:gd name="connsiteY15" fmla="*/ 292608 h 292608"/>
              <a:gd name="connsiteX16" fmla="*/ 127292 w 292642"/>
              <a:gd name="connsiteY16" fmla="*/ 292608 h 292608"/>
              <a:gd name="connsiteX17" fmla="*/ 109013 w 292642"/>
              <a:gd name="connsiteY17" fmla="*/ 274329 h 292608"/>
              <a:gd name="connsiteX18" fmla="*/ 109013 w 292642"/>
              <a:gd name="connsiteY18" fmla="*/ 183595 h 292608"/>
              <a:gd name="connsiteX19" fmla="*/ 18279 w 292642"/>
              <a:gd name="connsiteY19" fmla="*/ 183595 h 292608"/>
              <a:gd name="connsiteX20" fmla="*/ 0 w 292642"/>
              <a:gd name="connsiteY20" fmla="*/ 165316 h 29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2642" h="292608">
                <a:moveTo>
                  <a:pt x="0" y="165316"/>
                </a:moveTo>
                <a:lnTo>
                  <a:pt x="0" y="127257"/>
                </a:lnTo>
                <a:cubicBezTo>
                  <a:pt x="0" y="117211"/>
                  <a:pt x="8233" y="108978"/>
                  <a:pt x="18279" y="108978"/>
                </a:cubicBezTo>
                <a:lnTo>
                  <a:pt x="109013" y="108978"/>
                </a:lnTo>
                <a:lnTo>
                  <a:pt x="109013" y="18279"/>
                </a:lnTo>
                <a:cubicBezTo>
                  <a:pt x="109013" y="8233"/>
                  <a:pt x="117245" y="0"/>
                  <a:pt x="127292" y="0"/>
                </a:cubicBezTo>
                <a:lnTo>
                  <a:pt x="165351" y="0"/>
                </a:lnTo>
                <a:cubicBezTo>
                  <a:pt x="175397" y="0"/>
                  <a:pt x="183630" y="8233"/>
                  <a:pt x="183630" y="18279"/>
                </a:cubicBezTo>
                <a:lnTo>
                  <a:pt x="183630" y="108978"/>
                </a:lnTo>
                <a:lnTo>
                  <a:pt x="274364" y="108978"/>
                </a:lnTo>
                <a:cubicBezTo>
                  <a:pt x="284410" y="108978"/>
                  <a:pt x="292643" y="117211"/>
                  <a:pt x="292643" y="127257"/>
                </a:cubicBezTo>
                <a:lnTo>
                  <a:pt x="292643" y="165316"/>
                </a:lnTo>
                <a:cubicBezTo>
                  <a:pt x="292643" y="175363"/>
                  <a:pt x="284410" y="183595"/>
                  <a:pt x="274364" y="183595"/>
                </a:cubicBezTo>
                <a:lnTo>
                  <a:pt x="183630" y="183595"/>
                </a:lnTo>
                <a:lnTo>
                  <a:pt x="183630" y="274329"/>
                </a:lnTo>
                <a:cubicBezTo>
                  <a:pt x="183630" y="284375"/>
                  <a:pt x="175397" y="292608"/>
                  <a:pt x="165351" y="292608"/>
                </a:cubicBezTo>
                <a:lnTo>
                  <a:pt x="127292" y="292608"/>
                </a:lnTo>
                <a:cubicBezTo>
                  <a:pt x="117245" y="292608"/>
                  <a:pt x="109013" y="284375"/>
                  <a:pt x="109013" y="274329"/>
                </a:cubicBezTo>
                <a:lnTo>
                  <a:pt x="109013" y="183595"/>
                </a:lnTo>
                <a:lnTo>
                  <a:pt x="18279" y="183595"/>
                </a:lnTo>
                <a:cubicBezTo>
                  <a:pt x="8233" y="183595"/>
                  <a:pt x="0" y="175363"/>
                  <a:pt x="0" y="165316"/>
                </a:cubicBezTo>
              </a:path>
            </a:pathLst>
          </a:custGeom>
          <a:solidFill>
            <a:srgbClr val="8EDC43"/>
          </a:solidFill>
          <a:ln w="3488" cap="flat">
            <a:noFill/>
            <a:prstDash val="solid"/>
            <a:miter/>
          </a:ln>
        </p:spPr>
        <p:txBody>
          <a:bodyPr rtlCol="0" anchor="ctr"/>
          <a:lstStyle/>
          <a:p>
            <a:endParaRPr lang="en-US" sz="2000"/>
          </a:p>
        </p:txBody>
      </p:sp>
      <p:grpSp>
        <p:nvGrpSpPr>
          <p:cNvPr id="339" name="Group 338">
            <a:extLst>
              <a:ext uri="{FF2B5EF4-FFF2-40B4-BE49-F238E27FC236}">
                <a16:creationId xmlns:a16="http://schemas.microsoft.com/office/drawing/2014/main" id="{F6EB2F06-BBEC-35A4-EAAF-A52AA0639D0C}"/>
              </a:ext>
            </a:extLst>
          </p:cNvPr>
          <p:cNvGrpSpPr/>
          <p:nvPr/>
        </p:nvGrpSpPr>
        <p:grpSpPr>
          <a:xfrm flipV="1">
            <a:off x="0" y="-1"/>
            <a:ext cx="1204686" cy="1164225"/>
            <a:chOff x="749" y="9888376"/>
            <a:chExt cx="3226768" cy="3118392"/>
          </a:xfrm>
        </p:grpSpPr>
        <p:sp>
          <p:nvSpPr>
            <p:cNvPr id="340" name="Freeform: Shape 339">
              <a:extLst>
                <a:ext uri="{FF2B5EF4-FFF2-40B4-BE49-F238E27FC236}">
                  <a16:creationId xmlns:a16="http://schemas.microsoft.com/office/drawing/2014/main" id="{0EA2BC1C-2F87-F00B-7306-A0C39C416016}"/>
                </a:ext>
              </a:extLst>
            </p:cNvPr>
            <p:cNvSpPr/>
            <p:nvPr/>
          </p:nvSpPr>
          <p:spPr>
            <a:xfrm flipH="1">
              <a:off x="749" y="9888376"/>
              <a:ext cx="1561511" cy="1561511"/>
            </a:xfrm>
            <a:custGeom>
              <a:avLst/>
              <a:gdLst>
                <a:gd name="connsiteX0" fmla="*/ 1561511 w 1561511"/>
                <a:gd name="connsiteY0" fmla="*/ 0 h 1561511"/>
                <a:gd name="connsiteX1" fmla="*/ 0 w 1561511"/>
                <a:gd name="connsiteY1" fmla="*/ 1561511 h 1561511"/>
                <a:gd name="connsiteX2" fmla="*/ 1561511 w 1561511"/>
                <a:gd name="connsiteY2" fmla="*/ 1561511 h 1561511"/>
                <a:gd name="connsiteX3" fmla="*/ 1561511 w 1561511"/>
                <a:gd name="connsiteY3" fmla="*/ 0 h 1561511"/>
              </a:gdLst>
              <a:ahLst/>
              <a:cxnLst>
                <a:cxn ang="0">
                  <a:pos x="connsiteX0" y="connsiteY0"/>
                </a:cxn>
                <a:cxn ang="0">
                  <a:pos x="connsiteX1" y="connsiteY1"/>
                </a:cxn>
                <a:cxn ang="0">
                  <a:pos x="connsiteX2" y="connsiteY2"/>
                </a:cxn>
                <a:cxn ang="0">
                  <a:pos x="connsiteX3" y="connsiteY3"/>
                </a:cxn>
              </a:cxnLst>
              <a:rect l="l" t="t" r="r" b="b"/>
              <a:pathLst>
                <a:path w="1561511" h="1561511">
                  <a:moveTo>
                    <a:pt x="1561511" y="0"/>
                  </a:moveTo>
                  <a:cubicBezTo>
                    <a:pt x="699117" y="0"/>
                    <a:pt x="0" y="699117"/>
                    <a:pt x="0" y="1561511"/>
                  </a:cubicBezTo>
                  <a:lnTo>
                    <a:pt x="1561511" y="1561511"/>
                  </a:lnTo>
                  <a:lnTo>
                    <a:pt x="1561511" y="0"/>
                  </a:lnTo>
                  <a:close/>
                </a:path>
              </a:pathLst>
            </a:custGeom>
            <a:solidFill>
              <a:srgbClr val="8EDC43"/>
            </a:solidFill>
            <a:ln w="4675" cap="flat">
              <a:noFill/>
              <a:prstDash val="solid"/>
              <a:miter/>
            </a:ln>
          </p:spPr>
          <p:txBody>
            <a:bodyPr rtlCol="0" anchor="ctr"/>
            <a:lstStyle/>
            <a:p>
              <a:endParaRPr lang="en-US"/>
            </a:p>
          </p:txBody>
        </p:sp>
        <p:sp>
          <p:nvSpPr>
            <p:cNvPr id="341" name="Freeform: Shape 340">
              <a:extLst>
                <a:ext uri="{FF2B5EF4-FFF2-40B4-BE49-F238E27FC236}">
                  <a16:creationId xmlns:a16="http://schemas.microsoft.com/office/drawing/2014/main" id="{E769BA11-B1B9-BC95-9DE0-D375B219D962}"/>
                </a:ext>
              </a:extLst>
            </p:cNvPr>
            <p:cNvSpPr/>
            <p:nvPr/>
          </p:nvSpPr>
          <p:spPr>
            <a:xfrm flipH="1">
              <a:off x="1547710" y="11449887"/>
              <a:ext cx="1679807" cy="1556227"/>
            </a:xfrm>
            <a:custGeom>
              <a:avLst/>
              <a:gdLst>
                <a:gd name="connsiteX0" fmla="*/ 0 w 1679807"/>
                <a:gd name="connsiteY0" fmla="*/ 1556228 h 1556227"/>
                <a:gd name="connsiteX1" fmla="*/ 1679808 w 1679807"/>
                <a:gd name="connsiteY1" fmla="*/ 1556228 h 1556227"/>
                <a:gd name="connsiteX2" fmla="*/ 1679808 w 1679807"/>
                <a:gd name="connsiteY2" fmla="*/ 0 h 1556227"/>
                <a:gd name="connsiteX3" fmla="*/ 0 w 1679807"/>
                <a:gd name="connsiteY3" fmla="*/ 1556228 h 1556227"/>
              </a:gdLst>
              <a:ahLst/>
              <a:cxnLst>
                <a:cxn ang="0">
                  <a:pos x="connsiteX0" y="connsiteY0"/>
                </a:cxn>
                <a:cxn ang="0">
                  <a:pos x="connsiteX1" y="connsiteY1"/>
                </a:cxn>
                <a:cxn ang="0">
                  <a:pos x="connsiteX2" y="connsiteY2"/>
                </a:cxn>
                <a:cxn ang="0">
                  <a:pos x="connsiteX3" y="connsiteY3"/>
                </a:cxn>
              </a:cxnLst>
              <a:rect l="l" t="t" r="r" b="b"/>
              <a:pathLst>
                <a:path w="1679807" h="1556227">
                  <a:moveTo>
                    <a:pt x="0" y="1556228"/>
                  </a:moveTo>
                  <a:lnTo>
                    <a:pt x="1679808" y="1556228"/>
                  </a:lnTo>
                  <a:lnTo>
                    <a:pt x="1679808" y="0"/>
                  </a:lnTo>
                  <a:cubicBezTo>
                    <a:pt x="1613225" y="869922"/>
                    <a:pt x="886755" y="1555199"/>
                    <a:pt x="0" y="1556228"/>
                  </a:cubicBezTo>
                </a:path>
              </a:pathLst>
            </a:custGeom>
            <a:solidFill>
              <a:srgbClr val="4FE2F3"/>
            </a:solidFill>
            <a:ln w="4675" cap="flat">
              <a:noFill/>
              <a:prstDash val="solid"/>
              <a:miter/>
            </a:ln>
          </p:spPr>
          <p:txBody>
            <a:bodyPr rtlCol="0" anchor="ctr"/>
            <a:lstStyle/>
            <a:p>
              <a:endParaRPr lang="en-US"/>
            </a:p>
          </p:txBody>
        </p:sp>
        <p:sp>
          <p:nvSpPr>
            <p:cNvPr id="342" name="Freeform: Shape 341">
              <a:extLst>
                <a:ext uri="{FF2B5EF4-FFF2-40B4-BE49-F238E27FC236}">
                  <a16:creationId xmlns:a16="http://schemas.microsoft.com/office/drawing/2014/main" id="{3BB99F76-66AB-20E5-BA47-384FDD93A991}"/>
                </a:ext>
              </a:extLst>
            </p:cNvPr>
            <p:cNvSpPr/>
            <p:nvPr/>
          </p:nvSpPr>
          <p:spPr>
            <a:xfrm flipH="1">
              <a:off x="749" y="11449886"/>
              <a:ext cx="1561511" cy="1556882"/>
            </a:xfrm>
            <a:custGeom>
              <a:avLst/>
              <a:gdLst>
                <a:gd name="connsiteX0" fmla="*/ 0 w 1561511"/>
                <a:gd name="connsiteY0" fmla="*/ 0 h 1556882"/>
                <a:gd name="connsiteX1" fmla="*/ 1561511 w 1561511"/>
                <a:gd name="connsiteY1" fmla="*/ 0 h 1556882"/>
                <a:gd name="connsiteX2" fmla="*/ 1561511 w 1561511"/>
                <a:gd name="connsiteY2" fmla="*/ 1556882 h 1556882"/>
                <a:gd name="connsiteX3" fmla="*/ 0 w 1561511"/>
                <a:gd name="connsiteY3" fmla="*/ 1556882 h 1556882"/>
              </a:gdLst>
              <a:ahLst/>
              <a:cxnLst>
                <a:cxn ang="0">
                  <a:pos x="connsiteX0" y="connsiteY0"/>
                </a:cxn>
                <a:cxn ang="0">
                  <a:pos x="connsiteX1" y="connsiteY1"/>
                </a:cxn>
                <a:cxn ang="0">
                  <a:pos x="connsiteX2" y="connsiteY2"/>
                </a:cxn>
                <a:cxn ang="0">
                  <a:pos x="connsiteX3" y="connsiteY3"/>
                </a:cxn>
              </a:cxnLst>
              <a:rect l="l" t="t" r="r" b="b"/>
              <a:pathLst>
                <a:path w="1561511" h="1556882">
                  <a:moveTo>
                    <a:pt x="0" y="0"/>
                  </a:moveTo>
                  <a:lnTo>
                    <a:pt x="1561511" y="0"/>
                  </a:lnTo>
                  <a:lnTo>
                    <a:pt x="1561511" y="1556882"/>
                  </a:lnTo>
                  <a:lnTo>
                    <a:pt x="0" y="1556882"/>
                  </a:lnTo>
                  <a:close/>
                </a:path>
              </a:pathLst>
            </a:custGeom>
            <a:solidFill>
              <a:srgbClr val="08A755"/>
            </a:solidFill>
            <a:ln w="4675" cap="flat">
              <a:noFill/>
              <a:prstDash val="solid"/>
              <a:miter/>
            </a:ln>
          </p:spPr>
          <p:txBody>
            <a:bodyPr rtlCol="0" anchor="ctr"/>
            <a:lstStyle/>
            <a:p>
              <a:endParaRPr lang="en-US"/>
            </a:p>
          </p:txBody>
        </p:sp>
      </p:grpSp>
      <p:pic>
        <p:nvPicPr>
          <p:cNvPr id="79" name="Picture 78" descr="Diagram&#10;&#10;Description automatically generated">
            <a:extLst>
              <a:ext uri="{FF2B5EF4-FFF2-40B4-BE49-F238E27FC236}">
                <a16:creationId xmlns:a16="http://schemas.microsoft.com/office/drawing/2014/main" id="{8D59BF6E-06CE-64B8-A30A-AC565EED67EE}"/>
              </a:ext>
            </a:extLst>
          </p:cNvPr>
          <p:cNvPicPr>
            <a:picLocks noChangeAspect="1"/>
          </p:cNvPicPr>
          <p:nvPr/>
        </p:nvPicPr>
        <p:blipFill rotWithShape="1">
          <a:blip r:embed="rId9">
            <a:extLst>
              <a:ext uri="{28A0092B-C50C-407E-A947-70E740481C1C}">
                <a14:useLocalDpi xmlns:a14="http://schemas.microsoft.com/office/drawing/2010/main"/>
              </a:ext>
            </a:extLst>
          </a:blip>
          <a:srcRect l="83935" t="44553" r="6507" b="38549"/>
          <a:stretch/>
        </p:blipFill>
        <p:spPr>
          <a:xfrm>
            <a:off x="8878944" y="1118928"/>
            <a:ext cx="1165226" cy="1158876"/>
          </a:xfrm>
          <a:custGeom>
            <a:avLst/>
            <a:gdLst>
              <a:gd name="connsiteX0" fmla="*/ 582613 w 1165226"/>
              <a:gd name="connsiteY0" fmla="*/ 0 h 1158876"/>
              <a:gd name="connsiteX1" fmla="*/ 1165226 w 1165226"/>
              <a:gd name="connsiteY1" fmla="*/ 579438 h 1158876"/>
              <a:gd name="connsiteX2" fmla="*/ 582613 w 1165226"/>
              <a:gd name="connsiteY2" fmla="*/ 1158876 h 1158876"/>
              <a:gd name="connsiteX3" fmla="*/ 0 w 1165226"/>
              <a:gd name="connsiteY3" fmla="*/ 579438 h 1158876"/>
              <a:gd name="connsiteX4" fmla="*/ 582613 w 1165226"/>
              <a:gd name="connsiteY4" fmla="*/ 0 h 1158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226" h="1158876">
                <a:moveTo>
                  <a:pt x="582613" y="0"/>
                </a:moveTo>
                <a:cubicBezTo>
                  <a:pt x="904381" y="0"/>
                  <a:pt x="1165226" y="259423"/>
                  <a:pt x="1165226" y="579438"/>
                </a:cubicBezTo>
                <a:cubicBezTo>
                  <a:pt x="1165226" y="899453"/>
                  <a:pt x="904381" y="1158876"/>
                  <a:pt x="582613" y="1158876"/>
                </a:cubicBezTo>
                <a:cubicBezTo>
                  <a:pt x="260845" y="1158876"/>
                  <a:pt x="0" y="899453"/>
                  <a:pt x="0" y="579438"/>
                </a:cubicBezTo>
                <a:cubicBezTo>
                  <a:pt x="0" y="259423"/>
                  <a:pt x="260845" y="0"/>
                  <a:pt x="582613" y="0"/>
                </a:cubicBezTo>
                <a:close/>
              </a:path>
            </a:pathLst>
          </a:custGeom>
          <a:ln w="6350">
            <a:solidFill>
              <a:srgbClr val="0052DB"/>
            </a:solidFill>
          </a:ln>
        </p:spPr>
      </p:pic>
      <p:pic>
        <p:nvPicPr>
          <p:cNvPr id="81" name="Picture 80" descr="Diagram&#10;&#10;Description automatically generated">
            <a:extLst>
              <a:ext uri="{FF2B5EF4-FFF2-40B4-BE49-F238E27FC236}">
                <a16:creationId xmlns:a16="http://schemas.microsoft.com/office/drawing/2014/main" id="{ACE9DADC-68B2-7C80-A77D-A205538CB6A7}"/>
              </a:ext>
            </a:extLst>
          </p:cNvPr>
          <p:cNvPicPr>
            <a:picLocks noChangeAspect="1"/>
          </p:cNvPicPr>
          <p:nvPr/>
        </p:nvPicPr>
        <p:blipFill rotWithShape="1">
          <a:blip r:embed="rId9">
            <a:extLst>
              <a:ext uri="{28A0092B-C50C-407E-A947-70E740481C1C}">
                <a14:useLocalDpi xmlns:a14="http://schemas.microsoft.com/office/drawing/2010/main"/>
              </a:ext>
            </a:extLst>
          </a:blip>
          <a:srcRect l="53640" t="66450" r="36803" b="16652"/>
          <a:stretch/>
        </p:blipFill>
        <p:spPr>
          <a:xfrm>
            <a:off x="2147830" y="1118928"/>
            <a:ext cx="1165225" cy="1158875"/>
          </a:xfrm>
          <a:prstGeom prst="ellipse">
            <a:avLst/>
          </a:prstGeom>
          <a:ln w="6350">
            <a:solidFill>
              <a:srgbClr val="0052DB"/>
            </a:solidFill>
          </a:ln>
        </p:spPr>
      </p:pic>
      <p:pic>
        <p:nvPicPr>
          <p:cNvPr id="78" name="Picture 77" descr="Diagram&#10;&#10;Description automatically generated">
            <a:extLst>
              <a:ext uri="{FF2B5EF4-FFF2-40B4-BE49-F238E27FC236}">
                <a16:creationId xmlns:a16="http://schemas.microsoft.com/office/drawing/2014/main" id="{FC6C63D8-3A34-E597-6F43-244559DBBA4D}"/>
              </a:ext>
            </a:extLst>
          </p:cNvPr>
          <p:cNvPicPr>
            <a:picLocks noChangeAspect="1"/>
          </p:cNvPicPr>
          <p:nvPr/>
        </p:nvPicPr>
        <p:blipFill rotWithShape="1">
          <a:blip r:embed="rId9">
            <a:extLst>
              <a:ext uri="{28A0092B-C50C-407E-A947-70E740481C1C}">
                <a14:useLocalDpi xmlns:a14="http://schemas.microsoft.com/office/drawing/2010/main"/>
              </a:ext>
            </a:extLst>
          </a:blip>
          <a:srcRect l="44052" t="6856" r="46568" b="76695"/>
          <a:stretch/>
        </p:blipFill>
        <p:spPr>
          <a:xfrm>
            <a:off x="3386108" y="2852345"/>
            <a:ext cx="1165226" cy="1158876"/>
          </a:xfrm>
          <a:custGeom>
            <a:avLst/>
            <a:gdLst>
              <a:gd name="connsiteX0" fmla="*/ 582613 w 1165226"/>
              <a:gd name="connsiteY0" fmla="*/ 0 h 1158876"/>
              <a:gd name="connsiteX1" fmla="*/ 1165226 w 1165226"/>
              <a:gd name="connsiteY1" fmla="*/ 579438 h 1158876"/>
              <a:gd name="connsiteX2" fmla="*/ 582613 w 1165226"/>
              <a:gd name="connsiteY2" fmla="*/ 1158876 h 1158876"/>
              <a:gd name="connsiteX3" fmla="*/ 0 w 1165226"/>
              <a:gd name="connsiteY3" fmla="*/ 579438 h 1158876"/>
              <a:gd name="connsiteX4" fmla="*/ 582613 w 1165226"/>
              <a:gd name="connsiteY4" fmla="*/ 0 h 1158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226" h="1158876">
                <a:moveTo>
                  <a:pt x="582613" y="0"/>
                </a:moveTo>
                <a:cubicBezTo>
                  <a:pt x="904381" y="0"/>
                  <a:pt x="1165226" y="259423"/>
                  <a:pt x="1165226" y="579438"/>
                </a:cubicBezTo>
                <a:cubicBezTo>
                  <a:pt x="1165226" y="899453"/>
                  <a:pt x="904381" y="1158876"/>
                  <a:pt x="582613" y="1158876"/>
                </a:cubicBezTo>
                <a:cubicBezTo>
                  <a:pt x="260845" y="1158876"/>
                  <a:pt x="0" y="899453"/>
                  <a:pt x="0" y="579438"/>
                </a:cubicBezTo>
                <a:cubicBezTo>
                  <a:pt x="0" y="259423"/>
                  <a:pt x="260845" y="0"/>
                  <a:pt x="582613" y="0"/>
                </a:cubicBezTo>
                <a:close/>
              </a:path>
            </a:pathLst>
          </a:custGeom>
          <a:ln w="6350">
            <a:solidFill>
              <a:srgbClr val="0052DB"/>
            </a:solidFill>
          </a:ln>
        </p:spPr>
      </p:pic>
      <p:pic>
        <p:nvPicPr>
          <p:cNvPr id="82" name="Picture 81" descr="Diagram&#10;&#10;Description automatically generated">
            <a:extLst>
              <a:ext uri="{FF2B5EF4-FFF2-40B4-BE49-F238E27FC236}">
                <a16:creationId xmlns:a16="http://schemas.microsoft.com/office/drawing/2014/main" id="{285283DA-4C4F-5E76-FEDB-E7FBE5C82183}"/>
              </a:ext>
            </a:extLst>
          </p:cNvPr>
          <p:cNvPicPr>
            <a:picLocks/>
          </p:cNvPicPr>
          <p:nvPr/>
        </p:nvPicPr>
        <p:blipFill rotWithShape="1">
          <a:blip r:embed="rId9">
            <a:extLst>
              <a:ext uri="{28A0092B-C50C-407E-A947-70E740481C1C}">
                <a14:useLocalDpi xmlns:a14="http://schemas.microsoft.com/office/drawing/2010/main"/>
              </a:ext>
            </a:extLst>
          </a:blip>
          <a:srcRect l="29835" t="47039" r="60810" b="36449"/>
          <a:stretch/>
        </p:blipFill>
        <p:spPr>
          <a:xfrm>
            <a:off x="7695970" y="2871016"/>
            <a:ext cx="1165226" cy="1158876"/>
          </a:xfrm>
          <a:custGeom>
            <a:avLst/>
            <a:gdLst>
              <a:gd name="connsiteX0" fmla="*/ 582613 w 1165226"/>
              <a:gd name="connsiteY0" fmla="*/ 0 h 1158876"/>
              <a:gd name="connsiteX1" fmla="*/ 1165226 w 1165226"/>
              <a:gd name="connsiteY1" fmla="*/ 579438 h 1158876"/>
              <a:gd name="connsiteX2" fmla="*/ 582613 w 1165226"/>
              <a:gd name="connsiteY2" fmla="*/ 1158876 h 1158876"/>
              <a:gd name="connsiteX3" fmla="*/ 0 w 1165226"/>
              <a:gd name="connsiteY3" fmla="*/ 579438 h 1158876"/>
              <a:gd name="connsiteX4" fmla="*/ 582613 w 1165226"/>
              <a:gd name="connsiteY4" fmla="*/ 0 h 1158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226" h="1158876">
                <a:moveTo>
                  <a:pt x="582613" y="0"/>
                </a:moveTo>
                <a:cubicBezTo>
                  <a:pt x="904381" y="0"/>
                  <a:pt x="1165226" y="259423"/>
                  <a:pt x="1165226" y="579438"/>
                </a:cubicBezTo>
                <a:cubicBezTo>
                  <a:pt x="1165226" y="899453"/>
                  <a:pt x="904381" y="1158876"/>
                  <a:pt x="582613" y="1158876"/>
                </a:cubicBezTo>
                <a:cubicBezTo>
                  <a:pt x="260845" y="1158876"/>
                  <a:pt x="0" y="899453"/>
                  <a:pt x="0" y="579438"/>
                </a:cubicBezTo>
                <a:cubicBezTo>
                  <a:pt x="0" y="259423"/>
                  <a:pt x="260845" y="0"/>
                  <a:pt x="582613" y="0"/>
                </a:cubicBezTo>
                <a:close/>
              </a:path>
            </a:pathLst>
          </a:custGeom>
          <a:ln w="6350">
            <a:solidFill>
              <a:srgbClr val="0052DB"/>
            </a:solidFill>
          </a:ln>
        </p:spPr>
      </p:pic>
      <p:pic>
        <p:nvPicPr>
          <p:cNvPr id="56" name="Picture 55" descr="Diagram&#10;&#10;Description automatically generated">
            <a:extLst>
              <a:ext uri="{FF2B5EF4-FFF2-40B4-BE49-F238E27FC236}">
                <a16:creationId xmlns:a16="http://schemas.microsoft.com/office/drawing/2014/main" id="{644B56C6-3BCC-8E9E-BD06-5DD477A1F57A}"/>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974810" y="408439"/>
            <a:ext cx="2433433" cy="2433430"/>
          </a:xfrm>
          <a:prstGeom prst="rect">
            <a:avLst/>
          </a:prstGeom>
        </p:spPr>
      </p:pic>
      <p:sp>
        <p:nvSpPr>
          <p:cNvPr id="9" name="TextBox 8">
            <a:extLst>
              <a:ext uri="{FF2B5EF4-FFF2-40B4-BE49-F238E27FC236}">
                <a16:creationId xmlns:a16="http://schemas.microsoft.com/office/drawing/2014/main" id="{EEEE7F25-186A-9868-526F-8B9D7C91F9EE}"/>
              </a:ext>
            </a:extLst>
          </p:cNvPr>
          <p:cNvSpPr txBox="1"/>
          <p:nvPr/>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ea typeface="+mj-ea"/>
                <a:cs typeface="+mj-cs"/>
              </a:rPr>
              <a:pPr algn="r"/>
              <a:t>2</a:t>
            </a:fld>
            <a:endParaRPr lang="en-US" sz="700" spc="300">
              <a:solidFill>
                <a:schemeClr val="accent5"/>
              </a:solidFill>
              <a:ea typeface="+mj-ea"/>
              <a:cs typeface="+mj-cs"/>
            </a:endParaRPr>
          </a:p>
        </p:txBody>
      </p:sp>
      <p:sp>
        <p:nvSpPr>
          <p:cNvPr id="4" name="Freeform: Shape 3">
            <a:extLst>
              <a:ext uri="{FF2B5EF4-FFF2-40B4-BE49-F238E27FC236}">
                <a16:creationId xmlns:a16="http://schemas.microsoft.com/office/drawing/2014/main" id="{46772CE7-DDBC-2727-324E-CCB0481B6387}"/>
              </a:ext>
            </a:extLst>
          </p:cNvPr>
          <p:cNvSpPr/>
          <p:nvPr/>
        </p:nvSpPr>
        <p:spPr>
          <a:xfrm>
            <a:off x="11579640" y="5530709"/>
            <a:ext cx="302631" cy="302596"/>
          </a:xfrm>
          <a:custGeom>
            <a:avLst/>
            <a:gdLst>
              <a:gd name="connsiteX0" fmla="*/ 0 w 292642"/>
              <a:gd name="connsiteY0" fmla="*/ 165316 h 292608"/>
              <a:gd name="connsiteX1" fmla="*/ 0 w 292642"/>
              <a:gd name="connsiteY1" fmla="*/ 127257 h 292608"/>
              <a:gd name="connsiteX2" fmla="*/ 18279 w 292642"/>
              <a:gd name="connsiteY2" fmla="*/ 108978 h 292608"/>
              <a:gd name="connsiteX3" fmla="*/ 109013 w 292642"/>
              <a:gd name="connsiteY3" fmla="*/ 108978 h 292608"/>
              <a:gd name="connsiteX4" fmla="*/ 109013 w 292642"/>
              <a:gd name="connsiteY4" fmla="*/ 18279 h 292608"/>
              <a:gd name="connsiteX5" fmla="*/ 127292 w 292642"/>
              <a:gd name="connsiteY5" fmla="*/ 0 h 292608"/>
              <a:gd name="connsiteX6" fmla="*/ 165351 w 292642"/>
              <a:gd name="connsiteY6" fmla="*/ 0 h 292608"/>
              <a:gd name="connsiteX7" fmla="*/ 183630 w 292642"/>
              <a:gd name="connsiteY7" fmla="*/ 18279 h 292608"/>
              <a:gd name="connsiteX8" fmla="*/ 183630 w 292642"/>
              <a:gd name="connsiteY8" fmla="*/ 108978 h 292608"/>
              <a:gd name="connsiteX9" fmla="*/ 274364 w 292642"/>
              <a:gd name="connsiteY9" fmla="*/ 108978 h 292608"/>
              <a:gd name="connsiteX10" fmla="*/ 292643 w 292642"/>
              <a:gd name="connsiteY10" fmla="*/ 127257 h 292608"/>
              <a:gd name="connsiteX11" fmla="*/ 292643 w 292642"/>
              <a:gd name="connsiteY11" fmla="*/ 165316 h 292608"/>
              <a:gd name="connsiteX12" fmla="*/ 274364 w 292642"/>
              <a:gd name="connsiteY12" fmla="*/ 183595 h 292608"/>
              <a:gd name="connsiteX13" fmla="*/ 183630 w 292642"/>
              <a:gd name="connsiteY13" fmla="*/ 183595 h 292608"/>
              <a:gd name="connsiteX14" fmla="*/ 183630 w 292642"/>
              <a:gd name="connsiteY14" fmla="*/ 274329 h 292608"/>
              <a:gd name="connsiteX15" fmla="*/ 165351 w 292642"/>
              <a:gd name="connsiteY15" fmla="*/ 292608 h 292608"/>
              <a:gd name="connsiteX16" fmla="*/ 127292 w 292642"/>
              <a:gd name="connsiteY16" fmla="*/ 292608 h 292608"/>
              <a:gd name="connsiteX17" fmla="*/ 109013 w 292642"/>
              <a:gd name="connsiteY17" fmla="*/ 274329 h 292608"/>
              <a:gd name="connsiteX18" fmla="*/ 109013 w 292642"/>
              <a:gd name="connsiteY18" fmla="*/ 183595 h 292608"/>
              <a:gd name="connsiteX19" fmla="*/ 18279 w 292642"/>
              <a:gd name="connsiteY19" fmla="*/ 183595 h 292608"/>
              <a:gd name="connsiteX20" fmla="*/ 0 w 292642"/>
              <a:gd name="connsiteY20" fmla="*/ 165316 h 29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2642" h="292608">
                <a:moveTo>
                  <a:pt x="0" y="165316"/>
                </a:moveTo>
                <a:lnTo>
                  <a:pt x="0" y="127257"/>
                </a:lnTo>
                <a:cubicBezTo>
                  <a:pt x="0" y="117211"/>
                  <a:pt x="8233" y="108978"/>
                  <a:pt x="18279" y="108978"/>
                </a:cubicBezTo>
                <a:lnTo>
                  <a:pt x="109013" y="108978"/>
                </a:lnTo>
                <a:lnTo>
                  <a:pt x="109013" y="18279"/>
                </a:lnTo>
                <a:cubicBezTo>
                  <a:pt x="109013" y="8233"/>
                  <a:pt x="117245" y="0"/>
                  <a:pt x="127292" y="0"/>
                </a:cubicBezTo>
                <a:lnTo>
                  <a:pt x="165351" y="0"/>
                </a:lnTo>
                <a:cubicBezTo>
                  <a:pt x="175397" y="0"/>
                  <a:pt x="183630" y="8233"/>
                  <a:pt x="183630" y="18279"/>
                </a:cubicBezTo>
                <a:lnTo>
                  <a:pt x="183630" y="108978"/>
                </a:lnTo>
                <a:lnTo>
                  <a:pt x="274364" y="108978"/>
                </a:lnTo>
                <a:cubicBezTo>
                  <a:pt x="284410" y="108978"/>
                  <a:pt x="292643" y="117211"/>
                  <a:pt x="292643" y="127257"/>
                </a:cubicBezTo>
                <a:lnTo>
                  <a:pt x="292643" y="165316"/>
                </a:lnTo>
                <a:cubicBezTo>
                  <a:pt x="292643" y="175363"/>
                  <a:pt x="284410" y="183595"/>
                  <a:pt x="274364" y="183595"/>
                </a:cubicBezTo>
                <a:lnTo>
                  <a:pt x="183630" y="183595"/>
                </a:lnTo>
                <a:lnTo>
                  <a:pt x="183630" y="274329"/>
                </a:lnTo>
                <a:cubicBezTo>
                  <a:pt x="183630" y="284375"/>
                  <a:pt x="175397" y="292608"/>
                  <a:pt x="165351" y="292608"/>
                </a:cubicBezTo>
                <a:lnTo>
                  <a:pt x="127292" y="292608"/>
                </a:lnTo>
                <a:cubicBezTo>
                  <a:pt x="117245" y="292608"/>
                  <a:pt x="109013" y="284375"/>
                  <a:pt x="109013" y="274329"/>
                </a:cubicBezTo>
                <a:lnTo>
                  <a:pt x="109013" y="183595"/>
                </a:lnTo>
                <a:lnTo>
                  <a:pt x="18279" y="183595"/>
                </a:lnTo>
                <a:cubicBezTo>
                  <a:pt x="8233" y="183595"/>
                  <a:pt x="0" y="175363"/>
                  <a:pt x="0" y="165316"/>
                </a:cubicBezTo>
              </a:path>
            </a:pathLst>
          </a:custGeom>
          <a:solidFill>
            <a:srgbClr val="8EDC43"/>
          </a:solidFill>
          <a:ln w="3488" cap="flat">
            <a:noFill/>
            <a:prstDash val="solid"/>
            <a:miter/>
          </a:ln>
        </p:spPr>
        <p:txBody>
          <a:bodyPr rtlCol="0" anchor="ctr"/>
          <a:lstStyle/>
          <a:p>
            <a:endParaRPr lang="en-US" sz="2000"/>
          </a:p>
        </p:txBody>
      </p:sp>
      <p:sp>
        <p:nvSpPr>
          <p:cNvPr id="8" name="Rectangle 7">
            <a:extLst>
              <a:ext uri="{FF2B5EF4-FFF2-40B4-BE49-F238E27FC236}">
                <a16:creationId xmlns:a16="http://schemas.microsoft.com/office/drawing/2014/main" id="{35998365-1EF9-29F5-AE0F-53E4C867F86A}"/>
              </a:ext>
            </a:extLst>
          </p:cNvPr>
          <p:cNvSpPr/>
          <p:nvPr/>
        </p:nvSpPr>
        <p:spPr>
          <a:xfrm>
            <a:off x="10021433" y="1371597"/>
            <a:ext cx="2117557" cy="2142288"/>
          </a:xfrm>
          <a:prstGeom prst="rect">
            <a:avLst/>
          </a:prstGeom>
          <a:no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581007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002AA930-445C-4DCA-8F4A-04F20C34B9D8}"/>
              </a:ext>
            </a:extLst>
          </p:cNvPr>
          <p:cNvSpPr/>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rgbClr val="092188"/>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45" name="Graphic 144">
            <a:extLst>
              <a:ext uri="{FF2B5EF4-FFF2-40B4-BE49-F238E27FC236}">
                <a16:creationId xmlns:a16="http://schemas.microsoft.com/office/drawing/2014/main" id="{0CC80A27-B290-E796-658D-8DA915287B77}"/>
              </a:ext>
            </a:extLst>
          </p:cNvPr>
          <p:cNvPicPr>
            <a:picLocks noChangeAspect="1"/>
          </p:cNvPicPr>
          <p:nvPr/>
        </p:nvPicPr>
        <p:blipFill rotWithShape="1">
          <a:blip r:embed="rId4">
            <a:alphaModFix amt="18000"/>
            <a:duotone>
              <a:prstClr val="black"/>
              <a:schemeClr val="accent6">
                <a:tint val="45000"/>
                <a:satMod val="400000"/>
              </a:schemeClr>
            </a:duotone>
            <a:extLst>
              <a:ext uri="{96DAC541-7B7A-43D3-8B79-37D633B846F1}">
                <asvg:svgBlip xmlns:asvg="http://schemas.microsoft.com/office/drawing/2016/SVG/main" r:embed="rId5"/>
              </a:ext>
            </a:extLst>
          </a:blip>
          <a:srcRect l="15575" t="46096" r="46613" b="5991"/>
          <a:stretch/>
        </p:blipFill>
        <p:spPr>
          <a:xfrm rot="16200000" flipH="1">
            <a:off x="503087" y="2652743"/>
            <a:ext cx="3766339" cy="4772512"/>
          </a:xfrm>
          <a:custGeom>
            <a:avLst/>
            <a:gdLst>
              <a:gd name="connsiteX0" fmla="*/ 0 w 3766339"/>
              <a:gd name="connsiteY0" fmla="*/ 4772512 h 4772512"/>
              <a:gd name="connsiteX1" fmla="*/ 0 w 3766339"/>
              <a:gd name="connsiteY1" fmla="*/ 0 h 4772512"/>
              <a:gd name="connsiteX2" fmla="*/ 3766339 w 3766339"/>
              <a:gd name="connsiteY2" fmla="*/ 0 h 4772512"/>
              <a:gd name="connsiteX3" fmla="*/ 3766338 w 3766339"/>
              <a:gd name="connsiteY3" fmla="*/ 4772512 h 4772512"/>
            </a:gdLst>
            <a:ahLst/>
            <a:cxnLst>
              <a:cxn ang="0">
                <a:pos x="connsiteX0" y="connsiteY0"/>
              </a:cxn>
              <a:cxn ang="0">
                <a:pos x="connsiteX1" y="connsiteY1"/>
              </a:cxn>
              <a:cxn ang="0">
                <a:pos x="connsiteX2" y="connsiteY2"/>
              </a:cxn>
              <a:cxn ang="0">
                <a:pos x="connsiteX3" y="connsiteY3"/>
              </a:cxn>
            </a:cxnLst>
            <a:rect l="l" t="t" r="r" b="b"/>
            <a:pathLst>
              <a:path w="3766339" h="4772512">
                <a:moveTo>
                  <a:pt x="0" y="4772512"/>
                </a:moveTo>
                <a:lnTo>
                  <a:pt x="0" y="0"/>
                </a:lnTo>
                <a:lnTo>
                  <a:pt x="3766339" y="0"/>
                </a:lnTo>
                <a:lnTo>
                  <a:pt x="3766338" y="4772512"/>
                </a:lnTo>
                <a:close/>
              </a:path>
            </a:pathLst>
          </a:custGeom>
        </p:spPr>
      </p:pic>
      <p:sp>
        <p:nvSpPr>
          <p:cNvPr id="2" name="Freeform: Shape 1">
            <a:extLst>
              <a:ext uri="{FF2B5EF4-FFF2-40B4-BE49-F238E27FC236}">
                <a16:creationId xmlns:a16="http://schemas.microsoft.com/office/drawing/2014/main" id="{F21856D7-CA0E-5B01-55B3-9861AB93F39A}"/>
              </a:ext>
            </a:extLst>
          </p:cNvPr>
          <p:cNvSpPr>
            <a:spLocks/>
          </p:cNvSpPr>
          <p:nvPr/>
        </p:nvSpPr>
        <p:spPr>
          <a:xfrm>
            <a:off x="393701" y="1712243"/>
            <a:ext cx="6942545" cy="4931319"/>
          </a:xfrm>
          <a:custGeom>
            <a:avLst/>
            <a:gdLst>
              <a:gd name="connsiteX0" fmla="*/ 163749 w 6942545"/>
              <a:gd name="connsiteY0" fmla="*/ 0 h 4931319"/>
              <a:gd name="connsiteX1" fmla="*/ 163749 w 6942545"/>
              <a:gd name="connsiteY1" fmla="*/ 2295550 h 4931319"/>
              <a:gd name="connsiteX2" fmla="*/ 430868 w 6942545"/>
              <a:gd name="connsiteY2" fmla="*/ 2561974 h 4931319"/>
              <a:gd name="connsiteX3" fmla="*/ 6571235 w 6942545"/>
              <a:gd name="connsiteY3" fmla="*/ 2551713 h 4931319"/>
              <a:gd name="connsiteX4" fmla="*/ 6824238 w 6942545"/>
              <a:gd name="connsiteY4" fmla="*/ 2794532 h 4931319"/>
              <a:gd name="connsiteX5" fmla="*/ 6819463 w 6942545"/>
              <a:gd name="connsiteY5" fmla="*/ 4722672 h 4931319"/>
              <a:gd name="connsiteX6" fmla="*/ 6809579 w 6942545"/>
              <a:gd name="connsiteY6" fmla="*/ 4722672 h 4931319"/>
              <a:gd name="connsiteX7" fmla="*/ 6809579 w 6942545"/>
              <a:gd name="connsiteY7" fmla="*/ 4775818 h 4931319"/>
              <a:gd name="connsiteX8" fmla="*/ 6942545 w 6942545"/>
              <a:gd name="connsiteY8" fmla="*/ 4775818 h 4931319"/>
              <a:gd name="connsiteX9" fmla="*/ 6942545 w 6942545"/>
              <a:gd name="connsiteY9" fmla="*/ 4931319 h 4931319"/>
              <a:gd name="connsiteX10" fmla="*/ 6816544 w 6942545"/>
              <a:gd name="connsiteY10" fmla="*/ 4931319 h 4931319"/>
              <a:gd name="connsiteX11" fmla="*/ 6807850 w 6942545"/>
              <a:gd name="connsiteY11" fmla="*/ 4903313 h 4931319"/>
              <a:gd name="connsiteX12" fmla="*/ 6536271 w 6942545"/>
              <a:gd name="connsiteY12" fmla="*/ 4723298 h 4931319"/>
              <a:gd name="connsiteX13" fmla="*/ 6432548 w 6942545"/>
              <a:gd name="connsiteY13" fmla="*/ 4723298 h 4931319"/>
              <a:gd name="connsiteX14" fmla="*/ 6432548 w 6942545"/>
              <a:gd name="connsiteY14" fmla="*/ 4722879 h 4931319"/>
              <a:gd name="connsiteX15" fmla="*/ 6234150 w 6942545"/>
              <a:gd name="connsiteY15" fmla="*/ 4723210 h 4931319"/>
              <a:gd name="connsiteX16" fmla="*/ 6234150 w 6942545"/>
              <a:gd name="connsiteY16" fmla="*/ 4722672 h 4931319"/>
              <a:gd name="connsiteX17" fmla="*/ 5095974 w 6942545"/>
              <a:gd name="connsiteY17" fmla="*/ 4722672 h 4931319"/>
              <a:gd name="connsiteX18" fmla="*/ 5065346 w 6942545"/>
              <a:gd name="connsiteY18" fmla="*/ 4722672 h 4931319"/>
              <a:gd name="connsiteX19" fmla="*/ 4763334 w 6942545"/>
              <a:gd name="connsiteY19" fmla="*/ 4534110 h 4931319"/>
              <a:gd name="connsiteX20" fmla="*/ 4732355 w 6942545"/>
              <a:gd name="connsiteY20" fmla="*/ 4497304 h 4931319"/>
              <a:gd name="connsiteX21" fmla="*/ 4466411 w 6942545"/>
              <a:gd name="connsiteY21" fmla="*/ 4371725 h 4931319"/>
              <a:gd name="connsiteX22" fmla="*/ 1131645 w 6942545"/>
              <a:gd name="connsiteY22" fmla="*/ 4371725 h 4931319"/>
              <a:gd name="connsiteX23" fmla="*/ 665956 w 6942545"/>
              <a:gd name="connsiteY23" fmla="*/ 4371725 h 4931319"/>
              <a:gd name="connsiteX24" fmla="*/ 561905 w 6942545"/>
              <a:gd name="connsiteY24" fmla="*/ 4371725 h 4931319"/>
              <a:gd name="connsiteX25" fmla="*/ 373094 w 6942545"/>
              <a:gd name="connsiteY25" fmla="*/ 4183405 h 4931319"/>
              <a:gd name="connsiteX26" fmla="*/ 373094 w 6942545"/>
              <a:gd name="connsiteY26" fmla="*/ 4121365 h 4931319"/>
              <a:gd name="connsiteX27" fmla="*/ 373094 w 6942545"/>
              <a:gd name="connsiteY27" fmla="*/ 3750170 h 4931319"/>
              <a:gd name="connsiteX28" fmla="*/ 373094 w 6942545"/>
              <a:gd name="connsiteY28" fmla="*/ 3102518 h 4931319"/>
              <a:gd name="connsiteX29" fmla="*/ 219967 w 6942545"/>
              <a:gd name="connsiteY29" fmla="*/ 2768334 h 4931319"/>
              <a:gd name="connsiteX30" fmla="*/ 181016 w 6942545"/>
              <a:gd name="connsiteY30" fmla="*/ 2740009 h 4931319"/>
              <a:gd name="connsiteX31" fmla="*/ 181016 w 6942545"/>
              <a:gd name="connsiteY31" fmla="*/ 2735531 h 4931319"/>
              <a:gd name="connsiteX32" fmla="*/ 177538 w 6942545"/>
              <a:gd name="connsiteY32" fmla="*/ 2734454 h 4931319"/>
              <a:gd name="connsiteX33" fmla="*/ 0 w 6942545"/>
              <a:gd name="connsiteY33" fmla="*/ 2467308 h 4931319"/>
              <a:gd name="connsiteX34" fmla="*/ 0 w 6942545"/>
              <a:gd name="connsiteY34" fmla="*/ 259681 h 4931319"/>
              <a:gd name="connsiteX35" fmla="*/ 128161 w 6942545"/>
              <a:gd name="connsiteY35" fmla="*/ 19267 h 4931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942545" h="4931319">
                <a:moveTo>
                  <a:pt x="163749" y="0"/>
                </a:moveTo>
                <a:lnTo>
                  <a:pt x="163749" y="2295550"/>
                </a:lnTo>
                <a:cubicBezTo>
                  <a:pt x="163749" y="2442692"/>
                  <a:pt x="283342" y="2561974"/>
                  <a:pt x="430868" y="2561974"/>
                </a:cubicBezTo>
                <a:lnTo>
                  <a:pt x="6571235" y="2551713"/>
                </a:lnTo>
                <a:cubicBezTo>
                  <a:pt x="6710965" y="2551713"/>
                  <a:pt x="6824238" y="2655166"/>
                  <a:pt x="6824238" y="2794532"/>
                </a:cubicBezTo>
                <a:cubicBezTo>
                  <a:pt x="6822646" y="3437245"/>
                  <a:pt x="6821055" y="4079959"/>
                  <a:pt x="6819463" y="4722672"/>
                </a:cubicBezTo>
                <a:lnTo>
                  <a:pt x="6809579" y="4722672"/>
                </a:lnTo>
                <a:lnTo>
                  <a:pt x="6809579" y="4775818"/>
                </a:lnTo>
                <a:lnTo>
                  <a:pt x="6942545" y="4775818"/>
                </a:lnTo>
                <a:lnTo>
                  <a:pt x="6942545" y="4931319"/>
                </a:lnTo>
                <a:lnTo>
                  <a:pt x="6816544" y="4931319"/>
                </a:lnTo>
                <a:lnTo>
                  <a:pt x="6807850" y="4903313"/>
                </a:lnTo>
                <a:cubicBezTo>
                  <a:pt x="6763106" y="4797526"/>
                  <a:pt x="6658357" y="4723298"/>
                  <a:pt x="6536271" y="4723298"/>
                </a:cubicBezTo>
                <a:lnTo>
                  <a:pt x="6432548" y="4723298"/>
                </a:lnTo>
                <a:lnTo>
                  <a:pt x="6432548" y="4722879"/>
                </a:lnTo>
                <a:lnTo>
                  <a:pt x="6234150" y="4723210"/>
                </a:lnTo>
                <a:lnTo>
                  <a:pt x="6234150" y="4722672"/>
                </a:lnTo>
                <a:lnTo>
                  <a:pt x="5095974" y="4722672"/>
                </a:lnTo>
                <a:lnTo>
                  <a:pt x="5065346" y="4722672"/>
                </a:lnTo>
                <a:cubicBezTo>
                  <a:pt x="4930652" y="4722672"/>
                  <a:pt x="4848511" y="4643374"/>
                  <a:pt x="4763334" y="4534110"/>
                </a:cubicBezTo>
                <a:lnTo>
                  <a:pt x="4732355" y="4497304"/>
                </a:lnTo>
                <a:cubicBezTo>
                  <a:pt x="4665550" y="4420383"/>
                  <a:pt x="4576453" y="4371725"/>
                  <a:pt x="4466411" y="4371725"/>
                </a:cubicBezTo>
                <a:lnTo>
                  <a:pt x="1131645" y="4371725"/>
                </a:lnTo>
                <a:lnTo>
                  <a:pt x="665956" y="4371725"/>
                </a:lnTo>
                <a:lnTo>
                  <a:pt x="561905" y="4371725"/>
                </a:lnTo>
                <a:cubicBezTo>
                  <a:pt x="457628" y="4371725"/>
                  <a:pt x="373094" y="4287411"/>
                  <a:pt x="373094" y="4183405"/>
                </a:cubicBezTo>
                <a:lnTo>
                  <a:pt x="373094" y="4121365"/>
                </a:lnTo>
                <a:lnTo>
                  <a:pt x="373094" y="3750170"/>
                </a:lnTo>
                <a:lnTo>
                  <a:pt x="373094" y="3102518"/>
                </a:lnTo>
                <a:cubicBezTo>
                  <a:pt x="373094" y="2969034"/>
                  <a:pt x="313762" y="2849371"/>
                  <a:pt x="219967" y="2768334"/>
                </a:cubicBezTo>
                <a:lnTo>
                  <a:pt x="181016" y="2740009"/>
                </a:lnTo>
                <a:lnTo>
                  <a:pt x="181016" y="2735531"/>
                </a:lnTo>
                <a:lnTo>
                  <a:pt x="177538" y="2734454"/>
                </a:lnTo>
                <a:cubicBezTo>
                  <a:pt x="73207" y="2690440"/>
                  <a:pt x="0" y="2587401"/>
                  <a:pt x="0" y="2467308"/>
                </a:cubicBezTo>
                <a:lnTo>
                  <a:pt x="0" y="259681"/>
                </a:lnTo>
                <a:cubicBezTo>
                  <a:pt x="0" y="159604"/>
                  <a:pt x="50838" y="71369"/>
                  <a:pt x="128161" y="19267"/>
                </a:cubicBezTo>
                <a:close/>
              </a:path>
            </a:pathLst>
          </a:custGeom>
          <a:solidFill>
            <a:srgbClr val="0052DB"/>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aphicFrame>
        <p:nvGraphicFramePr>
          <p:cNvPr id="6" name="think-cell data - do not delete" hidden="1">
            <a:extLst>
              <a:ext uri="{FF2B5EF4-FFF2-40B4-BE49-F238E27FC236}">
                <a16:creationId xmlns:a16="http://schemas.microsoft.com/office/drawing/2014/main" id="{FA689F94-C592-AF23-1A6E-38F918D34C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6" name="think-cell data - do not delete" hidden="1">
                        <a:extLst>
                          <a:ext uri="{FF2B5EF4-FFF2-40B4-BE49-F238E27FC236}">
                            <a16:creationId xmlns:a16="http://schemas.microsoft.com/office/drawing/2014/main" id="{FA689F94-C592-AF23-1A6E-38F918D34C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9" name="Freeform: Shape 38">
            <a:extLst>
              <a:ext uri="{FF2B5EF4-FFF2-40B4-BE49-F238E27FC236}">
                <a16:creationId xmlns:a16="http://schemas.microsoft.com/office/drawing/2014/main" id="{BF929238-A39D-7C6C-48AA-287CF06ECCBE}"/>
              </a:ext>
            </a:extLst>
          </p:cNvPr>
          <p:cNvSpPr/>
          <p:nvPr/>
        </p:nvSpPr>
        <p:spPr>
          <a:xfrm>
            <a:off x="565900" y="1299410"/>
            <a:ext cx="11626101" cy="5444957"/>
          </a:xfrm>
          <a:custGeom>
            <a:avLst/>
            <a:gdLst>
              <a:gd name="connsiteX0" fmla="*/ 266424 w 11626101"/>
              <a:gd name="connsiteY0" fmla="*/ 0 h 5554474"/>
              <a:gd name="connsiteX1" fmla="*/ 6273052 w 11626101"/>
              <a:gd name="connsiteY1" fmla="*/ 0 h 5554474"/>
              <a:gd name="connsiteX2" fmla="*/ 10654942 w 11626101"/>
              <a:gd name="connsiteY2" fmla="*/ 0 h 5554474"/>
              <a:gd name="connsiteX3" fmla="*/ 11626101 w 11626101"/>
              <a:gd name="connsiteY3" fmla="*/ 0 h 5554474"/>
              <a:gd name="connsiteX4" fmla="*/ 11626101 w 11626101"/>
              <a:gd name="connsiteY4" fmla="*/ 5097275 h 5554474"/>
              <a:gd name="connsiteX5" fmla="*/ 11626101 w 11626101"/>
              <a:gd name="connsiteY5" fmla="*/ 5275075 h 5554474"/>
              <a:gd name="connsiteX6" fmla="*/ 11626101 w 11626101"/>
              <a:gd name="connsiteY6" fmla="*/ 5554474 h 5554474"/>
              <a:gd name="connsiteX7" fmla="*/ 6857106 w 11626101"/>
              <a:gd name="connsiteY7" fmla="*/ 5554474 h 5554474"/>
              <a:gd name="connsiteX8" fmla="*/ 6646471 w 11626101"/>
              <a:gd name="connsiteY8" fmla="*/ 5414856 h 5554474"/>
              <a:gd name="connsiteX9" fmla="*/ 6638399 w 11626101"/>
              <a:gd name="connsiteY9" fmla="*/ 5374876 h 5554474"/>
              <a:gd name="connsiteX10" fmla="*/ 6638399 w 11626101"/>
              <a:gd name="connsiteY10" fmla="*/ 5097275 h 5554474"/>
              <a:gd name="connsiteX11" fmla="*/ 6638399 w 11626101"/>
              <a:gd name="connsiteY11" fmla="*/ 3917610 h 5554474"/>
              <a:gd name="connsiteX12" fmla="*/ 6642144 w 11626101"/>
              <a:gd name="connsiteY12" fmla="*/ 3917610 h 5554474"/>
              <a:gd name="connsiteX13" fmla="*/ 6642144 w 11626101"/>
              <a:gd name="connsiteY13" fmla="*/ 3669478 h 5554474"/>
              <a:gd name="connsiteX14" fmla="*/ 6642144 w 11626101"/>
              <a:gd name="connsiteY14" fmla="*/ 3587676 h 5554474"/>
              <a:gd name="connsiteX15" fmla="*/ 6642144 w 11626101"/>
              <a:gd name="connsiteY15" fmla="*/ 3324617 h 5554474"/>
              <a:gd name="connsiteX16" fmla="*/ 6394012 w 11626101"/>
              <a:gd name="connsiteY16" fmla="*/ 3076485 h 5554474"/>
              <a:gd name="connsiteX17" fmla="*/ 5061902 w 11626101"/>
              <a:gd name="connsiteY17" fmla="*/ 3076485 h 5554474"/>
              <a:gd name="connsiteX18" fmla="*/ 1058545 w 11626101"/>
              <a:gd name="connsiteY18" fmla="*/ 3076485 h 5554474"/>
              <a:gd name="connsiteX19" fmla="*/ 810413 w 11626101"/>
              <a:gd name="connsiteY19" fmla="*/ 3076485 h 5554474"/>
              <a:gd name="connsiteX20" fmla="*/ 810413 w 11626101"/>
              <a:gd name="connsiteY20" fmla="*/ 3084323 h 5554474"/>
              <a:gd name="connsiteX21" fmla="*/ 275825 w 11626101"/>
              <a:gd name="connsiteY21" fmla="*/ 3084323 h 5554474"/>
              <a:gd name="connsiteX22" fmla="*/ 266424 w 11626101"/>
              <a:gd name="connsiteY22" fmla="*/ 3084323 h 5554474"/>
              <a:gd name="connsiteX23" fmla="*/ 0 w 11626101"/>
              <a:gd name="connsiteY23" fmla="*/ 2817899 h 5554474"/>
              <a:gd name="connsiteX24" fmla="*/ 0 w 11626101"/>
              <a:gd name="connsiteY24" fmla="*/ 957777 h 5554474"/>
              <a:gd name="connsiteX25" fmla="*/ 0 w 11626101"/>
              <a:gd name="connsiteY25" fmla="*/ 266424 h 5554474"/>
              <a:gd name="connsiteX26" fmla="*/ 266424 w 11626101"/>
              <a:gd name="connsiteY26" fmla="*/ 0 h 5554474"/>
              <a:gd name="connsiteX0" fmla="*/ 266424 w 11626101"/>
              <a:gd name="connsiteY0" fmla="*/ 0 h 5554474"/>
              <a:gd name="connsiteX1" fmla="*/ 6273052 w 11626101"/>
              <a:gd name="connsiteY1" fmla="*/ 0 h 5554474"/>
              <a:gd name="connsiteX2" fmla="*/ 10654942 w 11626101"/>
              <a:gd name="connsiteY2" fmla="*/ 0 h 5554474"/>
              <a:gd name="connsiteX3" fmla="*/ 11626101 w 11626101"/>
              <a:gd name="connsiteY3" fmla="*/ 0 h 5554474"/>
              <a:gd name="connsiteX4" fmla="*/ 11626101 w 11626101"/>
              <a:gd name="connsiteY4" fmla="*/ 5097275 h 5554474"/>
              <a:gd name="connsiteX5" fmla="*/ 11626101 w 11626101"/>
              <a:gd name="connsiteY5" fmla="*/ 5275075 h 5554474"/>
              <a:gd name="connsiteX6" fmla="*/ 11626101 w 11626101"/>
              <a:gd name="connsiteY6" fmla="*/ 5554474 h 5554474"/>
              <a:gd name="connsiteX7" fmla="*/ 6857106 w 11626101"/>
              <a:gd name="connsiteY7" fmla="*/ 5554474 h 5554474"/>
              <a:gd name="connsiteX8" fmla="*/ 6646471 w 11626101"/>
              <a:gd name="connsiteY8" fmla="*/ 5414856 h 5554474"/>
              <a:gd name="connsiteX9" fmla="*/ 6638399 w 11626101"/>
              <a:gd name="connsiteY9" fmla="*/ 5374876 h 5554474"/>
              <a:gd name="connsiteX10" fmla="*/ 6638399 w 11626101"/>
              <a:gd name="connsiteY10" fmla="*/ 5097275 h 5554474"/>
              <a:gd name="connsiteX11" fmla="*/ 6638399 w 11626101"/>
              <a:gd name="connsiteY11" fmla="*/ 3917610 h 5554474"/>
              <a:gd name="connsiteX12" fmla="*/ 6642144 w 11626101"/>
              <a:gd name="connsiteY12" fmla="*/ 3917610 h 5554474"/>
              <a:gd name="connsiteX13" fmla="*/ 6642144 w 11626101"/>
              <a:gd name="connsiteY13" fmla="*/ 3669478 h 5554474"/>
              <a:gd name="connsiteX14" fmla="*/ 6642144 w 11626101"/>
              <a:gd name="connsiteY14" fmla="*/ 3587676 h 5554474"/>
              <a:gd name="connsiteX15" fmla="*/ 6642144 w 11626101"/>
              <a:gd name="connsiteY15" fmla="*/ 3324617 h 5554474"/>
              <a:gd name="connsiteX16" fmla="*/ 6394012 w 11626101"/>
              <a:gd name="connsiteY16" fmla="*/ 3076485 h 5554474"/>
              <a:gd name="connsiteX17" fmla="*/ 5061902 w 11626101"/>
              <a:gd name="connsiteY17" fmla="*/ 3076485 h 5554474"/>
              <a:gd name="connsiteX18" fmla="*/ 1058545 w 11626101"/>
              <a:gd name="connsiteY18" fmla="*/ 3076485 h 5554474"/>
              <a:gd name="connsiteX19" fmla="*/ 810413 w 11626101"/>
              <a:gd name="connsiteY19" fmla="*/ 3076485 h 5554474"/>
              <a:gd name="connsiteX20" fmla="*/ 275825 w 11626101"/>
              <a:gd name="connsiteY20" fmla="*/ 3084323 h 5554474"/>
              <a:gd name="connsiteX21" fmla="*/ 266424 w 11626101"/>
              <a:gd name="connsiteY21" fmla="*/ 3084323 h 5554474"/>
              <a:gd name="connsiteX22" fmla="*/ 0 w 11626101"/>
              <a:gd name="connsiteY22" fmla="*/ 2817899 h 5554474"/>
              <a:gd name="connsiteX23" fmla="*/ 0 w 11626101"/>
              <a:gd name="connsiteY23" fmla="*/ 957777 h 5554474"/>
              <a:gd name="connsiteX24" fmla="*/ 0 w 11626101"/>
              <a:gd name="connsiteY24" fmla="*/ 266424 h 5554474"/>
              <a:gd name="connsiteX25" fmla="*/ 266424 w 11626101"/>
              <a:gd name="connsiteY25" fmla="*/ 0 h 5554474"/>
              <a:gd name="connsiteX0" fmla="*/ 266424 w 11626101"/>
              <a:gd name="connsiteY0" fmla="*/ 0 h 5554474"/>
              <a:gd name="connsiteX1" fmla="*/ 6273052 w 11626101"/>
              <a:gd name="connsiteY1" fmla="*/ 0 h 5554474"/>
              <a:gd name="connsiteX2" fmla="*/ 10654942 w 11626101"/>
              <a:gd name="connsiteY2" fmla="*/ 0 h 5554474"/>
              <a:gd name="connsiteX3" fmla="*/ 11626101 w 11626101"/>
              <a:gd name="connsiteY3" fmla="*/ 0 h 5554474"/>
              <a:gd name="connsiteX4" fmla="*/ 11626101 w 11626101"/>
              <a:gd name="connsiteY4" fmla="*/ 5097275 h 5554474"/>
              <a:gd name="connsiteX5" fmla="*/ 11626101 w 11626101"/>
              <a:gd name="connsiteY5" fmla="*/ 5275075 h 5554474"/>
              <a:gd name="connsiteX6" fmla="*/ 11626101 w 11626101"/>
              <a:gd name="connsiteY6" fmla="*/ 5554474 h 5554474"/>
              <a:gd name="connsiteX7" fmla="*/ 6857106 w 11626101"/>
              <a:gd name="connsiteY7" fmla="*/ 5554474 h 5554474"/>
              <a:gd name="connsiteX8" fmla="*/ 6646471 w 11626101"/>
              <a:gd name="connsiteY8" fmla="*/ 5414856 h 5554474"/>
              <a:gd name="connsiteX9" fmla="*/ 6638399 w 11626101"/>
              <a:gd name="connsiteY9" fmla="*/ 5374876 h 5554474"/>
              <a:gd name="connsiteX10" fmla="*/ 6638399 w 11626101"/>
              <a:gd name="connsiteY10" fmla="*/ 5097275 h 5554474"/>
              <a:gd name="connsiteX11" fmla="*/ 6638399 w 11626101"/>
              <a:gd name="connsiteY11" fmla="*/ 3917610 h 5554474"/>
              <a:gd name="connsiteX12" fmla="*/ 6642144 w 11626101"/>
              <a:gd name="connsiteY12" fmla="*/ 3917610 h 5554474"/>
              <a:gd name="connsiteX13" fmla="*/ 6642144 w 11626101"/>
              <a:gd name="connsiteY13" fmla="*/ 3669478 h 5554474"/>
              <a:gd name="connsiteX14" fmla="*/ 6642144 w 11626101"/>
              <a:gd name="connsiteY14" fmla="*/ 3587676 h 5554474"/>
              <a:gd name="connsiteX15" fmla="*/ 6642144 w 11626101"/>
              <a:gd name="connsiteY15" fmla="*/ 3324617 h 5554474"/>
              <a:gd name="connsiteX16" fmla="*/ 6394012 w 11626101"/>
              <a:gd name="connsiteY16" fmla="*/ 3076485 h 5554474"/>
              <a:gd name="connsiteX17" fmla="*/ 5061902 w 11626101"/>
              <a:gd name="connsiteY17" fmla="*/ 3076485 h 5554474"/>
              <a:gd name="connsiteX18" fmla="*/ 1058545 w 11626101"/>
              <a:gd name="connsiteY18" fmla="*/ 3076485 h 5554474"/>
              <a:gd name="connsiteX19" fmla="*/ 275825 w 11626101"/>
              <a:gd name="connsiteY19" fmla="*/ 3084323 h 5554474"/>
              <a:gd name="connsiteX20" fmla="*/ 266424 w 11626101"/>
              <a:gd name="connsiteY20" fmla="*/ 3084323 h 5554474"/>
              <a:gd name="connsiteX21" fmla="*/ 0 w 11626101"/>
              <a:gd name="connsiteY21" fmla="*/ 2817899 h 5554474"/>
              <a:gd name="connsiteX22" fmla="*/ 0 w 11626101"/>
              <a:gd name="connsiteY22" fmla="*/ 957777 h 5554474"/>
              <a:gd name="connsiteX23" fmla="*/ 0 w 11626101"/>
              <a:gd name="connsiteY23" fmla="*/ 266424 h 5554474"/>
              <a:gd name="connsiteX24" fmla="*/ 266424 w 11626101"/>
              <a:gd name="connsiteY24" fmla="*/ 0 h 5554474"/>
              <a:gd name="connsiteX0" fmla="*/ 266424 w 11626101"/>
              <a:gd name="connsiteY0" fmla="*/ 0 h 5554474"/>
              <a:gd name="connsiteX1" fmla="*/ 6273052 w 11626101"/>
              <a:gd name="connsiteY1" fmla="*/ 0 h 5554474"/>
              <a:gd name="connsiteX2" fmla="*/ 10654942 w 11626101"/>
              <a:gd name="connsiteY2" fmla="*/ 0 h 5554474"/>
              <a:gd name="connsiteX3" fmla="*/ 11626101 w 11626101"/>
              <a:gd name="connsiteY3" fmla="*/ 0 h 5554474"/>
              <a:gd name="connsiteX4" fmla="*/ 11626101 w 11626101"/>
              <a:gd name="connsiteY4" fmla="*/ 5097275 h 5554474"/>
              <a:gd name="connsiteX5" fmla="*/ 11626101 w 11626101"/>
              <a:gd name="connsiteY5" fmla="*/ 5275075 h 5554474"/>
              <a:gd name="connsiteX6" fmla="*/ 11626101 w 11626101"/>
              <a:gd name="connsiteY6" fmla="*/ 5554474 h 5554474"/>
              <a:gd name="connsiteX7" fmla="*/ 6857106 w 11626101"/>
              <a:gd name="connsiteY7" fmla="*/ 5554474 h 5554474"/>
              <a:gd name="connsiteX8" fmla="*/ 6646471 w 11626101"/>
              <a:gd name="connsiteY8" fmla="*/ 5414856 h 5554474"/>
              <a:gd name="connsiteX9" fmla="*/ 6638399 w 11626101"/>
              <a:gd name="connsiteY9" fmla="*/ 5374876 h 5554474"/>
              <a:gd name="connsiteX10" fmla="*/ 6638399 w 11626101"/>
              <a:gd name="connsiteY10" fmla="*/ 5097275 h 5554474"/>
              <a:gd name="connsiteX11" fmla="*/ 6638399 w 11626101"/>
              <a:gd name="connsiteY11" fmla="*/ 3917610 h 5554474"/>
              <a:gd name="connsiteX12" fmla="*/ 6642144 w 11626101"/>
              <a:gd name="connsiteY12" fmla="*/ 3917610 h 5554474"/>
              <a:gd name="connsiteX13" fmla="*/ 6642144 w 11626101"/>
              <a:gd name="connsiteY13" fmla="*/ 3669478 h 5554474"/>
              <a:gd name="connsiteX14" fmla="*/ 6642144 w 11626101"/>
              <a:gd name="connsiteY14" fmla="*/ 3587676 h 5554474"/>
              <a:gd name="connsiteX15" fmla="*/ 6642144 w 11626101"/>
              <a:gd name="connsiteY15" fmla="*/ 3324617 h 5554474"/>
              <a:gd name="connsiteX16" fmla="*/ 6394012 w 11626101"/>
              <a:gd name="connsiteY16" fmla="*/ 3076485 h 5554474"/>
              <a:gd name="connsiteX17" fmla="*/ 5061902 w 11626101"/>
              <a:gd name="connsiteY17" fmla="*/ 3076485 h 5554474"/>
              <a:gd name="connsiteX18" fmla="*/ 275825 w 11626101"/>
              <a:gd name="connsiteY18" fmla="*/ 3084323 h 5554474"/>
              <a:gd name="connsiteX19" fmla="*/ 266424 w 11626101"/>
              <a:gd name="connsiteY19" fmla="*/ 3084323 h 5554474"/>
              <a:gd name="connsiteX20" fmla="*/ 0 w 11626101"/>
              <a:gd name="connsiteY20" fmla="*/ 2817899 h 5554474"/>
              <a:gd name="connsiteX21" fmla="*/ 0 w 11626101"/>
              <a:gd name="connsiteY21" fmla="*/ 957777 h 5554474"/>
              <a:gd name="connsiteX22" fmla="*/ 0 w 11626101"/>
              <a:gd name="connsiteY22" fmla="*/ 266424 h 5554474"/>
              <a:gd name="connsiteX23" fmla="*/ 266424 w 11626101"/>
              <a:gd name="connsiteY23" fmla="*/ 0 h 5554474"/>
              <a:gd name="connsiteX0" fmla="*/ 266424 w 11626101"/>
              <a:gd name="connsiteY0" fmla="*/ 0 h 5554474"/>
              <a:gd name="connsiteX1" fmla="*/ 6273052 w 11626101"/>
              <a:gd name="connsiteY1" fmla="*/ 0 h 5554474"/>
              <a:gd name="connsiteX2" fmla="*/ 10654942 w 11626101"/>
              <a:gd name="connsiteY2" fmla="*/ 0 h 5554474"/>
              <a:gd name="connsiteX3" fmla="*/ 11626101 w 11626101"/>
              <a:gd name="connsiteY3" fmla="*/ 0 h 5554474"/>
              <a:gd name="connsiteX4" fmla="*/ 11626101 w 11626101"/>
              <a:gd name="connsiteY4" fmla="*/ 5097275 h 5554474"/>
              <a:gd name="connsiteX5" fmla="*/ 11626101 w 11626101"/>
              <a:gd name="connsiteY5" fmla="*/ 5275075 h 5554474"/>
              <a:gd name="connsiteX6" fmla="*/ 11626101 w 11626101"/>
              <a:gd name="connsiteY6" fmla="*/ 5554474 h 5554474"/>
              <a:gd name="connsiteX7" fmla="*/ 6857106 w 11626101"/>
              <a:gd name="connsiteY7" fmla="*/ 5554474 h 5554474"/>
              <a:gd name="connsiteX8" fmla="*/ 6646471 w 11626101"/>
              <a:gd name="connsiteY8" fmla="*/ 5414856 h 5554474"/>
              <a:gd name="connsiteX9" fmla="*/ 6638399 w 11626101"/>
              <a:gd name="connsiteY9" fmla="*/ 5374876 h 5554474"/>
              <a:gd name="connsiteX10" fmla="*/ 6638399 w 11626101"/>
              <a:gd name="connsiteY10" fmla="*/ 5097275 h 5554474"/>
              <a:gd name="connsiteX11" fmla="*/ 6638399 w 11626101"/>
              <a:gd name="connsiteY11" fmla="*/ 3917610 h 5554474"/>
              <a:gd name="connsiteX12" fmla="*/ 6642144 w 11626101"/>
              <a:gd name="connsiteY12" fmla="*/ 3917610 h 5554474"/>
              <a:gd name="connsiteX13" fmla="*/ 6642144 w 11626101"/>
              <a:gd name="connsiteY13" fmla="*/ 3587676 h 5554474"/>
              <a:gd name="connsiteX14" fmla="*/ 6642144 w 11626101"/>
              <a:gd name="connsiteY14" fmla="*/ 3324617 h 5554474"/>
              <a:gd name="connsiteX15" fmla="*/ 6394012 w 11626101"/>
              <a:gd name="connsiteY15" fmla="*/ 3076485 h 5554474"/>
              <a:gd name="connsiteX16" fmla="*/ 5061902 w 11626101"/>
              <a:gd name="connsiteY16" fmla="*/ 3076485 h 5554474"/>
              <a:gd name="connsiteX17" fmla="*/ 275825 w 11626101"/>
              <a:gd name="connsiteY17" fmla="*/ 3084323 h 5554474"/>
              <a:gd name="connsiteX18" fmla="*/ 266424 w 11626101"/>
              <a:gd name="connsiteY18" fmla="*/ 3084323 h 5554474"/>
              <a:gd name="connsiteX19" fmla="*/ 0 w 11626101"/>
              <a:gd name="connsiteY19" fmla="*/ 2817899 h 5554474"/>
              <a:gd name="connsiteX20" fmla="*/ 0 w 11626101"/>
              <a:gd name="connsiteY20" fmla="*/ 957777 h 5554474"/>
              <a:gd name="connsiteX21" fmla="*/ 0 w 11626101"/>
              <a:gd name="connsiteY21" fmla="*/ 266424 h 5554474"/>
              <a:gd name="connsiteX22" fmla="*/ 266424 w 11626101"/>
              <a:gd name="connsiteY22" fmla="*/ 0 h 5554474"/>
              <a:gd name="connsiteX0" fmla="*/ 266424 w 11626101"/>
              <a:gd name="connsiteY0" fmla="*/ 0 h 5554474"/>
              <a:gd name="connsiteX1" fmla="*/ 6273052 w 11626101"/>
              <a:gd name="connsiteY1" fmla="*/ 0 h 5554474"/>
              <a:gd name="connsiteX2" fmla="*/ 10654942 w 11626101"/>
              <a:gd name="connsiteY2" fmla="*/ 0 h 5554474"/>
              <a:gd name="connsiteX3" fmla="*/ 11626101 w 11626101"/>
              <a:gd name="connsiteY3" fmla="*/ 0 h 5554474"/>
              <a:gd name="connsiteX4" fmla="*/ 11626101 w 11626101"/>
              <a:gd name="connsiteY4" fmla="*/ 5097275 h 5554474"/>
              <a:gd name="connsiteX5" fmla="*/ 11626101 w 11626101"/>
              <a:gd name="connsiteY5" fmla="*/ 5275075 h 5554474"/>
              <a:gd name="connsiteX6" fmla="*/ 11626101 w 11626101"/>
              <a:gd name="connsiteY6" fmla="*/ 5554474 h 5554474"/>
              <a:gd name="connsiteX7" fmla="*/ 6857106 w 11626101"/>
              <a:gd name="connsiteY7" fmla="*/ 5554474 h 5554474"/>
              <a:gd name="connsiteX8" fmla="*/ 6646471 w 11626101"/>
              <a:gd name="connsiteY8" fmla="*/ 5414856 h 5554474"/>
              <a:gd name="connsiteX9" fmla="*/ 6638399 w 11626101"/>
              <a:gd name="connsiteY9" fmla="*/ 5374876 h 5554474"/>
              <a:gd name="connsiteX10" fmla="*/ 6638399 w 11626101"/>
              <a:gd name="connsiteY10" fmla="*/ 5097275 h 5554474"/>
              <a:gd name="connsiteX11" fmla="*/ 6638399 w 11626101"/>
              <a:gd name="connsiteY11" fmla="*/ 3917610 h 5554474"/>
              <a:gd name="connsiteX12" fmla="*/ 6642144 w 11626101"/>
              <a:gd name="connsiteY12" fmla="*/ 3917610 h 5554474"/>
              <a:gd name="connsiteX13" fmla="*/ 6642144 w 11626101"/>
              <a:gd name="connsiteY13" fmla="*/ 3324617 h 5554474"/>
              <a:gd name="connsiteX14" fmla="*/ 6394012 w 11626101"/>
              <a:gd name="connsiteY14" fmla="*/ 3076485 h 5554474"/>
              <a:gd name="connsiteX15" fmla="*/ 5061902 w 11626101"/>
              <a:gd name="connsiteY15" fmla="*/ 3076485 h 5554474"/>
              <a:gd name="connsiteX16" fmla="*/ 275825 w 11626101"/>
              <a:gd name="connsiteY16" fmla="*/ 3084323 h 5554474"/>
              <a:gd name="connsiteX17" fmla="*/ 266424 w 11626101"/>
              <a:gd name="connsiteY17" fmla="*/ 3084323 h 5554474"/>
              <a:gd name="connsiteX18" fmla="*/ 0 w 11626101"/>
              <a:gd name="connsiteY18" fmla="*/ 2817899 h 5554474"/>
              <a:gd name="connsiteX19" fmla="*/ 0 w 11626101"/>
              <a:gd name="connsiteY19" fmla="*/ 957777 h 5554474"/>
              <a:gd name="connsiteX20" fmla="*/ 0 w 11626101"/>
              <a:gd name="connsiteY20" fmla="*/ 266424 h 5554474"/>
              <a:gd name="connsiteX21" fmla="*/ 266424 w 11626101"/>
              <a:gd name="connsiteY21" fmla="*/ 0 h 5554474"/>
              <a:gd name="connsiteX0" fmla="*/ 266424 w 11626101"/>
              <a:gd name="connsiteY0" fmla="*/ 0 h 5554474"/>
              <a:gd name="connsiteX1" fmla="*/ 6273052 w 11626101"/>
              <a:gd name="connsiteY1" fmla="*/ 0 h 5554474"/>
              <a:gd name="connsiteX2" fmla="*/ 10654942 w 11626101"/>
              <a:gd name="connsiteY2" fmla="*/ 0 h 5554474"/>
              <a:gd name="connsiteX3" fmla="*/ 11626101 w 11626101"/>
              <a:gd name="connsiteY3" fmla="*/ 0 h 5554474"/>
              <a:gd name="connsiteX4" fmla="*/ 11626101 w 11626101"/>
              <a:gd name="connsiteY4" fmla="*/ 5097275 h 5554474"/>
              <a:gd name="connsiteX5" fmla="*/ 11626101 w 11626101"/>
              <a:gd name="connsiteY5" fmla="*/ 5275075 h 5554474"/>
              <a:gd name="connsiteX6" fmla="*/ 11626101 w 11626101"/>
              <a:gd name="connsiteY6" fmla="*/ 5554474 h 5554474"/>
              <a:gd name="connsiteX7" fmla="*/ 6857106 w 11626101"/>
              <a:gd name="connsiteY7" fmla="*/ 5554474 h 5554474"/>
              <a:gd name="connsiteX8" fmla="*/ 6646471 w 11626101"/>
              <a:gd name="connsiteY8" fmla="*/ 5414856 h 5554474"/>
              <a:gd name="connsiteX9" fmla="*/ 6638399 w 11626101"/>
              <a:gd name="connsiteY9" fmla="*/ 5374876 h 5554474"/>
              <a:gd name="connsiteX10" fmla="*/ 6638399 w 11626101"/>
              <a:gd name="connsiteY10" fmla="*/ 5097275 h 5554474"/>
              <a:gd name="connsiteX11" fmla="*/ 6638399 w 11626101"/>
              <a:gd name="connsiteY11" fmla="*/ 3917610 h 5554474"/>
              <a:gd name="connsiteX12" fmla="*/ 6642144 w 11626101"/>
              <a:gd name="connsiteY12" fmla="*/ 3324617 h 5554474"/>
              <a:gd name="connsiteX13" fmla="*/ 6394012 w 11626101"/>
              <a:gd name="connsiteY13" fmla="*/ 3076485 h 5554474"/>
              <a:gd name="connsiteX14" fmla="*/ 5061902 w 11626101"/>
              <a:gd name="connsiteY14" fmla="*/ 3076485 h 5554474"/>
              <a:gd name="connsiteX15" fmla="*/ 275825 w 11626101"/>
              <a:gd name="connsiteY15" fmla="*/ 3084323 h 5554474"/>
              <a:gd name="connsiteX16" fmla="*/ 266424 w 11626101"/>
              <a:gd name="connsiteY16" fmla="*/ 3084323 h 5554474"/>
              <a:gd name="connsiteX17" fmla="*/ 0 w 11626101"/>
              <a:gd name="connsiteY17" fmla="*/ 2817899 h 5554474"/>
              <a:gd name="connsiteX18" fmla="*/ 0 w 11626101"/>
              <a:gd name="connsiteY18" fmla="*/ 957777 h 5554474"/>
              <a:gd name="connsiteX19" fmla="*/ 0 w 11626101"/>
              <a:gd name="connsiteY19" fmla="*/ 266424 h 5554474"/>
              <a:gd name="connsiteX20" fmla="*/ 266424 w 11626101"/>
              <a:gd name="connsiteY20" fmla="*/ 0 h 5554474"/>
              <a:gd name="connsiteX0" fmla="*/ 266424 w 11626101"/>
              <a:gd name="connsiteY0" fmla="*/ 0 h 5554474"/>
              <a:gd name="connsiteX1" fmla="*/ 6273052 w 11626101"/>
              <a:gd name="connsiteY1" fmla="*/ 0 h 5554474"/>
              <a:gd name="connsiteX2" fmla="*/ 10654942 w 11626101"/>
              <a:gd name="connsiteY2" fmla="*/ 0 h 5554474"/>
              <a:gd name="connsiteX3" fmla="*/ 11626101 w 11626101"/>
              <a:gd name="connsiteY3" fmla="*/ 0 h 5554474"/>
              <a:gd name="connsiteX4" fmla="*/ 11626101 w 11626101"/>
              <a:gd name="connsiteY4" fmla="*/ 5097275 h 5554474"/>
              <a:gd name="connsiteX5" fmla="*/ 11626101 w 11626101"/>
              <a:gd name="connsiteY5" fmla="*/ 5275075 h 5554474"/>
              <a:gd name="connsiteX6" fmla="*/ 11626101 w 11626101"/>
              <a:gd name="connsiteY6" fmla="*/ 5554474 h 5554474"/>
              <a:gd name="connsiteX7" fmla="*/ 6857106 w 11626101"/>
              <a:gd name="connsiteY7" fmla="*/ 5554474 h 5554474"/>
              <a:gd name="connsiteX8" fmla="*/ 6646471 w 11626101"/>
              <a:gd name="connsiteY8" fmla="*/ 5414856 h 5554474"/>
              <a:gd name="connsiteX9" fmla="*/ 6638399 w 11626101"/>
              <a:gd name="connsiteY9" fmla="*/ 5374876 h 5554474"/>
              <a:gd name="connsiteX10" fmla="*/ 6638399 w 11626101"/>
              <a:gd name="connsiteY10" fmla="*/ 5097275 h 5554474"/>
              <a:gd name="connsiteX11" fmla="*/ 6642144 w 11626101"/>
              <a:gd name="connsiteY11" fmla="*/ 3324617 h 5554474"/>
              <a:gd name="connsiteX12" fmla="*/ 6394012 w 11626101"/>
              <a:gd name="connsiteY12" fmla="*/ 3076485 h 5554474"/>
              <a:gd name="connsiteX13" fmla="*/ 5061902 w 11626101"/>
              <a:gd name="connsiteY13" fmla="*/ 3076485 h 5554474"/>
              <a:gd name="connsiteX14" fmla="*/ 275825 w 11626101"/>
              <a:gd name="connsiteY14" fmla="*/ 3084323 h 5554474"/>
              <a:gd name="connsiteX15" fmla="*/ 266424 w 11626101"/>
              <a:gd name="connsiteY15" fmla="*/ 3084323 h 5554474"/>
              <a:gd name="connsiteX16" fmla="*/ 0 w 11626101"/>
              <a:gd name="connsiteY16" fmla="*/ 2817899 h 5554474"/>
              <a:gd name="connsiteX17" fmla="*/ 0 w 11626101"/>
              <a:gd name="connsiteY17" fmla="*/ 957777 h 5554474"/>
              <a:gd name="connsiteX18" fmla="*/ 0 w 11626101"/>
              <a:gd name="connsiteY18" fmla="*/ 266424 h 5554474"/>
              <a:gd name="connsiteX19" fmla="*/ 266424 w 11626101"/>
              <a:gd name="connsiteY19" fmla="*/ 0 h 5554474"/>
              <a:gd name="connsiteX0" fmla="*/ 266424 w 11626101"/>
              <a:gd name="connsiteY0" fmla="*/ 0 h 5554474"/>
              <a:gd name="connsiteX1" fmla="*/ 6273052 w 11626101"/>
              <a:gd name="connsiteY1" fmla="*/ 0 h 5554474"/>
              <a:gd name="connsiteX2" fmla="*/ 10654942 w 11626101"/>
              <a:gd name="connsiteY2" fmla="*/ 0 h 5554474"/>
              <a:gd name="connsiteX3" fmla="*/ 11626101 w 11626101"/>
              <a:gd name="connsiteY3" fmla="*/ 0 h 5554474"/>
              <a:gd name="connsiteX4" fmla="*/ 11626101 w 11626101"/>
              <a:gd name="connsiteY4" fmla="*/ 5097275 h 5554474"/>
              <a:gd name="connsiteX5" fmla="*/ 11626101 w 11626101"/>
              <a:gd name="connsiteY5" fmla="*/ 5275075 h 5554474"/>
              <a:gd name="connsiteX6" fmla="*/ 11626101 w 11626101"/>
              <a:gd name="connsiteY6" fmla="*/ 5554474 h 5554474"/>
              <a:gd name="connsiteX7" fmla="*/ 6857106 w 11626101"/>
              <a:gd name="connsiteY7" fmla="*/ 5554474 h 5554474"/>
              <a:gd name="connsiteX8" fmla="*/ 6646471 w 11626101"/>
              <a:gd name="connsiteY8" fmla="*/ 5414856 h 5554474"/>
              <a:gd name="connsiteX9" fmla="*/ 6638399 w 11626101"/>
              <a:gd name="connsiteY9" fmla="*/ 5374876 h 5554474"/>
              <a:gd name="connsiteX10" fmla="*/ 6642144 w 11626101"/>
              <a:gd name="connsiteY10" fmla="*/ 3324617 h 5554474"/>
              <a:gd name="connsiteX11" fmla="*/ 6394012 w 11626101"/>
              <a:gd name="connsiteY11" fmla="*/ 3076485 h 5554474"/>
              <a:gd name="connsiteX12" fmla="*/ 5061902 w 11626101"/>
              <a:gd name="connsiteY12" fmla="*/ 3076485 h 5554474"/>
              <a:gd name="connsiteX13" fmla="*/ 275825 w 11626101"/>
              <a:gd name="connsiteY13" fmla="*/ 3084323 h 5554474"/>
              <a:gd name="connsiteX14" fmla="*/ 266424 w 11626101"/>
              <a:gd name="connsiteY14" fmla="*/ 3084323 h 5554474"/>
              <a:gd name="connsiteX15" fmla="*/ 0 w 11626101"/>
              <a:gd name="connsiteY15" fmla="*/ 2817899 h 5554474"/>
              <a:gd name="connsiteX16" fmla="*/ 0 w 11626101"/>
              <a:gd name="connsiteY16" fmla="*/ 957777 h 5554474"/>
              <a:gd name="connsiteX17" fmla="*/ 0 w 11626101"/>
              <a:gd name="connsiteY17" fmla="*/ 266424 h 5554474"/>
              <a:gd name="connsiteX18" fmla="*/ 266424 w 11626101"/>
              <a:gd name="connsiteY18" fmla="*/ 0 h 555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626101" h="5554474">
                <a:moveTo>
                  <a:pt x="266424" y="0"/>
                </a:moveTo>
                <a:lnTo>
                  <a:pt x="6273052" y="0"/>
                </a:lnTo>
                <a:lnTo>
                  <a:pt x="10654942" y="0"/>
                </a:lnTo>
                <a:lnTo>
                  <a:pt x="11626101" y="0"/>
                </a:lnTo>
                <a:lnTo>
                  <a:pt x="11626101" y="5097275"/>
                </a:lnTo>
                <a:lnTo>
                  <a:pt x="11626101" y="5275075"/>
                </a:lnTo>
                <a:lnTo>
                  <a:pt x="11626101" y="5554474"/>
                </a:lnTo>
                <a:lnTo>
                  <a:pt x="6857106" y="5554474"/>
                </a:lnTo>
                <a:cubicBezTo>
                  <a:pt x="6762417" y="5554474"/>
                  <a:pt x="6681174" y="5496903"/>
                  <a:pt x="6646471" y="5414856"/>
                </a:cubicBezTo>
                <a:lnTo>
                  <a:pt x="6638399" y="5374876"/>
                </a:lnTo>
                <a:cubicBezTo>
                  <a:pt x="6639647" y="4691456"/>
                  <a:pt x="6640896" y="4008037"/>
                  <a:pt x="6642144" y="3324617"/>
                </a:cubicBezTo>
                <a:cubicBezTo>
                  <a:pt x="6642144" y="3187577"/>
                  <a:pt x="6531052" y="3076485"/>
                  <a:pt x="6394012" y="3076485"/>
                </a:cubicBezTo>
                <a:lnTo>
                  <a:pt x="5061902" y="3076485"/>
                </a:lnTo>
                <a:lnTo>
                  <a:pt x="275825" y="3084323"/>
                </a:lnTo>
                <a:lnTo>
                  <a:pt x="266424" y="3084323"/>
                </a:lnTo>
                <a:cubicBezTo>
                  <a:pt x="119282" y="3084323"/>
                  <a:pt x="0" y="2965041"/>
                  <a:pt x="0" y="2817899"/>
                </a:cubicBezTo>
                <a:lnTo>
                  <a:pt x="0" y="957777"/>
                </a:lnTo>
                <a:lnTo>
                  <a:pt x="0" y="266424"/>
                </a:lnTo>
                <a:cubicBezTo>
                  <a:pt x="0" y="119282"/>
                  <a:pt x="119282" y="0"/>
                  <a:pt x="266424" y="0"/>
                </a:cubicBezTo>
                <a:close/>
              </a:path>
            </a:pathLst>
          </a:custGeom>
          <a:solidFill>
            <a:schemeClr val="accent5">
              <a:lumMod val="60000"/>
              <a:lumOff val="40000"/>
            </a:schemeClr>
          </a:solidFill>
          <a:ln>
            <a:noFill/>
          </a:ln>
          <a:effectLst>
            <a:innerShdw blurRad="177800" dist="50800" dir="2700000">
              <a:prstClr val="black">
                <a:alpha val="20000"/>
              </a:prstClr>
            </a:inn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4" name="Group 23">
            <a:extLst>
              <a:ext uri="{FF2B5EF4-FFF2-40B4-BE49-F238E27FC236}">
                <a16:creationId xmlns:a16="http://schemas.microsoft.com/office/drawing/2014/main" id="{8FCD42C4-7FD1-D384-4AC2-8FAB708AEFA5}"/>
              </a:ext>
            </a:extLst>
          </p:cNvPr>
          <p:cNvGrpSpPr/>
          <p:nvPr/>
        </p:nvGrpSpPr>
        <p:grpSpPr>
          <a:xfrm>
            <a:off x="740608" y="1265611"/>
            <a:ext cx="11379200" cy="3077511"/>
            <a:chOff x="746760" y="1045028"/>
            <a:chExt cx="11445240" cy="3077511"/>
          </a:xfrm>
        </p:grpSpPr>
        <p:sp>
          <p:nvSpPr>
            <p:cNvPr id="27" name="Arrow: Bent 26">
              <a:extLst>
                <a:ext uri="{FF2B5EF4-FFF2-40B4-BE49-F238E27FC236}">
                  <a16:creationId xmlns:a16="http://schemas.microsoft.com/office/drawing/2014/main" id="{E642CA5A-318C-FDC6-C66B-10EE3F33059E}"/>
                </a:ext>
              </a:extLst>
            </p:cNvPr>
            <p:cNvSpPr/>
            <p:nvPr/>
          </p:nvSpPr>
          <p:spPr>
            <a:xfrm>
              <a:off x="769257" y="1045028"/>
              <a:ext cx="11422743" cy="3004457"/>
            </a:xfrm>
            <a:prstGeom prst="bentArrow">
              <a:avLst>
                <a:gd name="adj1" fmla="val 25000"/>
                <a:gd name="adj2" fmla="val 0"/>
                <a:gd name="adj3" fmla="val 0"/>
                <a:gd name="adj4" fmla="val 12752"/>
              </a:avLst>
            </a:prstGeom>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 name="Rectangle: Rounded Corners 28">
              <a:extLst>
                <a:ext uri="{FF2B5EF4-FFF2-40B4-BE49-F238E27FC236}">
                  <a16:creationId xmlns:a16="http://schemas.microsoft.com/office/drawing/2014/main" id="{FCDDFAF8-D436-1845-327E-9EE460E98553}"/>
                </a:ext>
              </a:extLst>
            </p:cNvPr>
            <p:cNvSpPr/>
            <p:nvPr/>
          </p:nvSpPr>
          <p:spPr>
            <a:xfrm>
              <a:off x="746760" y="4031099"/>
              <a:ext cx="45719" cy="91440"/>
            </a:xfrm>
            <a:prstGeom prst="roundRect">
              <a:avLst>
                <a:gd name="adj" fmla="val 50000"/>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44" name="Rectangle: Top Corners Rounded 43">
            <a:extLst>
              <a:ext uri="{FF2B5EF4-FFF2-40B4-BE49-F238E27FC236}">
                <a16:creationId xmlns:a16="http://schemas.microsoft.com/office/drawing/2014/main" id="{20EEBD81-3AB5-51A2-58EA-58B89802E0EA}"/>
              </a:ext>
            </a:extLst>
          </p:cNvPr>
          <p:cNvSpPr>
            <a:spLocks/>
          </p:cNvSpPr>
          <p:nvPr/>
        </p:nvSpPr>
        <p:spPr>
          <a:xfrm>
            <a:off x="7305775" y="1299079"/>
            <a:ext cx="4788816" cy="5369089"/>
          </a:xfrm>
          <a:prstGeom prst="round2SameRect">
            <a:avLst>
              <a:gd name="adj1" fmla="val 4733"/>
              <a:gd name="adj2"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51" name="Group 150">
            <a:extLst>
              <a:ext uri="{FF2B5EF4-FFF2-40B4-BE49-F238E27FC236}">
                <a16:creationId xmlns:a16="http://schemas.microsoft.com/office/drawing/2014/main" id="{A82BB6B7-7C5A-4389-17D9-5C29E1215D6B}"/>
              </a:ext>
            </a:extLst>
          </p:cNvPr>
          <p:cNvGrpSpPr/>
          <p:nvPr/>
        </p:nvGrpSpPr>
        <p:grpSpPr>
          <a:xfrm>
            <a:off x="107156" y="6297036"/>
            <a:ext cx="548473" cy="548923"/>
            <a:chOff x="787399" y="5423749"/>
            <a:chExt cx="766749" cy="767378"/>
          </a:xfrm>
        </p:grpSpPr>
        <p:sp>
          <p:nvSpPr>
            <p:cNvPr id="152" name="object 54">
              <a:extLst>
                <a:ext uri="{FF2B5EF4-FFF2-40B4-BE49-F238E27FC236}">
                  <a16:creationId xmlns:a16="http://schemas.microsoft.com/office/drawing/2014/main" id="{5E689088-787A-F265-A6F3-0AA47BB649C9}"/>
                </a:ext>
              </a:extLst>
            </p:cNvPr>
            <p:cNvSpPr/>
            <p:nvPr/>
          </p:nvSpPr>
          <p:spPr>
            <a:xfrm>
              <a:off x="787399" y="5716782"/>
              <a:ext cx="474345" cy="474345"/>
            </a:xfrm>
            <a:custGeom>
              <a:avLst/>
              <a:gdLst/>
              <a:ahLst/>
              <a:cxnLst/>
              <a:rect l="l" t="t" r="r" b="b"/>
              <a:pathLst>
                <a:path w="474345" h="474345">
                  <a:moveTo>
                    <a:pt x="267887" y="0"/>
                  </a:moveTo>
                  <a:lnTo>
                    <a:pt x="206224" y="0"/>
                  </a:lnTo>
                  <a:lnTo>
                    <a:pt x="194722" y="2338"/>
                  </a:lnTo>
                  <a:lnTo>
                    <a:pt x="185303" y="8706"/>
                  </a:lnTo>
                  <a:lnTo>
                    <a:pt x="178939" y="18129"/>
                  </a:lnTo>
                  <a:lnTo>
                    <a:pt x="176601" y="29632"/>
                  </a:lnTo>
                  <a:lnTo>
                    <a:pt x="176601" y="176601"/>
                  </a:lnTo>
                  <a:lnTo>
                    <a:pt x="29622" y="176601"/>
                  </a:lnTo>
                  <a:lnTo>
                    <a:pt x="18120" y="178940"/>
                  </a:lnTo>
                  <a:lnTo>
                    <a:pt x="8701" y="185308"/>
                  </a:lnTo>
                  <a:lnTo>
                    <a:pt x="2337" y="194730"/>
                  </a:lnTo>
                  <a:lnTo>
                    <a:pt x="0" y="206234"/>
                  </a:lnTo>
                  <a:lnTo>
                    <a:pt x="0" y="267887"/>
                  </a:lnTo>
                  <a:lnTo>
                    <a:pt x="2337" y="279389"/>
                  </a:lnTo>
                  <a:lnTo>
                    <a:pt x="8701" y="288807"/>
                  </a:lnTo>
                  <a:lnTo>
                    <a:pt x="18120" y="295171"/>
                  </a:lnTo>
                  <a:lnTo>
                    <a:pt x="29622" y="297509"/>
                  </a:lnTo>
                  <a:lnTo>
                    <a:pt x="176601" y="297509"/>
                  </a:lnTo>
                  <a:lnTo>
                    <a:pt x="176601" y="444489"/>
                  </a:lnTo>
                  <a:lnTo>
                    <a:pt x="178939" y="455991"/>
                  </a:lnTo>
                  <a:lnTo>
                    <a:pt x="185303" y="465409"/>
                  </a:lnTo>
                  <a:lnTo>
                    <a:pt x="194722" y="471773"/>
                  </a:lnTo>
                  <a:lnTo>
                    <a:pt x="206224" y="474111"/>
                  </a:lnTo>
                  <a:lnTo>
                    <a:pt x="267887" y="474111"/>
                  </a:lnTo>
                  <a:lnTo>
                    <a:pt x="279389" y="471773"/>
                  </a:lnTo>
                  <a:lnTo>
                    <a:pt x="288807" y="465409"/>
                  </a:lnTo>
                  <a:lnTo>
                    <a:pt x="295171" y="455991"/>
                  </a:lnTo>
                  <a:lnTo>
                    <a:pt x="297509" y="444489"/>
                  </a:lnTo>
                  <a:lnTo>
                    <a:pt x="297509" y="297509"/>
                  </a:lnTo>
                  <a:lnTo>
                    <a:pt x="444489" y="297509"/>
                  </a:lnTo>
                  <a:lnTo>
                    <a:pt x="455991" y="295171"/>
                  </a:lnTo>
                  <a:lnTo>
                    <a:pt x="465409" y="288807"/>
                  </a:lnTo>
                  <a:lnTo>
                    <a:pt x="471773" y="279389"/>
                  </a:lnTo>
                  <a:lnTo>
                    <a:pt x="474111" y="267887"/>
                  </a:lnTo>
                  <a:lnTo>
                    <a:pt x="474111" y="206234"/>
                  </a:lnTo>
                  <a:lnTo>
                    <a:pt x="471773" y="194730"/>
                  </a:lnTo>
                  <a:lnTo>
                    <a:pt x="465409" y="185308"/>
                  </a:lnTo>
                  <a:lnTo>
                    <a:pt x="455991" y="178940"/>
                  </a:lnTo>
                  <a:lnTo>
                    <a:pt x="444489" y="176601"/>
                  </a:lnTo>
                  <a:lnTo>
                    <a:pt x="297509" y="176601"/>
                  </a:lnTo>
                  <a:lnTo>
                    <a:pt x="297509" y="29632"/>
                  </a:lnTo>
                  <a:lnTo>
                    <a:pt x="295171" y="18129"/>
                  </a:lnTo>
                  <a:lnTo>
                    <a:pt x="288807" y="8706"/>
                  </a:lnTo>
                  <a:lnTo>
                    <a:pt x="279389" y="2338"/>
                  </a:lnTo>
                  <a:lnTo>
                    <a:pt x="267887" y="0"/>
                  </a:lnTo>
                  <a:close/>
                </a:path>
              </a:pathLst>
            </a:custGeom>
            <a:solidFill>
              <a:srgbClr val="FFC62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3" name="object 56">
              <a:extLst>
                <a:ext uri="{FF2B5EF4-FFF2-40B4-BE49-F238E27FC236}">
                  <a16:creationId xmlns:a16="http://schemas.microsoft.com/office/drawing/2014/main" id="{A89465E3-28E0-8610-5897-986C40B4FCC5}"/>
                </a:ext>
              </a:extLst>
            </p:cNvPr>
            <p:cNvSpPr/>
            <p:nvPr/>
          </p:nvSpPr>
          <p:spPr>
            <a:xfrm>
              <a:off x="1263318" y="5423749"/>
              <a:ext cx="290830" cy="290830"/>
            </a:xfrm>
            <a:custGeom>
              <a:avLst/>
              <a:gdLst/>
              <a:ahLst/>
              <a:cxnLst/>
              <a:rect l="l" t="t" r="r" b="b"/>
              <a:pathLst>
                <a:path w="290830" h="290829">
                  <a:moveTo>
                    <a:pt x="164152" y="0"/>
                  </a:moveTo>
                  <a:lnTo>
                    <a:pt x="126373" y="0"/>
                  </a:lnTo>
                  <a:lnTo>
                    <a:pt x="119321" y="1433"/>
                  </a:lnTo>
                  <a:lnTo>
                    <a:pt x="113548" y="5336"/>
                  </a:lnTo>
                  <a:lnTo>
                    <a:pt x="109648" y="11109"/>
                  </a:lnTo>
                  <a:lnTo>
                    <a:pt x="108216" y="18156"/>
                  </a:lnTo>
                  <a:lnTo>
                    <a:pt x="108216" y="108216"/>
                  </a:lnTo>
                  <a:lnTo>
                    <a:pt x="18156" y="108216"/>
                  </a:lnTo>
                  <a:lnTo>
                    <a:pt x="11105" y="109650"/>
                  </a:lnTo>
                  <a:lnTo>
                    <a:pt x="5332" y="113552"/>
                  </a:lnTo>
                  <a:lnTo>
                    <a:pt x="1432" y="119326"/>
                  </a:lnTo>
                  <a:lnTo>
                    <a:pt x="0" y="126373"/>
                  </a:lnTo>
                  <a:lnTo>
                    <a:pt x="0" y="164152"/>
                  </a:lnTo>
                  <a:lnTo>
                    <a:pt x="1432" y="171198"/>
                  </a:lnTo>
                  <a:lnTo>
                    <a:pt x="5332" y="176972"/>
                  </a:lnTo>
                  <a:lnTo>
                    <a:pt x="11105" y="180874"/>
                  </a:lnTo>
                  <a:lnTo>
                    <a:pt x="18156" y="182308"/>
                  </a:lnTo>
                  <a:lnTo>
                    <a:pt x="108216" y="182308"/>
                  </a:lnTo>
                  <a:lnTo>
                    <a:pt x="108216" y="272368"/>
                  </a:lnTo>
                  <a:lnTo>
                    <a:pt x="109648" y="279419"/>
                  </a:lnTo>
                  <a:lnTo>
                    <a:pt x="113548" y="285192"/>
                  </a:lnTo>
                  <a:lnTo>
                    <a:pt x="119321" y="289092"/>
                  </a:lnTo>
                  <a:lnTo>
                    <a:pt x="126373" y="290525"/>
                  </a:lnTo>
                  <a:lnTo>
                    <a:pt x="164152" y="290525"/>
                  </a:lnTo>
                  <a:lnTo>
                    <a:pt x="171203" y="289092"/>
                  </a:lnTo>
                  <a:lnTo>
                    <a:pt x="176976" y="285192"/>
                  </a:lnTo>
                  <a:lnTo>
                    <a:pt x="180876" y="279419"/>
                  </a:lnTo>
                  <a:lnTo>
                    <a:pt x="182308" y="272368"/>
                  </a:lnTo>
                  <a:lnTo>
                    <a:pt x="182308" y="182308"/>
                  </a:lnTo>
                  <a:lnTo>
                    <a:pt x="272368" y="182308"/>
                  </a:lnTo>
                  <a:lnTo>
                    <a:pt x="279419" y="180874"/>
                  </a:lnTo>
                  <a:lnTo>
                    <a:pt x="285192" y="176972"/>
                  </a:lnTo>
                  <a:lnTo>
                    <a:pt x="289092" y="171198"/>
                  </a:lnTo>
                  <a:lnTo>
                    <a:pt x="290525" y="164152"/>
                  </a:lnTo>
                  <a:lnTo>
                    <a:pt x="290525" y="126373"/>
                  </a:lnTo>
                  <a:lnTo>
                    <a:pt x="289092" y="119326"/>
                  </a:lnTo>
                  <a:lnTo>
                    <a:pt x="285192" y="113552"/>
                  </a:lnTo>
                  <a:lnTo>
                    <a:pt x="279419" y="109650"/>
                  </a:lnTo>
                  <a:lnTo>
                    <a:pt x="272368" y="108216"/>
                  </a:lnTo>
                  <a:lnTo>
                    <a:pt x="182308" y="108216"/>
                  </a:lnTo>
                  <a:lnTo>
                    <a:pt x="182308" y="18156"/>
                  </a:lnTo>
                  <a:lnTo>
                    <a:pt x="180876" y="11109"/>
                  </a:lnTo>
                  <a:lnTo>
                    <a:pt x="176976" y="5336"/>
                  </a:lnTo>
                  <a:lnTo>
                    <a:pt x="171203" y="1433"/>
                  </a:lnTo>
                  <a:lnTo>
                    <a:pt x="164152" y="0"/>
                  </a:lnTo>
                  <a:close/>
                </a:path>
              </a:pathLst>
            </a:custGeom>
            <a:solidFill>
              <a:srgbClr val="4FD9E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4" name="Group 3">
            <a:extLst>
              <a:ext uri="{FF2B5EF4-FFF2-40B4-BE49-F238E27FC236}">
                <a16:creationId xmlns:a16="http://schemas.microsoft.com/office/drawing/2014/main" id="{3FC4DF7B-6B11-FB86-8C09-9818B2D9F7DB}"/>
              </a:ext>
            </a:extLst>
          </p:cNvPr>
          <p:cNvGrpSpPr/>
          <p:nvPr/>
        </p:nvGrpSpPr>
        <p:grpSpPr>
          <a:xfrm>
            <a:off x="6089483" y="5552576"/>
            <a:ext cx="1122905" cy="1101295"/>
            <a:chOff x="6342066" y="5742840"/>
            <a:chExt cx="860797" cy="812771"/>
          </a:xfrm>
        </p:grpSpPr>
        <p:pic>
          <p:nvPicPr>
            <p:cNvPr id="5" name="Picture 4">
              <a:extLst>
                <a:ext uri="{FF2B5EF4-FFF2-40B4-BE49-F238E27FC236}">
                  <a16:creationId xmlns:a16="http://schemas.microsoft.com/office/drawing/2014/main" id="{7DF6A97C-3EBC-4300-9E29-FBEFA52B2EF0}"/>
                </a:ext>
              </a:extLst>
            </p:cNvPr>
            <p:cNvPicPr>
              <a:picLocks noChangeAspect="1"/>
            </p:cNvPicPr>
            <p:nvPr/>
          </p:nvPicPr>
          <p:blipFill>
            <a:blip r:embed="rId8" cstate="print">
              <a:extLst>
                <a:ext uri="{28A0092B-C50C-407E-A947-70E740481C1C}">
                  <a14:useLocalDpi xmlns:a14="http://schemas.microsoft.com/office/drawing/2010/main"/>
                </a:ext>
              </a:extLst>
            </a:blip>
            <a:srcRect l="2843"/>
            <a:stretch>
              <a:fillRect/>
            </a:stretch>
          </p:blipFill>
          <p:spPr>
            <a:xfrm rot="5400000" flipH="1">
              <a:off x="6378725" y="5731474"/>
              <a:ext cx="812771" cy="835504"/>
            </a:xfrm>
            <a:custGeom>
              <a:avLst/>
              <a:gdLst>
                <a:gd name="connsiteX0" fmla="*/ 812771 w 812771"/>
                <a:gd name="connsiteY0" fmla="*/ 835504 h 835504"/>
                <a:gd name="connsiteX1" fmla="*/ 812771 w 812771"/>
                <a:gd name="connsiteY1" fmla="*/ 0 h 835504"/>
                <a:gd name="connsiteX2" fmla="*/ 0 w 812771"/>
                <a:gd name="connsiteY2" fmla="*/ 0 h 835504"/>
                <a:gd name="connsiteX3" fmla="*/ 4223 w 812771"/>
                <a:gd name="connsiteY3" fmla="*/ 1311 h 835504"/>
                <a:gd name="connsiteX4" fmla="*/ 184238 w 812771"/>
                <a:gd name="connsiteY4" fmla="*/ 272890 h 835504"/>
                <a:gd name="connsiteX5" fmla="*/ 184238 w 812771"/>
                <a:gd name="connsiteY5" fmla="*/ 376613 h 835504"/>
                <a:gd name="connsiteX6" fmla="*/ 184657 w 812771"/>
                <a:gd name="connsiteY6" fmla="*/ 376613 h 835504"/>
                <a:gd name="connsiteX7" fmla="*/ 184326 w 812771"/>
                <a:gd name="connsiteY7" fmla="*/ 575011 h 835504"/>
                <a:gd name="connsiteX8" fmla="*/ 184864 w 812771"/>
                <a:gd name="connsiteY8" fmla="*/ 575011 h 835504"/>
                <a:gd name="connsiteX9" fmla="*/ 184864 w 812771"/>
                <a:gd name="connsiteY9" fmla="*/ 835504 h 835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2771" h="835504">
                  <a:moveTo>
                    <a:pt x="812771" y="835504"/>
                  </a:moveTo>
                  <a:lnTo>
                    <a:pt x="812771" y="0"/>
                  </a:lnTo>
                  <a:lnTo>
                    <a:pt x="0" y="0"/>
                  </a:lnTo>
                  <a:lnTo>
                    <a:pt x="4223" y="1311"/>
                  </a:lnTo>
                  <a:cubicBezTo>
                    <a:pt x="110010" y="46055"/>
                    <a:pt x="184238" y="150804"/>
                    <a:pt x="184238" y="272890"/>
                  </a:cubicBezTo>
                  <a:lnTo>
                    <a:pt x="184238" y="376613"/>
                  </a:lnTo>
                  <a:lnTo>
                    <a:pt x="184657" y="376613"/>
                  </a:lnTo>
                  <a:lnTo>
                    <a:pt x="184326" y="575011"/>
                  </a:lnTo>
                  <a:lnTo>
                    <a:pt x="184864" y="575011"/>
                  </a:lnTo>
                  <a:lnTo>
                    <a:pt x="184864" y="835504"/>
                  </a:lnTo>
                  <a:close/>
                </a:path>
              </a:pathLst>
            </a:custGeom>
          </p:spPr>
        </p:pic>
        <p:pic>
          <p:nvPicPr>
            <p:cNvPr id="7" name="Picture 6">
              <a:extLst>
                <a:ext uri="{FF2B5EF4-FFF2-40B4-BE49-F238E27FC236}">
                  <a16:creationId xmlns:a16="http://schemas.microsoft.com/office/drawing/2014/main" id="{E59CB915-8B70-9D2F-859D-767C5634B3DF}"/>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rot="5400000" flipH="1">
              <a:off x="6342066" y="6040909"/>
              <a:ext cx="141570" cy="141570"/>
            </a:xfrm>
            <a:prstGeom prst="rect">
              <a:avLst/>
            </a:prstGeom>
          </p:spPr>
        </p:pic>
      </p:grpSp>
      <p:pic>
        <p:nvPicPr>
          <p:cNvPr id="8" name="Picture 7">
            <a:extLst>
              <a:ext uri="{FF2B5EF4-FFF2-40B4-BE49-F238E27FC236}">
                <a16:creationId xmlns:a16="http://schemas.microsoft.com/office/drawing/2014/main" id="{441549AF-4249-BB06-A052-F694C4F5FB30}"/>
              </a:ext>
            </a:extLst>
          </p:cNvPr>
          <p:cNvPicPr>
            <a:picLocks noChangeAspect="1"/>
          </p:cNvPicPr>
          <p:nvPr/>
        </p:nvPicPr>
        <p:blipFill>
          <a:blip r:embed="rId10"/>
          <a:stretch>
            <a:fillRect/>
          </a:stretch>
        </p:blipFill>
        <p:spPr>
          <a:xfrm>
            <a:off x="292823" y="6656640"/>
            <a:ext cx="2324100" cy="107950"/>
          </a:xfrm>
          <a:prstGeom prst="rect">
            <a:avLst/>
          </a:prstGeom>
        </p:spPr>
      </p:pic>
      <p:sp>
        <p:nvSpPr>
          <p:cNvPr id="9" name="TextBox 8">
            <a:extLst>
              <a:ext uri="{FF2B5EF4-FFF2-40B4-BE49-F238E27FC236}">
                <a16:creationId xmlns:a16="http://schemas.microsoft.com/office/drawing/2014/main" id="{3559DF84-E9EE-6D43-6885-F298DD265404}"/>
              </a:ext>
            </a:extLst>
          </p:cNvPr>
          <p:cNvSpPr txBox="1"/>
          <p:nvPr/>
        </p:nvSpPr>
        <p:spPr>
          <a:xfrm>
            <a:off x="11064240" y="6653513"/>
            <a:ext cx="993807" cy="20005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EE3F35-5EAA-0344-B6FC-083E415BACD9}" type="slidenum">
              <a:rPr kumimoji="0" lang="en-US" sz="700" b="0" i="0" u="none" strike="noStrike" kern="1200" cap="none" spc="300" normalizeH="0" baseline="0" noProof="0" smtClean="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700" b="0" i="0" u="none" strike="noStrike" kern="1200" cap="none" spc="300" normalizeH="0" baseline="0" noProof="0">
              <a:ln>
                <a:noFill/>
              </a:ln>
              <a:solidFill>
                <a:srgbClr val="FFFFFF"/>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1234AB44-A4FD-61A7-7EE7-D26CEE2F4F39}"/>
              </a:ext>
            </a:extLst>
          </p:cNvPr>
          <p:cNvSpPr txBox="1"/>
          <p:nvPr/>
        </p:nvSpPr>
        <p:spPr>
          <a:xfrm>
            <a:off x="842211" y="1684876"/>
            <a:ext cx="6400800" cy="274177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pPr>
              <a:defRPr/>
            </a:pPr>
            <a:r>
              <a:rPr lang="en-US" sz="2400" dirty="0">
                <a:solidFill>
                  <a:srgbClr val="FFFFFF"/>
                </a:solidFill>
                <a:latin typeface="Calibri" panose="020F0502020204030204"/>
                <a:sym typeface="Montserrat"/>
              </a:rPr>
              <a:t>CIRQU provides the services and tools </a:t>
            </a: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mn-cs"/>
                <a:sym typeface="Montserrat"/>
              </a:rPr>
              <a:t>that customers </a:t>
            </a:r>
            <a:r>
              <a:rPr lang="en-US" sz="2400" dirty="0">
                <a:solidFill>
                  <a:srgbClr val="FFFFFF"/>
                </a:solidFill>
                <a:latin typeface="Calibri" panose="020F0502020204030204"/>
                <a:sym typeface="Montserrat"/>
              </a:rPr>
              <a:t>need to make it easy </a:t>
            </a: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mn-cs"/>
                <a:sym typeface="Montserrat"/>
              </a:rPr>
              <a:t>to </a:t>
            </a:r>
            <a:r>
              <a:rPr lang="en-US" sz="2400" dirty="0">
                <a:solidFill>
                  <a:srgbClr val="FFFFFF"/>
                </a:solidFill>
                <a:latin typeface="Calibri" panose="020F0502020204030204"/>
                <a:sym typeface="Montserrat"/>
              </a:rPr>
              <a:t>recycle</a:t>
            </a: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mn-cs"/>
                <a:sym typeface="Montserrat"/>
              </a:rPr>
              <a:t>. </a:t>
            </a:r>
            <a:r>
              <a:rPr lang="en-US" sz="2400" dirty="0">
                <a:solidFill>
                  <a:srgbClr val="FFFFFF"/>
                </a:solidFill>
                <a:latin typeface="Calibri" panose="020F0502020204030204"/>
                <a:sym typeface="Montserrat"/>
              </a:rPr>
              <a:t>The model is designed</a:t>
            </a: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mn-cs"/>
                <a:sym typeface="Montserrat"/>
              </a:rPr>
              <a:t> to </a:t>
            </a:r>
            <a:r>
              <a:rPr lang="en-US" sz="2400" dirty="0">
                <a:solidFill>
                  <a:srgbClr val="FFFFFF"/>
                </a:solidFill>
                <a:latin typeface="Calibri" panose="020F0502020204030204"/>
                <a:sym typeface="Montserrat"/>
              </a:rPr>
              <a:t>ensure materials get worked back into our supply chain so they can be used again and again!</a:t>
            </a:r>
            <a:endParaRPr lang="en-US" sz="2400" dirty="0">
              <a:solidFill>
                <a:srgbClr val="FFFFFF"/>
              </a:solidFill>
              <a:latin typeface="Calibri" panose="020F0502020204030204"/>
              <a:cs typeface="Calibri"/>
            </a:endParaRPr>
          </a:p>
          <a:p>
            <a:pPr marL="0" marR="0" lvl="0" indent="0" algn="l" defTabSz="914400">
              <a:lnSpc>
                <a:spcPct val="100000"/>
              </a:lnSpc>
              <a:spcBef>
                <a:spcPts val="0"/>
              </a:spcBef>
              <a:spcAft>
                <a:spcPts val="0"/>
              </a:spcAft>
              <a:buClrTx/>
              <a:buSzTx/>
              <a:buFontTx/>
              <a:buNone/>
              <a:tabLst/>
              <a:defRPr/>
            </a:pPr>
            <a:endParaRPr lang="en-US" sz="2400" b="0" i="0" u="none" strike="noStrike" kern="1200" cap="none" spc="0" normalizeH="0" baseline="0" noProof="0" dirty="0">
              <a:ln>
                <a:noFill/>
              </a:ln>
              <a:solidFill>
                <a:srgbClr val="FFFFFF"/>
              </a:solidFill>
              <a:effectLst/>
              <a:uLnTx/>
              <a:uFillTx/>
              <a:latin typeface="Calibri" panose="020F0502020204030204"/>
              <a:cs typeface="Calibri"/>
            </a:endParaRPr>
          </a:p>
          <a:p>
            <a:pPr marL="0" marR="0" lvl="0" indent="0" algn="l" defTabSz="914400" rtl="0" eaLnBrk="1" fontAlgn="auto" latinLnBrk="0" hangingPunct="1">
              <a:lnSpc>
                <a:spcPct val="100000"/>
              </a:lnSpc>
              <a:spcBef>
                <a:spcPts val="500"/>
              </a:spcBef>
              <a:spcAft>
                <a:spcPts val="50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mn-cs"/>
              <a:sym typeface="Montserrat"/>
            </a:endParaRPr>
          </a:p>
        </p:txBody>
      </p:sp>
      <p:sp>
        <p:nvSpPr>
          <p:cNvPr id="11" name="Rectangle 10">
            <a:extLst>
              <a:ext uri="{FF2B5EF4-FFF2-40B4-BE49-F238E27FC236}">
                <a16:creationId xmlns:a16="http://schemas.microsoft.com/office/drawing/2014/main" id="{4A1821C7-AA3C-14E4-E7BD-56771FAC29B6}"/>
              </a:ext>
            </a:extLst>
          </p:cNvPr>
          <p:cNvSpPr>
            <a:spLocks noChangeArrowheads="1"/>
          </p:cNvSpPr>
          <p:nvPr/>
        </p:nvSpPr>
        <p:spPr bwMode="auto">
          <a:xfrm>
            <a:off x="528660" y="369862"/>
            <a:ext cx="9941334" cy="477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a:spcBef>
                <a:spcPct val="0"/>
              </a:spcBef>
              <a:spcAft>
                <a:spcPct val="0"/>
              </a:spcAft>
              <a:defRPr/>
            </a:pPr>
            <a:r>
              <a:rPr lang="en-US" altLang="en-US" sz="3100" b="1" kern="0">
                <a:solidFill>
                  <a:srgbClr val="FFFFFF"/>
                </a:solidFill>
                <a:latin typeface="Calibri" panose="020F0502020204030204"/>
                <a:sym typeface="Calibri"/>
              </a:rPr>
              <a:t>CIRQU - RECYCLING GETS SMART</a:t>
            </a:r>
            <a:endParaRPr lang="en-US"/>
          </a:p>
        </p:txBody>
      </p:sp>
      <p:grpSp>
        <p:nvGrpSpPr>
          <p:cNvPr id="20" name="Group 19">
            <a:extLst>
              <a:ext uri="{FF2B5EF4-FFF2-40B4-BE49-F238E27FC236}">
                <a16:creationId xmlns:a16="http://schemas.microsoft.com/office/drawing/2014/main" id="{4781E1B0-C69D-0D12-045D-C28BB2A38718}"/>
              </a:ext>
            </a:extLst>
          </p:cNvPr>
          <p:cNvGrpSpPr/>
          <p:nvPr/>
        </p:nvGrpSpPr>
        <p:grpSpPr>
          <a:xfrm>
            <a:off x="6515978" y="3898741"/>
            <a:ext cx="548473" cy="548923"/>
            <a:chOff x="787399" y="5423749"/>
            <a:chExt cx="766749" cy="767378"/>
          </a:xfrm>
        </p:grpSpPr>
        <p:sp>
          <p:nvSpPr>
            <p:cNvPr id="21" name="object 54">
              <a:extLst>
                <a:ext uri="{FF2B5EF4-FFF2-40B4-BE49-F238E27FC236}">
                  <a16:creationId xmlns:a16="http://schemas.microsoft.com/office/drawing/2014/main" id="{D031E7C9-5381-7D21-0700-2BF9D7C1E59B}"/>
                </a:ext>
              </a:extLst>
            </p:cNvPr>
            <p:cNvSpPr/>
            <p:nvPr/>
          </p:nvSpPr>
          <p:spPr>
            <a:xfrm>
              <a:off x="787399" y="5716782"/>
              <a:ext cx="474345" cy="474345"/>
            </a:xfrm>
            <a:custGeom>
              <a:avLst/>
              <a:gdLst/>
              <a:ahLst/>
              <a:cxnLst/>
              <a:rect l="l" t="t" r="r" b="b"/>
              <a:pathLst>
                <a:path w="474345" h="474345">
                  <a:moveTo>
                    <a:pt x="267887" y="0"/>
                  </a:moveTo>
                  <a:lnTo>
                    <a:pt x="206224" y="0"/>
                  </a:lnTo>
                  <a:lnTo>
                    <a:pt x="194722" y="2338"/>
                  </a:lnTo>
                  <a:lnTo>
                    <a:pt x="185303" y="8706"/>
                  </a:lnTo>
                  <a:lnTo>
                    <a:pt x="178939" y="18129"/>
                  </a:lnTo>
                  <a:lnTo>
                    <a:pt x="176601" y="29632"/>
                  </a:lnTo>
                  <a:lnTo>
                    <a:pt x="176601" y="176601"/>
                  </a:lnTo>
                  <a:lnTo>
                    <a:pt x="29622" y="176601"/>
                  </a:lnTo>
                  <a:lnTo>
                    <a:pt x="18120" y="178940"/>
                  </a:lnTo>
                  <a:lnTo>
                    <a:pt x="8701" y="185308"/>
                  </a:lnTo>
                  <a:lnTo>
                    <a:pt x="2337" y="194730"/>
                  </a:lnTo>
                  <a:lnTo>
                    <a:pt x="0" y="206234"/>
                  </a:lnTo>
                  <a:lnTo>
                    <a:pt x="0" y="267887"/>
                  </a:lnTo>
                  <a:lnTo>
                    <a:pt x="2337" y="279389"/>
                  </a:lnTo>
                  <a:lnTo>
                    <a:pt x="8701" y="288807"/>
                  </a:lnTo>
                  <a:lnTo>
                    <a:pt x="18120" y="295171"/>
                  </a:lnTo>
                  <a:lnTo>
                    <a:pt x="29622" y="297509"/>
                  </a:lnTo>
                  <a:lnTo>
                    <a:pt x="176601" y="297509"/>
                  </a:lnTo>
                  <a:lnTo>
                    <a:pt x="176601" y="444489"/>
                  </a:lnTo>
                  <a:lnTo>
                    <a:pt x="178939" y="455991"/>
                  </a:lnTo>
                  <a:lnTo>
                    <a:pt x="185303" y="465409"/>
                  </a:lnTo>
                  <a:lnTo>
                    <a:pt x="194722" y="471773"/>
                  </a:lnTo>
                  <a:lnTo>
                    <a:pt x="206224" y="474111"/>
                  </a:lnTo>
                  <a:lnTo>
                    <a:pt x="267887" y="474111"/>
                  </a:lnTo>
                  <a:lnTo>
                    <a:pt x="279389" y="471773"/>
                  </a:lnTo>
                  <a:lnTo>
                    <a:pt x="288807" y="465409"/>
                  </a:lnTo>
                  <a:lnTo>
                    <a:pt x="295171" y="455991"/>
                  </a:lnTo>
                  <a:lnTo>
                    <a:pt x="297509" y="444489"/>
                  </a:lnTo>
                  <a:lnTo>
                    <a:pt x="297509" y="297509"/>
                  </a:lnTo>
                  <a:lnTo>
                    <a:pt x="444489" y="297509"/>
                  </a:lnTo>
                  <a:lnTo>
                    <a:pt x="455991" y="295171"/>
                  </a:lnTo>
                  <a:lnTo>
                    <a:pt x="465409" y="288807"/>
                  </a:lnTo>
                  <a:lnTo>
                    <a:pt x="471773" y="279389"/>
                  </a:lnTo>
                  <a:lnTo>
                    <a:pt x="474111" y="267887"/>
                  </a:lnTo>
                  <a:lnTo>
                    <a:pt x="474111" y="206234"/>
                  </a:lnTo>
                  <a:lnTo>
                    <a:pt x="471773" y="194730"/>
                  </a:lnTo>
                  <a:lnTo>
                    <a:pt x="465409" y="185308"/>
                  </a:lnTo>
                  <a:lnTo>
                    <a:pt x="455991" y="178940"/>
                  </a:lnTo>
                  <a:lnTo>
                    <a:pt x="444489" y="176601"/>
                  </a:lnTo>
                  <a:lnTo>
                    <a:pt x="297509" y="176601"/>
                  </a:lnTo>
                  <a:lnTo>
                    <a:pt x="297509" y="29632"/>
                  </a:lnTo>
                  <a:lnTo>
                    <a:pt x="295171" y="18129"/>
                  </a:lnTo>
                  <a:lnTo>
                    <a:pt x="288807" y="8706"/>
                  </a:lnTo>
                  <a:lnTo>
                    <a:pt x="279389" y="2338"/>
                  </a:lnTo>
                  <a:lnTo>
                    <a:pt x="267887" y="0"/>
                  </a:lnTo>
                  <a:close/>
                </a:path>
              </a:pathLst>
            </a:custGeom>
            <a:solidFill>
              <a:srgbClr val="FFC62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 name="object 56">
              <a:extLst>
                <a:ext uri="{FF2B5EF4-FFF2-40B4-BE49-F238E27FC236}">
                  <a16:creationId xmlns:a16="http://schemas.microsoft.com/office/drawing/2014/main" id="{75C50777-4C03-A145-A1C2-F9186BD9D7F9}"/>
                </a:ext>
              </a:extLst>
            </p:cNvPr>
            <p:cNvSpPr/>
            <p:nvPr/>
          </p:nvSpPr>
          <p:spPr>
            <a:xfrm>
              <a:off x="1263318" y="5423749"/>
              <a:ext cx="290830" cy="290830"/>
            </a:xfrm>
            <a:custGeom>
              <a:avLst/>
              <a:gdLst/>
              <a:ahLst/>
              <a:cxnLst/>
              <a:rect l="l" t="t" r="r" b="b"/>
              <a:pathLst>
                <a:path w="290830" h="290829">
                  <a:moveTo>
                    <a:pt x="164152" y="0"/>
                  </a:moveTo>
                  <a:lnTo>
                    <a:pt x="126373" y="0"/>
                  </a:lnTo>
                  <a:lnTo>
                    <a:pt x="119321" y="1433"/>
                  </a:lnTo>
                  <a:lnTo>
                    <a:pt x="113548" y="5336"/>
                  </a:lnTo>
                  <a:lnTo>
                    <a:pt x="109648" y="11109"/>
                  </a:lnTo>
                  <a:lnTo>
                    <a:pt x="108216" y="18156"/>
                  </a:lnTo>
                  <a:lnTo>
                    <a:pt x="108216" y="108216"/>
                  </a:lnTo>
                  <a:lnTo>
                    <a:pt x="18156" y="108216"/>
                  </a:lnTo>
                  <a:lnTo>
                    <a:pt x="11105" y="109650"/>
                  </a:lnTo>
                  <a:lnTo>
                    <a:pt x="5332" y="113552"/>
                  </a:lnTo>
                  <a:lnTo>
                    <a:pt x="1432" y="119326"/>
                  </a:lnTo>
                  <a:lnTo>
                    <a:pt x="0" y="126373"/>
                  </a:lnTo>
                  <a:lnTo>
                    <a:pt x="0" y="164152"/>
                  </a:lnTo>
                  <a:lnTo>
                    <a:pt x="1432" y="171198"/>
                  </a:lnTo>
                  <a:lnTo>
                    <a:pt x="5332" y="176972"/>
                  </a:lnTo>
                  <a:lnTo>
                    <a:pt x="11105" y="180874"/>
                  </a:lnTo>
                  <a:lnTo>
                    <a:pt x="18156" y="182308"/>
                  </a:lnTo>
                  <a:lnTo>
                    <a:pt x="108216" y="182308"/>
                  </a:lnTo>
                  <a:lnTo>
                    <a:pt x="108216" y="272368"/>
                  </a:lnTo>
                  <a:lnTo>
                    <a:pt x="109648" y="279419"/>
                  </a:lnTo>
                  <a:lnTo>
                    <a:pt x="113548" y="285192"/>
                  </a:lnTo>
                  <a:lnTo>
                    <a:pt x="119321" y="289092"/>
                  </a:lnTo>
                  <a:lnTo>
                    <a:pt x="126373" y="290525"/>
                  </a:lnTo>
                  <a:lnTo>
                    <a:pt x="164152" y="290525"/>
                  </a:lnTo>
                  <a:lnTo>
                    <a:pt x="171203" y="289092"/>
                  </a:lnTo>
                  <a:lnTo>
                    <a:pt x="176976" y="285192"/>
                  </a:lnTo>
                  <a:lnTo>
                    <a:pt x="180876" y="279419"/>
                  </a:lnTo>
                  <a:lnTo>
                    <a:pt x="182308" y="272368"/>
                  </a:lnTo>
                  <a:lnTo>
                    <a:pt x="182308" y="182308"/>
                  </a:lnTo>
                  <a:lnTo>
                    <a:pt x="272368" y="182308"/>
                  </a:lnTo>
                  <a:lnTo>
                    <a:pt x="279419" y="180874"/>
                  </a:lnTo>
                  <a:lnTo>
                    <a:pt x="285192" y="176972"/>
                  </a:lnTo>
                  <a:lnTo>
                    <a:pt x="289092" y="171198"/>
                  </a:lnTo>
                  <a:lnTo>
                    <a:pt x="290525" y="164152"/>
                  </a:lnTo>
                  <a:lnTo>
                    <a:pt x="290525" y="126373"/>
                  </a:lnTo>
                  <a:lnTo>
                    <a:pt x="289092" y="119326"/>
                  </a:lnTo>
                  <a:lnTo>
                    <a:pt x="285192" y="113552"/>
                  </a:lnTo>
                  <a:lnTo>
                    <a:pt x="279419" y="109650"/>
                  </a:lnTo>
                  <a:lnTo>
                    <a:pt x="272368" y="108216"/>
                  </a:lnTo>
                  <a:lnTo>
                    <a:pt x="182308" y="108216"/>
                  </a:lnTo>
                  <a:lnTo>
                    <a:pt x="182308" y="18156"/>
                  </a:lnTo>
                  <a:lnTo>
                    <a:pt x="180876" y="11109"/>
                  </a:lnTo>
                  <a:lnTo>
                    <a:pt x="176976" y="5336"/>
                  </a:lnTo>
                  <a:lnTo>
                    <a:pt x="171203" y="1433"/>
                  </a:lnTo>
                  <a:lnTo>
                    <a:pt x="164152" y="0"/>
                  </a:lnTo>
                  <a:close/>
                </a:path>
              </a:pathLst>
            </a:custGeom>
            <a:solidFill>
              <a:srgbClr val="4FD9E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pic>
        <p:nvPicPr>
          <p:cNvPr id="19" name="Picture 18" descr="Replenysh: Infrastructure for the Circular Economy">
            <a:extLst>
              <a:ext uri="{FF2B5EF4-FFF2-40B4-BE49-F238E27FC236}">
                <a16:creationId xmlns:a16="http://schemas.microsoft.com/office/drawing/2014/main" id="{FA8E0756-D9A3-D1B4-08AB-146BC7F5F3DF}"/>
              </a:ext>
            </a:extLst>
          </p:cNvPr>
          <p:cNvPicPr>
            <a:picLocks noChangeAspect="1"/>
          </p:cNvPicPr>
          <p:nvPr/>
        </p:nvPicPr>
        <p:blipFill>
          <a:blip r:embed="rId11" cstate="screen">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3298656" y="4343147"/>
            <a:ext cx="3489159" cy="1841335"/>
          </a:xfrm>
          <a:prstGeom prst="rect">
            <a:avLst/>
          </a:prstGeom>
        </p:spPr>
      </p:pic>
      <p:sp>
        <p:nvSpPr>
          <p:cNvPr id="28" name="TextBox 27">
            <a:extLst>
              <a:ext uri="{FF2B5EF4-FFF2-40B4-BE49-F238E27FC236}">
                <a16:creationId xmlns:a16="http://schemas.microsoft.com/office/drawing/2014/main" id="{D7ACFB53-5AD6-2A2C-3F4C-6007F00C65A3}"/>
              </a:ext>
            </a:extLst>
          </p:cNvPr>
          <p:cNvSpPr txBox="1"/>
          <p:nvPr/>
        </p:nvSpPr>
        <p:spPr>
          <a:xfrm>
            <a:off x="4042611" y="4574005"/>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solidFill>
                  <a:srgbClr val="FFFFFF"/>
                </a:solidFill>
                <a:cs typeface="Calibri"/>
              </a:rPr>
              <a:t>In partnership with</a:t>
            </a:r>
          </a:p>
        </p:txBody>
      </p:sp>
      <p:pic>
        <p:nvPicPr>
          <p:cNvPr id="37" name="Picture 36">
            <a:extLst>
              <a:ext uri="{FF2B5EF4-FFF2-40B4-BE49-F238E27FC236}">
                <a16:creationId xmlns:a16="http://schemas.microsoft.com/office/drawing/2014/main" id="{63F0B2C8-E7CE-0E62-AA64-DB69714EBD5C}"/>
              </a:ext>
            </a:extLst>
          </p:cNvPr>
          <p:cNvPicPr>
            <a:picLocks noChangeAspect="1"/>
          </p:cNvPicPr>
          <p:nvPr/>
        </p:nvPicPr>
        <p:blipFill>
          <a:blip r:embed="rId13" cstate="screen">
            <a:extLst>
              <a:ext uri="{BEBA8EAE-BF5A-486C-A8C5-ECC9F3942E4B}">
                <a14:imgProps xmlns:a14="http://schemas.microsoft.com/office/drawing/2010/main">
                  <a14:imgLayer r:embed="rId14">
                    <a14:imgEffect>
                      <a14:brightnessContrast bright="21000" contrast="15000"/>
                    </a14:imgEffect>
                  </a14:imgLayer>
                </a14:imgProps>
              </a:ext>
              <a:ext uri="{28A0092B-C50C-407E-A947-70E740481C1C}">
                <a14:useLocalDpi xmlns:a14="http://schemas.microsoft.com/office/drawing/2010/main"/>
              </a:ext>
            </a:extLst>
          </a:blip>
          <a:srcRect l="-1514" t="4288" r="1077" b="1784"/>
          <a:stretch/>
        </p:blipFill>
        <p:spPr>
          <a:xfrm>
            <a:off x="7426803" y="1439914"/>
            <a:ext cx="4614134" cy="4961140"/>
          </a:xfrm>
          <a:prstGeom prst="rect">
            <a:avLst/>
          </a:prstGeom>
        </p:spPr>
      </p:pic>
      <p:sp>
        <p:nvSpPr>
          <p:cNvPr id="159" name="Freeform: Shape 158">
            <a:extLst>
              <a:ext uri="{FF2B5EF4-FFF2-40B4-BE49-F238E27FC236}">
                <a16:creationId xmlns:a16="http://schemas.microsoft.com/office/drawing/2014/main" id="{3A836609-2595-1853-DA5B-7DD0AC235B90}"/>
              </a:ext>
            </a:extLst>
          </p:cNvPr>
          <p:cNvSpPr/>
          <p:nvPr/>
        </p:nvSpPr>
        <p:spPr>
          <a:xfrm flipH="1" flipV="1">
            <a:off x="7202864" y="2366310"/>
            <a:ext cx="4986656" cy="4432658"/>
          </a:xfrm>
          <a:custGeom>
            <a:avLst/>
            <a:gdLst>
              <a:gd name="connsiteX0" fmla="*/ 0 w 4989141"/>
              <a:gd name="connsiteY0" fmla="*/ 3890503 h 3890503"/>
              <a:gd name="connsiteX1" fmla="*/ 0 w 4989141"/>
              <a:gd name="connsiteY1" fmla="*/ 457198 h 3890503"/>
              <a:gd name="connsiteX2" fmla="*/ 0 w 4989141"/>
              <a:gd name="connsiteY2" fmla="*/ 279398 h 3890503"/>
              <a:gd name="connsiteX3" fmla="*/ 0 w 4989141"/>
              <a:gd name="connsiteY3" fmla="*/ 0 h 3890503"/>
              <a:gd name="connsiteX4" fmla="*/ 174659 w 4989141"/>
              <a:gd name="connsiteY4" fmla="*/ 0 h 3890503"/>
              <a:gd name="connsiteX5" fmla="*/ 447499 w 4989141"/>
              <a:gd name="connsiteY5" fmla="*/ 0 h 3890503"/>
              <a:gd name="connsiteX6" fmla="*/ 672084 w 4989141"/>
              <a:gd name="connsiteY6" fmla="*/ 0 h 3890503"/>
              <a:gd name="connsiteX7" fmla="*/ 1901960 w 4989141"/>
              <a:gd name="connsiteY7" fmla="*/ 0 h 3890503"/>
              <a:gd name="connsiteX8" fmla="*/ 3189749 w 4989141"/>
              <a:gd name="connsiteY8" fmla="*/ 0 h 3890503"/>
              <a:gd name="connsiteX9" fmla="*/ 3766208 w 4989141"/>
              <a:gd name="connsiteY9" fmla="*/ 0 h 3890503"/>
              <a:gd name="connsiteX10" fmla="*/ 4076700 w 4989141"/>
              <a:gd name="connsiteY10" fmla="*/ 0 h 3890503"/>
              <a:gd name="connsiteX11" fmla="*/ 4076700 w 4989141"/>
              <a:gd name="connsiteY11" fmla="*/ 3 h 3890503"/>
              <a:gd name="connsiteX12" fmla="*/ 4832743 w 4989141"/>
              <a:gd name="connsiteY12" fmla="*/ 3 h 3890503"/>
              <a:gd name="connsiteX13" fmla="*/ 4989141 w 4989141"/>
              <a:gd name="connsiteY13" fmla="*/ 156401 h 3890503"/>
              <a:gd name="connsiteX14" fmla="*/ 4989140 w 4989141"/>
              <a:gd name="connsiteY14" fmla="*/ 312798 h 3890503"/>
              <a:gd name="connsiteX15" fmla="*/ 4076700 w 4989141"/>
              <a:gd name="connsiteY15" fmla="*/ 312798 h 3890503"/>
              <a:gd name="connsiteX16" fmla="*/ 4076700 w 4989141"/>
              <a:gd name="connsiteY16" fmla="*/ 377085 h 3890503"/>
              <a:gd name="connsiteX17" fmla="*/ 3896109 w 4989141"/>
              <a:gd name="connsiteY17" fmla="*/ 409484 h 3890503"/>
              <a:gd name="connsiteX18" fmla="*/ 66299 w 4989141"/>
              <a:gd name="connsiteY18" fmla="*/ 3694563 h 3890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989141" h="3890503">
                <a:moveTo>
                  <a:pt x="0" y="3890503"/>
                </a:moveTo>
                <a:lnTo>
                  <a:pt x="0" y="457198"/>
                </a:lnTo>
                <a:lnTo>
                  <a:pt x="0" y="279398"/>
                </a:lnTo>
                <a:lnTo>
                  <a:pt x="0" y="0"/>
                </a:lnTo>
                <a:lnTo>
                  <a:pt x="174659" y="0"/>
                </a:lnTo>
                <a:lnTo>
                  <a:pt x="447499" y="0"/>
                </a:lnTo>
                <a:lnTo>
                  <a:pt x="672084" y="0"/>
                </a:lnTo>
                <a:lnTo>
                  <a:pt x="1901960" y="0"/>
                </a:lnTo>
                <a:lnTo>
                  <a:pt x="3189749" y="0"/>
                </a:lnTo>
                <a:lnTo>
                  <a:pt x="3766208" y="0"/>
                </a:lnTo>
                <a:lnTo>
                  <a:pt x="4076700" y="0"/>
                </a:lnTo>
                <a:lnTo>
                  <a:pt x="4076700" y="3"/>
                </a:lnTo>
                <a:lnTo>
                  <a:pt x="4832743" y="3"/>
                </a:lnTo>
                <a:cubicBezTo>
                  <a:pt x="4919119" y="3"/>
                  <a:pt x="4989141" y="70025"/>
                  <a:pt x="4989141" y="156401"/>
                </a:cubicBezTo>
                <a:cubicBezTo>
                  <a:pt x="4989141" y="208533"/>
                  <a:pt x="4989140" y="260666"/>
                  <a:pt x="4989140" y="312798"/>
                </a:cubicBezTo>
                <a:lnTo>
                  <a:pt x="4076700" y="312798"/>
                </a:lnTo>
                <a:lnTo>
                  <a:pt x="4076700" y="377085"/>
                </a:lnTo>
                <a:lnTo>
                  <a:pt x="3896109" y="409484"/>
                </a:lnTo>
                <a:cubicBezTo>
                  <a:pt x="2122184" y="763806"/>
                  <a:pt x="676565" y="2027848"/>
                  <a:pt x="66299" y="3694563"/>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Freeform: Shape 2">
            <a:extLst>
              <a:ext uri="{FF2B5EF4-FFF2-40B4-BE49-F238E27FC236}">
                <a16:creationId xmlns:a16="http://schemas.microsoft.com/office/drawing/2014/main" id="{19116645-25AA-98FA-C6FC-88BE5D4414EB}"/>
              </a:ext>
            </a:extLst>
          </p:cNvPr>
          <p:cNvSpPr/>
          <p:nvPr/>
        </p:nvSpPr>
        <p:spPr>
          <a:xfrm rot="16200000" flipH="1">
            <a:off x="9565760" y="3985149"/>
            <a:ext cx="363775" cy="4883744"/>
          </a:xfrm>
          <a:custGeom>
            <a:avLst/>
            <a:gdLst>
              <a:gd name="connsiteX0" fmla="*/ 134529 w 447325"/>
              <a:gd name="connsiteY0" fmla="*/ 1 h 4989143"/>
              <a:gd name="connsiteX1" fmla="*/ 134529 w 447325"/>
              <a:gd name="connsiteY1" fmla="*/ 129380 h 4989143"/>
              <a:gd name="connsiteX2" fmla="*/ 134529 w 447325"/>
              <a:gd name="connsiteY2" fmla="*/ 706129 h 4989143"/>
              <a:gd name="connsiteX3" fmla="*/ 134529 w 447325"/>
              <a:gd name="connsiteY3" fmla="*/ 4989143 h 4989143"/>
              <a:gd name="connsiteX4" fmla="*/ 447324 w 447325"/>
              <a:gd name="connsiteY4" fmla="*/ 4989143 h 4989143"/>
              <a:gd name="connsiteX5" fmla="*/ 447325 w 447325"/>
              <a:gd name="connsiteY5" fmla="*/ 156399 h 4989143"/>
              <a:gd name="connsiteX6" fmla="*/ 290927 w 447325"/>
              <a:gd name="connsiteY6" fmla="*/ 1 h 4989143"/>
              <a:gd name="connsiteX7" fmla="*/ 0 w 447325"/>
              <a:gd name="connsiteY7" fmla="*/ 0 h 4989143"/>
              <a:gd name="connsiteX8" fmla="*/ 0 w 447325"/>
              <a:gd name="connsiteY8" fmla="*/ 4 h 4989143"/>
              <a:gd name="connsiteX9" fmla="*/ 5153 w 447325"/>
              <a:gd name="connsiteY9" fmla="*/ 4 h 4989143"/>
              <a:gd name="connsiteX10" fmla="*/ 124362 w 447325"/>
              <a:gd name="connsiteY10" fmla="*/ 79021 h 4989143"/>
              <a:gd name="connsiteX11" fmla="*/ 132994 w 447325"/>
              <a:gd name="connsiteY11" fmla="*/ 121775 h 4989143"/>
              <a:gd name="connsiteX12" fmla="*/ 134526 w 447325"/>
              <a:gd name="connsiteY12" fmla="*/ 121775 h 4989143"/>
              <a:gd name="connsiteX13" fmla="*/ 134526 w 447325"/>
              <a:gd name="connsiteY13" fmla="*/ 0 h 4989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7325" h="4989143">
                <a:moveTo>
                  <a:pt x="134529" y="1"/>
                </a:moveTo>
                <a:lnTo>
                  <a:pt x="134529" y="129380"/>
                </a:lnTo>
                <a:lnTo>
                  <a:pt x="134529" y="706129"/>
                </a:lnTo>
                <a:lnTo>
                  <a:pt x="134529" y="4989143"/>
                </a:lnTo>
                <a:lnTo>
                  <a:pt x="447324" y="4989143"/>
                </a:lnTo>
                <a:cubicBezTo>
                  <a:pt x="447324" y="3378227"/>
                  <a:pt x="447325" y="1767313"/>
                  <a:pt x="447325" y="156399"/>
                </a:cubicBezTo>
                <a:cubicBezTo>
                  <a:pt x="447325" y="70023"/>
                  <a:pt x="377303" y="1"/>
                  <a:pt x="290927" y="1"/>
                </a:cubicBezTo>
                <a:close/>
                <a:moveTo>
                  <a:pt x="0" y="0"/>
                </a:moveTo>
                <a:lnTo>
                  <a:pt x="0" y="4"/>
                </a:lnTo>
                <a:lnTo>
                  <a:pt x="5153" y="4"/>
                </a:lnTo>
                <a:cubicBezTo>
                  <a:pt x="58742" y="4"/>
                  <a:pt x="104722" y="32587"/>
                  <a:pt x="124362" y="79021"/>
                </a:cubicBezTo>
                <a:lnTo>
                  <a:pt x="132994" y="121775"/>
                </a:lnTo>
                <a:lnTo>
                  <a:pt x="134526" y="121775"/>
                </a:lnTo>
                <a:lnTo>
                  <a:pt x="134526" y="0"/>
                </a:lnTo>
                <a:close/>
              </a:path>
            </a:pathLst>
          </a:custGeom>
          <a:solidFill>
            <a:schemeClr val="accent1">
              <a:alpha val="7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854BFE69-FC76-DE79-4772-EC2CC9DD7DBA}"/>
              </a:ext>
            </a:extLst>
          </p:cNvPr>
          <p:cNvSpPr txBox="1"/>
          <p:nvPr/>
        </p:nvSpPr>
        <p:spPr>
          <a:xfrm>
            <a:off x="9792368" y="5427577"/>
            <a:ext cx="2248569"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US" sz="1600">
                <a:solidFill>
                  <a:srgbClr val="FFFFFF"/>
                </a:solidFill>
                <a:cs typeface="Calibri"/>
              </a:rPr>
              <a:t>Supersacks full of recycled material collected through CIRQU</a:t>
            </a:r>
            <a:endParaRPr lang="en-US" sz="1600">
              <a:solidFill>
                <a:srgbClr val="FFFFFF"/>
              </a:solidFill>
            </a:endParaRPr>
          </a:p>
        </p:txBody>
      </p:sp>
      <p:pic>
        <p:nvPicPr>
          <p:cNvPr id="15" name="Picture 14" descr="A white and blue logo&#10;&#10;Description automatically generated">
            <a:extLst>
              <a:ext uri="{FF2B5EF4-FFF2-40B4-BE49-F238E27FC236}">
                <a16:creationId xmlns:a16="http://schemas.microsoft.com/office/drawing/2014/main" id="{C33B11A8-9882-0F0D-AF56-B99A250626CF}"/>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605814" y="4229100"/>
            <a:ext cx="1691240" cy="1939091"/>
          </a:xfrm>
          <a:prstGeom prst="rect">
            <a:avLst/>
          </a:prstGeom>
        </p:spPr>
      </p:pic>
      <p:sp>
        <p:nvSpPr>
          <p:cNvPr id="13" name="TextBox 12">
            <a:extLst>
              <a:ext uri="{FF2B5EF4-FFF2-40B4-BE49-F238E27FC236}">
                <a16:creationId xmlns:a16="http://schemas.microsoft.com/office/drawing/2014/main" id="{725FCF4B-A77A-13A0-17BD-D82F64BE0A42}"/>
              </a:ext>
            </a:extLst>
          </p:cNvPr>
          <p:cNvSpPr txBox="1"/>
          <p:nvPr/>
        </p:nvSpPr>
        <p:spPr>
          <a:xfrm>
            <a:off x="10556585" y="209767"/>
            <a:ext cx="1196580"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POSITIVE</a:t>
            </a:r>
            <a:br>
              <a:rPr kumimoji="0" lang="en-US" sz="1400" b="1"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br>
            <a:r>
              <a:rPr kumimoji="0" lang="en-US" sz="1400" b="1"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VALUE CHAIN</a:t>
            </a:r>
          </a:p>
        </p:txBody>
      </p:sp>
      <p:sp>
        <p:nvSpPr>
          <p:cNvPr id="16" name="object 7">
            <a:extLst>
              <a:ext uri="{FF2B5EF4-FFF2-40B4-BE49-F238E27FC236}">
                <a16:creationId xmlns:a16="http://schemas.microsoft.com/office/drawing/2014/main" id="{E4B35619-E085-D7C9-CEE2-CA3616182A41}"/>
              </a:ext>
            </a:extLst>
          </p:cNvPr>
          <p:cNvSpPr txBox="1"/>
          <p:nvPr/>
        </p:nvSpPr>
        <p:spPr>
          <a:xfrm>
            <a:off x="9909439" y="709666"/>
            <a:ext cx="1883482" cy="466153"/>
          </a:xfrm>
          <a:prstGeom prst="rect">
            <a:avLst/>
          </a:prstGeom>
        </p:spPr>
        <p:txBody>
          <a:bodyPr vert="horz" wrap="square" lIns="0" tIns="34925" rIns="0" bIns="0" rtlCol="0">
            <a:spAutoFit/>
          </a:bodyPr>
          <a:lstStyle/>
          <a:p>
            <a:pPr marL="0" marR="0" lvl="0" indent="0" algn="ctr" defTabSz="914400" rtl="0" eaLnBrk="1" fontAlgn="auto" latinLnBrk="0" hangingPunct="1">
              <a:spcBef>
                <a:spcPts val="300"/>
              </a:spcBef>
              <a:spcAft>
                <a:spcPts val="600"/>
              </a:spcAft>
              <a:buClrTx/>
              <a:buSzTx/>
              <a:buFontTx/>
              <a:buNone/>
              <a:tabLst/>
              <a:defRPr/>
            </a:pPr>
            <a:r>
              <a:rPr kumimoji="0" lang="en-US" sz="1400" b="1" i="0" u="none" strike="noStrike" kern="1200" cap="none" spc="-3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Help</a:t>
            </a:r>
            <a:r>
              <a:rPr lang="en-US" sz="1400" b="1" spc="-30" err="1">
                <a:solidFill>
                  <a:schemeClr val="bg1"/>
                </a:solidFill>
                <a:latin typeface="Calibri" panose="020F0502020204030204" pitchFamily="34" charset="0"/>
                <a:cs typeface="Calibri" panose="020F0502020204030204" pitchFamily="34" charset="0"/>
              </a:rPr>
              <a:t>ing</a:t>
            </a:r>
            <a:r>
              <a:rPr kumimoji="0" lang="en-US" sz="1400" b="1" i="0" u="none" strike="noStrike" kern="1200" cap="none" spc="-3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 to build a circular </a:t>
            </a:r>
            <a:r>
              <a:rPr lang="en-US" sz="1400" b="1" spc="-30">
                <a:solidFill>
                  <a:schemeClr val="bg1"/>
                </a:solidFill>
                <a:latin typeface="Calibri" panose="020F0502020204030204" pitchFamily="34" charset="0"/>
                <a:cs typeface="Calibri" panose="020F0502020204030204" pitchFamily="34" charset="0"/>
              </a:rPr>
              <a:t>&amp;</a:t>
            </a:r>
            <a:r>
              <a:rPr kumimoji="0" lang="en-US" sz="1400" b="1" i="0" u="none" strike="noStrike" kern="1200" cap="none" spc="-3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 inclusive value chain.</a:t>
            </a:r>
          </a:p>
        </p:txBody>
      </p:sp>
      <p:pic>
        <p:nvPicPr>
          <p:cNvPr id="17" name="Picture 16" descr="A blue and green windmill with arrows around it&#10;&#10;Description automatically generated">
            <a:extLst>
              <a:ext uri="{FF2B5EF4-FFF2-40B4-BE49-F238E27FC236}">
                <a16:creationId xmlns:a16="http://schemas.microsoft.com/office/drawing/2014/main" id="{C844F489-64E9-69B8-F4E9-2F2A274D3F68}"/>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0011535" y="165602"/>
            <a:ext cx="556958" cy="556958"/>
          </a:xfrm>
          <a:prstGeom prst="rect">
            <a:avLst/>
          </a:prstGeom>
        </p:spPr>
      </p:pic>
      <p:sp>
        <p:nvSpPr>
          <p:cNvPr id="18" name="Rectangle: Rounded Corners 17">
            <a:extLst>
              <a:ext uri="{FF2B5EF4-FFF2-40B4-BE49-F238E27FC236}">
                <a16:creationId xmlns:a16="http://schemas.microsoft.com/office/drawing/2014/main" id="{1FF746A6-7874-31BD-3A71-D512C2917DA8}"/>
              </a:ext>
            </a:extLst>
          </p:cNvPr>
          <p:cNvSpPr/>
          <p:nvPr/>
        </p:nvSpPr>
        <p:spPr>
          <a:xfrm>
            <a:off x="9753210" y="93921"/>
            <a:ext cx="2199862" cy="1134906"/>
          </a:xfrm>
          <a:prstGeom prst="roundRect">
            <a:avLst/>
          </a:prstGeom>
          <a:noFill/>
          <a:ln w="28575">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01006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9D3F6588-1CA6-4DCA-6C7F-AB9FFD558B37}"/>
              </a:ext>
            </a:extLst>
          </p:cNvPr>
          <p:cNvSpPr/>
          <p:nvPr/>
        </p:nvSpPr>
        <p:spPr>
          <a:xfrm>
            <a:off x="-1" y="-1390"/>
            <a:ext cx="12192000" cy="6668176"/>
          </a:xfrm>
          <a:custGeom>
            <a:avLst/>
            <a:gdLst>
              <a:gd name="connsiteX0" fmla="*/ 8339245 w 12192000"/>
              <a:gd name="connsiteY0" fmla="*/ 0 h 6440290"/>
              <a:gd name="connsiteX1" fmla="*/ 12192000 w 12192000"/>
              <a:gd name="connsiteY1" fmla="*/ 0 h 6440290"/>
              <a:gd name="connsiteX2" fmla="*/ 12192000 w 12192000"/>
              <a:gd name="connsiteY2" fmla="*/ 1514871 h 6440290"/>
              <a:gd name="connsiteX3" fmla="*/ 8339245 w 12192000"/>
              <a:gd name="connsiteY3" fmla="*/ 1514871 h 6440290"/>
              <a:gd name="connsiteX4" fmla="*/ 8339245 w 12192000"/>
              <a:gd name="connsiteY4" fmla="*/ 1511714 h 6440290"/>
              <a:gd name="connsiteX5" fmla="*/ 6399554 w 12192000"/>
              <a:gd name="connsiteY5" fmla="*/ 1511714 h 6440290"/>
              <a:gd name="connsiteX6" fmla="*/ 6368059 w 12192000"/>
              <a:gd name="connsiteY6" fmla="*/ 1514889 h 6440290"/>
              <a:gd name="connsiteX7" fmla="*/ 6337190 w 12192000"/>
              <a:gd name="connsiteY7" fmla="*/ 1518001 h 6440290"/>
              <a:gd name="connsiteX8" fmla="*/ 6090105 w 12192000"/>
              <a:gd name="connsiteY8" fmla="*/ 1821163 h 6440290"/>
              <a:gd name="connsiteX9" fmla="*/ 6090105 w 12192000"/>
              <a:gd name="connsiteY9" fmla="*/ 1909669 h 6440290"/>
              <a:gd name="connsiteX10" fmla="*/ 6089901 w 12192000"/>
              <a:gd name="connsiteY10" fmla="*/ 1909669 h 6440290"/>
              <a:gd name="connsiteX11" fmla="*/ 6089901 w 12192000"/>
              <a:gd name="connsiteY11" fmla="*/ 6133237 h 6440290"/>
              <a:gd name="connsiteX12" fmla="*/ 5782848 w 12192000"/>
              <a:gd name="connsiteY12" fmla="*/ 6440290 h 6440290"/>
              <a:gd name="connsiteX13" fmla="*/ 0 w 12192000"/>
              <a:gd name="connsiteY13" fmla="*/ 6440290 h 6440290"/>
              <a:gd name="connsiteX14" fmla="*/ 0 w 12192000"/>
              <a:gd name="connsiteY14" fmla="*/ 1390 h 6440290"/>
              <a:gd name="connsiteX15" fmla="*/ 3098618 w 12192000"/>
              <a:gd name="connsiteY15" fmla="*/ 1390 h 6440290"/>
              <a:gd name="connsiteX16" fmla="*/ 8339245 w 12192000"/>
              <a:gd name="connsiteY16" fmla="*/ 1390 h 6440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0" h="6440290">
                <a:moveTo>
                  <a:pt x="8339245" y="0"/>
                </a:moveTo>
                <a:lnTo>
                  <a:pt x="12192000" y="0"/>
                </a:lnTo>
                <a:lnTo>
                  <a:pt x="12192000" y="1514871"/>
                </a:lnTo>
                <a:lnTo>
                  <a:pt x="8339245" y="1514871"/>
                </a:lnTo>
                <a:lnTo>
                  <a:pt x="8339245" y="1511714"/>
                </a:lnTo>
                <a:lnTo>
                  <a:pt x="6399554" y="1511714"/>
                </a:lnTo>
                <a:lnTo>
                  <a:pt x="6368059" y="1514889"/>
                </a:lnTo>
                <a:lnTo>
                  <a:pt x="6337190" y="1518001"/>
                </a:lnTo>
                <a:cubicBezTo>
                  <a:pt x="6196179" y="1546856"/>
                  <a:pt x="6090105" y="1671622"/>
                  <a:pt x="6090105" y="1821163"/>
                </a:cubicBezTo>
                <a:lnTo>
                  <a:pt x="6090105" y="1909669"/>
                </a:lnTo>
                <a:lnTo>
                  <a:pt x="6089901" y="1909669"/>
                </a:lnTo>
                <a:lnTo>
                  <a:pt x="6089901" y="6133237"/>
                </a:lnTo>
                <a:cubicBezTo>
                  <a:pt x="6089901" y="6302818"/>
                  <a:pt x="5952429" y="6440290"/>
                  <a:pt x="5782848" y="6440290"/>
                </a:cubicBezTo>
                <a:lnTo>
                  <a:pt x="0" y="6440290"/>
                </a:lnTo>
                <a:lnTo>
                  <a:pt x="0" y="1390"/>
                </a:lnTo>
                <a:lnTo>
                  <a:pt x="3098618" y="1390"/>
                </a:lnTo>
                <a:lnTo>
                  <a:pt x="8339245" y="1390"/>
                </a:lnTo>
                <a:close/>
              </a:path>
            </a:pathLst>
          </a:custGeom>
          <a:solidFill>
            <a:srgbClr val="011D8F"/>
          </a:solidFill>
          <a:ln>
            <a:noFill/>
          </a:ln>
          <a:effectLst>
            <a:innerShdw blurRad="177800" dist="50800" dir="2700000">
              <a:prstClr val="black">
                <a:alpha val="20000"/>
              </a:prstClr>
            </a:inn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Freeform: Shape 4">
            <a:extLst>
              <a:ext uri="{FF2B5EF4-FFF2-40B4-BE49-F238E27FC236}">
                <a16:creationId xmlns:a16="http://schemas.microsoft.com/office/drawing/2014/main" id="{625902F0-1AF0-DB2A-D3CA-A71ACFFDA876}"/>
              </a:ext>
            </a:extLst>
          </p:cNvPr>
          <p:cNvSpPr/>
          <p:nvPr/>
        </p:nvSpPr>
        <p:spPr>
          <a:xfrm flipH="1">
            <a:off x="0" y="1323833"/>
            <a:ext cx="5950424" cy="5145206"/>
          </a:xfrm>
          <a:custGeom>
            <a:avLst/>
            <a:gdLst>
              <a:gd name="connsiteX0" fmla="*/ 5965370 w 5965370"/>
              <a:gd name="connsiteY0" fmla="*/ 0 h 4802456"/>
              <a:gd name="connsiteX1" fmla="*/ 309449 w 5965370"/>
              <a:gd name="connsiteY1" fmla="*/ 0 h 4802456"/>
              <a:gd name="connsiteX2" fmla="*/ 0 w 5965370"/>
              <a:gd name="connsiteY2" fmla="*/ 309449 h 4802456"/>
              <a:gd name="connsiteX3" fmla="*/ 0 w 5965370"/>
              <a:gd name="connsiteY3" fmla="*/ 392538 h 4802456"/>
              <a:gd name="connsiteX4" fmla="*/ 0 w 5965370"/>
              <a:gd name="connsiteY4" fmla="*/ 4409918 h 4802456"/>
              <a:gd name="connsiteX5" fmla="*/ 0 w 5965370"/>
              <a:gd name="connsiteY5" fmla="*/ 4493007 h 4802456"/>
              <a:gd name="connsiteX6" fmla="*/ 309449 w 5965370"/>
              <a:gd name="connsiteY6" fmla="*/ 4802456 h 4802456"/>
              <a:gd name="connsiteX7" fmla="*/ 5965370 w 5965370"/>
              <a:gd name="connsiteY7" fmla="*/ 4802456 h 4802456"/>
              <a:gd name="connsiteX8" fmla="*/ 5965370 w 5965370"/>
              <a:gd name="connsiteY8" fmla="*/ 4719367 h 4802456"/>
              <a:gd name="connsiteX9" fmla="*/ 5965370 w 5965370"/>
              <a:gd name="connsiteY9" fmla="*/ 83089 h 4802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65370" h="4802456">
                <a:moveTo>
                  <a:pt x="5965370" y="0"/>
                </a:moveTo>
                <a:lnTo>
                  <a:pt x="309449" y="0"/>
                </a:lnTo>
                <a:cubicBezTo>
                  <a:pt x="138546" y="0"/>
                  <a:pt x="0" y="138545"/>
                  <a:pt x="0" y="309449"/>
                </a:cubicBezTo>
                <a:lnTo>
                  <a:pt x="0" y="392538"/>
                </a:lnTo>
                <a:lnTo>
                  <a:pt x="0" y="4409918"/>
                </a:lnTo>
                <a:lnTo>
                  <a:pt x="0" y="4493007"/>
                </a:lnTo>
                <a:cubicBezTo>
                  <a:pt x="0" y="4663911"/>
                  <a:pt x="138546" y="4802456"/>
                  <a:pt x="309449" y="4802456"/>
                </a:cubicBezTo>
                <a:lnTo>
                  <a:pt x="5965370" y="4802456"/>
                </a:lnTo>
                <a:lnTo>
                  <a:pt x="5965370" y="4719367"/>
                </a:lnTo>
                <a:lnTo>
                  <a:pt x="5965370" y="83089"/>
                </a:lnTo>
                <a:close/>
              </a:path>
            </a:pathLst>
          </a:custGeom>
          <a:solidFill>
            <a:srgbClr val="0052DB">
              <a:alpha val="30000"/>
            </a:srgbClr>
          </a:solidFill>
          <a:ln w="3175">
            <a:solidFill>
              <a:schemeClr val="bg1">
                <a:alpha val="46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6675B1FF-B6A9-5858-470D-B223B13CD06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flipH="1">
            <a:off x="10727760" y="-1390"/>
            <a:ext cx="1464239" cy="1506340"/>
          </a:xfrm>
          <a:prstGeom prst="rect">
            <a:avLst/>
          </a:prstGeom>
        </p:spPr>
      </p:pic>
      <p:sp>
        <p:nvSpPr>
          <p:cNvPr id="10" name="Freeform: Shape 9">
            <a:extLst>
              <a:ext uri="{FF2B5EF4-FFF2-40B4-BE49-F238E27FC236}">
                <a16:creationId xmlns:a16="http://schemas.microsoft.com/office/drawing/2014/main" id="{0A8ED31B-D539-26C8-4307-E8B3B079D818}"/>
              </a:ext>
            </a:extLst>
          </p:cNvPr>
          <p:cNvSpPr/>
          <p:nvPr/>
        </p:nvSpPr>
        <p:spPr>
          <a:xfrm>
            <a:off x="-1" y="0"/>
            <a:ext cx="10451556" cy="1276350"/>
          </a:xfrm>
          <a:custGeom>
            <a:avLst/>
            <a:gdLst>
              <a:gd name="connsiteX0" fmla="*/ 0 w 10265622"/>
              <a:gd name="connsiteY0" fmla="*/ 0 h 1276350"/>
              <a:gd name="connsiteX1" fmla="*/ 1315713 w 10265622"/>
              <a:gd name="connsiteY1" fmla="*/ 0 h 1276350"/>
              <a:gd name="connsiteX2" fmla="*/ 8949909 w 10265622"/>
              <a:gd name="connsiteY2" fmla="*/ 0 h 1276350"/>
              <a:gd name="connsiteX3" fmla="*/ 10265622 w 10265622"/>
              <a:gd name="connsiteY3" fmla="*/ 0 h 1276350"/>
              <a:gd name="connsiteX4" fmla="*/ 10265622 w 10265622"/>
              <a:gd name="connsiteY4" fmla="*/ 875027 h 1276350"/>
              <a:gd name="connsiteX5" fmla="*/ 9871668 w 10265622"/>
              <a:gd name="connsiteY5" fmla="*/ 1276350 h 1276350"/>
              <a:gd name="connsiteX6" fmla="*/ 8555955 w 10265622"/>
              <a:gd name="connsiteY6" fmla="*/ 1276350 h 1276350"/>
              <a:gd name="connsiteX7" fmla="*/ 7403239 w 10265622"/>
              <a:gd name="connsiteY7" fmla="*/ 1276350 h 1276350"/>
              <a:gd name="connsiteX8" fmla="*/ 6087526 w 10265622"/>
              <a:gd name="connsiteY8" fmla="*/ 1276350 h 1276350"/>
              <a:gd name="connsiteX9" fmla="*/ 2561352 w 10265622"/>
              <a:gd name="connsiteY9" fmla="*/ 1276350 h 1276350"/>
              <a:gd name="connsiteX10" fmla="*/ 1315713 w 10265622"/>
              <a:gd name="connsiteY10" fmla="*/ 1276350 h 1276350"/>
              <a:gd name="connsiteX11" fmla="*/ 1245639 w 10265622"/>
              <a:gd name="connsiteY11" fmla="*/ 1276350 h 1276350"/>
              <a:gd name="connsiteX12" fmla="*/ 0 w 10265622"/>
              <a:gd name="connsiteY12" fmla="*/ 1276350 h 1276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65622" h="1276350">
                <a:moveTo>
                  <a:pt x="0" y="0"/>
                </a:moveTo>
                <a:lnTo>
                  <a:pt x="1315713" y="0"/>
                </a:lnTo>
                <a:lnTo>
                  <a:pt x="8949909" y="0"/>
                </a:lnTo>
                <a:lnTo>
                  <a:pt x="10265622" y="0"/>
                </a:lnTo>
                <a:lnTo>
                  <a:pt x="10265622" y="875027"/>
                </a:lnTo>
                <a:cubicBezTo>
                  <a:pt x="10265622" y="1096672"/>
                  <a:pt x="10089243" y="1276350"/>
                  <a:pt x="9871668" y="1276350"/>
                </a:cubicBezTo>
                <a:lnTo>
                  <a:pt x="8555955" y="1276350"/>
                </a:lnTo>
                <a:lnTo>
                  <a:pt x="7403239" y="1276350"/>
                </a:lnTo>
                <a:lnTo>
                  <a:pt x="6087526" y="1276350"/>
                </a:lnTo>
                <a:lnTo>
                  <a:pt x="2561352" y="1276350"/>
                </a:lnTo>
                <a:lnTo>
                  <a:pt x="1315713" y="1276350"/>
                </a:lnTo>
                <a:lnTo>
                  <a:pt x="1245639" y="1276350"/>
                </a:lnTo>
                <a:lnTo>
                  <a:pt x="0" y="1276350"/>
                </a:lnTo>
                <a:close/>
              </a:path>
            </a:pathLst>
          </a:custGeom>
          <a:solidFill>
            <a:srgbClr val="133CCF"/>
          </a:solidFill>
          <a:ln>
            <a:noFill/>
          </a:ln>
          <a:effectLst>
            <a:innerShdw blurRad="177800" dist="50800" dir="2700000">
              <a:prstClr val="black">
                <a:alpha val="20000"/>
              </a:prstClr>
            </a:inn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Title 1">
            <a:extLst>
              <a:ext uri="{FF2B5EF4-FFF2-40B4-BE49-F238E27FC236}">
                <a16:creationId xmlns:a16="http://schemas.microsoft.com/office/drawing/2014/main" id="{DEC8D712-CD2A-6B60-3705-1FAABB56DDAB}"/>
              </a:ext>
            </a:extLst>
          </p:cNvPr>
          <p:cNvSpPr txBox="1">
            <a:spLocks/>
          </p:cNvSpPr>
          <p:nvPr/>
        </p:nvSpPr>
        <p:spPr>
          <a:xfrm>
            <a:off x="1663662" y="363774"/>
            <a:ext cx="9534890" cy="622300"/>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4400" kern="1200">
                <a:solidFill>
                  <a:srgbClr val="133CCF"/>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100" b="1" i="0" u="none" strike="noStrike" kern="1200" cap="none" spc="0" normalizeH="0" baseline="0" noProof="0">
                <a:ln>
                  <a:noFill/>
                </a:ln>
                <a:solidFill>
                  <a:srgbClr val="FFFFFF"/>
                </a:solidFill>
                <a:effectLst/>
                <a:uLnTx/>
                <a:uFillTx/>
                <a:latin typeface="Calibri" panose="020F0502020204030204"/>
                <a:ea typeface="+mj-ea"/>
                <a:cs typeface="+mj-cs"/>
              </a:rPr>
              <a:t>BRINGING PACKAGING CIRCULARITY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100" b="1" i="0" u="none" strike="noStrike" kern="1200" cap="none" spc="0" normalizeH="0" baseline="0" noProof="0">
                <a:ln>
                  <a:noFill/>
                </a:ln>
                <a:solidFill>
                  <a:srgbClr val="FFFFFF"/>
                </a:solidFill>
                <a:effectLst/>
                <a:uLnTx/>
                <a:uFillTx/>
                <a:latin typeface="Calibri" panose="020F0502020204030204"/>
                <a:ea typeface="+mj-ea"/>
                <a:cs typeface="+mj-cs"/>
              </a:rPr>
              <a:t>TO REDUCE WASTE</a:t>
            </a:r>
          </a:p>
        </p:txBody>
      </p:sp>
      <p:sp>
        <p:nvSpPr>
          <p:cNvPr id="12" name="Freeform: Shape 11">
            <a:extLst>
              <a:ext uri="{FF2B5EF4-FFF2-40B4-BE49-F238E27FC236}">
                <a16:creationId xmlns:a16="http://schemas.microsoft.com/office/drawing/2014/main" id="{46868784-1F77-7709-0204-A44810522AD8}"/>
              </a:ext>
            </a:extLst>
          </p:cNvPr>
          <p:cNvSpPr/>
          <p:nvPr/>
        </p:nvSpPr>
        <p:spPr>
          <a:xfrm flipH="1">
            <a:off x="-1" y="1322409"/>
            <a:ext cx="5619047" cy="566057"/>
          </a:xfrm>
          <a:custGeom>
            <a:avLst/>
            <a:gdLst>
              <a:gd name="connsiteX0" fmla="*/ 5619047 w 5619047"/>
              <a:gd name="connsiteY0" fmla="*/ 0 h 632460"/>
              <a:gd name="connsiteX1" fmla="*/ 4740933 w 5619047"/>
              <a:gd name="connsiteY1" fmla="*/ 0 h 632460"/>
              <a:gd name="connsiteX2" fmla="*/ 965200 w 5619047"/>
              <a:gd name="connsiteY2" fmla="*/ 0 h 632460"/>
              <a:gd name="connsiteX3" fmla="*/ 0 w 5619047"/>
              <a:gd name="connsiteY3" fmla="*/ 0 h 632460"/>
              <a:gd name="connsiteX4" fmla="*/ 282424 w 5619047"/>
              <a:gd name="connsiteY4" fmla="*/ 187203 h 632460"/>
              <a:gd name="connsiteX5" fmla="*/ 300707 w 5619047"/>
              <a:gd name="connsiteY5" fmla="*/ 243620 h 632460"/>
              <a:gd name="connsiteX6" fmla="*/ 324019 w 5619047"/>
              <a:gd name="connsiteY6" fmla="*/ 318718 h 632460"/>
              <a:gd name="connsiteX7" fmla="*/ 797345 w 5619047"/>
              <a:gd name="connsiteY7" fmla="*/ 632460 h 632460"/>
              <a:gd name="connsiteX8" fmla="*/ 1762545 w 5619047"/>
              <a:gd name="connsiteY8" fmla="*/ 632460 h 632460"/>
              <a:gd name="connsiteX9" fmla="*/ 4740933 w 5619047"/>
              <a:gd name="connsiteY9" fmla="*/ 632460 h 632460"/>
              <a:gd name="connsiteX10" fmla="*/ 5619047 w 5619047"/>
              <a:gd name="connsiteY10" fmla="*/ 632460 h 63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19047" h="632460">
                <a:moveTo>
                  <a:pt x="5619047" y="0"/>
                </a:moveTo>
                <a:lnTo>
                  <a:pt x="4740933" y="0"/>
                </a:lnTo>
                <a:lnTo>
                  <a:pt x="965200" y="0"/>
                </a:lnTo>
                <a:lnTo>
                  <a:pt x="0" y="0"/>
                </a:lnTo>
                <a:cubicBezTo>
                  <a:pt x="126961" y="0"/>
                  <a:pt x="235893" y="77192"/>
                  <a:pt x="282424" y="187203"/>
                </a:cubicBezTo>
                <a:lnTo>
                  <a:pt x="300707" y="243620"/>
                </a:lnTo>
                <a:lnTo>
                  <a:pt x="324019" y="318718"/>
                </a:lnTo>
                <a:cubicBezTo>
                  <a:pt x="402002" y="503091"/>
                  <a:pt x="584566" y="632460"/>
                  <a:pt x="797345" y="632460"/>
                </a:cubicBezTo>
                <a:lnTo>
                  <a:pt x="1762545" y="632460"/>
                </a:lnTo>
                <a:lnTo>
                  <a:pt x="4740933" y="632460"/>
                </a:lnTo>
                <a:lnTo>
                  <a:pt x="5619047" y="632460"/>
                </a:ln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Calibri" panose="020F0502020204030204"/>
                <a:ea typeface="+mn-ea"/>
                <a:cs typeface="+mn-cs"/>
              </a:rPr>
              <a:t>Recycling Today</a:t>
            </a:r>
          </a:p>
        </p:txBody>
      </p:sp>
      <p:sp>
        <p:nvSpPr>
          <p:cNvPr id="13" name="Arrow: Bent 12">
            <a:extLst>
              <a:ext uri="{FF2B5EF4-FFF2-40B4-BE49-F238E27FC236}">
                <a16:creationId xmlns:a16="http://schemas.microsoft.com/office/drawing/2014/main" id="{38C77876-7C23-C14F-EF0C-479B54523323}"/>
              </a:ext>
            </a:extLst>
          </p:cNvPr>
          <p:cNvSpPr/>
          <p:nvPr/>
        </p:nvSpPr>
        <p:spPr>
          <a:xfrm flipH="1" flipV="1">
            <a:off x="161732" y="2306536"/>
            <a:ext cx="5934267" cy="4135204"/>
          </a:xfrm>
          <a:prstGeom prst="bentArrow">
            <a:avLst>
              <a:gd name="adj1" fmla="val 25000"/>
              <a:gd name="adj2" fmla="val 0"/>
              <a:gd name="adj3" fmla="val 25000"/>
              <a:gd name="adj4" fmla="val 7103"/>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 name="Rectangle: Rounded Corners 13">
            <a:extLst>
              <a:ext uri="{FF2B5EF4-FFF2-40B4-BE49-F238E27FC236}">
                <a16:creationId xmlns:a16="http://schemas.microsoft.com/office/drawing/2014/main" id="{53B77D4A-81F9-FDB2-4151-1408B4D14761}"/>
              </a:ext>
            </a:extLst>
          </p:cNvPr>
          <p:cNvSpPr/>
          <p:nvPr/>
        </p:nvSpPr>
        <p:spPr>
          <a:xfrm>
            <a:off x="-2703" y="6366648"/>
            <a:ext cx="240874" cy="50007"/>
          </a:xfrm>
          <a:prstGeom prst="roundRect">
            <a:avLst>
              <a:gd name="adj" fmla="val 50000"/>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C2CF67C1-CB6F-5652-BB6D-AEE56997A143}"/>
              </a:ext>
            </a:extLst>
          </p:cNvPr>
          <p:cNvSpPr/>
          <p:nvPr/>
        </p:nvSpPr>
        <p:spPr>
          <a:xfrm>
            <a:off x="504606" y="2118213"/>
            <a:ext cx="5393275" cy="4173401"/>
          </a:xfrm>
          <a:custGeom>
            <a:avLst/>
            <a:gdLst>
              <a:gd name="connsiteX0" fmla="*/ 1988146 w 5393275"/>
              <a:gd name="connsiteY0" fmla="*/ 0 h 4047596"/>
              <a:gd name="connsiteX1" fmla="*/ 2591085 w 5393275"/>
              <a:gd name="connsiteY1" fmla="*/ 399654 h 4047596"/>
              <a:gd name="connsiteX2" fmla="*/ 2599659 w 5393275"/>
              <a:gd name="connsiteY2" fmla="*/ 427276 h 4047596"/>
              <a:gd name="connsiteX3" fmla="*/ 2665515 w 5393275"/>
              <a:gd name="connsiteY3" fmla="*/ 451379 h 4047596"/>
              <a:gd name="connsiteX4" fmla="*/ 3347454 w 5393275"/>
              <a:gd name="connsiteY4" fmla="*/ 968170 h 4047596"/>
              <a:gd name="connsiteX5" fmla="*/ 3380106 w 5393275"/>
              <a:gd name="connsiteY5" fmla="*/ 1013370 h 4047596"/>
              <a:gd name="connsiteX6" fmla="*/ 3437692 w 5393275"/>
              <a:gd name="connsiteY6" fmla="*/ 899939 h 4047596"/>
              <a:gd name="connsiteX7" fmla="*/ 3471590 w 5393275"/>
              <a:gd name="connsiteY7" fmla="*/ 908741 h 4047596"/>
              <a:gd name="connsiteX8" fmla="*/ 3463205 w 5393275"/>
              <a:gd name="connsiteY8" fmla="*/ 1133351 h 4047596"/>
              <a:gd name="connsiteX9" fmla="*/ 3535571 w 5393275"/>
              <a:gd name="connsiteY9" fmla="*/ 1257916 h 4047596"/>
              <a:gd name="connsiteX10" fmla="*/ 3607651 w 5393275"/>
              <a:gd name="connsiteY10" fmla="*/ 1416743 h 4047596"/>
              <a:gd name="connsiteX11" fmla="*/ 3630284 w 5393275"/>
              <a:gd name="connsiteY11" fmla="*/ 1481015 h 4047596"/>
              <a:gd name="connsiteX12" fmla="*/ 3687789 w 5393275"/>
              <a:gd name="connsiteY12" fmla="*/ 1512228 h 4047596"/>
              <a:gd name="connsiteX13" fmla="*/ 3976291 w 5393275"/>
              <a:gd name="connsiteY13" fmla="*/ 2054834 h 4047596"/>
              <a:gd name="connsiteX14" fmla="*/ 3974885 w 5393275"/>
              <a:gd name="connsiteY14" fmla="*/ 2077129 h 4047596"/>
              <a:gd name="connsiteX15" fmla="*/ 3976015 w 5393275"/>
              <a:gd name="connsiteY15" fmla="*/ 2077543 h 4047596"/>
              <a:gd name="connsiteX16" fmla="*/ 4614838 w 5393275"/>
              <a:gd name="connsiteY16" fmla="*/ 2554186 h 4047596"/>
              <a:gd name="connsiteX17" fmla="*/ 4703438 w 5393275"/>
              <a:gd name="connsiteY17" fmla="*/ 2672669 h 4047596"/>
              <a:gd name="connsiteX18" fmla="*/ 4768029 w 5393275"/>
              <a:gd name="connsiteY18" fmla="*/ 2545439 h 4047596"/>
              <a:gd name="connsiteX19" fmla="*/ 4801927 w 5393275"/>
              <a:gd name="connsiteY19" fmla="*/ 2554242 h 4047596"/>
              <a:gd name="connsiteX20" fmla="*/ 4792143 w 5393275"/>
              <a:gd name="connsiteY20" fmla="*/ 2816345 h 4047596"/>
              <a:gd name="connsiteX21" fmla="*/ 4794683 w 5393275"/>
              <a:gd name="connsiteY21" fmla="*/ 2820527 h 4047596"/>
              <a:gd name="connsiteX22" fmla="*/ 4865029 w 5393275"/>
              <a:gd name="connsiteY22" fmla="*/ 2966556 h 4047596"/>
              <a:gd name="connsiteX23" fmla="*/ 4882642 w 5393275"/>
              <a:gd name="connsiteY23" fmla="*/ 3014678 h 4047596"/>
              <a:gd name="connsiteX24" fmla="*/ 5105708 w 5393275"/>
              <a:gd name="connsiteY24" fmla="*/ 3014678 h 4047596"/>
              <a:gd name="connsiteX25" fmla="*/ 5393275 w 5393275"/>
              <a:gd name="connsiteY25" fmla="*/ 3302245 h 4047596"/>
              <a:gd name="connsiteX26" fmla="*/ 5393275 w 5393275"/>
              <a:gd name="connsiteY26" fmla="*/ 3707731 h 4047596"/>
              <a:gd name="connsiteX27" fmla="*/ 5105708 w 5393275"/>
              <a:gd name="connsiteY27" fmla="*/ 3995298 h 4047596"/>
              <a:gd name="connsiteX28" fmla="*/ 4951617 w 5393275"/>
              <a:gd name="connsiteY28" fmla="*/ 3995298 h 4047596"/>
              <a:gd name="connsiteX29" fmla="*/ 4938170 w 5393275"/>
              <a:gd name="connsiteY29" fmla="*/ 4047596 h 4047596"/>
              <a:gd name="connsiteX30" fmla="*/ 1713355 w 5393275"/>
              <a:gd name="connsiteY30" fmla="*/ 4047596 h 4047596"/>
              <a:gd name="connsiteX31" fmla="*/ 1699907 w 5393275"/>
              <a:gd name="connsiteY31" fmla="*/ 3995298 h 4047596"/>
              <a:gd name="connsiteX32" fmla="*/ 1421032 w 5393275"/>
              <a:gd name="connsiteY32" fmla="*/ 3995298 h 4047596"/>
              <a:gd name="connsiteX33" fmla="*/ 1158167 w 5393275"/>
              <a:gd name="connsiteY33" fmla="*/ 3732433 h 4047596"/>
              <a:gd name="connsiteX34" fmla="*/ 1158167 w 5393275"/>
              <a:gd name="connsiteY34" fmla="*/ 3583596 h 4047596"/>
              <a:gd name="connsiteX35" fmla="*/ 1121944 w 5393275"/>
              <a:gd name="connsiteY35" fmla="*/ 3564486 h 4047596"/>
              <a:gd name="connsiteX36" fmla="*/ 384689 w 5393275"/>
              <a:gd name="connsiteY36" fmla="*/ 2732202 h 4047596"/>
              <a:gd name="connsiteX37" fmla="*/ 346983 w 5393275"/>
              <a:gd name="connsiteY37" fmla="*/ 2629183 h 4047596"/>
              <a:gd name="connsiteX38" fmla="*/ 288503 w 5393275"/>
              <a:gd name="connsiteY38" fmla="*/ 2597441 h 4047596"/>
              <a:gd name="connsiteX39" fmla="*/ 0 w 5393275"/>
              <a:gd name="connsiteY39" fmla="*/ 2054834 h 4047596"/>
              <a:gd name="connsiteX40" fmla="*/ 288503 w 5393275"/>
              <a:gd name="connsiteY40" fmla="*/ 1512228 h 4047596"/>
              <a:gd name="connsiteX41" fmla="*/ 346009 w 5393275"/>
              <a:gd name="connsiteY41" fmla="*/ 1481014 h 4047596"/>
              <a:gd name="connsiteX42" fmla="*/ 368641 w 5393275"/>
              <a:gd name="connsiteY42" fmla="*/ 1416743 h 4047596"/>
              <a:gd name="connsiteX43" fmla="*/ 869170 w 5393275"/>
              <a:gd name="connsiteY43" fmla="*/ 722032 h 4047596"/>
              <a:gd name="connsiteX44" fmla="*/ 884040 w 5393275"/>
              <a:gd name="connsiteY44" fmla="*/ 710737 h 4047596"/>
              <a:gd name="connsiteX45" fmla="*/ 876089 w 5393275"/>
              <a:gd name="connsiteY45" fmla="*/ 708256 h 4047596"/>
              <a:gd name="connsiteX46" fmla="*/ 883294 w 5393275"/>
              <a:gd name="connsiteY46" fmla="*/ 701708 h 4047596"/>
              <a:gd name="connsiteX47" fmla="*/ 997550 w 5393275"/>
              <a:gd name="connsiteY47" fmla="*/ 616269 h 4047596"/>
              <a:gd name="connsiteX48" fmla="*/ 1011936 w 5393275"/>
              <a:gd name="connsiteY48" fmla="*/ 614388 h 4047596"/>
              <a:gd name="connsiteX49" fmla="*/ 1154039 w 5393275"/>
              <a:gd name="connsiteY49" fmla="*/ 527177 h 4047596"/>
              <a:gd name="connsiteX50" fmla="*/ 1310777 w 5393275"/>
              <a:gd name="connsiteY50" fmla="*/ 451379 h 4047596"/>
              <a:gd name="connsiteX51" fmla="*/ 1376634 w 5393275"/>
              <a:gd name="connsiteY51" fmla="*/ 427276 h 4047596"/>
              <a:gd name="connsiteX52" fmla="*/ 1385208 w 5393275"/>
              <a:gd name="connsiteY52" fmla="*/ 399654 h 4047596"/>
              <a:gd name="connsiteX53" fmla="*/ 1988146 w 5393275"/>
              <a:gd name="connsiteY53" fmla="*/ 0 h 4047596"/>
              <a:gd name="connsiteX0" fmla="*/ 1988146 w 5393275"/>
              <a:gd name="connsiteY0" fmla="*/ 0 h 4047596"/>
              <a:gd name="connsiteX1" fmla="*/ 2591085 w 5393275"/>
              <a:gd name="connsiteY1" fmla="*/ 399654 h 4047596"/>
              <a:gd name="connsiteX2" fmla="*/ 2599659 w 5393275"/>
              <a:gd name="connsiteY2" fmla="*/ 427276 h 4047596"/>
              <a:gd name="connsiteX3" fmla="*/ 2665515 w 5393275"/>
              <a:gd name="connsiteY3" fmla="*/ 451379 h 4047596"/>
              <a:gd name="connsiteX4" fmla="*/ 3347454 w 5393275"/>
              <a:gd name="connsiteY4" fmla="*/ 968170 h 4047596"/>
              <a:gd name="connsiteX5" fmla="*/ 3380106 w 5393275"/>
              <a:gd name="connsiteY5" fmla="*/ 1013370 h 4047596"/>
              <a:gd name="connsiteX6" fmla="*/ 3437692 w 5393275"/>
              <a:gd name="connsiteY6" fmla="*/ 899939 h 4047596"/>
              <a:gd name="connsiteX7" fmla="*/ 3471590 w 5393275"/>
              <a:gd name="connsiteY7" fmla="*/ 908741 h 4047596"/>
              <a:gd name="connsiteX8" fmla="*/ 3463205 w 5393275"/>
              <a:gd name="connsiteY8" fmla="*/ 1133351 h 4047596"/>
              <a:gd name="connsiteX9" fmla="*/ 3535571 w 5393275"/>
              <a:gd name="connsiteY9" fmla="*/ 1257916 h 4047596"/>
              <a:gd name="connsiteX10" fmla="*/ 3607651 w 5393275"/>
              <a:gd name="connsiteY10" fmla="*/ 1416743 h 4047596"/>
              <a:gd name="connsiteX11" fmla="*/ 3630284 w 5393275"/>
              <a:gd name="connsiteY11" fmla="*/ 1481015 h 4047596"/>
              <a:gd name="connsiteX12" fmla="*/ 3687789 w 5393275"/>
              <a:gd name="connsiteY12" fmla="*/ 1512228 h 4047596"/>
              <a:gd name="connsiteX13" fmla="*/ 3976291 w 5393275"/>
              <a:gd name="connsiteY13" fmla="*/ 2054834 h 4047596"/>
              <a:gd name="connsiteX14" fmla="*/ 3974885 w 5393275"/>
              <a:gd name="connsiteY14" fmla="*/ 2077129 h 4047596"/>
              <a:gd name="connsiteX15" fmla="*/ 3976015 w 5393275"/>
              <a:gd name="connsiteY15" fmla="*/ 2077543 h 4047596"/>
              <a:gd name="connsiteX16" fmla="*/ 4614838 w 5393275"/>
              <a:gd name="connsiteY16" fmla="*/ 2554186 h 4047596"/>
              <a:gd name="connsiteX17" fmla="*/ 4703438 w 5393275"/>
              <a:gd name="connsiteY17" fmla="*/ 2672669 h 4047596"/>
              <a:gd name="connsiteX18" fmla="*/ 4768029 w 5393275"/>
              <a:gd name="connsiteY18" fmla="*/ 2545439 h 4047596"/>
              <a:gd name="connsiteX19" fmla="*/ 4801927 w 5393275"/>
              <a:gd name="connsiteY19" fmla="*/ 2554242 h 4047596"/>
              <a:gd name="connsiteX20" fmla="*/ 4792143 w 5393275"/>
              <a:gd name="connsiteY20" fmla="*/ 2816345 h 4047596"/>
              <a:gd name="connsiteX21" fmla="*/ 4794683 w 5393275"/>
              <a:gd name="connsiteY21" fmla="*/ 2820527 h 4047596"/>
              <a:gd name="connsiteX22" fmla="*/ 4865029 w 5393275"/>
              <a:gd name="connsiteY22" fmla="*/ 2966556 h 4047596"/>
              <a:gd name="connsiteX23" fmla="*/ 4882642 w 5393275"/>
              <a:gd name="connsiteY23" fmla="*/ 3014678 h 4047596"/>
              <a:gd name="connsiteX24" fmla="*/ 5105708 w 5393275"/>
              <a:gd name="connsiteY24" fmla="*/ 3014678 h 4047596"/>
              <a:gd name="connsiteX25" fmla="*/ 5393275 w 5393275"/>
              <a:gd name="connsiteY25" fmla="*/ 3302245 h 4047596"/>
              <a:gd name="connsiteX26" fmla="*/ 5393275 w 5393275"/>
              <a:gd name="connsiteY26" fmla="*/ 3707731 h 4047596"/>
              <a:gd name="connsiteX27" fmla="*/ 5105708 w 5393275"/>
              <a:gd name="connsiteY27" fmla="*/ 3995298 h 4047596"/>
              <a:gd name="connsiteX28" fmla="*/ 4951617 w 5393275"/>
              <a:gd name="connsiteY28" fmla="*/ 3995298 h 4047596"/>
              <a:gd name="connsiteX29" fmla="*/ 4938170 w 5393275"/>
              <a:gd name="connsiteY29" fmla="*/ 4047596 h 4047596"/>
              <a:gd name="connsiteX30" fmla="*/ 1713355 w 5393275"/>
              <a:gd name="connsiteY30" fmla="*/ 4047596 h 4047596"/>
              <a:gd name="connsiteX31" fmla="*/ 1699907 w 5393275"/>
              <a:gd name="connsiteY31" fmla="*/ 3995298 h 4047596"/>
              <a:gd name="connsiteX32" fmla="*/ 1421032 w 5393275"/>
              <a:gd name="connsiteY32" fmla="*/ 3995298 h 4047596"/>
              <a:gd name="connsiteX33" fmla="*/ 1158167 w 5393275"/>
              <a:gd name="connsiteY33" fmla="*/ 3732433 h 4047596"/>
              <a:gd name="connsiteX34" fmla="*/ 1158167 w 5393275"/>
              <a:gd name="connsiteY34" fmla="*/ 3583596 h 4047596"/>
              <a:gd name="connsiteX35" fmla="*/ 1121944 w 5393275"/>
              <a:gd name="connsiteY35" fmla="*/ 3564486 h 4047596"/>
              <a:gd name="connsiteX36" fmla="*/ 384689 w 5393275"/>
              <a:gd name="connsiteY36" fmla="*/ 2732202 h 4047596"/>
              <a:gd name="connsiteX37" fmla="*/ 346983 w 5393275"/>
              <a:gd name="connsiteY37" fmla="*/ 2629183 h 4047596"/>
              <a:gd name="connsiteX38" fmla="*/ 288503 w 5393275"/>
              <a:gd name="connsiteY38" fmla="*/ 2597441 h 4047596"/>
              <a:gd name="connsiteX39" fmla="*/ 0 w 5393275"/>
              <a:gd name="connsiteY39" fmla="*/ 2054834 h 4047596"/>
              <a:gd name="connsiteX40" fmla="*/ 288503 w 5393275"/>
              <a:gd name="connsiteY40" fmla="*/ 1512228 h 4047596"/>
              <a:gd name="connsiteX41" fmla="*/ 346009 w 5393275"/>
              <a:gd name="connsiteY41" fmla="*/ 1481014 h 4047596"/>
              <a:gd name="connsiteX42" fmla="*/ 368641 w 5393275"/>
              <a:gd name="connsiteY42" fmla="*/ 1416743 h 4047596"/>
              <a:gd name="connsiteX43" fmla="*/ 869170 w 5393275"/>
              <a:gd name="connsiteY43" fmla="*/ 722032 h 4047596"/>
              <a:gd name="connsiteX44" fmla="*/ 884040 w 5393275"/>
              <a:gd name="connsiteY44" fmla="*/ 710737 h 4047596"/>
              <a:gd name="connsiteX45" fmla="*/ 876089 w 5393275"/>
              <a:gd name="connsiteY45" fmla="*/ 708256 h 4047596"/>
              <a:gd name="connsiteX46" fmla="*/ 883294 w 5393275"/>
              <a:gd name="connsiteY46" fmla="*/ 701708 h 4047596"/>
              <a:gd name="connsiteX47" fmla="*/ 1011936 w 5393275"/>
              <a:gd name="connsiteY47" fmla="*/ 614388 h 4047596"/>
              <a:gd name="connsiteX48" fmla="*/ 1154039 w 5393275"/>
              <a:gd name="connsiteY48" fmla="*/ 527177 h 4047596"/>
              <a:gd name="connsiteX49" fmla="*/ 1310777 w 5393275"/>
              <a:gd name="connsiteY49" fmla="*/ 451379 h 4047596"/>
              <a:gd name="connsiteX50" fmla="*/ 1376634 w 5393275"/>
              <a:gd name="connsiteY50" fmla="*/ 427276 h 4047596"/>
              <a:gd name="connsiteX51" fmla="*/ 1385208 w 5393275"/>
              <a:gd name="connsiteY51" fmla="*/ 399654 h 4047596"/>
              <a:gd name="connsiteX52" fmla="*/ 1988146 w 5393275"/>
              <a:gd name="connsiteY52" fmla="*/ 0 h 4047596"/>
              <a:gd name="connsiteX0" fmla="*/ 1988146 w 5393275"/>
              <a:gd name="connsiteY0" fmla="*/ 0 h 4047596"/>
              <a:gd name="connsiteX1" fmla="*/ 2591085 w 5393275"/>
              <a:gd name="connsiteY1" fmla="*/ 399654 h 4047596"/>
              <a:gd name="connsiteX2" fmla="*/ 2599659 w 5393275"/>
              <a:gd name="connsiteY2" fmla="*/ 427276 h 4047596"/>
              <a:gd name="connsiteX3" fmla="*/ 2665515 w 5393275"/>
              <a:gd name="connsiteY3" fmla="*/ 451379 h 4047596"/>
              <a:gd name="connsiteX4" fmla="*/ 3347454 w 5393275"/>
              <a:gd name="connsiteY4" fmla="*/ 968170 h 4047596"/>
              <a:gd name="connsiteX5" fmla="*/ 3380106 w 5393275"/>
              <a:gd name="connsiteY5" fmla="*/ 1013370 h 4047596"/>
              <a:gd name="connsiteX6" fmla="*/ 3437692 w 5393275"/>
              <a:gd name="connsiteY6" fmla="*/ 899939 h 4047596"/>
              <a:gd name="connsiteX7" fmla="*/ 3471590 w 5393275"/>
              <a:gd name="connsiteY7" fmla="*/ 908741 h 4047596"/>
              <a:gd name="connsiteX8" fmla="*/ 3463205 w 5393275"/>
              <a:gd name="connsiteY8" fmla="*/ 1133351 h 4047596"/>
              <a:gd name="connsiteX9" fmla="*/ 3535571 w 5393275"/>
              <a:gd name="connsiteY9" fmla="*/ 1257916 h 4047596"/>
              <a:gd name="connsiteX10" fmla="*/ 3607651 w 5393275"/>
              <a:gd name="connsiteY10" fmla="*/ 1416743 h 4047596"/>
              <a:gd name="connsiteX11" fmla="*/ 3630284 w 5393275"/>
              <a:gd name="connsiteY11" fmla="*/ 1481015 h 4047596"/>
              <a:gd name="connsiteX12" fmla="*/ 3687789 w 5393275"/>
              <a:gd name="connsiteY12" fmla="*/ 1512228 h 4047596"/>
              <a:gd name="connsiteX13" fmla="*/ 3976291 w 5393275"/>
              <a:gd name="connsiteY13" fmla="*/ 2054834 h 4047596"/>
              <a:gd name="connsiteX14" fmla="*/ 3974885 w 5393275"/>
              <a:gd name="connsiteY14" fmla="*/ 2077129 h 4047596"/>
              <a:gd name="connsiteX15" fmla="*/ 3976015 w 5393275"/>
              <a:gd name="connsiteY15" fmla="*/ 2077543 h 4047596"/>
              <a:gd name="connsiteX16" fmla="*/ 4614838 w 5393275"/>
              <a:gd name="connsiteY16" fmla="*/ 2554186 h 4047596"/>
              <a:gd name="connsiteX17" fmla="*/ 4703438 w 5393275"/>
              <a:gd name="connsiteY17" fmla="*/ 2672669 h 4047596"/>
              <a:gd name="connsiteX18" fmla="*/ 4768029 w 5393275"/>
              <a:gd name="connsiteY18" fmla="*/ 2545439 h 4047596"/>
              <a:gd name="connsiteX19" fmla="*/ 4801927 w 5393275"/>
              <a:gd name="connsiteY19" fmla="*/ 2554242 h 4047596"/>
              <a:gd name="connsiteX20" fmla="*/ 4792143 w 5393275"/>
              <a:gd name="connsiteY20" fmla="*/ 2816345 h 4047596"/>
              <a:gd name="connsiteX21" fmla="*/ 4794683 w 5393275"/>
              <a:gd name="connsiteY21" fmla="*/ 2820527 h 4047596"/>
              <a:gd name="connsiteX22" fmla="*/ 4865029 w 5393275"/>
              <a:gd name="connsiteY22" fmla="*/ 2966556 h 4047596"/>
              <a:gd name="connsiteX23" fmla="*/ 4882642 w 5393275"/>
              <a:gd name="connsiteY23" fmla="*/ 3014678 h 4047596"/>
              <a:gd name="connsiteX24" fmla="*/ 5105708 w 5393275"/>
              <a:gd name="connsiteY24" fmla="*/ 3014678 h 4047596"/>
              <a:gd name="connsiteX25" fmla="*/ 5393275 w 5393275"/>
              <a:gd name="connsiteY25" fmla="*/ 3302245 h 4047596"/>
              <a:gd name="connsiteX26" fmla="*/ 5393275 w 5393275"/>
              <a:gd name="connsiteY26" fmla="*/ 3707731 h 4047596"/>
              <a:gd name="connsiteX27" fmla="*/ 5105708 w 5393275"/>
              <a:gd name="connsiteY27" fmla="*/ 3995298 h 4047596"/>
              <a:gd name="connsiteX28" fmla="*/ 4951617 w 5393275"/>
              <a:gd name="connsiteY28" fmla="*/ 3995298 h 4047596"/>
              <a:gd name="connsiteX29" fmla="*/ 4938170 w 5393275"/>
              <a:gd name="connsiteY29" fmla="*/ 4047596 h 4047596"/>
              <a:gd name="connsiteX30" fmla="*/ 1713355 w 5393275"/>
              <a:gd name="connsiteY30" fmla="*/ 4047596 h 4047596"/>
              <a:gd name="connsiteX31" fmla="*/ 1699907 w 5393275"/>
              <a:gd name="connsiteY31" fmla="*/ 3995298 h 4047596"/>
              <a:gd name="connsiteX32" fmla="*/ 1421032 w 5393275"/>
              <a:gd name="connsiteY32" fmla="*/ 3995298 h 4047596"/>
              <a:gd name="connsiteX33" fmla="*/ 1158167 w 5393275"/>
              <a:gd name="connsiteY33" fmla="*/ 3732433 h 4047596"/>
              <a:gd name="connsiteX34" fmla="*/ 1158167 w 5393275"/>
              <a:gd name="connsiteY34" fmla="*/ 3583596 h 4047596"/>
              <a:gd name="connsiteX35" fmla="*/ 1121944 w 5393275"/>
              <a:gd name="connsiteY35" fmla="*/ 3564486 h 4047596"/>
              <a:gd name="connsiteX36" fmla="*/ 384689 w 5393275"/>
              <a:gd name="connsiteY36" fmla="*/ 2732202 h 4047596"/>
              <a:gd name="connsiteX37" fmla="*/ 346983 w 5393275"/>
              <a:gd name="connsiteY37" fmla="*/ 2629183 h 4047596"/>
              <a:gd name="connsiteX38" fmla="*/ 288503 w 5393275"/>
              <a:gd name="connsiteY38" fmla="*/ 2597441 h 4047596"/>
              <a:gd name="connsiteX39" fmla="*/ 0 w 5393275"/>
              <a:gd name="connsiteY39" fmla="*/ 2054834 h 4047596"/>
              <a:gd name="connsiteX40" fmla="*/ 288503 w 5393275"/>
              <a:gd name="connsiteY40" fmla="*/ 1512228 h 4047596"/>
              <a:gd name="connsiteX41" fmla="*/ 346009 w 5393275"/>
              <a:gd name="connsiteY41" fmla="*/ 1481014 h 4047596"/>
              <a:gd name="connsiteX42" fmla="*/ 368641 w 5393275"/>
              <a:gd name="connsiteY42" fmla="*/ 1416743 h 4047596"/>
              <a:gd name="connsiteX43" fmla="*/ 869170 w 5393275"/>
              <a:gd name="connsiteY43" fmla="*/ 722032 h 4047596"/>
              <a:gd name="connsiteX44" fmla="*/ 884040 w 5393275"/>
              <a:gd name="connsiteY44" fmla="*/ 710737 h 4047596"/>
              <a:gd name="connsiteX45" fmla="*/ 876089 w 5393275"/>
              <a:gd name="connsiteY45" fmla="*/ 708256 h 4047596"/>
              <a:gd name="connsiteX46" fmla="*/ 1011936 w 5393275"/>
              <a:gd name="connsiteY46" fmla="*/ 614388 h 4047596"/>
              <a:gd name="connsiteX47" fmla="*/ 1154039 w 5393275"/>
              <a:gd name="connsiteY47" fmla="*/ 527177 h 4047596"/>
              <a:gd name="connsiteX48" fmla="*/ 1310777 w 5393275"/>
              <a:gd name="connsiteY48" fmla="*/ 451379 h 4047596"/>
              <a:gd name="connsiteX49" fmla="*/ 1376634 w 5393275"/>
              <a:gd name="connsiteY49" fmla="*/ 427276 h 4047596"/>
              <a:gd name="connsiteX50" fmla="*/ 1385208 w 5393275"/>
              <a:gd name="connsiteY50" fmla="*/ 399654 h 4047596"/>
              <a:gd name="connsiteX51" fmla="*/ 1988146 w 5393275"/>
              <a:gd name="connsiteY51" fmla="*/ 0 h 4047596"/>
              <a:gd name="connsiteX0" fmla="*/ 1988146 w 5393275"/>
              <a:gd name="connsiteY0" fmla="*/ 0 h 4047596"/>
              <a:gd name="connsiteX1" fmla="*/ 2591085 w 5393275"/>
              <a:gd name="connsiteY1" fmla="*/ 399654 h 4047596"/>
              <a:gd name="connsiteX2" fmla="*/ 2599659 w 5393275"/>
              <a:gd name="connsiteY2" fmla="*/ 427276 h 4047596"/>
              <a:gd name="connsiteX3" fmla="*/ 2665515 w 5393275"/>
              <a:gd name="connsiteY3" fmla="*/ 451379 h 4047596"/>
              <a:gd name="connsiteX4" fmla="*/ 3347454 w 5393275"/>
              <a:gd name="connsiteY4" fmla="*/ 968170 h 4047596"/>
              <a:gd name="connsiteX5" fmla="*/ 3380106 w 5393275"/>
              <a:gd name="connsiteY5" fmla="*/ 1013370 h 4047596"/>
              <a:gd name="connsiteX6" fmla="*/ 3437692 w 5393275"/>
              <a:gd name="connsiteY6" fmla="*/ 899939 h 4047596"/>
              <a:gd name="connsiteX7" fmla="*/ 3471590 w 5393275"/>
              <a:gd name="connsiteY7" fmla="*/ 908741 h 4047596"/>
              <a:gd name="connsiteX8" fmla="*/ 3463205 w 5393275"/>
              <a:gd name="connsiteY8" fmla="*/ 1133351 h 4047596"/>
              <a:gd name="connsiteX9" fmla="*/ 3535571 w 5393275"/>
              <a:gd name="connsiteY9" fmla="*/ 1257916 h 4047596"/>
              <a:gd name="connsiteX10" fmla="*/ 3607651 w 5393275"/>
              <a:gd name="connsiteY10" fmla="*/ 1416743 h 4047596"/>
              <a:gd name="connsiteX11" fmla="*/ 3630284 w 5393275"/>
              <a:gd name="connsiteY11" fmla="*/ 1481015 h 4047596"/>
              <a:gd name="connsiteX12" fmla="*/ 3687789 w 5393275"/>
              <a:gd name="connsiteY12" fmla="*/ 1512228 h 4047596"/>
              <a:gd name="connsiteX13" fmla="*/ 3976291 w 5393275"/>
              <a:gd name="connsiteY13" fmla="*/ 2054834 h 4047596"/>
              <a:gd name="connsiteX14" fmla="*/ 3974885 w 5393275"/>
              <a:gd name="connsiteY14" fmla="*/ 2077129 h 4047596"/>
              <a:gd name="connsiteX15" fmla="*/ 3976015 w 5393275"/>
              <a:gd name="connsiteY15" fmla="*/ 2077543 h 4047596"/>
              <a:gd name="connsiteX16" fmla="*/ 4614838 w 5393275"/>
              <a:gd name="connsiteY16" fmla="*/ 2554186 h 4047596"/>
              <a:gd name="connsiteX17" fmla="*/ 4703438 w 5393275"/>
              <a:gd name="connsiteY17" fmla="*/ 2672669 h 4047596"/>
              <a:gd name="connsiteX18" fmla="*/ 4768029 w 5393275"/>
              <a:gd name="connsiteY18" fmla="*/ 2545439 h 4047596"/>
              <a:gd name="connsiteX19" fmla="*/ 4801927 w 5393275"/>
              <a:gd name="connsiteY19" fmla="*/ 2554242 h 4047596"/>
              <a:gd name="connsiteX20" fmla="*/ 4792143 w 5393275"/>
              <a:gd name="connsiteY20" fmla="*/ 2816345 h 4047596"/>
              <a:gd name="connsiteX21" fmla="*/ 4794683 w 5393275"/>
              <a:gd name="connsiteY21" fmla="*/ 2820527 h 4047596"/>
              <a:gd name="connsiteX22" fmla="*/ 4865029 w 5393275"/>
              <a:gd name="connsiteY22" fmla="*/ 2966556 h 4047596"/>
              <a:gd name="connsiteX23" fmla="*/ 4882642 w 5393275"/>
              <a:gd name="connsiteY23" fmla="*/ 3014678 h 4047596"/>
              <a:gd name="connsiteX24" fmla="*/ 5105708 w 5393275"/>
              <a:gd name="connsiteY24" fmla="*/ 3014678 h 4047596"/>
              <a:gd name="connsiteX25" fmla="*/ 5393275 w 5393275"/>
              <a:gd name="connsiteY25" fmla="*/ 3302245 h 4047596"/>
              <a:gd name="connsiteX26" fmla="*/ 5393275 w 5393275"/>
              <a:gd name="connsiteY26" fmla="*/ 3707731 h 4047596"/>
              <a:gd name="connsiteX27" fmla="*/ 5105708 w 5393275"/>
              <a:gd name="connsiteY27" fmla="*/ 3995298 h 4047596"/>
              <a:gd name="connsiteX28" fmla="*/ 4951617 w 5393275"/>
              <a:gd name="connsiteY28" fmla="*/ 3995298 h 4047596"/>
              <a:gd name="connsiteX29" fmla="*/ 4938170 w 5393275"/>
              <a:gd name="connsiteY29" fmla="*/ 4047596 h 4047596"/>
              <a:gd name="connsiteX30" fmla="*/ 1713355 w 5393275"/>
              <a:gd name="connsiteY30" fmla="*/ 4047596 h 4047596"/>
              <a:gd name="connsiteX31" fmla="*/ 1699907 w 5393275"/>
              <a:gd name="connsiteY31" fmla="*/ 3995298 h 4047596"/>
              <a:gd name="connsiteX32" fmla="*/ 1421032 w 5393275"/>
              <a:gd name="connsiteY32" fmla="*/ 3995298 h 4047596"/>
              <a:gd name="connsiteX33" fmla="*/ 1158167 w 5393275"/>
              <a:gd name="connsiteY33" fmla="*/ 3732433 h 4047596"/>
              <a:gd name="connsiteX34" fmla="*/ 1158167 w 5393275"/>
              <a:gd name="connsiteY34" fmla="*/ 3583596 h 4047596"/>
              <a:gd name="connsiteX35" fmla="*/ 1121944 w 5393275"/>
              <a:gd name="connsiteY35" fmla="*/ 3564486 h 4047596"/>
              <a:gd name="connsiteX36" fmla="*/ 384689 w 5393275"/>
              <a:gd name="connsiteY36" fmla="*/ 2732202 h 4047596"/>
              <a:gd name="connsiteX37" fmla="*/ 346983 w 5393275"/>
              <a:gd name="connsiteY37" fmla="*/ 2629183 h 4047596"/>
              <a:gd name="connsiteX38" fmla="*/ 288503 w 5393275"/>
              <a:gd name="connsiteY38" fmla="*/ 2597441 h 4047596"/>
              <a:gd name="connsiteX39" fmla="*/ 0 w 5393275"/>
              <a:gd name="connsiteY39" fmla="*/ 2054834 h 4047596"/>
              <a:gd name="connsiteX40" fmla="*/ 288503 w 5393275"/>
              <a:gd name="connsiteY40" fmla="*/ 1512228 h 4047596"/>
              <a:gd name="connsiteX41" fmla="*/ 346009 w 5393275"/>
              <a:gd name="connsiteY41" fmla="*/ 1481014 h 4047596"/>
              <a:gd name="connsiteX42" fmla="*/ 368641 w 5393275"/>
              <a:gd name="connsiteY42" fmla="*/ 1416743 h 4047596"/>
              <a:gd name="connsiteX43" fmla="*/ 869170 w 5393275"/>
              <a:gd name="connsiteY43" fmla="*/ 722032 h 4047596"/>
              <a:gd name="connsiteX44" fmla="*/ 884040 w 5393275"/>
              <a:gd name="connsiteY44" fmla="*/ 710737 h 4047596"/>
              <a:gd name="connsiteX45" fmla="*/ 1011936 w 5393275"/>
              <a:gd name="connsiteY45" fmla="*/ 614388 h 4047596"/>
              <a:gd name="connsiteX46" fmla="*/ 1154039 w 5393275"/>
              <a:gd name="connsiteY46" fmla="*/ 527177 h 4047596"/>
              <a:gd name="connsiteX47" fmla="*/ 1310777 w 5393275"/>
              <a:gd name="connsiteY47" fmla="*/ 451379 h 4047596"/>
              <a:gd name="connsiteX48" fmla="*/ 1376634 w 5393275"/>
              <a:gd name="connsiteY48" fmla="*/ 427276 h 4047596"/>
              <a:gd name="connsiteX49" fmla="*/ 1385208 w 5393275"/>
              <a:gd name="connsiteY49" fmla="*/ 399654 h 4047596"/>
              <a:gd name="connsiteX50" fmla="*/ 1988146 w 5393275"/>
              <a:gd name="connsiteY50" fmla="*/ 0 h 4047596"/>
              <a:gd name="connsiteX0" fmla="*/ 1988146 w 5393275"/>
              <a:gd name="connsiteY0" fmla="*/ 0 h 4047596"/>
              <a:gd name="connsiteX1" fmla="*/ 2591085 w 5393275"/>
              <a:gd name="connsiteY1" fmla="*/ 399654 h 4047596"/>
              <a:gd name="connsiteX2" fmla="*/ 2599659 w 5393275"/>
              <a:gd name="connsiteY2" fmla="*/ 427276 h 4047596"/>
              <a:gd name="connsiteX3" fmla="*/ 2665515 w 5393275"/>
              <a:gd name="connsiteY3" fmla="*/ 451379 h 4047596"/>
              <a:gd name="connsiteX4" fmla="*/ 3347454 w 5393275"/>
              <a:gd name="connsiteY4" fmla="*/ 968170 h 4047596"/>
              <a:gd name="connsiteX5" fmla="*/ 3380106 w 5393275"/>
              <a:gd name="connsiteY5" fmla="*/ 1013370 h 4047596"/>
              <a:gd name="connsiteX6" fmla="*/ 3437692 w 5393275"/>
              <a:gd name="connsiteY6" fmla="*/ 899939 h 4047596"/>
              <a:gd name="connsiteX7" fmla="*/ 3471590 w 5393275"/>
              <a:gd name="connsiteY7" fmla="*/ 908741 h 4047596"/>
              <a:gd name="connsiteX8" fmla="*/ 3463205 w 5393275"/>
              <a:gd name="connsiteY8" fmla="*/ 1133351 h 4047596"/>
              <a:gd name="connsiteX9" fmla="*/ 3535571 w 5393275"/>
              <a:gd name="connsiteY9" fmla="*/ 1257916 h 4047596"/>
              <a:gd name="connsiteX10" fmla="*/ 3607651 w 5393275"/>
              <a:gd name="connsiteY10" fmla="*/ 1416743 h 4047596"/>
              <a:gd name="connsiteX11" fmla="*/ 3630284 w 5393275"/>
              <a:gd name="connsiteY11" fmla="*/ 1481015 h 4047596"/>
              <a:gd name="connsiteX12" fmla="*/ 3687789 w 5393275"/>
              <a:gd name="connsiteY12" fmla="*/ 1512228 h 4047596"/>
              <a:gd name="connsiteX13" fmla="*/ 3976291 w 5393275"/>
              <a:gd name="connsiteY13" fmla="*/ 2054834 h 4047596"/>
              <a:gd name="connsiteX14" fmla="*/ 3974885 w 5393275"/>
              <a:gd name="connsiteY14" fmla="*/ 2077129 h 4047596"/>
              <a:gd name="connsiteX15" fmla="*/ 3976015 w 5393275"/>
              <a:gd name="connsiteY15" fmla="*/ 2077543 h 4047596"/>
              <a:gd name="connsiteX16" fmla="*/ 4614838 w 5393275"/>
              <a:gd name="connsiteY16" fmla="*/ 2554186 h 4047596"/>
              <a:gd name="connsiteX17" fmla="*/ 4703438 w 5393275"/>
              <a:gd name="connsiteY17" fmla="*/ 2672669 h 4047596"/>
              <a:gd name="connsiteX18" fmla="*/ 4768029 w 5393275"/>
              <a:gd name="connsiteY18" fmla="*/ 2545439 h 4047596"/>
              <a:gd name="connsiteX19" fmla="*/ 4801927 w 5393275"/>
              <a:gd name="connsiteY19" fmla="*/ 2554242 h 4047596"/>
              <a:gd name="connsiteX20" fmla="*/ 4792143 w 5393275"/>
              <a:gd name="connsiteY20" fmla="*/ 2816345 h 4047596"/>
              <a:gd name="connsiteX21" fmla="*/ 4794683 w 5393275"/>
              <a:gd name="connsiteY21" fmla="*/ 2820527 h 4047596"/>
              <a:gd name="connsiteX22" fmla="*/ 4865029 w 5393275"/>
              <a:gd name="connsiteY22" fmla="*/ 2966556 h 4047596"/>
              <a:gd name="connsiteX23" fmla="*/ 4882642 w 5393275"/>
              <a:gd name="connsiteY23" fmla="*/ 3014678 h 4047596"/>
              <a:gd name="connsiteX24" fmla="*/ 5105708 w 5393275"/>
              <a:gd name="connsiteY24" fmla="*/ 3014678 h 4047596"/>
              <a:gd name="connsiteX25" fmla="*/ 5393275 w 5393275"/>
              <a:gd name="connsiteY25" fmla="*/ 3302245 h 4047596"/>
              <a:gd name="connsiteX26" fmla="*/ 5393275 w 5393275"/>
              <a:gd name="connsiteY26" fmla="*/ 3707731 h 4047596"/>
              <a:gd name="connsiteX27" fmla="*/ 5105708 w 5393275"/>
              <a:gd name="connsiteY27" fmla="*/ 3995298 h 4047596"/>
              <a:gd name="connsiteX28" fmla="*/ 4951617 w 5393275"/>
              <a:gd name="connsiteY28" fmla="*/ 3995298 h 4047596"/>
              <a:gd name="connsiteX29" fmla="*/ 4938170 w 5393275"/>
              <a:gd name="connsiteY29" fmla="*/ 4047596 h 4047596"/>
              <a:gd name="connsiteX30" fmla="*/ 1713355 w 5393275"/>
              <a:gd name="connsiteY30" fmla="*/ 4047596 h 4047596"/>
              <a:gd name="connsiteX31" fmla="*/ 1699907 w 5393275"/>
              <a:gd name="connsiteY31" fmla="*/ 3995298 h 4047596"/>
              <a:gd name="connsiteX32" fmla="*/ 1421032 w 5393275"/>
              <a:gd name="connsiteY32" fmla="*/ 3995298 h 4047596"/>
              <a:gd name="connsiteX33" fmla="*/ 1158167 w 5393275"/>
              <a:gd name="connsiteY33" fmla="*/ 3732433 h 4047596"/>
              <a:gd name="connsiteX34" fmla="*/ 1158167 w 5393275"/>
              <a:gd name="connsiteY34" fmla="*/ 3583596 h 4047596"/>
              <a:gd name="connsiteX35" fmla="*/ 1121944 w 5393275"/>
              <a:gd name="connsiteY35" fmla="*/ 3564486 h 4047596"/>
              <a:gd name="connsiteX36" fmla="*/ 384689 w 5393275"/>
              <a:gd name="connsiteY36" fmla="*/ 2732202 h 4047596"/>
              <a:gd name="connsiteX37" fmla="*/ 346983 w 5393275"/>
              <a:gd name="connsiteY37" fmla="*/ 2629183 h 4047596"/>
              <a:gd name="connsiteX38" fmla="*/ 288503 w 5393275"/>
              <a:gd name="connsiteY38" fmla="*/ 2597441 h 4047596"/>
              <a:gd name="connsiteX39" fmla="*/ 0 w 5393275"/>
              <a:gd name="connsiteY39" fmla="*/ 2054834 h 4047596"/>
              <a:gd name="connsiteX40" fmla="*/ 288503 w 5393275"/>
              <a:gd name="connsiteY40" fmla="*/ 1512228 h 4047596"/>
              <a:gd name="connsiteX41" fmla="*/ 346009 w 5393275"/>
              <a:gd name="connsiteY41" fmla="*/ 1481014 h 4047596"/>
              <a:gd name="connsiteX42" fmla="*/ 368641 w 5393275"/>
              <a:gd name="connsiteY42" fmla="*/ 1416743 h 4047596"/>
              <a:gd name="connsiteX43" fmla="*/ 869170 w 5393275"/>
              <a:gd name="connsiteY43" fmla="*/ 722032 h 4047596"/>
              <a:gd name="connsiteX44" fmla="*/ 1011936 w 5393275"/>
              <a:gd name="connsiteY44" fmla="*/ 614388 h 4047596"/>
              <a:gd name="connsiteX45" fmla="*/ 1154039 w 5393275"/>
              <a:gd name="connsiteY45" fmla="*/ 527177 h 4047596"/>
              <a:gd name="connsiteX46" fmla="*/ 1310777 w 5393275"/>
              <a:gd name="connsiteY46" fmla="*/ 451379 h 4047596"/>
              <a:gd name="connsiteX47" fmla="*/ 1376634 w 5393275"/>
              <a:gd name="connsiteY47" fmla="*/ 427276 h 4047596"/>
              <a:gd name="connsiteX48" fmla="*/ 1385208 w 5393275"/>
              <a:gd name="connsiteY48" fmla="*/ 399654 h 4047596"/>
              <a:gd name="connsiteX49" fmla="*/ 1988146 w 5393275"/>
              <a:gd name="connsiteY49" fmla="*/ 0 h 4047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393275" h="4047596">
                <a:moveTo>
                  <a:pt x="1988146" y="0"/>
                </a:moveTo>
                <a:cubicBezTo>
                  <a:pt x="2259192" y="0"/>
                  <a:pt x="2491747" y="164794"/>
                  <a:pt x="2591085" y="399654"/>
                </a:cubicBezTo>
                <a:lnTo>
                  <a:pt x="2599659" y="427276"/>
                </a:lnTo>
                <a:lnTo>
                  <a:pt x="2665515" y="451379"/>
                </a:lnTo>
                <a:cubicBezTo>
                  <a:pt x="2933893" y="564894"/>
                  <a:pt x="3167868" y="743819"/>
                  <a:pt x="3347454" y="968170"/>
                </a:cubicBezTo>
                <a:lnTo>
                  <a:pt x="3380106" y="1013370"/>
                </a:lnTo>
                <a:lnTo>
                  <a:pt x="3437692" y="899939"/>
                </a:lnTo>
                <a:cubicBezTo>
                  <a:pt x="3446422" y="882823"/>
                  <a:pt x="3472309" y="889556"/>
                  <a:pt x="3471590" y="908741"/>
                </a:cubicBezTo>
                <a:lnTo>
                  <a:pt x="3463205" y="1133351"/>
                </a:lnTo>
                <a:lnTo>
                  <a:pt x="3535571" y="1257916"/>
                </a:lnTo>
                <a:cubicBezTo>
                  <a:pt x="3562146" y="1309414"/>
                  <a:pt x="3586226" y="1362410"/>
                  <a:pt x="3607651" y="1416743"/>
                </a:cubicBezTo>
                <a:lnTo>
                  <a:pt x="3630284" y="1481015"/>
                </a:lnTo>
                <a:lnTo>
                  <a:pt x="3687789" y="1512228"/>
                </a:lnTo>
                <a:cubicBezTo>
                  <a:pt x="3861851" y="1629821"/>
                  <a:pt x="3976291" y="1828963"/>
                  <a:pt x="3976291" y="2054834"/>
                </a:cubicBezTo>
                <a:cubicBezTo>
                  <a:pt x="3975822" y="2062266"/>
                  <a:pt x="3975354" y="2069697"/>
                  <a:pt x="3974885" y="2077129"/>
                </a:cubicBezTo>
                <a:lnTo>
                  <a:pt x="3976015" y="2077543"/>
                </a:lnTo>
                <a:cubicBezTo>
                  <a:pt x="4225842" y="2183211"/>
                  <a:pt x="4444614" y="2347923"/>
                  <a:pt x="4614838" y="2554186"/>
                </a:cubicBezTo>
                <a:lnTo>
                  <a:pt x="4703438" y="2672669"/>
                </a:lnTo>
                <a:lnTo>
                  <a:pt x="4768029" y="2545439"/>
                </a:lnTo>
                <a:cubicBezTo>
                  <a:pt x="4776759" y="2528323"/>
                  <a:pt x="4802646" y="2535056"/>
                  <a:pt x="4801927" y="2554242"/>
                </a:cubicBezTo>
                <a:lnTo>
                  <a:pt x="4792143" y="2816345"/>
                </a:lnTo>
                <a:lnTo>
                  <a:pt x="4794683" y="2820527"/>
                </a:lnTo>
                <a:cubicBezTo>
                  <a:pt x="4820400" y="2867868"/>
                  <a:pt x="4843896" y="2916591"/>
                  <a:pt x="4865029" y="2966556"/>
                </a:cubicBezTo>
                <a:lnTo>
                  <a:pt x="4882642" y="3014678"/>
                </a:lnTo>
                <a:lnTo>
                  <a:pt x="5105708" y="3014678"/>
                </a:lnTo>
                <a:cubicBezTo>
                  <a:pt x="5264527" y="3014678"/>
                  <a:pt x="5393275" y="3143426"/>
                  <a:pt x="5393275" y="3302245"/>
                </a:cubicBezTo>
                <a:lnTo>
                  <a:pt x="5393275" y="3707731"/>
                </a:lnTo>
                <a:cubicBezTo>
                  <a:pt x="5393275" y="3866550"/>
                  <a:pt x="5264527" y="3995298"/>
                  <a:pt x="5105708" y="3995298"/>
                </a:cubicBezTo>
                <a:lnTo>
                  <a:pt x="4951617" y="3995298"/>
                </a:lnTo>
                <a:lnTo>
                  <a:pt x="4938170" y="4047596"/>
                </a:lnTo>
                <a:lnTo>
                  <a:pt x="1713355" y="4047596"/>
                </a:lnTo>
                <a:lnTo>
                  <a:pt x="1699907" y="3995298"/>
                </a:lnTo>
                <a:lnTo>
                  <a:pt x="1421032" y="3995298"/>
                </a:lnTo>
                <a:cubicBezTo>
                  <a:pt x="1275856" y="3995298"/>
                  <a:pt x="1158167" y="3877609"/>
                  <a:pt x="1158167" y="3732433"/>
                </a:cubicBezTo>
                <a:lnTo>
                  <a:pt x="1158167" y="3583596"/>
                </a:lnTo>
                <a:lnTo>
                  <a:pt x="1121944" y="3564486"/>
                </a:lnTo>
                <a:cubicBezTo>
                  <a:pt x="793987" y="3375906"/>
                  <a:pt x="533289" y="3083532"/>
                  <a:pt x="384689" y="2732202"/>
                </a:cubicBezTo>
                <a:lnTo>
                  <a:pt x="346983" y="2629183"/>
                </a:lnTo>
                <a:lnTo>
                  <a:pt x="288503" y="2597441"/>
                </a:lnTo>
                <a:cubicBezTo>
                  <a:pt x="114441" y="2479847"/>
                  <a:pt x="0" y="2280706"/>
                  <a:pt x="0" y="2054834"/>
                </a:cubicBezTo>
                <a:cubicBezTo>
                  <a:pt x="0" y="1828963"/>
                  <a:pt x="114441" y="1629821"/>
                  <a:pt x="288503" y="1512228"/>
                </a:cubicBezTo>
                <a:lnTo>
                  <a:pt x="346009" y="1481014"/>
                </a:lnTo>
                <a:lnTo>
                  <a:pt x="368641" y="1416743"/>
                </a:lnTo>
                <a:cubicBezTo>
                  <a:pt x="475766" y="1145077"/>
                  <a:pt x="649270" y="906845"/>
                  <a:pt x="869170" y="722032"/>
                </a:cubicBezTo>
                <a:lnTo>
                  <a:pt x="1011936" y="614388"/>
                </a:lnTo>
                <a:lnTo>
                  <a:pt x="1154039" y="527177"/>
                </a:lnTo>
                <a:cubicBezTo>
                  <a:pt x="1204802" y="499402"/>
                  <a:pt x="1257102" y="474082"/>
                  <a:pt x="1310777" y="451379"/>
                </a:cubicBezTo>
                <a:lnTo>
                  <a:pt x="1376634" y="427276"/>
                </a:lnTo>
                <a:lnTo>
                  <a:pt x="1385208" y="399654"/>
                </a:lnTo>
                <a:cubicBezTo>
                  <a:pt x="1484545" y="164794"/>
                  <a:pt x="1717101" y="0"/>
                  <a:pt x="1988146" y="0"/>
                </a:cubicBezTo>
                <a:close/>
              </a:path>
            </a:pathLst>
          </a:custGeom>
          <a:solidFill>
            <a:schemeClr val="bg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16" name="Picture 15" descr="A group of plastic bottles&#10;&#10;Description automatically generated">
            <a:extLst>
              <a:ext uri="{FF2B5EF4-FFF2-40B4-BE49-F238E27FC236}">
                <a16:creationId xmlns:a16="http://schemas.microsoft.com/office/drawing/2014/main" id="{E1BF6972-75D3-E971-9C8A-ACB8DB384516}"/>
              </a:ext>
            </a:extLst>
          </p:cNvPr>
          <p:cNvPicPr>
            <a:picLocks noChangeAspect="1"/>
          </p:cNvPicPr>
          <p:nvPr/>
        </p:nvPicPr>
        <p:blipFill rotWithShape="1">
          <a:blip r:embed="rId4" cstate="screen">
            <a:alphaModFix amt="84000"/>
            <a:extLst>
              <a:ext uri="{28A0092B-C50C-407E-A947-70E740481C1C}">
                <a14:useLocalDpi xmlns:a14="http://schemas.microsoft.com/office/drawing/2010/main"/>
              </a:ext>
            </a:extLst>
          </a:blip>
          <a:srcRect l="15939" r="15939"/>
          <a:stretch/>
        </p:blipFill>
        <p:spPr>
          <a:xfrm>
            <a:off x="1244524" y="2902737"/>
            <a:ext cx="2529267" cy="2552201"/>
          </a:xfrm>
          <a:custGeom>
            <a:avLst/>
            <a:gdLst>
              <a:gd name="connsiteX0" fmla="*/ 1270312 w 2529267"/>
              <a:gd name="connsiteY0" fmla="*/ 0 h 2475266"/>
              <a:gd name="connsiteX1" fmla="*/ 1392799 w 2529267"/>
              <a:gd name="connsiteY1" fmla="*/ 6185 h 2475266"/>
              <a:gd name="connsiteX2" fmla="*/ 1432063 w 2529267"/>
              <a:gd name="connsiteY2" fmla="*/ 11423 h 2475266"/>
              <a:gd name="connsiteX3" fmla="*/ 1512151 w 2529267"/>
              <a:gd name="connsiteY3" fmla="*/ 23645 h 2475266"/>
              <a:gd name="connsiteX4" fmla="*/ 1557051 w 2529267"/>
              <a:gd name="connsiteY4" fmla="*/ 33709 h 2475266"/>
              <a:gd name="connsiteX5" fmla="*/ 1627963 w 2529267"/>
              <a:gd name="connsiteY5" fmla="*/ 51942 h 2475266"/>
              <a:gd name="connsiteX6" fmla="*/ 1673292 w 2529267"/>
              <a:gd name="connsiteY6" fmla="*/ 66345 h 2475266"/>
              <a:gd name="connsiteX7" fmla="*/ 1739953 w 2529267"/>
              <a:gd name="connsiteY7" fmla="*/ 90743 h 2475266"/>
              <a:gd name="connsiteX8" fmla="*/ 1783426 w 2529267"/>
              <a:gd name="connsiteY8" fmla="*/ 108813 h 2475266"/>
              <a:gd name="connsiteX9" fmla="*/ 1848220 w 2529267"/>
              <a:gd name="connsiteY9" fmla="*/ 140025 h 2475266"/>
              <a:gd name="connsiteX10" fmla="*/ 1887798 w 2529267"/>
              <a:gd name="connsiteY10" fmla="*/ 160598 h 2475266"/>
              <a:gd name="connsiteX11" fmla="*/ 1954492 w 2529267"/>
              <a:gd name="connsiteY11" fmla="*/ 201115 h 2475266"/>
              <a:gd name="connsiteX12" fmla="*/ 1986225 w 2529267"/>
              <a:gd name="connsiteY12" fmla="*/ 221189 h 2475266"/>
              <a:gd name="connsiteX13" fmla="*/ 2078348 w 2529267"/>
              <a:gd name="connsiteY13" fmla="*/ 290077 h 2475266"/>
              <a:gd name="connsiteX14" fmla="*/ 2078354 w 2529267"/>
              <a:gd name="connsiteY14" fmla="*/ 290083 h 2475266"/>
              <a:gd name="connsiteX15" fmla="*/ 2217753 w 2529267"/>
              <a:gd name="connsiteY15" fmla="*/ 426193 h 2475266"/>
              <a:gd name="connsiteX16" fmla="*/ 2241209 w 2529267"/>
              <a:gd name="connsiteY16" fmla="*/ 452002 h 2475266"/>
              <a:gd name="connsiteX17" fmla="*/ 2268781 w 2529267"/>
              <a:gd name="connsiteY17" fmla="*/ 486660 h 2475266"/>
              <a:gd name="connsiteX18" fmla="*/ 2311440 w 2529267"/>
              <a:gd name="connsiteY18" fmla="*/ 543706 h 2475266"/>
              <a:gd name="connsiteX19" fmla="*/ 2337251 w 2529267"/>
              <a:gd name="connsiteY19" fmla="*/ 582416 h 2475266"/>
              <a:gd name="connsiteX20" fmla="*/ 2373598 w 2529267"/>
              <a:gd name="connsiteY20" fmla="*/ 642244 h 2475266"/>
              <a:gd name="connsiteX21" fmla="*/ 2396165 w 2529267"/>
              <a:gd name="connsiteY21" fmla="*/ 683199 h 2475266"/>
              <a:gd name="connsiteX22" fmla="*/ 2427338 w 2529267"/>
              <a:gd name="connsiteY22" fmla="*/ 747911 h 2475266"/>
              <a:gd name="connsiteX23" fmla="*/ 2445611 w 2529267"/>
              <a:gd name="connsiteY23" fmla="*/ 789002 h 2475266"/>
              <a:gd name="connsiteX24" fmla="*/ 2472754 w 2529267"/>
              <a:gd name="connsiteY24" fmla="*/ 863164 h 2475266"/>
              <a:gd name="connsiteX25" fmla="*/ 2485300 w 2529267"/>
              <a:gd name="connsiteY25" fmla="*/ 899508 h 2475266"/>
              <a:gd name="connsiteX26" fmla="*/ 2514816 w 2529267"/>
              <a:gd name="connsiteY26" fmla="*/ 1014299 h 2475266"/>
              <a:gd name="connsiteX27" fmla="*/ 2528183 w 2529267"/>
              <a:gd name="connsiteY27" fmla="*/ 1101884 h 2475266"/>
              <a:gd name="connsiteX28" fmla="*/ 2529267 w 2529267"/>
              <a:gd name="connsiteY28" fmla="*/ 1108987 h 2475266"/>
              <a:gd name="connsiteX29" fmla="*/ 2433347 w 2529267"/>
              <a:gd name="connsiteY29" fmla="*/ 1104143 h 2475266"/>
              <a:gd name="connsiteX30" fmla="*/ 886943 w 2529267"/>
              <a:gd name="connsiteY30" fmla="*/ 2364496 h 2475266"/>
              <a:gd name="connsiteX31" fmla="*/ 870038 w 2529267"/>
              <a:gd name="connsiteY31" fmla="*/ 2475266 h 2475266"/>
              <a:gd name="connsiteX32" fmla="*/ 846688 w 2529267"/>
              <a:gd name="connsiteY32" fmla="*/ 2466720 h 2475266"/>
              <a:gd name="connsiteX33" fmla="*/ 775849 w 2529267"/>
              <a:gd name="connsiteY33" fmla="*/ 2440793 h 2475266"/>
              <a:gd name="connsiteX34" fmla="*/ 775833 w 2529267"/>
              <a:gd name="connsiteY34" fmla="*/ 2440785 h 2475266"/>
              <a:gd name="connsiteX35" fmla="*/ 629719 w 2529267"/>
              <a:gd name="connsiteY35" fmla="*/ 2365985 h 2475266"/>
              <a:gd name="connsiteX36" fmla="*/ 594875 w 2529267"/>
              <a:gd name="connsiteY36" fmla="*/ 2344816 h 2475266"/>
              <a:gd name="connsiteX37" fmla="*/ 462298 w 2529267"/>
              <a:gd name="connsiteY37" fmla="*/ 2250560 h 2475266"/>
              <a:gd name="connsiteX38" fmla="*/ 462276 w 2529267"/>
              <a:gd name="connsiteY38" fmla="*/ 2250543 h 2475266"/>
              <a:gd name="connsiteX39" fmla="*/ 462256 w 2529267"/>
              <a:gd name="connsiteY39" fmla="*/ 2250525 h 2475266"/>
              <a:gd name="connsiteX40" fmla="*/ 344731 w 2529267"/>
              <a:gd name="connsiteY40" fmla="*/ 2138479 h 2475266"/>
              <a:gd name="connsiteX41" fmla="*/ 317458 w 2529267"/>
              <a:gd name="connsiteY41" fmla="*/ 2108471 h 2475266"/>
              <a:gd name="connsiteX42" fmla="*/ 216962 w 2529267"/>
              <a:gd name="connsiteY42" fmla="*/ 1980569 h 2475266"/>
              <a:gd name="connsiteX43" fmla="*/ 216950 w 2529267"/>
              <a:gd name="connsiteY43" fmla="*/ 1980553 h 2475266"/>
              <a:gd name="connsiteX44" fmla="*/ 216940 w 2529267"/>
              <a:gd name="connsiteY44" fmla="*/ 1980537 h 2475266"/>
              <a:gd name="connsiteX45" fmla="*/ 135569 w 2529267"/>
              <a:gd name="connsiteY45" fmla="*/ 1838967 h 2475266"/>
              <a:gd name="connsiteX46" fmla="*/ 117775 w 2529267"/>
              <a:gd name="connsiteY46" fmla="*/ 1802028 h 2475266"/>
              <a:gd name="connsiteX47" fmla="*/ 57114 w 2529267"/>
              <a:gd name="connsiteY47" fmla="*/ 1648070 h 2475266"/>
              <a:gd name="connsiteX48" fmla="*/ 57111 w 2529267"/>
              <a:gd name="connsiteY48" fmla="*/ 1648061 h 2475266"/>
              <a:gd name="connsiteX49" fmla="*/ 57109 w 2529267"/>
              <a:gd name="connsiteY49" fmla="*/ 1648055 h 2475266"/>
              <a:gd name="connsiteX50" fmla="*/ 19445 w 2529267"/>
              <a:gd name="connsiteY50" fmla="*/ 1484630 h 2475266"/>
              <a:gd name="connsiteX51" fmla="*/ 13040 w 2529267"/>
              <a:gd name="connsiteY51" fmla="*/ 1442661 h 2475266"/>
              <a:gd name="connsiteX52" fmla="*/ 0 w 2529267"/>
              <a:gd name="connsiteY52" fmla="*/ 1270310 h 2475266"/>
              <a:gd name="connsiteX53" fmla="*/ 1270312 w 2529267"/>
              <a:gd name="connsiteY53" fmla="*/ 0 h 2475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529267" h="2475266">
                <a:moveTo>
                  <a:pt x="1270312" y="0"/>
                </a:moveTo>
                <a:lnTo>
                  <a:pt x="1392799" y="6185"/>
                </a:lnTo>
                <a:lnTo>
                  <a:pt x="1432063" y="11423"/>
                </a:lnTo>
                <a:lnTo>
                  <a:pt x="1512151" y="23645"/>
                </a:lnTo>
                <a:lnTo>
                  <a:pt x="1557051" y="33709"/>
                </a:lnTo>
                <a:lnTo>
                  <a:pt x="1627963" y="51942"/>
                </a:lnTo>
                <a:lnTo>
                  <a:pt x="1673292" y="66345"/>
                </a:lnTo>
                <a:lnTo>
                  <a:pt x="1739953" y="90743"/>
                </a:lnTo>
                <a:lnTo>
                  <a:pt x="1783426" y="108813"/>
                </a:lnTo>
                <a:lnTo>
                  <a:pt x="1848220" y="140025"/>
                </a:lnTo>
                <a:lnTo>
                  <a:pt x="1887798" y="160598"/>
                </a:lnTo>
                <a:lnTo>
                  <a:pt x="1954492" y="201115"/>
                </a:lnTo>
                <a:lnTo>
                  <a:pt x="1986225" y="221189"/>
                </a:lnTo>
                <a:lnTo>
                  <a:pt x="2078348" y="290077"/>
                </a:lnTo>
                <a:lnTo>
                  <a:pt x="2078354" y="290083"/>
                </a:lnTo>
                <a:lnTo>
                  <a:pt x="2217753" y="426193"/>
                </a:lnTo>
                <a:lnTo>
                  <a:pt x="2241209" y="452002"/>
                </a:lnTo>
                <a:lnTo>
                  <a:pt x="2268781" y="486660"/>
                </a:lnTo>
                <a:lnTo>
                  <a:pt x="2311440" y="543706"/>
                </a:lnTo>
                <a:lnTo>
                  <a:pt x="2337251" y="582416"/>
                </a:lnTo>
                <a:lnTo>
                  <a:pt x="2373598" y="642244"/>
                </a:lnTo>
                <a:lnTo>
                  <a:pt x="2396165" y="683199"/>
                </a:lnTo>
                <a:lnTo>
                  <a:pt x="2427338" y="747911"/>
                </a:lnTo>
                <a:lnTo>
                  <a:pt x="2445611" y="789002"/>
                </a:lnTo>
                <a:lnTo>
                  <a:pt x="2472754" y="863164"/>
                </a:lnTo>
                <a:lnTo>
                  <a:pt x="2485300" y="899508"/>
                </a:lnTo>
                <a:lnTo>
                  <a:pt x="2514816" y="1014299"/>
                </a:lnTo>
                <a:lnTo>
                  <a:pt x="2528183" y="1101884"/>
                </a:lnTo>
                <a:lnTo>
                  <a:pt x="2529267" y="1108987"/>
                </a:lnTo>
                <a:lnTo>
                  <a:pt x="2433347" y="1104143"/>
                </a:lnTo>
                <a:cubicBezTo>
                  <a:pt x="1670551" y="1104143"/>
                  <a:pt x="1034130" y="1645214"/>
                  <a:pt x="886943" y="2364496"/>
                </a:cubicBezTo>
                <a:lnTo>
                  <a:pt x="870038" y="2475266"/>
                </a:lnTo>
                <a:lnTo>
                  <a:pt x="846688" y="2466720"/>
                </a:lnTo>
                <a:lnTo>
                  <a:pt x="775849" y="2440793"/>
                </a:lnTo>
                <a:lnTo>
                  <a:pt x="775833" y="2440785"/>
                </a:lnTo>
                <a:lnTo>
                  <a:pt x="629719" y="2365985"/>
                </a:lnTo>
                <a:lnTo>
                  <a:pt x="594875" y="2344816"/>
                </a:lnTo>
                <a:lnTo>
                  <a:pt x="462298" y="2250560"/>
                </a:lnTo>
                <a:lnTo>
                  <a:pt x="462276" y="2250543"/>
                </a:lnTo>
                <a:lnTo>
                  <a:pt x="462256" y="2250525"/>
                </a:lnTo>
                <a:lnTo>
                  <a:pt x="344731" y="2138479"/>
                </a:lnTo>
                <a:lnTo>
                  <a:pt x="317458" y="2108471"/>
                </a:lnTo>
                <a:lnTo>
                  <a:pt x="216962" y="1980569"/>
                </a:lnTo>
                <a:lnTo>
                  <a:pt x="216950" y="1980553"/>
                </a:lnTo>
                <a:lnTo>
                  <a:pt x="216940" y="1980537"/>
                </a:lnTo>
                <a:lnTo>
                  <a:pt x="135569" y="1838967"/>
                </a:lnTo>
                <a:lnTo>
                  <a:pt x="117775" y="1802028"/>
                </a:lnTo>
                <a:lnTo>
                  <a:pt x="57114" y="1648070"/>
                </a:lnTo>
                <a:lnTo>
                  <a:pt x="57111" y="1648061"/>
                </a:lnTo>
                <a:lnTo>
                  <a:pt x="57109" y="1648055"/>
                </a:lnTo>
                <a:lnTo>
                  <a:pt x="19445" y="1484630"/>
                </a:lnTo>
                <a:lnTo>
                  <a:pt x="13040" y="1442661"/>
                </a:lnTo>
                <a:lnTo>
                  <a:pt x="0" y="1270310"/>
                </a:lnTo>
                <a:cubicBezTo>
                  <a:pt x="0" y="568738"/>
                  <a:pt x="568738" y="0"/>
                  <a:pt x="1270312" y="0"/>
                </a:cubicBezTo>
                <a:close/>
              </a:path>
            </a:pathLst>
          </a:custGeom>
        </p:spPr>
      </p:pic>
      <p:pic>
        <p:nvPicPr>
          <p:cNvPr id="17" name="Picture 16" descr="A group of plastic bottles&#10;&#10;Description automatically generated">
            <a:extLst>
              <a:ext uri="{FF2B5EF4-FFF2-40B4-BE49-F238E27FC236}">
                <a16:creationId xmlns:a16="http://schemas.microsoft.com/office/drawing/2014/main" id="{2483986A-A764-E817-4CA4-3A4B8F64861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2889" b="2889"/>
          <a:stretch/>
        </p:blipFill>
        <p:spPr>
          <a:xfrm>
            <a:off x="2647905" y="4748964"/>
            <a:ext cx="2233890" cy="1446812"/>
          </a:xfrm>
          <a:custGeom>
            <a:avLst/>
            <a:gdLst>
              <a:gd name="connsiteX0" fmla="*/ 1116945 w 2233890"/>
              <a:gd name="connsiteY0" fmla="*/ 0 h 1403199"/>
              <a:gd name="connsiteX1" fmla="*/ 2233890 w 2233890"/>
              <a:gd name="connsiteY1" fmla="*/ 1116944 h 1403199"/>
              <a:gd name="connsiteX2" fmla="*/ 2211198 w 2233890"/>
              <a:gd name="connsiteY2" fmla="*/ 1342046 h 1403199"/>
              <a:gd name="connsiteX3" fmla="*/ 2195474 w 2233890"/>
              <a:gd name="connsiteY3" fmla="*/ 1403199 h 1403199"/>
              <a:gd name="connsiteX4" fmla="*/ 38416 w 2233890"/>
              <a:gd name="connsiteY4" fmla="*/ 1403199 h 1403199"/>
              <a:gd name="connsiteX5" fmla="*/ 22693 w 2233890"/>
              <a:gd name="connsiteY5" fmla="*/ 1342046 h 1403199"/>
              <a:gd name="connsiteX6" fmla="*/ 0 w 2233890"/>
              <a:gd name="connsiteY6" fmla="*/ 1116944 h 1403199"/>
              <a:gd name="connsiteX7" fmla="*/ 1116945 w 2233890"/>
              <a:gd name="connsiteY7" fmla="*/ 0 h 1403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3890" h="1403199">
                <a:moveTo>
                  <a:pt x="1116945" y="0"/>
                </a:moveTo>
                <a:cubicBezTo>
                  <a:pt x="1733817" y="0"/>
                  <a:pt x="2233890" y="500073"/>
                  <a:pt x="2233890" y="1116944"/>
                </a:cubicBezTo>
                <a:cubicBezTo>
                  <a:pt x="2233890" y="1194053"/>
                  <a:pt x="2226077" y="1269337"/>
                  <a:pt x="2211198" y="1342046"/>
                </a:cubicBezTo>
                <a:lnTo>
                  <a:pt x="2195474" y="1403199"/>
                </a:lnTo>
                <a:lnTo>
                  <a:pt x="38416" y="1403199"/>
                </a:lnTo>
                <a:lnTo>
                  <a:pt x="22693" y="1342046"/>
                </a:lnTo>
                <a:cubicBezTo>
                  <a:pt x="7814" y="1269337"/>
                  <a:pt x="0" y="1194053"/>
                  <a:pt x="0" y="1116944"/>
                </a:cubicBezTo>
                <a:cubicBezTo>
                  <a:pt x="0" y="500073"/>
                  <a:pt x="500073" y="0"/>
                  <a:pt x="1116945" y="0"/>
                </a:cubicBezTo>
                <a:close/>
              </a:path>
            </a:pathLst>
          </a:custGeom>
        </p:spPr>
      </p:pic>
      <p:sp>
        <p:nvSpPr>
          <p:cNvPr id="18" name="Freeform: Shape 17">
            <a:extLst>
              <a:ext uri="{FF2B5EF4-FFF2-40B4-BE49-F238E27FC236}">
                <a16:creationId xmlns:a16="http://schemas.microsoft.com/office/drawing/2014/main" id="{FAD497A3-A69D-41E8-BA16-AADCDA2B8428}"/>
              </a:ext>
            </a:extLst>
          </p:cNvPr>
          <p:cNvSpPr/>
          <p:nvPr/>
        </p:nvSpPr>
        <p:spPr>
          <a:xfrm>
            <a:off x="1244524" y="2902737"/>
            <a:ext cx="2529267" cy="2552201"/>
          </a:xfrm>
          <a:custGeom>
            <a:avLst/>
            <a:gdLst>
              <a:gd name="connsiteX0" fmla="*/ 1270312 w 2529267"/>
              <a:gd name="connsiteY0" fmla="*/ 0 h 2475266"/>
              <a:gd name="connsiteX1" fmla="*/ 2514816 w 2529267"/>
              <a:gd name="connsiteY1" fmla="*/ 1014298 h 2475266"/>
              <a:gd name="connsiteX2" fmla="*/ 2529267 w 2529267"/>
              <a:gd name="connsiteY2" fmla="*/ 1108987 h 2475266"/>
              <a:gd name="connsiteX3" fmla="*/ 2433347 w 2529267"/>
              <a:gd name="connsiteY3" fmla="*/ 1104143 h 2475266"/>
              <a:gd name="connsiteX4" fmla="*/ 886943 w 2529267"/>
              <a:gd name="connsiteY4" fmla="*/ 2364496 h 2475266"/>
              <a:gd name="connsiteX5" fmla="*/ 870038 w 2529267"/>
              <a:gd name="connsiteY5" fmla="*/ 2475266 h 2475266"/>
              <a:gd name="connsiteX6" fmla="*/ 775849 w 2529267"/>
              <a:gd name="connsiteY6" fmla="*/ 2440793 h 2475266"/>
              <a:gd name="connsiteX7" fmla="*/ 0 w 2529267"/>
              <a:gd name="connsiteY7" fmla="*/ 1270310 h 2475266"/>
              <a:gd name="connsiteX8" fmla="*/ 1270312 w 2529267"/>
              <a:gd name="connsiteY8" fmla="*/ 0 h 2475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9267" h="2475266">
                <a:moveTo>
                  <a:pt x="1270312" y="0"/>
                </a:moveTo>
                <a:cubicBezTo>
                  <a:pt x="1884189" y="0"/>
                  <a:pt x="2396364" y="435439"/>
                  <a:pt x="2514816" y="1014298"/>
                </a:cubicBezTo>
                <a:lnTo>
                  <a:pt x="2529267" y="1108987"/>
                </a:lnTo>
                <a:lnTo>
                  <a:pt x="2433347" y="1104143"/>
                </a:lnTo>
                <a:cubicBezTo>
                  <a:pt x="1670551" y="1104143"/>
                  <a:pt x="1034130" y="1645214"/>
                  <a:pt x="886943" y="2364496"/>
                </a:cubicBezTo>
                <a:lnTo>
                  <a:pt x="870038" y="2475266"/>
                </a:lnTo>
                <a:lnTo>
                  <a:pt x="775849" y="2440793"/>
                </a:lnTo>
                <a:cubicBezTo>
                  <a:pt x="319915" y="2247950"/>
                  <a:pt x="0" y="1796490"/>
                  <a:pt x="0" y="1270310"/>
                </a:cubicBezTo>
                <a:cubicBezTo>
                  <a:pt x="0" y="568737"/>
                  <a:pt x="568738" y="0"/>
                  <a:pt x="1270312" y="0"/>
                </a:cubicBezTo>
                <a:close/>
              </a:path>
            </a:pathLst>
          </a:custGeom>
          <a:solidFill>
            <a:schemeClr val="accent5">
              <a:lumMod val="50000"/>
              <a:alpha val="42000"/>
            </a:schemeClr>
          </a:solidFill>
          <a:ln w="12700">
            <a:solidFill>
              <a:schemeClr val="bg1">
                <a:alpha val="58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100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Calibri" panose="020F0502020204030204"/>
              <a:ea typeface="+mn-ea"/>
              <a:cs typeface="Poppins SemiBold" pitchFamily="2" charset="77"/>
            </a:endParaRPr>
          </a:p>
        </p:txBody>
      </p:sp>
      <p:sp>
        <p:nvSpPr>
          <p:cNvPr id="20" name="Oval 19">
            <a:extLst>
              <a:ext uri="{FF2B5EF4-FFF2-40B4-BE49-F238E27FC236}">
                <a16:creationId xmlns:a16="http://schemas.microsoft.com/office/drawing/2014/main" id="{57566B4C-37ED-951F-D8F3-B3A500FD0B1D}"/>
              </a:ext>
            </a:extLst>
          </p:cNvPr>
          <p:cNvSpPr/>
          <p:nvPr/>
        </p:nvSpPr>
        <p:spPr>
          <a:xfrm>
            <a:off x="602859" y="3616939"/>
            <a:ext cx="1112217" cy="1146786"/>
          </a:xfrm>
          <a:prstGeom prst="ellipse">
            <a:avLst/>
          </a:prstGeom>
          <a:solidFill>
            <a:srgbClr val="0065E5"/>
          </a:solidFill>
          <a:ln w="38100">
            <a:solidFill>
              <a:schemeClr val="accent4">
                <a:alpha val="50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21" name="Picture 20" descr="Logo, company name&#10;&#10;Description automatically generated">
            <a:extLst>
              <a:ext uri="{FF2B5EF4-FFF2-40B4-BE49-F238E27FC236}">
                <a16:creationId xmlns:a16="http://schemas.microsoft.com/office/drawing/2014/main" id="{B483DA2C-980F-2796-E6D3-E8F9DEEA1239}"/>
              </a:ext>
            </a:extLst>
          </p:cNvPr>
          <p:cNvPicPr>
            <a:picLocks/>
          </p:cNvPicPr>
          <p:nvPr/>
        </p:nvPicPr>
        <p:blipFill rotWithShape="1">
          <a:blip r:embed="rId6" cstate="screen">
            <a:extLst>
              <a:ext uri="{28A0092B-C50C-407E-A947-70E740481C1C}">
                <a14:useLocalDpi xmlns:a14="http://schemas.microsoft.com/office/drawing/2010/main"/>
              </a:ext>
            </a:extLst>
          </a:blip>
          <a:srcRect l="13672" t="15276" r="15356" b="14642"/>
          <a:stretch/>
        </p:blipFill>
        <p:spPr>
          <a:xfrm>
            <a:off x="739587" y="3758931"/>
            <a:ext cx="838760" cy="853973"/>
          </a:xfrm>
          <a:prstGeom prst="ellipse">
            <a:avLst/>
          </a:prstGeom>
          <a:ln w="38100">
            <a:solidFill>
              <a:schemeClr val="bg1"/>
            </a:solidFill>
          </a:ln>
        </p:spPr>
      </p:pic>
      <p:sp>
        <p:nvSpPr>
          <p:cNvPr id="22" name="Freeform: Shape 21">
            <a:extLst>
              <a:ext uri="{FF2B5EF4-FFF2-40B4-BE49-F238E27FC236}">
                <a16:creationId xmlns:a16="http://schemas.microsoft.com/office/drawing/2014/main" id="{89311E6F-C1B4-E48E-4D5E-36D6AC3F9486}"/>
              </a:ext>
            </a:extLst>
          </p:cNvPr>
          <p:cNvSpPr/>
          <p:nvPr/>
        </p:nvSpPr>
        <p:spPr>
          <a:xfrm>
            <a:off x="2647904" y="4736264"/>
            <a:ext cx="2233890" cy="1446812"/>
          </a:xfrm>
          <a:custGeom>
            <a:avLst/>
            <a:gdLst>
              <a:gd name="connsiteX0" fmla="*/ 1116945 w 2233890"/>
              <a:gd name="connsiteY0" fmla="*/ 0 h 1403199"/>
              <a:gd name="connsiteX1" fmla="*/ 2233890 w 2233890"/>
              <a:gd name="connsiteY1" fmla="*/ 1116944 h 1403199"/>
              <a:gd name="connsiteX2" fmla="*/ 2211198 w 2233890"/>
              <a:gd name="connsiteY2" fmla="*/ 1342047 h 1403199"/>
              <a:gd name="connsiteX3" fmla="*/ 2195474 w 2233890"/>
              <a:gd name="connsiteY3" fmla="*/ 1403199 h 1403199"/>
              <a:gd name="connsiteX4" fmla="*/ 38416 w 2233890"/>
              <a:gd name="connsiteY4" fmla="*/ 1403199 h 1403199"/>
              <a:gd name="connsiteX5" fmla="*/ 22693 w 2233890"/>
              <a:gd name="connsiteY5" fmla="*/ 1342047 h 1403199"/>
              <a:gd name="connsiteX6" fmla="*/ 0 w 2233890"/>
              <a:gd name="connsiteY6" fmla="*/ 1116944 h 1403199"/>
              <a:gd name="connsiteX7" fmla="*/ 1116945 w 2233890"/>
              <a:gd name="connsiteY7" fmla="*/ 0 h 1403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3890" h="1403199">
                <a:moveTo>
                  <a:pt x="1116945" y="0"/>
                </a:moveTo>
                <a:cubicBezTo>
                  <a:pt x="1733817" y="0"/>
                  <a:pt x="2233890" y="500073"/>
                  <a:pt x="2233890" y="1116944"/>
                </a:cubicBezTo>
                <a:cubicBezTo>
                  <a:pt x="2233890" y="1194053"/>
                  <a:pt x="2226077" y="1269337"/>
                  <a:pt x="2211198" y="1342047"/>
                </a:cubicBezTo>
                <a:lnTo>
                  <a:pt x="2195474" y="1403199"/>
                </a:lnTo>
                <a:lnTo>
                  <a:pt x="38416" y="1403199"/>
                </a:lnTo>
                <a:lnTo>
                  <a:pt x="22693" y="1342047"/>
                </a:lnTo>
                <a:cubicBezTo>
                  <a:pt x="7814" y="1269337"/>
                  <a:pt x="0" y="1194053"/>
                  <a:pt x="0" y="1116944"/>
                </a:cubicBezTo>
                <a:cubicBezTo>
                  <a:pt x="0" y="500073"/>
                  <a:pt x="500073" y="0"/>
                  <a:pt x="1116945" y="0"/>
                </a:cubicBezTo>
                <a:close/>
              </a:path>
            </a:pathLst>
          </a:custGeom>
          <a:solidFill>
            <a:schemeClr val="accent5">
              <a:lumMod val="50000"/>
              <a:alpha val="42000"/>
            </a:schemeClr>
          </a:solidFill>
          <a:ln w="12700">
            <a:solidFill>
              <a:schemeClr val="bg1">
                <a:alpha val="58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100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Calibri" panose="020F0502020204030204"/>
              <a:ea typeface="+mn-ea"/>
              <a:cs typeface="Poppins SemiBold" pitchFamily="2" charset="77"/>
            </a:endParaRPr>
          </a:p>
        </p:txBody>
      </p:sp>
      <p:sp>
        <p:nvSpPr>
          <p:cNvPr id="27" name="Oval 26">
            <a:extLst>
              <a:ext uri="{FF2B5EF4-FFF2-40B4-BE49-F238E27FC236}">
                <a16:creationId xmlns:a16="http://schemas.microsoft.com/office/drawing/2014/main" id="{6CD0F37C-05D8-4ACF-B2BE-1F0EB4D11DEB}"/>
              </a:ext>
            </a:extLst>
          </p:cNvPr>
          <p:cNvSpPr/>
          <p:nvPr/>
        </p:nvSpPr>
        <p:spPr>
          <a:xfrm>
            <a:off x="3270426" y="3603291"/>
            <a:ext cx="1112217" cy="1146786"/>
          </a:xfrm>
          <a:prstGeom prst="ellipse">
            <a:avLst/>
          </a:prstGeom>
          <a:solidFill>
            <a:srgbClr val="0065E5"/>
          </a:solidFill>
          <a:ln w="38100">
            <a:solidFill>
              <a:schemeClr val="accent4">
                <a:alpha val="50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F7A43A0C-11A7-E9B1-76F6-0B1B3F75D82F}"/>
              </a:ext>
            </a:extLst>
          </p:cNvPr>
          <p:cNvSpPr>
            <a:spLocks/>
          </p:cNvSpPr>
          <p:nvPr/>
        </p:nvSpPr>
        <p:spPr>
          <a:xfrm>
            <a:off x="3407154" y="3745283"/>
            <a:ext cx="838760" cy="853973"/>
          </a:xfrm>
          <a:prstGeom prst="ellipse">
            <a:avLst/>
          </a:prstGeom>
          <a:blipFill dpi="0" rotWithShape="1">
            <a:blip r:embed="rId7" cstate="screen">
              <a:extLst>
                <a:ext uri="{28A0092B-C50C-407E-A947-70E740481C1C}">
                  <a14:useLocalDpi xmlns:a14="http://schemas.microsoft.com/office/drawing/2010/main"/>
                </a:ext>
              </a:extLst>
            </a:blip>
            <a:srcRect/>
            <a:stretch>
              <a:fillRect l="-9158" t="-254" r="-32822" b="-254"/>
            </a:stretch>
          </a:blipFill>
          <a:ln w="381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9" name="Graphic 17">
            <a:extLst>
              <a:ext uri="{FF2B5EF4-FFF2-40B4-BE49-F238E27FC236}">
                <a16:creationId xmlns:a16="http://schemas.microsoft.com/office/drawing/2014/main" id="{C95A3A5D-DBD5-AEC5-EED4-B144F0E6E0B4}"/>
              </a:ext>
            </a:extLst>
          </p:cNvPr>
          <p:cNvSpPr/>
          <p:nvPr/>
        </p:nvSpPr>
        <p:spPr>
          <a:xfrm rot="5576447">
            <a:off x="4526212" y="4356775"/>
            <a:ext cx="745550" cy="760379"/>
          </a:xfrm>
          <a:custGeom>
            <a:avLst/>
            <a:gdLst>
              <a:gd name="connsiteX0" fmla="*/ 544911 w 544911"/>
              <a:gd name="connsiteY0" fmla="*/ 0 h 573023"/>
              <a:gd name="connsiteX1" fmla="*/ 330028 w 544911"/>
              <a:gd name="connsiteY1" fmla="*/ 17621 h 573023"/>
              <a:gd name="connsiteX2" fmla="*/ 401560 w 544911"/>
              <a:gd name="connsiteY2" fmla="*/ 51054 h 573023"/>
              <a:gd name="connsiteX3" fmla="*/ 3034 w 544911"/>
              <a:gd name="connsiteY3" fmla="*/ 527209 h 573023"/>
              <a:gd name="connsiteX4" fmla="*/ 18560 w 544911"/>
              <a:gd name="connsiteY4" fmla="*/ 569976 h 573023"/>
              <a:gd name="connsiteX5" fmla="*/ 32181 w 544911"/>
              <a:gd name="connsiteY5" fmla="*/ 573024 h 573023"/>
              <a:gd name="connsiteX6" fmla="*/ 61327 w 544911"/>
              <a:gd name="connsiteY6" fmla="*/ 554546 h 573023"/>
              <a:gd name="connsiteX7" fmla="*/ 433279 w 544911"/>
              <a:gd name="connsiteY7" fmla="*/ 107347 h 573023"/>
              <a:gd name="connsiteX8" fmla="*/ 430135 w 544911"/>
              <a:gd name="connsiteY8" fmla="*/ 182499 h 573023"/>
              <a:gd name="connsiteX9" fmla="*/ 544911 w 544911"/>
              <a:gd name="connsiteY9" fmla="*/ 0 h 573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4911" h="573023">
                <a:moveTo>
                  <a:pt x="544911" y="0"/>
                </a:moveTo>
                <a:lnTo>
                  <a:pt x="330028" y="17621"/>
                </a:lnTo>
                <a:lnTo>
                  <a:pt x="401560" y="51054"/>
                </a:lnTo>
                <a:cubicBezTo>
                  <a:pt x="229920" y="172498"/>
                  <a:pt x="92283" y="336709"/>
                  <a:pt x="3034" y="527209"/>
                </a:cubicBezTo>
                <a:cubicBezTo>
                  <a:pt x="-4491" y="543306"/>
                  <a:pt x="2463" y="562451"/>
                  <a:pt x="18560" y="569976"/>
                </a:cubicBezTo>
                <a:cubicBezTo>
                  <a:pt x="22941" y="572072"/>
                  <a:pt x="27609" y="573024"/>
                  <a:pt x="32181" y="573024"/>
                </a:cubicBezTo>
                <a:cubicBezTo>
                  <a:pt x="44277" y="573024"/>
                  <a:pt x="55898" y="566166"/>
                  <a:pt x="61327" y="554546"/>
                </a:cubicBezTo>
                <a:cubicBezTo>
                  <a:pt x="144861" y="375952"/>
                  <a:pt x="273258" y="221933"/>
                  <a:pt x="433279" y="107347"/>
                </a:cubicBezTo>
                <a:lnTo>
                  <a:pt x="430135" y="182499"/>
                </a:lnTo>
                <a:lnTo>
                  <a:pt x="544911" y="0"/>
                </a:lnTo>
                <a:close/>
              </a:path>
            </a:pathLst>
          </a:custGeom>
          <a:solidFill>
            <a:schemeClr val="accent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 name="Graphic 17">
            <a:extLst>
              <a:ext uri="{FF2B5EF4-FFF2-40B4-BE49-F238E27FC236}">
                <a16:creationId xmlns:a16="http://schemas.microsoft.com/office/drawing/2014/main" id="{8210909D-A50E-0AE3-0C1A-912C2EEDA8D7}"/>
              </a:ext>
            </a:extLst>
          </p:cNvPr>
          <p:cNvSpPr/>
          <p:nvPr/>
        </p:nvSpPr>
        <p:spPr>
          <a:xfrm rot="16023553" flipH="1">
            <a:off x="2374714" y="4356775"/>
            <a:ext cx="745550" cy="760379"/>
          </a:xfrm>
          <a:custGeom>
            <a:avLst/>
            <a:gdLst>
              <a:gd name="connsiteX0" fmla="*/ 544911 w 544911"/>
              <a:gd name="connsiteY0" fmla="*/ 0 h 573023"/>
              <a:gd name="connsiteX1" fmla="*/ 330028 w 544911"/>
              <a:gd name="connsiteY1" fmla="*/ 17621 h 573023"/>
              <a:gd name="connsiteX2" fmla="*/ 401560 w 544911"/>
              <a:gd name="connsiteY2" fmla="*/ 51054 h 573023"/>
              <a:gd name="connsiteX3" fmla="*/ 3034 w 544911"/>
              <a:gd name="connsiteY3" fmla="*/ 527209 h 573023"/>
              <a:gd name="connsiteX4" fmla="*/ 18560 w 544911"/>
              <a:gd name="connsiteY4" fmla="*/ 569976 h 573023"/>
              <a:gd name="connsiteX5" fmla="*/ 32181 w 544911"/>
              <a:gd name="connsiteY5" fmla="*/ 573024 h 573023"/>
              <a:gd name="connsiteX6" fmla="*/ 61327 w 544911"/>
              <a:gd name="connsiteY6" fmla="*/ 554546 h 573023"/>
              <a:gd name="connsiteX7" fmla="*/ 433279 w 544911"/>
              <a:gd name="connsiteY7" fmla="*/ 107347 h 573023"/>
              <a:gd name="connsiteX8" fmla="*/ 430135 w 544911"/>
              <a:gd name="connsiteY8" fmla="*/ 182499 h 573023"/>
              <a:gd name="connsiteX9" fmla="*/ 544911 w 544911"/>
              <a:gd name="connsiteY9" fmla="*/ 0 h 573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4911" h="573023">
                <a:moveTo>
                  <a:pt x="544911" y="0"/>
                </a:moveTo>
                <a:lnTo>
                  <a:pt x="330028" y="17621"/>
                </a:lnTo>
                <a:lnTo>
                  <a:pt x="401560" y="51054"/>
                </a:lnTo>
                <a:cubicBezTo>
                  <a:pt x="229920" y="172498"/>
                  <a:pt x="92283" y="336709"/>
                  <a:pt x="3034" y="527209"/>
                </a:cubicBezTo>
                <a:cubicBezTo>
                  <a:pt x="-4491" y="543306"/>
                  <a:pt x="2463" y="562451"/>
                  <a:pt x="18560" y="569976"/>
                </a:cubicBezTo>
                <a:cubicBezTo>
                  <a:pt x="22941" y="572072"/>
                  <a:pt x="27609" y="573024"/>
                  <a:pt x="32181" y="573024"/>
                </a:cubicBezTo>
                <a:cubicBezTo>
                  <a:pt x="44277" y="573024"/>
                  <a:pt x="55898" y="566166"/>
                  <a:pt x="61327" y="554546"/>
                </a:cubicBezTo>
                <a:cubicBezTo>
                  <a:pt x="144861" y="375952"/>
                  <a:pt x="273258" y="221933"/>
                  <a:pt x="433279" y="107347"/>
                </a:cubicBezTo>
                <a:lnTo>
                  <a:pt x="430135" y="182499"/>
                </a:lnTo>
                <a:lnTo>
                  <a:pt x="544911" y="0"/>
                </a:lnTo>
                <a:close/>
              </a:path>
            </a:pathLst>
          </a:custGeom>
          <a:solidFill>
            <a:schemeClr val="accent3"/>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 name="TextBox 30">
            <a:extLst>
              <a:ext uri="{FF2B5EF4-FFF2-40B4-BE49-F238E27FC236}">
                <a16:creationId xmlns:a16="http://schemas.microsoft.com/office/drawing/2014/main" id="{C9910053-F033-BF5F-8EAA-9602FD607350}"/>
              </a:ext>
            </a:extLst>
          </p:cNvPr>
          <p:cNvSpPr txBox="1">
            <a:spLocks/>
          </p:cNvSpPr>
          <p:nvPr/>
        </p:nvSpPr>
        <p:spPr>
          <a:xfrm>
            <a:off x="1713774" y="5193084"/>
            <a:ext cx="1003300" cy="879966"/>
          </a:xfrm>
          <a:prstGeom prst="roundRect">
            <a:avLst>
              <a:gd name="adj" fmla="val 26806"/>
            </a:avLst>
          </a:prstGeom>
          <a:solidFill>
            <a:schemeClr val="accent5"/>
          </a:solidFill>
          <a:ln w="6350">
            <a:solidFill>
              <a:schemeClr val="bg1">
                <a:alpha val="66000"/>
              </a:schemeClr>
            </a:solidFill>
          </a:ln>
        </p:spPr>
        <p:txBody>
          <a:bodyPr vert="horz" wrap="square" lIns="109728"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i="0" kern="1200" spc="300">
                <a:solidFill>
                  <a:srgbClr val="001D90"/>
                </a:solidFill>
                <a:latin typeface="Poppins SemiBold" pitchFamily="2" charset="77"/>
                <a:ea typeface="+mn-ea"/>
                <a:cs typeface="Poppins SemiBold"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FFFFFF"/>
                </a:solidFill>
                <a:effectLst/>
                <a:uLnTx/>
                <a:uFillTx/>
                <a:latin typeface="Calibri" panose="020F0502020204030204"/>
                <a:ea typeface="+mn-ea"/>
                <a:cs typeface="Poppins SemiBold" pitchFamily="2" charset="77"/>
              </a:rPr>
              <a:t>Landfill</a:t>
            </a:r>
          </a:p>
        </p:txBody>
      </p:sp>
      <p:sp>
        <p:nvSpPr>
          <p:cNvPr id="32" name="TextBox 31">
            <a:extLst>
              <a:ext uri="{FF2B5EF4-FFF2-40B4-BE49-F238E27FC236}">
                <a16:creationId xmlns:a16="http://schemas.microsoft.com/office/drawing/2014/main" id="{5FE866A2-7971-9120-BD14-4EEFE648F771}"/>
              </a:ext>
            </a:extLst>
          </p:cNvPr>
          <p:cNvSpPr txBox="1">
            <a:spLocks/>
          </p:cNvSpPr>
          <p:nvPr/>
        </p:nvSpPr>
        <p:spPr>
          <a:xfrm>
            <a:off x="4552950" y="5193084"/>
            <a:ext cx="1277885" cy="879966"/>
          </a:xfrm>
          <a:prstGeom prst="roundRect">
            <a:avLst>
              <a:gd name="adj" fmla="val 29325"/>
            </a:avLst>
          </a:prstGeom>
          <a:solidFill>
            <a:schemeClr val="accent5"/>
          </a:solidFill>
          <a:ln w="6350">
            <a:solidFill>
              <a:schemeClr val="bg1">
                <a:alpha val="66000"/>
              </a:schemeClr>
            </a:solidFill>
          </a:ln>
        </p:spPr>
        <p:txBody>
          <a:bodyPr vert="horz" wrap="square" lIns="109728"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i="0" kern="1200" spc="300">
                <a:solidFill>
                  <a:srgbClr val="001D90"/>
                </a:solidFill>
                <a:latin typeface="Poppins SemiBold" pitchFamily="2" charset="77"/>
                <a:ea typeface="+mn-ea"/>
                <a:cs typeface="Poppins SemiBold"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FFFFFF"/>
                </a:solidFill>
                <a:effectLst/>
                <a:uLnTx/>
                <a:uFillTx/>
                <a:latin typeface="Calibri" panose="020F0502020204030204"/>
                <a:ea typeface="+mn-ea"/>
                <a:cs typeface="Poppins SemiBold" pitchFamily="2" charset="77"/>
              </a:rPr>
              <a:t>Traditional</a:t>
            </a:r>
            <a:br>
              <a:rPr kumimoji="0" lang="en-US" sz="1600" b="1" i="0" u="none" strike="noStrike" kern="1200" cap="none" spc="0" normalizeH="0" baseline="0" noProof="0">
                <a:ln>
                  <a:noFill/>
                </a:ln>
                <a:solidFill>
                  <a:srgbClr val="FFFFFF"/>
                </a:solidFill>
                <a:effectLst/>
                <a:uLnTx/>
                <a:uFillTx/>
                <a:latin typeface="Calibri" panose="020F0502020204030204"/>
                <a:ea typeface="+mn-ea"/>
                <a:cs typeface="Poppins SemiBold" pitchFamily="2" charset="77"/>
              </a:rPr>
            </a:br>
            <a:r>
              <a:rPr kumimoji="0" lang="en-US" sz="1600" b="1" i="0" u="none" strike="noStrike" kern="1200" cap="none" spc="0" normalizeH="0" baseline="0" noProof="0">
                <a:ln>
                  <a:noFill/>
                </a:ln>
                <a:solidFill>
                  <a:srgbClr val="FFFFFF"/>
                </a:solidFill>
                <a:effectLst/>
                <a:uLnTx/>
                <a:uFillTx/>
                <a:latin typeface="Calibri" panose="020F0502020204030204"/>
                <a:ea typeface="+mn-ea"/>
                <a:cs typeface="Poppins SemiBold" pitchFamily="2" charset="77"/>
              </a:rPr>
              <a:t>Recycling Hauling</a:t>
            </a:r>
          </a:p>
        </p:txBody>
      </p:sp>
      <p:pic>
        <p:nvPicPr>
          <p:cNvPr id="33" name="Graphic 32" descr="Flying Money with solid fill">
            <a:extLst>
              <a:ext uri="{FF2B5EF4-FFF2-40B4-BE49-F238E27FC236}">
                <a16:creationId xmlns:a16="http://schemas.microsoft.com/office/drawing/2014/main" id="{8FC0255D-97F5-0753-0D50-81BE74743556}"/>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328855" y="4577470"/>
            <a:ext cx="514629" cy="530624"/>
          </a:xfrm>
          <a:prstGeom prst="rect">
            <a:avLst/>
          </a:prstGeom>
        </p:spPr>
      </p:pic>
      <p:sp>
        <p:nvSpPr>
          <p:cNvPr id="34" name="Arc 33">
            <a:extLst>
              <a:ext uri="{FF2B5EF4-FFF2-40B4-BE49-F238E27FC236}">
                <a16:creationId xmlns:a16="http://schemas.microsoft.com/office/drawing/2014/main" id="{812E015D-563A-84AE-350A-4CE2FBCC7270}"/>
              </a:ext>
            </a:extLst>
          </p:cNvPr>
          <p:cNvSpPr/>
          <p:nvPr/>
        </p:nvSpPr>
        <p:spPr>
          <a:xfrm flipH="1">
            <a:off x="900298" y="2597158"/>
            <a:ext cx="3151778" cy="3249740"/>
          </a:xfrm>
          <a:prstGeom prst="arc">
            <a:avLst>
              <a:gd name="adj1" fmla="val 12279398"/>
              <a:gd name="adj2" fmla="val 20094308"/>
            </a:avLst>
          </a:prstGeom>
          <a:noFill/>
          <a:ln w="85725" cap="rnd">
            <a:solidFill>
              <a:schemeClr val="accent3"/>
            </a:solidFill>
            <a:round/>
            <a:headEnd type="stealth" w="med" len="med"/>
            <a:tailEnd type="none"/>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5" name="Oval 34">
            <a:extLst>
              <a:ext uri="{FF2B5EF4-FFF2-40B4-BE49-F238E27FC236}">
                <a16:creationId xmlns:a16="http://schemas.microsoft.com/office/drawing/2014/main" id="{3E959885-2166-4282-6C36-1AA13CA8CE08}"/>
              </a:ext>
            </a:extLst>
          </p:cNvPr>
          <p:cNvSpPr/>
          <p:nvPr/>
        </p:nvSpPr>
        <p:spPr>
          <a:xfrm>
            <a:off x="1936643" y="2216466"/>
            <a:ext cx="1112217" cy="1146786"/>
          </a:xfrm>
          <a:prstGeom prst="ellipse">
            <a:avLst/>
          </a:prstGeom>
          <a:solidFill>
            <a:srgbClr val="FFFF00"/>
          </a:solidFill>
          <a:ln w="38100">
            <a:solidFill>
              <a:schemeClr val="accent4">
                <a:alpha val="50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a:ln>
                  <a:noFill/>
                </a:ln>
                <a:solidFill>
                  <a:srgbClr val="000000"/>
                </a:solidFill>
                <a:effectLst/>
                <a:uLnTx/>
                <a:uFillTx/>
                <a:latin typeface="Calibri" panose="020F0502020204030204"/>
                <a:ea typeface="+mn-ea"/>
                <a:cs typeface="+mn-cs"/>
              </a:rPr>
              <a:t>Insert Customer Logo </a:t>
            </a:r>
          </a:p>
        </p:txBody>
      </p:sp>
      <p:pic>
        <p:nvPicPr>
          <p:cNvPr id="36" name="Picture 35">
            <a:extLst>
              <a:ext uri="{FF2B5EF4-FFF2-40B4-BE49-F238E27FC236}">
                <a16:creationId xmlns:a16="http://schemas.microsoft.com/office/drawing/2014/main" id="{2C50EB59-1E55-AE42-7F91-977A5618F54B}"/>
              </a:ext>
            </a:extLst>
          </p:cNvPr>
          <p:cNvPicPr>
            <a:picLocks noChangeAspect="1"/>
          </p:cNvPicPr>
          <p:nvPr/>
        </p:nvPicPr>
        <p:blipFill>
          <a:blip r:embed="rId10"/>
          <a:stretch>
            <a:fillRect/>
          </a:stretch>
        </p:blipFill>
        <p:spPr>
          <a:xfrm>
            <a:off x="278075" y="6684260"/>
            <a:ext cx="2324100" cy="107950"/>
          </a:xfrm>
          <a:prstGeom prst="rect">
            <a:avLst/>
          </a:prstGeom>
        </p:spPr>
      </p:pic>
      <p:sp>
        <p:nvSpPr>
          <p:cNvPr id="40" name="Freeform: Shape 39">
            <a:extLst>
              <a:ext uri="{FF2B5EF4-FFF2-40B4-BE49-F238E27FC236}">
                <a16:creationId xmlns:a16="http://schemas.microsoft.com/office/drawing/2014/main" id="{9DAA3A9E-59AB-8244-738E-959A6A9B9AB2}"/>
              </a:ext>
            </a:extLst>
          </p:cNvPr>
          <p:cNvSpPr/>
          <p:nvPr/>
        </p:nvSpPr>
        <p:spPr>
          <a:xfrm>
            <a:off x="6226630" y="1296537"/>
            <a:ext cx="5965370" cy="5295332"/>
          </a:xfrm>
          <a:custGeom>
            <a:avLst/>
            <a:gdLst>
              <a:gd name="connsiteX0" fmla="*/ 309449 w 5965370"/>
              <a:gd name="connsiteY0" fmla="*/ 0 h 4781503"/>
              <a:gd name="connsiteX1" fmla="*/ 5965370 w 5965370"/>
              <a:gd name="connsiteY1" fmla="*/ 0 h 4781503"/>
              <a:gd name="connsiteX2" fmla="*/ 5965370 w 5965370"/>
              <a:gd name="connsiteY2" fmla="*/ 62136 h 4781503"/>
              <a:gd name="connsiteX3" fmla="*/ 5965370 w 5965370"/>
              <a:gd name="connsiteY3" fmla="*/ 4719367 h 4781503"/>
              <a:gd name="connsiteX4" fmla="*/ 5965370 w 5965370"/>
              <a:gd name="connsiteY4" fmla="*/ 4781503 h 4781503"/>
              <a:gd name="connsiteX5" fmla="*/ 309449 w 5965370"/>
              <a:gd name="connsiteY5" fmla="*/ 4781503 h 4781503"/>
              <a:gd name="connsiteX6" fmla="*/ 0 w 5965370"/>
              <a:gd name="connsiteY6" fmla="*/ 4472054 h 4781503"/>
              <a:gd name="connsiteX7" fmla="*/ 0 w 5965370"/>
              <a:gd name="connsiteY7" fmla="*/ 4409918 h 4781503"/>
              <a:gd name="connsiteX8" fmla="*/ 0 w 5965370"/>
              <a:gd name="connsiteY8" fmla="*/ 371585 h 4781503"/>
              <a:gd name="connsiteX9" fmla="*/ 0 w 5965370"/>
              <a:gd name="connsiteY9" fmla="*/ 309449 h 4781503"/>
              <a:gd name="connsiteX10" fmla="*/ 309449 w 5965370"/>
              <a:gd name="connsiteY10" fmla="*/ 0 h 478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65370" h="4781503">
                <a:moveTo>
                  <a:pt x="309449" y="0"/>
                </a:moveTo>
                <a:lnTo>
                  <a:pt x="5965370" y="0"/>
                </a:lnTo>
                <a:lnTo>
                  <a:pt x="5965370" y="62136"/>
                </a:lnTo>
                <a:lnTo>
                  <a:pt x="5965370" y="4719367"/>
                </a:lnTo>
                <a:lnTo>
                  <a:pt x="5965370" y="4781503"/>
                </a:lnTo>
                <a:lnTo>
                  <a:pt x="309449" y="4781503"/>
                </a:lnTo>
                <a:cubicBezTo>
                  <a:pt x="138546" y="4781503"/>
                  <a:pt x="0" y="4642958"/>
                  <a:pt x="0" y="4472054"/>
                </a:cubicBezTo>
                <a:lnTo>
                  <a:pt x="0" y="4409918"/>
                </a:lnTo>
                <a:lnTo>
                  <a:pt x="0" y="371585"/>
                </a:lnTo>
                <a:lnTo>
                  <a:pt x="0" y="309449"/>
                </a:lnTo>
                <a:cubicBezTo>
                  <a:pt x="0" y="138545"/>
                  <a:pt x="138546" y="0"/>
                  <a:pt x="309449" y="0"/>
                </a:cubicBezTo>
                <a:close/>
              </a:path>
            </a:pathLst>
          </a:custGeom>
          <a:solidFill>
            <a:srgbClr val="011C8B"/>
          </a:solidFill>
          <a:ln w="3175">
            <a:solidFill>
              <a:schemeClr val="bg1">
                <a:alpha val="46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2" name="Freeform: Shape 41">
            <a:extLst>
              <a:ext uri="{FF2B5EF4-FFF2-40B4-BE49-F238E27FC236}">
                <a16:creationId xmlns:a16="http://schemas.microsoft.com/office/drawing/2014/main" id="{1BF61484-C521-C337-3E79-57B57A9898E3}"/>
              </a:ext>
            </a:extLst>
          </p:cNvPr>
          <p:cNvSpPr/>
          <p:nvPr/>
        </p:nvSpPr>
        <p:spPr>
          <a:xfrm>
            <a:off x="6572953" y="1322410"/>
            <a:ext cx="5619047" cy="566057"/>
          </a:xfrm>
          <a:custGeom>
            <a:avLst/>
            <a:gdLst>
              <a:gd name="connsiteX0" fmla="*/ 0 w 5619047"/>
              <a:gd name="connsiteY0" fmla="*/ 0 h 632460"/>
              <a:gd name="connsiteX1" fmla="*/ 965200 w 5619047"/>
              <a:gd name="connsiteY1" fmla="*/ 0 h 632460"/>
              <a:gd name="connsiteX2" fmla="*/ 4740933 w 5619047"/>
              <a:gd name="connsiteY2" fmla="*/ 0 h 632460"/>
              <a:gd name="connsiteX3" fmla="*/ 5619047 w 5619047"/>
              <a:gd name="connsiteY3" fmla="*/ 0 h 632460"/>
              <a:gd name="connsiteX4" fmla="*/ 5619047 w 5619047"/>
              <a:gd name="connsiteY4" fmla="*/ 632460 h 632460"/>
              <a:gd name="connsiteX5" fmla="*/ 4740933 w 5619047"/>
              <a:gd name="connsiteY5" fmla="*/ 632460 h 632460"/>
              <a:gd name="connsiteX6" fmla="*/ 1762545 w 5619047"/>
              <a:gd name="connsiteY6" fmla="*/ 632460 h 632460"/>
              <a:gd name="connsiteX7" fmla="*/ 797345 w 5619047"/>
              <a:gd name="connsiteY7" fmla="*/ 632460 h 632460"/>
              <a:gd name="connsiteX8" fmla="*/ 324019 w 5619047"/>
              <a:gd name="connsiteY8" fmla="*/ 318718 h 632460"/>
              <a:gd name="connsiteX9" fmla="*/ 300707 w 5619047"/>
              <a:gd name="connsiteY9" fmla="*/ 243620 h 632460"/>
              <a:gd name="connsiteX10" fmla="*/ 282424 w 5619047"/>
              <a:gd name="connsiteY10" fmla="*/ 187203 h 632460"/>
              <a:gd name="connsiteX11" fmla="*/ 0 w 5619047"/>
              <a:gd name="connsiteY11" fmla="*/ 0 h 63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19047" h="632460">
                <a:moveTo>
                  <a:pt x="0" y="0"/>
                </a:moveTo>
                <a:lnTo>
                  <a:pt x="965200" y="0"/>
                </a:lnTo>
                <a:lnTo>
                  <a:pt x="4740933" y="0"/>
                </a:lnTo>
                <a:lnTo>
                  <a:pt x="5619047" y="0"/>
                </a:lnTo>
                <a:lnTo>
                  <a:pt x="5619047" y="632460"/>
                </a:lnTo>
                <a:lnTo>
                  <a:pt x="4740933" y="632460"/>
                </a:lnTo>
                <a:lnTo>
                  <a:pt x="1762545" y="632460"/>
                </a:lnTo>
                <a:lnTo>
                  <a:pt x="797345" y="632460"/>
                </a:lnTo>
                <a:cubicBezTo>
                  <a:pt x="584566" y="632460"/>
                  <a:pt x="402002" y="503091"/>
                  <a:pt x="324019" y="318718"/>
                </a:cubicBezTo>
                <a:lnTo>
                  <a:pt x="300707" y="243620"/>
                </a:lnTo>
                <a:lnTo>
                  <a:pt x="282424" y="187203"/>
                </a:lnTo>
                <a:cubicBezTo>
                  <a:pt x="235893" y="77192"/>
                  <a:pt x="126961" y="0"/>
                  <a:pt x="0" y="0"/>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Calibri" panose="020F0502020204030204"/>
                <a:ea typeface="+mn-ea"/>
                <a:cs typeface="+mn-cs"/>
              </a:rPr>
              <a:t>Recycling with CIRQU</a:t>
            </a:r>
          </a:p>
        </p:txBody>
      </p:sp>
      <p:sp>
        <p:nvSpPr>
          <p:cNvPr id="43" name="Arrow: Bent 42">
            <a:extLst>
              <a:ext uri="{FF2B5EF4-FFF2-40B4-BE49-F238E27FC236}">
                <a16:creationId xmlns:a16="http://schemas.microsoft.com/office/drawing/2014/main" id="{C573CEA8-DAFB-1111-F14D-1B6DD39D95F5}"/>
              </a:ext>
            </a:extLst>
          </p:cNvPr>
          <p:cNvSpPr/>
          <p:nvPr/>
        </p:nvSpPr>
        <p:spPr>
          <a:xfrm>
            <a:off x="6096000" y="1337482"/>
            <a:ext cx="6096000" cy="4205558"/>
          </a:xfrm>
          <a:prstGeom prst="bentArrow">
            <a:avLst>
              <a:gd name="adj1" fmla="val 25000"/>
              <a:gd name="adj2" fmla="val 0"/>
              <a:gd name="adj3" fmla="val 25000"/>
              <a:gd name="adj4" fmla="val 7539"/>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4" name="TextBox 43">
            <a:extLst>
              <a:ext uri="{FF2B5EF4-FFF2-40B4-BE49-F238E27FC236}">
                <a16:creationId xmlns:a16="http://schemas.microsoft.com/office/drawing/2014/main" id="{3A5ADC2B-5D31-EB88-560A-D73552F65CC2}"/>
              </a:ext>
            </a:extLst>
          </p:cNvPr>
          <p:cNvSpPr txBox="1">
            <a:spLocks/>
          </p:cNvSpPr>
          <p:nvPr/>
        </p:nvSpPr>
        <p:spPr>
          <a:xfrm>
            <a:off x="8514906" y="6176503"/>
            <a:ext cx="3662149" cy="412842"/>
          </a:xfrm>
          <a:custGeom>
            <a:avLst/>
            <a:gdLst>
              <a:gd name="connsiteX0" fmla="*/ 139615 w 1816100"/>
              <a:gd name="connsiteY0" fmla="*/ 0 h 837676"/>
              <a:gd name="connsiteX1" fmla="*/ 330115 w 1816100"/>
              <a:gd name="connsiteY1" fmla="*/ 0 h 837676"/>
              <a:gd name="connsiteX2" fmla="*/ 1625600 w 1816100"/>
              <a:gd name="connsiteY2" fmla="*/ 0 h 837676"/>
              <a:gd name="connsiteX3" fmla="*/ 1816100 w 1816100"/>
              <a:gd name="connsiteY3" fmla="*/ 0 h 837676"/>
              <a:gd name="connsiteX4" fmla="*/ 1816100 w 1816100"/>
              <a:gd name="connsiteY4" fmla="*/ 837676 h 837676"/>
              <a:gd name="connsiteX5" fmla="*/ 1625600 w 1816100"/>
              <a:gd name="connsiteY5" fmla="*/ 837676 h 837676"/>
              <a:gd name="connsiteX6" fmla="*/ 330115 w 1816100"/>
              <a:gd name="connsiteY6" fmla="*/ 837676 h 837676"/>
              <a:gd name="connsiteX7" fmla="*/ 139615 w 1816100"/>
              <a:gd name="connsiteY7" fmla="*/ 837676 h 837676"/>
              <a:gd name="connsiteX8" fmla="*/ 0 w 1816100"/>
              <a:gd name="connsiteY8" fmla="*/ 698061 h 837676"/>
              <a:gd name="connsiteX9" fmla="*/ 0 w 1816100"/>
              <a:gd name="connsiteY9" fmla="*/ 139615 h 837676"/>
              <a:gd name="connsiteX10" fmla="*/ 139615 w 1816100"/>
              <a:gd name="connsiteY10" fmla="*/ 0 h 83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6100" h="837676">
                <a:moveTo>
                  <a:pt x="139615" y="0"/>
                </a:moveTo>
                <a:lnTo>
                  <a:pt x="330115" y="0"/>
                </a:lnTo>
                <a:lnTo>
                  <a:pt x="1625600" y="0"/>
                </a:lnTo>
                <a:lnTo>
                  <a:pt x="1816100" y="0"/>
                </a:lnTo>
                <a:lnTo>
                  <a:pt x="1816100" y="837676"/>
                </a:lnTo>
                <a:lnTo>
                  <a:pt x="1625600" y="837676"/>
                </a:lnTo>
                <a:lnTo>
                  <a:pt x="330115" y="837676"/>
                </a:lnTo>
                <a:lnTo>
                  <a:pt x="139615" y="837676"/>
                </a:lnTo>
                <a:cubicBezTo>
                  <a:pt x="62508" y="837676"/>
                  <a:pt x="0" y="775168"/>
                  <a:pt x="0" y="698061"/>
                </a:cubicBezTo>
                <a:lnTo>
                  <a:pt x="0" y="139615"/>
                </a:lnTo>
                <a:cubicBezTo>
                  <a:pt x="0" y="62508"/>
                  <a:pt x="62508" y="0"/>
                  <a:pt x="139615" y="0"/>
                </a:cubicBezTo>
                <a:close/>
              </a:path>
            </a:pathLst>
          </a:custGeom>
          <a:gradFill>
            <a:gsLst>
              <a:gs pos="100000">
                <a:schemeClr val="accent5">
                  <a:alpha val="0"/>
                </a:schemeClr>
              </a:gs>
              <a:gs pos="50472">
                <a:srgbClr val="0B4CD8"/>
              </a:gs>
              <a:gs pos="18000">
                <a:srgbClr val="133CCF"/>
              </a:gs>
            </a:gsLst>
            <a:lin ang="0" scaled="1"/>
          </a:gradFill>
          <a:ln w="6350">
            <a:solidFill>
              <a:schemeClr val="bg1">
                <a:alpha val="66000"/>
              </a:schemeClr>
            </a:solidFill>
          </a:ln>
        </p:spPr>
        <p:txBody>
          <a:bodyPr vert="horz" wrap="square" lIns="109728"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i="0" kern="1200" spc="300">
                <a:solidFill>
                  <a:srgbClr val="001D90"/>
                </a:solidFill>
                <a:latin typeface="Poppins SemiBold" pitchFamily="2" charset="77"/>
                <a:ea typeface="+mn-ea"/>
                <a:cs typeface="Poppins SemiBold"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FFFFFF"/>
                </a:solidFill>
                <a:effectLst/>
                <a:uLnTx/>
                <a:uFillTx/>
                <a:latin typeface="Calibri" panose="020F0502020204030204"/>
                <a:ea typeface="+mn-ea"/>
                <a:cs typeface="Poppins SemiBold" pitchFamily="2" charset="77"/>
              </a:rPr>
              <a:t>No Cost to Participate! PepsiCo Funded</a:t>
            </a:r>
          </a:p>
        </p:txBody>
      </p:sp>
      <p:sp>
        <p:nvSpPr>
          <p:cNvPr id="50" name="Freeform: Shape 49">
            <a:extLst>
              <a:ext uri="{FF2B5EF4-FFF2-40B4-BE49-F238E27FC236}">
                <a16:creationId xmlns:a16="http://schemas.microsoft.com/office/drawing/2014/main" id="{33613F14-E233-25A5-F2C2-E1E6EFF251F0}"/>
              </a:ext>
            </a:extLst>
          </p:cNvPr>
          <p:cNvSpPr/>
          <p:nvPr/>
        </p:nvSpPr>
        <p:spPr>
          <a:xfrm>
            <a:off x="7392106" y="2049974"/>
            <a:ext cx="3976291" cy="4109667"/>
          </a:xfrm>
          <a:custGeom>
            <a:avLst/>
            <a:gdLst>
              <a:gd name="connsiteX0" fmla="*/ 1988146 w 3976291"/>
              <a:gd name="connsiteY0" fmla="*/ 0 h 4109667"/>
              <a:gd name="connsiteX1" fmla="*/ 2591085 w 3976291"/>
              <a:gd name="connsiteY1" fmla="*/ 399654 h 4109667"/>
              <a:gd name="connsiteX2" fmla="*/ 2599659 w 3976291"/>
              <a:gd name="connsiteY2" fmla="*/ 427276 h 4109667"/>
              <a:gd name="connsiteX3" fmla="*/ 2665515 w 3976291"/>
              <a:gd name="connsiteY3" fmla="*/ 451379 h 4109667"/>
              <a:gd name="connsiteX4" fmla="*/ 3330978 w 3976291"/>
              <a:gd name="connsiteY4" fmla="*/ 947900 h 4109667"/>
              <a:gd name="connsiteX5" fmla="*/ 3380037 w 3976291"/>
              <a:gd name="connsiteY5" fmla="*/ 1013505 h 4109667"/>
              <a:gd name="connsiteX6" fmla="*/ 3437692 w 3976291"/>
              <a:gd name="connsiteY6" fmla="*/ 899939 h 4109667"/>
              <a:gd name="connsiteX7" fmla="*/ 3458184 w 3976291"/>
              <a:gd name="connsiteY7" fmla="*/ 890727 h 4109667"/>
              <a:gd name="connsiteX8" fmla="*/ 3471590 w 3976291"/>
              <a:gd name="connsiteY8" fmla="*/ 908741 h 4109667"/>
              <a:gd name="connsiteX9" fmla="*/ 3463161 w 3976291"/>
              <a:gd name="connsiteY9" fmla="*/ 1134546 h 4109667"/>
              <a:gd name="connsiteX10" fmla="*/ 3518324 w 3976291"/>
              <a:gd name="connsiteY10" fmla="*/ 1225347 h 4109667"/>
              <a:gd name="connsiteX11" fmla="*/ 3591604 w 3976291"/>
              <a:gd name="connsiteY11" fmla="*/ 1377466 h 4109667"/>
              <a:gd name="connsiteX12" fmla="*/ 3629309 w 3976291"/>
              <a:gd name="connsiteY12" fmla="*/ 1480486 h 4109667"/>
              <a:gd name="connsiteX13" fmla="*/ 3687789 w 3976291"/>
              <a:gd name="connsiteY13" fmla="*/ 1512228 h 4109667"/>
              <a:gd name="connsiteX14" fmla="*/ 3976291 w 3976291"/>
              <a:gd name="connsiteY14" fmla="*/ 2054834 h 4109667"/>
              <a:gd name="connsiteX15" fmla="*/ 3687789 w 3976291"/>
              <a:gd name="connsiteY15" fmla="*/ 2597441 h 4109667"/>
              <a:gd name="connsiteX16" fmla="*/ 3629309 w 3976291"/>
              <a:gd name="connsiteY16" fmla="*/ 2629182 h 4109667"/>
              <a:gd name="connsiteX17" fmla="*/ 3591604 w 3976291"/>
              <a:gd name="connsiteY17" fmla="*/ 2732202 h 4109667"/>
              <a:gd name="connsiteX18" fmla="*/ 2626238 w 3976291"/>
              <a:gd name="connsiteY18" fmla="*/ 3674337 h 4109667"/>
              <a:gd name="connsiteX19" fmla="*/ 2599203 w 3976291"/>
              <a:gd name="connsiteY19" fmla="*/ 3683857 h 4109667"/>
              <a:gd name="connsiteX20" fmla="*/ 2591084 w 3976291"/>
              <a:gd name="connsiteY20" fmla="*/ 3710013 h 4109667"/>
              <a:gd name="connsiteX21" fmla="*/ 1988145 w 3976291"/>
              <a:gd name="connsiteY21" fmla="*/ 4109667 h 4109667"/>
              <a:gd name="connsiteX22" fmla="*/ 1385206 w 3976291"/>
              <a:gd name="connsiteY22" fmla="*/ 3710013 h 4109667"/>
              <a:gd name="connsiteX23" fmla="*/ 1376793 w 3976291"/>
              <a:gd name="connsiteY23" fmla="*/ 3682910 h 4109667"/>
              <a:gd name="connsiteX24" fmla="*/ 1233692 w 3976291"/>
              <a:gd name="connsiteY24" fmla="*/ 3623440 h 4109667"/>
              <a:gd name="connsiteX25" fmla="*/ 645313 w 3976291"/>
              <a:gd name="connsiteY25" fmla="*/ 3161769 h 4109667"/>
              <a:gd name="connsiteX26" fmla="*/ 596231 w 3976291"/>
              <a:gd name="connsiteY26" fmla="*/ 3096131 h 4109667"/>
              <a:gd name="connsiteX27" fmla="*/ 538146 w 3976291"/>
              <a:gd name="connsiteY27" fmla="*/ 3210544 h 4109667"/>
              <a:gd name="connsiteX28" fmla="*/ 504248 w 3976291"/>
              <a:gd name="connsiteY28" fmla="*/ 3201742 h 4109667"/>
              <a:gd name="connsiteX29" fmla="*/ 512732 w 3976291"/>
              <a:gd name="connsiteY29" fmla="*/ 2974466 h 4109667"/>
              <a:gd name="connsiteX30" fmla="*/ 457968 w 3976291"/>
              <a:gd name="connsiteY30" fmla="*/ 2884321 h 4109667"/>
              <a:gd name="connsiteX31" fmla="*/ 384688 w 3976291"/>
              <a:gd name="connsiteY31" fmla="*/ 2732202 h 4109667"/>
              <a:gd name="connsiteX32" fmla="*/ 346983 w 3976291"/>
              <a:gd name="connsiteY32" fmla="*/ 2629183 h 4109667"/>
              <a:gd name="connsiteX33" fmla="*/ 288502 w 3976291"/>
              <a:gd name="connsiteY33" fmla="*/ 2597441 h 4109667"/>
              <a:gd name="connsiteX34" fmla="*/ 0 w 3976291"/>
              <a:gd name="connsiteY34" fmla="*/ 2054834 h 4109667"/>
              <a:gd name="connsiteX35" fmla="*/ 288502 w 3976291"/>
              <a:gd name="connsiteY35" fmla="*/ 1512228 h 4109667"/>
              <a:gd name="connsiteX36" fmla="*/ 346983 w 3976291"/>
              <a:gd name="connsiteY36" fmla="*/ 1480485 h 4109667"/>
              <a:gd name="connsiteX37" fmla="*/ 384688 w 3976291"/>
              <a:gd name="connsiteY37" fmla="*/ 1377466 h 4109667"/>
              <a:gd name="connsiteX38" fmla="*/ 1310777 w 3976291"/>
              <a:gd name="connsiteY38" fmla="*/ 451379 h 4109667"/>
              <a:gd name="connsiteX39" fmla="*/ 1376633 w 3976291"/>
              <a:gd name="connsiteY39" fmla="*/ 427276 h 4109667"/>
              <a:gd name="connsiteX40" fmla="*/ 1385207 w 3976291"/>
              <a:gd name="connsiteY40" fmla="*/ 399654 h 4109667"/>
              <a:gd name="connsiteX41" fmla="*/ 1988146 w 3976291"/>
              <a:gd name="connsiteY41" fmla="*/ 0 h 410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976291" h="4109667">
                <a:moveTo>
                  <a:pt x="1988146" y="0"/>
                </a:moveTo>
                <a:cubicBezTo>
                  <a:pt x="2259192" y="0"/>
                  <a:pt x="2491747" y="164794"/>
                  <a:pt x="2591085" y="399654"/>
                </a:cubicBezTo>
                <a:lnTo>
                  <a:pt x="2599659" y="427276"/>
                </a:lnTo>
                <a:lnTo>
                  <a:pt x="2665515" y="451379"/>
                </a:lnTo>
                <a:cubicBezTo>
                  <a:pt x="2925760" y="561454"/>
                  <a:pt x="3153656" y="733035"/>
                  <a:pt x="3330978" y="947900"/>
                </a:cubicBezTo>
                <a:lnTo>
                  <a:pt x="3380037" y="1013505"/>
                </a:lnTo>
                <a:lnTo>
                  <a:pt x="3437692" y="899939"/>
                </a:lnTo>
                <a:cubicBezTo>
                  <a:pt x="3442057" y="891381"/>
                  <a:pt x="3450711" y="888785"/>
                  <a:pt x="3458184" y="890727"/>
                </a:cubicBezTo>
                <a:cubicBezTo>
                  <a:pt x="3465658" y="892669"/>
                  <a:pt x="3471950" y="899149"/>
                  <a:pt x="3471590" y="908741"/>
                </a:cubicBezTo>
                <a:lnTo>
                  <a:pt x="3463161" y="1134546"/>
                </a:lnTo>
                <a:lnTo>
                  <a:pt x="3518324" y="1225347"/>
                </a:lnTo>
                <a:cubicBezTo>
                  <a:pt x="3545114" y="1274662"/>
                  <a:pt x="3569589" y="1325417"/>
                  <a:pt x="3591604" y="1377466"/>
                </a:cubicBezTo>
                <a:lnTo>
                  <a:pt x="3629309" y="1480486"/>
                </a:lnTo>
                <a:lnTo>
                  <a:pt x="3687789" y="1512228"/>
                </a:lnTo>
                <a:cubicBezTo>
                  <a:pt x="3861850" y="1629821"/>
                  <a:pt x="3976291" y="1828963"/>
                  <a:pt x="3976291" y="2054834"/>
                </a:cubicBezTo>
                <a:cubicBezTo>
                  <a:pt x="3976291" y="2280706"/>
                  <a:pt x="3861850" y="2479847"/>
                  <a:pt x="3687789" y="2597441"/>
                </a:cubicBezTo>
                <a:lnTo>
                  <a:pt x="3629309" y="2629182"/>
                </a:lnTo>
                <a:lnTo>
                  <a:pt x="3591604" y="2732202"/>
                </a:lnTo>
                <a:cubicBezTo>
                  <a:pt x="3409981" y="3161606"/>
                  <a:pt x="3060905" y="3502938"/>
                  <a:pt x="2626238" y="3674337"/>
                </a:cubicBezTo>
                <a:lnTo>
                  <a:pt x="2599203" y="3683857"/>
                </a:lnTo>
                <a:lnTo>
                  <a:pt x="2591084" y="3710013"/>
                </a:lnTo>
                <a:cubicBezTo>
                  <a:pt x="2491746" y="3944873"/>
                  <a:pt x="2259191" y="4109667"/>
                  <a:pt x="1988145" y="4109667"/>
                </a:cubicBezTo>
                <a:cubicBezTo>
                  <a:pt x="1717100" y="4109667"/>
                  <a:pt x="1484544" y="3944873"/>
                  <a:pt x="1385206" y="3710013"/>
                </a:cubicBezTo>
                <a:lnTo>
                  <a:pt x="1376793" y="3682910"/>
                </a:lnTo>
                <a:lnTo>
                  <a:pt x="1233692" y="3623440"/>
                </a:lnTo>
                <a:cubicBezTo>
                  <a:pt x="1005458" y="3513466"/>
                  <a:pt x="804904" y="3355147"/>
                  <a:pt x="645313" y="3161769"/>
                </a:cubicBezTo>
                <a:lnTo>
                  <a:pt x="596231" y="3096131"/>
                </a:lnTo>
                <a:lnTo>
                  <a:pt x="538146" y="3210544"/>
                </a:lnTo>
                <a:cubicBezTo>
                  <a:pt x="529416" y="3227661"/>
                  <a:pt x="503529" y="3220927"/>
                  <a:pt x="504248" y="3201742"/>
                </a:cubicBezTo>
                <a:lnTo>
                  <a:pt x="512732" y="2974466"/>
                </a:lnTo>
                <a:lnTo>
                  <a:pt x="457968" y="2884321"/>
                </a:lnTo>
                <a:cubicBezTo>
                  <a:pt x="431178" y="2835006"/>
                  <a:pt x="406703" y="2784251"/>
                  <a:pt x="384688" y="2732202"/>
                </a:cubicBezTo>
                <a:lnTo>
                  <a:pt x="346983" y="2629183"/>
                </a:lnTo>
                <a:lnTo>
                  <a:pt x="288502" y="2597441"/>
                </a:lnTo>
                <a:cubicBezTo>
                  <a:pt x="114440" y="2479847"/>
                  <a:pt x="0" y="2280706"/>
                  <a:pt x="0" y="2054834"/>
                </a:cubicBezTo>
                <a:cubicBezTo>
                  <a:pt x="0" y="1828963"/>
                  <a:pt x="114440" y="1629821"/>
                  <a:pt x="288502" y="1512228"/>
                </a:cubicBezTo>
                <a:lnTo>
                  <a:pt x="346983" y="1480485"/>
                </a:lnTo>
                <a:lnTo>
                  <a:pt x="384688" y="1377466"/>
                </a:lnTo>
                <a:cubicBezTo>
                  <a:pt x="560807" y="961075"/>
                  <a:pt x="894384" y="627498"/>
                  <a:pt x="1310777" y="451379"/>
                </a:cubicBezTo>
                <a:lnTo>
                  <a:pt x="1376633" y="427276"/>
                </a:lnTo>
                <a:lnTo>
                  <a:pt x="1385207" y="399654"/>
                </a:lnTo>
                <a:cubicBezTo>
                  <a:pt x="1484545" y="164794"/>
                  <a:pt x="1717101" y="0"/>
                  <a:pt x="1988146" y="0"/>
                </a:cubicBezTo>
                <a:close/>
              </a:path>
            </a:pathLst>
          </a:custGeom>
          <a:solidFill>
            <a:schemeClr val="bg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 name="Arc 50">
            <a:extLst>
              <a:ext uri="{FF2B5EF4-FFF2-40B4-BE49-F238E27FC236}">
                <a16:creationId xmlns:a16="http://schemas.microsoft.com/office/drawing/2014/main" id="{B98847F9-4CFF-9C3D-BD03-956DA849F930}"/>
              </a:ext>
            </a:extLst>
          </p:cNvPr>
          <p:cNvSpPr/>
          <p:nvPr/>
        </p:nvSpPr>
        <p:spPr>
          <a:xfrm flipH="1">
            <a:off x="7804362" y="2528918"/>
            <a:ext cx="3151778" cy="3151778"/>
          </a:xfrm>
          <a:prstGeom prst="arc">
            <a:avLst>
              <a:gd name="adj1" fmla="val 12279398"/>
              <a:gd name="adj2" fmla="val 20094308"/>
            </a:avLst>
          </a:prstGeom>
          <a:noFill/>
          <a:ln w="85725" cap="rnd">
            <a:solidFill>
              <a:schemeClr val="accent3"/>
            </a:solidFill>
            <a:round/>
            <a:headEnd type="stealth" w="med" len="med"/>
            <a:tailEnd type="none"/>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3" name="Arc 52">
            <a:extLst>
              <a:ext uri="{FF2B5EF4-FFF2-40B4-BE49-F238E27FC236}">
                <a16:creationId xmlns:a16="http://schemas.microsoft.com/office/drawing/2014/main" id="{F78DE3BA-0A1D-A623-50D1-554D869A8B24}"/>
              </a:ext>
            </a:extLst>
          </p:cNvPr>
          <p:cNvSpPr/>
          <p:nvPr/>
        </p:nvSpPr>
        <p:spPr>
          <a:xfrm flipH="1" flipV="1">
            <a:off x="7804362" y="2528918"/>
            <a:ext cx="3151778" cy="3151778"/>
          </a:xfrm>
          <a:prstGeom prst="arc">
            <a:avLst>
              <a:gd name="adj1" fmla="val 12272856"/>
              <a:gd name="adj2" fmla="val 20094308"/>
            </a:avLst>
          </a:prstGeom>
          <a:noFill/>
          <a:ln w="85725" cap="rnd">
            <a:solidFill>
              <a:schemeClr val="accent3"/>
            </a:solidFill>
            <a:round/>
            <a:tailEnd type="stealt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54" name="Picture 53" descr="A group of plastic bottles&#10;&#10;Description automatically generated">
            <a:extLst>
              <a:ext uri="{FF2B5EF4-FFF2-40B4-BE49-F238E27FC236}">
                <a16:creationId xmlns:a16="http://schemas.microsoft.com/office/drawing/2014/main" id="{C0E45A6B-ADE3-BFFA-C2F0-2B00558EA258}"/>
              </a:ext>
            </a:extLst>
          </p:cNvPr>
          <p:cNvPicPr>
            <a:picLocks noChangeAspect="1"/>
          </p:cNvPicPr>
          <p:nvPr/>
        </p:nvPicPr>
        <p:blipFill rotWithShape="1">
          <a:blip r:embed="rId11" cstate="screen">
            <a:alphaModFix amt="84000"/>
            <a:extLst>
              <a:ext uri="{28A0092B-C50C-407E-A947-70E740481C1C}">
                <a14:useLocalDpi xmlns:a14="http://schemas.microsoft.com/office/drawing/2010/main"/>
              </a:ext>
            </a:extLst>
          </a:blip>
          <a:srcRect l="16667" r="16667"/>
          <a:stretch/>
        </p:blipFill>
        <p:spPr>
          <a:xfrm>
            <a:off x="8097240" y="2821798"/>
            <a:ext cx="2566024" cy="2566020"/>
          </a:xfrm>
          <a:custGeom>
            <a:avLst/>
            <a:gdLst>
              <a:gd name="connsiteX0" fmla="*/ 1105213 w 2210426"/>
              <a:gd name="connsiteY0" fmla="*/ 0 h 2210422"/>
              <a:gd name="connsiteX1" fmla="*/ 2210426 w 2210426"/>
              <a:gd name="connsiteY1" fmla="*/ 1105211 h 2210422"/>
              <a:gd name="connsiteX2" fmla="*/ 1105213 w 2210426"/>
              <a:gd name="connsiteY2" fmla="*/ 2210422 h 2210422"/>
              <a:gd name="connsiteX3" fmla="*/ 0 w 2210426"/>
              <a:gd name="connsiteY3" fmla="*/ 1105211 h 2210422"/>
              <a:gd name="connsiteX4" fmla="*/ 1105213 w 2210426"/>
              <a:gd name="connsiteY4" fmla="*/ 0 h 2210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0426" h="2210422">
                <a:moveTo>
                  <a:pt x="1105213" y="0"/>
                </a:moveTo>
                <a:cubicBezTo>
                  <a:pt x="1715605" y="0"/>
                  <a:pt x="2210426" y="494820"/>
                  <a:pt x="2210426" y="1105211"/>
                </a:cubicBezTo>
                <a:cubicBezTo>
                  <a:pt x="2210426" y="1715602"/>
                  <a:pt x="1715605" y="2210422"/>
                  <a:pt x="1105213" y="2210422"/>
                </a:cubicBezTo>
                <a:cubicBezTo>
                  <a:pt x="494821" y="2210422"/>
                  <a:pt x="0" y="1715602"/>
                  <a:pt x="0" y="1105211"/>
                </a:cubicBezTo>
                <a:cubicBezTo>
                  <a:pt x="0" y="494820"/>
                  <a:pt x="494821" y="0"/>
                  <a:pt x="1105213" y="0"/>
                </a:cubicBezTo>
                <a:close/>
              </a:path>
            </a:pathLst>
          </a:custGeom>
        </p:spPr>
      </p:pic>
      <p:sp>
        <p:nvSpPr>
          <p:cNvPr id="55" name="Oval 54">
            <a:extLst>
              <a:ext uri="{FF2B5EF4-FFF2-40B4-BE49-F238E27FC236}">
                <a16:creationId xmlns:a16="http://schemas.microsoft.com/office/drawing/2014/main" id="{899BA92D-0C0D-A0D6-2FD4-B5C0E5DC1898}"/>
              </a:ext>
            </a:extLst>
          </p:cNvPr>
          <p:cNvSpPr/>
          <p:nvPr/>
        </p:nvSpPr>
        <p:spPr>
          <a:xfrm>
            <a:off x="8097240" y="2821798"/>
            <a:ext cx="2566024" cy="2566020"/>
          </a:xfrm>
          <a:prstGeom prst="ellipse">
            <a:avLst/>
          </a:prstGeom>
          <a:solidFill>
            <a:schemeClr val="accent5">
              <a:lumMod val="50000"/>
              <a:alpha val="42000"/>
            </a:schemeClr>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FFFFFF"/>
                </a:solidFill>
                <a:effectLst/>
                <a:uLnTx/>
                <a:uFillTx/>
                <a:latin typeface="Calibri" panose="020F0502020204030204"/>
                <a:ea typeface="+mn-ea"/>
                <a:cs typeface="+mn-cs"/>
              </a:rPr>
              <a:t>Bottles Become Bottles Again…</a:t>
            </a:r>
            <a:br>
              <a:rPr kumimoji="0" lang="en-US" sz="1600" b="1" i="0" u="none" strike="noStrike" kern="1200" cap="none" spc="0" normalizeH="0" baseline="0" noProof="0">
                <a:ln>
                  <a:noFill/>
                </a:ln>
                <a:solidFill>
                  <a:srgbClr val="FFFFFF"/>
                </a:solidFill>
                <a:effectLst/>
                <a:uLnTx/>
                <a:uFillTx/>
                <a:latin typeface="Calibri" panose="020F0502020204030204"/>
                <a:ea typeface="+mn-ea"/>
                <a:cs typeface="+mn-cs"/>
              </a:rPr>
            </a:br>
            <a:r>
              <a:rPr kumimoji="0" lang="en-US" sz="1600" b="1" i="0" u="none" strike="noStrike" kern="1200" cap="none" spc="0" normalizeH="0" baseline="0" noProof="0">
                <a:ln>
                  <a:noFill/>
                </a:ln>
                <a:solidFill>
                  <a:srgbClr val="FFFFFF"/>
                </a:solidFill>
                <a:effectLst/>
                <a:uLnTx/>
                <a:uFillTx/>
                <a:latin typeface="Calibri" panose="020F0502020204030204"/>
                <a:ea typeface="+mn-ea"/>
                <a:cs typeface="+mn-cs"/>
              </a:rPr>
              <a:t>And Again!</a:t>
            </a:r>
          </a:p>
        </p:txBody>
      </p:sp>
      <p:sp>
        <p:nvSpPr>
          <p:cNvPr id="56" name="Oval 55">
            <a:extLst>
              <a:ext uri="{FF2B5EF4-FFF2-40B4-BE49-F238E27FC236}">
                <a16:creationId xmlns:a16="http://schemas.microsoft.com/office/drawing/2014/main" id="{BC25F257-F8B1-5EA2-2E5C-9C67590EF074}"/>
              </a:ext>
            </a:extLst>
          </p:cNvPr>
          <p:cNvSpPr/>
          <p:nvPr/>
        </p:nvSpPr>
        <p:spPr>
          <a:xfrm>
            <a:off x="7490359" y="3548699"/>
            <a:ext cx="1112217" cy="1112217"/>
          </a:xfrm>
          <a:prstGeom prst="ellipse">
            <a:avLst/>
          </a:prstGeom>
          <a:solidFill>
            <a:srgbClr val="0065E5"/>
          </a:solidFill>
          <a:ln w="38100">
            <a:solidFill>
              <a:schemeClr val="accent4">
                <a:alpha val="50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7" name="Oval 56">
            <a:extLst>
              <a:ext uri="{FF2B5EF4-FFF2-40B4-BE49-F238E27FC236}">
                <a16:creationId xmlns:a16="http://schemas.microsoft.com/office/drawing/2014/main" id="{77622107-15D6-8B5A-D455-FB97C4E8BE0A}"/>
              </a:ext>
            </a:extLst>
          </p:cNvPr>
          <p:cNvSpPr/>
          <p:nvPr/>
        </p:nvSpPr>
        <p:spPr>
          <a:xfrm>
            <a:off x="8824143" y="2148226"/>
            <a:ext cx="1112217" cy="1112217"/>
          </a:xfrm>
          <a:prstGeom prst="ellipse">
            <a:avLst/>
          </a:prstGeom>
          <a:solidFill>
            <a:srgbClr val="FFFF00"/>
          </a:solidFill>
          <a:ln w="38100">
            <a:solidFill>
              <a:schemeClr val="accent4">
                <a:alpha val="50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a:ln>
                  <a:noFill/>
                </a:ln>
                <a:solidFill>
                  <a:srgbClr val="000000"/>
                </a:solidFill>
                <a:effectLst/>
                <a:uLnTx/>
                <a:uFillTx/>
                <a:latin typeface="Calibri" panose="020F0502020204030204"/>
                <a:ea typeface="+mn-ea"/>
                <a:cs typeface="+mn-cs"/>
              </a:rPr>
              <a:t>Insert Customer Logo </a:t>
            </a:r>
          </a:p>
        </p:txBody>
      </p:sp>
      <p:sp>
        <p:nvSpPr>
          <p:cNvPr id="58" name="Oval 57">
            <a:extLst>
              <a:ext uri="{FF2B5EF4-FFF2-40B4-BE49-F238E27FC236}">
                <a16:creationId xmlns:a16="http://schemas.microsoft.com/office/drawing/2014/main" id="{47AAD8D7-D503-0145-9B1B-D245B15ACCB3}"/>
              </a:ext>
            </a:extLst>
          </p:cNvPr>
          <p:cNvSpPr/>
          <p:nvPr/>
        </p:nvSpPr>
        <p:spPr>
          <a:xfrm>
            <a:off x="10157926" y="3548699"/>
            <a:ext cx="1112217" cy="1112217"/>
          </a:xfrm>
          <a:prstGeom prst="ellipse">
            <a:avLst/>
          </a:prstGeom>
          <a:solidFill>
            <a:srgbClr val="0065E5"/>
          </a:solidFill>
          <a:ln w="38100">
            <a:solidFill>
              <a:schemeClr val="accent4">
                <a:alpha val="50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9" name="Oval 58">
            <a:extLst>
              <a:ext uri="{FF2B5EF4-FFF2-40B4-BE49-F238E27FC236}">
                <a16:creationId xmlns:a16="http://schemas.microsoft.com/office/drawing/2014/main" id="{E1A8D5C7-5B58-8682-CC9E-302E63606BBC}"/>
              </a:ext>
            </a:extLst>
          </p:cNvPr>
          <p:cNvSpPr/>
          <p:nvPr/>
        </p:nvSpPr>
        <p:spPr>
          <a:xfrm>
            <a:off x="8824143" y="4949171"/>
            <a:ext cx="1112217" cy="1112217"/>
          </a:xfrm>
          <a:prstGeom prst="ellipse">
            <a:avLst/>
          </a:prstGeom>
          <a:solidFill>
            <a:schemeClr val="accent5"/>
          </a:solidFill>
          <a:ln w="38100">
            <a:solidFill>
              <a:schemeClr val="accent4">
                <a:alpha val="50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60" name="Picture 59" descr="A picture containing text, graphics, font, graphic design&#10;&#10;Description automatically generated">
            <a:extLst>
              <a:ext uri="{FF2B5EF4-FFF2-40B4-BE49-F238E27FC236}">
                <a16:creationId xmlns:a16="http://schemas.microsoft.com/office/drawing/2014/main" id="{0245490F-6CFD-C0A3-7E16-58496BD96DFE}"/>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l="10214" t="10214" r="10214" b="10214"/>
          <a:stretch/>
        </p:blipFill>
        <p:spPr>
          <a:xfrm>
            <a:off x="8964429" y="5089458"/>
            <a:ext cx="831644" cy="831642"/>
          </a:xfrm>
          <a:prstGeom prst="rect">
            <a:avLst/>
          </a:prstGeom>
        </p:spPr>
      </p:pic>
      <p:pic>
        <p:nvPicPr>
          <p:cNvPr id="61" name="Picture 60" descr="Logo, company name&#10;&#10;Description automatically generated">
            <a:extLst>
              <a:ext uri="{FF2B5EF4-FFF2-40B4-BE49-F238E27FC236}">
                <a16:creationId xmlns:a16="http://schemas.microsoft.com/office/drawing/2014/main" id="{F05E7799-C144-CF79-D777-B10468376C78}"/>
              </a:ext>
            </a:extLst>
          </p:cNvPr>
          <p:cNvPicPr>
            <a:picLocks/>
          </p:cNvPicPr>
          <p:nvPr/>
        </p:nvPicPr>
        <p:blipFill rotWithShape="1">
          <a:blip r:embed="rId13" cstate="screen">
            <a:extLst>
              <a:ext uri="{28A0092B-C50C-407E-A947-70E740481C1C}">
                <a14:useLocalDpi xmlns:a14="http://schemas.microsoft.com/office/drawing/2010/main"/>
              </a:ext>
            </a:extLst>
          </a:blip>
          <a:srcRect l="13672" t="15276" r="15356" b="14642"/>
          <a:stretch/>
        </p:blipFill>
        <p:spPr>
          <a:xfrm>
            <a:off x="7627087" y="3690692"/>
            <a:ext cx="838760" cy="828230"/>
          </a:xfrm>
          <a:prstGeom prst="ellipse">
            <a:avLst/>
          </a:prstGeom>
          <a:ln w="38100">
            <a:solidFill>
              <a:schemeClr val="bg1"/>
            </a:solidFill>
          </a:ln>
        </p:spPr>
      </p:pic>
      <p:sp>
        <p:nvSpPr>
          <p:cNvPr id="62" name="Oval 61">
            <a:extLst>
              <a:ext uri="{FF2B5EF4-FFF2-40B4-BE49-F238E27FC236}">
                <a16:creationId xmlns:a16="http://schemas.microsoft.com/office/drawing/2014/main" id="{834DA09D-BF52-2DCE-0D16-DE49AD74B641}"/>
              </a:ext>
            </a:extLst>
          </p:cNvPr>
          <p:cNvSpPr>
            <a:spLocks/>
          </p:cNvSpPr>
          <p:nvPr/>
        </p:nvSpPr>
        <p:spPr>
          <a:xfrm>
            <a:off x="10294654" y="3690692"/>
            <a:ext cx="838760" cy="828230"/>
          </a:xfrm>
          <a:prstGeom prst="ellipse">
            <a:avLst/>
          </a:prstGeom>
          <a:blipFill dpi="0" rotWithShape="1">
            <a:blip r:embed="rId14" cstate="screen">
              <a:extLst>
                <a:ext uri="{28A0092B-C50C-407E-A947-70E740481C1C}">
                  <a14:useLocalDpi xmlns:a14="http://schemas.microsoft.com/office/drawing/2010/main"/>
                </a:ext>
              </a:extLst>
            </a:blip>
            <a:srcRect/>
            <a:stretch>
              <a:fillRect l="-9158" t="-254" r="-32822" b="-254"/>
            </a:stretch>
          </a:blipFill>
          <a:ln w="381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08F407B1-71B8-647D-D7FB-D9E701FE8A79}"/>
              </a:ext>
            </a:extLst>
          </p:cNvPr>
          <p:cNvSpPr txBox="1"/>
          <p:nvPr/>
        </p:nvSpPr>
        <p:spPr>
          <a:xfrm>
            <a:off x="11064240" y="6589345"/>
            <a:ext cx="993807" cy="20005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EE3F35-5EAA-0344-B6FC-083E415BACD9}" type="slidenum">
              <a:rPr kumimoji="0" lang="en-US" sz="700" b="0" i="0" u="none" strike="noStrike" kern="1200" cap="none" spc="300" normalizeH="0" baseline="0" noProof="0" smtClean="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700" b="0" i="0" u="none" strike="noStrike" kern="1200" cap="none" spc="300" normalizeH="0" baseline="0" noProof="0">
              <a:ln>
                <a:noFill/>
              </a:ln>
              <a:solidFill>
                <a:srgbClr val="FFFFFF"/>
              </a:solidFill>
              <a:effectLst/>
              <a:uLnTx/>
              <a:uFillTx/>
              <a:latin typeface="Calibri" panose="020F0502020204030204"/>
              <a:ea typeface="+mn-ea"/>
              <a:cs typeface="+mn-cs"/>
            </a:endParaRPr>
          </a:p>
        </p:txBody>
      </p:sp>
      <p:grpSp>
        <p:nvGrpSpPr>
          <p:cNvPr id="3" name="Group 2">
            <a:extLst>
              <a:ext uri="{FF2B5EF4-FFF2-40B4-BE49-F238E27FC236}">
                <a16:creationId xmlns:a16="http://schemas.microsoft.com/office/drawing/2014/main" id="{5BEFD21D-33B3-5763-89ED-64DA6A4FC6BD}"/>
              </a:ext>
            </a:extLst>
          </p:cNvPr>
          <p:cNvGrpSpPr/>
          <p:nvPr/>
        </p:nvGrpSpPr>
        <p:grpSpPr>
          <a:xfrm>
            <a:off x="-418457" y="105849"/>
            <a:ext cx="2431183" cy="1194992"/>
            <a:chOff x="4744304" y="4019935"/>
            <a:chExt cx="2431183" cy="1194992"/>
          </a:xfrm>
        </p:grpSpPr>
        <p:sp>
          <p:nvSpPr>
            <p:cNvPr id="7" name="TextBox 6">
              <a:extLst>
                <a:ext uri="{FF2B5EF4-FFF2-40B4-BE49-F238E27FC236}">
                  <a16:creationId xmlns:a16="http://schemas.microsoft.com/office/drawing/2014/main" id="{CFB766A9-D2FF-8217-B28E-B2B2C0BC2561}"/>
                </a:ext>
              </a:extLst>
            </p:cNvPr>
            <p:cNvSpPr txBox="1"/>
            <p:nvPr/>
          </p:nvSpPr>
          <p:spPr>
            <a:xfrm>
              <a:off x="4744304" y="4722484"/>
              <a:ext cx="2431183" cy="49244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POSITIVE</a:t>
              </a:r>
              <a:br>
                <a:rPr kumimoji="0" lang="en-US" sz="13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br>
              <a:r>
                <a:rPr kumimoji="0" lang="en-US" sz="13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VALUE CHAIN</a:t>
              </a:r>
            </a:p>
          </p:txBody>
        </p:sp>
        <p:pic>
          <p:nvPicPr>
            <p:cNvPr id="8" name="Picture 7" descr="A blue and green windmill with arrows around it&#10;&#10;Description automatically generated">
              <a:extLst>
                <a:ext uri="{FF2B5EF4-FFF2-40B4-BE49-F238E27FC236}">
                  <a16:creationId xmlns:a16="http://schemas.microsoft.com/office/drawing/2014/main" id="{135F9541-DE8F-85A3-8856-81CF2A29571F}"/>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5610575" y="4019935"/>
              <a:ext cx="656095" cy="656095"/>
            </a:xfrm>
            <a:prstGeom prst="rect">
              <a:avLst/>
            </a:prstGeom>
          </p:spPr>
        </p:pic>
      </p:grpSp>
    </p:spTree>
    <p:extLst>
      <p:ext uri="{BB962C8B-B14F-4D97-AF65-F5344CB8AC3E}">
        <p14:creationId xmlns:p14="http://schemas.microsoft.com/office/powerpoint/2010/main" val="13077001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EFD178D6-CEDC-6894-652E-A6AAB2DAD1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7" name="think-cell data - do not delete" hidden="1">
                        <a:extLst>
                          <a:ext uri="{FF2B5EF4-FFF2-40B4-BE49-F238E27FC236}">
                            <a16:creationId xmlns:a16="http://schemas.microsoft.com/office/drawing/2014/main" id="{EFD178D6-CEDC-6894-652E-A6AAB2DAD1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CE9A3AB-F3D3-0546-54CE-14D8C2251AA7}"/>
              </a:ext>
            </a:extLst>
          </p:cNvPr>
          <p:cNvSpPr/>
          <p:nvPr/>
        </p:nvSpPr>
        <p:spPr>
          <a:xfrm>
            <a:off x="0" y="0"/>
            <a:ext cx="12192000" cy="6858000"/>
          </a:xfrm>
          <a:prstGeom prst="rect">
            <a:avLst/>
          </a:prstGeom>
          <a:solidFill>
            <a:srgbClr val="133CC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Freeform: Shape 9">
            <a:extLst>
              <a:ext uri="{FF2B5EF4-FFF2-40B4-BE49-F238E27FC236}">
                <a16:creationId xmlns:a16="http://schemas.microsoft.com/office/drawing/2014/main" id="{746F59CA-09B1-4DAB-45DC-94DD96FFAB4C}"/>
              </a:ext>
            </a:extLst>
          </p:cNvPr>
          <p:cNvSpPr/>
          <p:nvPr/>
        </p:nvSpPr>
        <p:spPr>
          <a:xfrm>
            <a:off x="-1" y="-1"/>
            <a:ext cx="7601804" cy="6752327"/>
          </a:xfrm>
          <a:custGeom>
            <a:avLst/>
            <a:gdLst>
              <a:gd name="connsiteX0" fmla="*/ 0 w 6728280"/>
              <a:gd name="connsiteY0" fmla="*/ 0 h 6438900"/>
              <a:gd name="connsiteX1" fmla="*/ 6728280 w 6728280"/>
              <a:gd name="connsiteY1" fmla="*/ 0 h 6438900"/>
              <a:gd name="connsiteX2" fmla="*/ 6728280 w 6728280"/>
              <a:gd name="connsiteY2" fmla="*/ 966448 h 6438900"/>
              <a:gd name="connsiteX3" fmla="*/ 6293167 w 6728280"/>
              <a:gd name="connsiteY3" fmla="*/ 1409700 h 6438900"/>
              <a:gd name="connsiteX4" fmla="*/ 5032252 w 6728280"/>
              <a:gd name="connsiteY4" fmla="*/ 1409700 h 6438900"/>
              <a:gd name="connsiteX5" fmla="*/ 3318660 w 6728280"/>
              <a:gd name="connsiteY5" fmla="*/ 1409700 h 6438900"/>
              <a:gd name="connsiteX6" fmla="*/ 3287943 w 6728280"/>
              <a:gd name="connsiteY6" fmla="*/ 1409700 h 6438900"/>
              <a:gd name="connsiteX7" fmla="*/ 2781463 w 6728280"/>
              <a:gd name="connsiteY7" fmla="*/ 1916180 h 6438900"/>
              <a:gd name="connsiteX8" fmla="*/ 2781463 w 6728280"/>
              <a:gd name="connsiteY8" fmla="*/ 5808596 h 6438900"/>
              <a:gd name="connsiteX9" fmla="*/ 3090798 w 6728280"/>
              <a:gd name="connsiteY9" fmla="*/ 6275274 h 6438900"/>
              <a:gd name="connsiteX10" fmla="*/ 3099989 w 6728280"/>
              <a:gd name="connsiteY10" fmla="*/ 6278128 h 6438900"/>
              <a:gd name="connsiteX11" fmla="*/ 3103626 w 6728280"/>
              <a:gd name="connsiteY11" fmla="*/ 6280101 h 6438900"/>
              <a:gd name="connsiteX12" fmla="*/ 3268467 w 6728280"/>
              <a:gd name="connsiteY12" fmla="*/ 6313381 h 6438900"/>
              <a:gd name="connsiteX13" fmla="*/ 3271129 w 6728280"/>
              <a:gd name="connsiteY13" fmla="*/ 6313381 h 6438900"/>
              <a:gd name="connsiteX14" fmla="*/ 3287943 w 6728280"/>
              <a:gd name="connsiteY14" fmla="*/ 6315076 h 6438900"/>
              <a:gd name="connsiteX15" fmla="*/ 4946433 w 6728280"/>
              <a:gd name="connsiteY15" fmla="*/ 6315076 h 6438900"/>
              <a:gd name="connsiteX16" fmla="*/ 4919332 w 6728280"/>
              <a:gd name="connsiteY16" fmla="*/ 6346371 h 6438900"/>
              <a:gd name="connsiteX17" fmla="*/ 4679844 w 6728280"/>
              <a:gd name="connsiteY17" fmla="*/ 6438900 h 6438900"/>
              <a:gd name="connsiteX18" fmla="*/ 120122 w 6728280"/>
              <a:gd name="connsiteY18" fmla="*/ 6438900 h 6438900"/>
              <a:gd name="connsiteX19" fmla="*/ 48339 w 6728280"/>
              <a:gd name="connsiteY19" fmla="*/ 6431664 h 6438900"/>
              <a:gd name="connsiteX20" fmla="*/ 0 w 6728280"/>
              <a:gd name="connsiteY20" fmla="*/ 6416659 h 643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728280" h="6438900">
                <a:moveTo>
                  <a:pt x="0" y="0"/>
                </a:moveTo>
                <a:lnTo>
                  <a:pt x="6728280" y="0"/>
                </a:lnTo>
                <a:lnTo>
                  <a:pt x="6728280" y="966448"/>
                </a:lnTo>
                <a:cubicBezTo>
                  <a:pt x="6728280" y="1211250"/>
                  <a:pt x="6533474" y="1409700"/>
                  <a:pt x="6293167" y="1409700"/>
                </a:cubicBezTo>
                <a:lnTo>
                  <a:pt x="5032252" y="1409700"/>
                </a:lnTo>
                <a:lnTo>
                  <a:pt x="3318660" y="1409700"/>
                </a:lnTo>
                <a:lnTo>
                  <a:pt x="3287943" y="1409700"/>
                </a:lnTo>
                <a:cubicBezTo>
                  <a:pt x="3008222" y="1409700"/>
                  <a:pt x="2781463" y="1636459"/>
                  <a:pt x="2781463" y="1916180"/>
                </a:cubicBezTo>
                <a:lnTo>
                  <a:pt x="2781463" y="5808596"/>
                </a:lnTo>
                <a:cubicBezTo>
                  <a:pt x="2781463" y="6018387"/>
                  <a:pt x="2909015" y="6198387"/>
                  <a:pt x="3090798" y="6275274"/>
                </a:cubicBezTo>
                <a:lnTo>
                  <a:pt x="3099989" y="6278128"/>
                </a:lnTo>
                <a:lnTo>
                  <a:pt x="3103626" y="6280101"/>
                </a:lnTo>
                <a:cubicBezTo>
                  <a:pt x="3154292" y="6301531"/>
                  <a:pt x="3209996" y="6313381"/>
                  <a:pt x="3268467" y="6313381"/>
                </a:cubicBezTo>
                <a:lnTo>
                  <a:pt x="3271129" y="6313381"/>
                </a:lnTo>
                <a:lnTo>
                  <a:pt x="3287943" y="6315076"/>
                </a:lnTo>
                <a:lnTo>
                  <a:pt x="4946433" y="6315076"/>
                </a:lnTo>
                <a:lnTo>
                  <a:pt x="4919332" y="6346371"/>
                </a:lnTo>
                <a:cubicBezTo>
                  <a:pt x="4856079" y="6403861"/>
                  <a:pt x="4772053" y="6438900"/>
                  <a:pt x="4679844" y="6438900"/>
                </a:cubicBezTo>
                <a:lnTo>
                  <a:pt x="120122" y="6438900"/>
                </a:lnTo>
                <a:cubicBezTo>
                  <a:pt x="95533" y="6438900"/>
                  <a:pt x="71526" y="6436409"/>
                  <a:pt x="48339" y="6431664"/>
                </a:cubicBezTo>
                <a:lnTo>
                  <a:pt x="0" y="6416659"/>
                </a:lnTo>
                <a:close/>
              </a:path>
            </a:pathLst>
          </a:custGeom>
          <a:solidFill>
            <a:srgbClr val="011D8F"/>
          </a:solidFill>
          <a:ln>
            <a:noFill/>
          </a:ln>
          <a:effectLst>
            <a:innerShdw blurRad="177800" dist="50800" dir="2700000">
              <a:prstClr val="black">
                <a:alpha val="20000"/>
              </a:prstClr>
            </a:inn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Freeform: Shape 10">
            <a:extLst>
              <a:ext uri="{FF2B5EF4-FFF2-40B4-BE49-F238E27FC236}">
                <a16:creationId xmlns:a16="http://schemas.microsoft.com/office/drawing/2014/main" id="{40FAB402-F55B-8126-841A-20741C482DC7}"/>
              </a:ext>
            </a:extLst>
          </p:cNvPr>
          <p:cNvSpPr/>
          <p:nvPr/>
        </p:nvSpPr>
        <p:spPr>
          <a:xfrm>
            <a:off x="0" y="0"/>
            <a:ext cx="6618514" cy="1276350"/>
          </a:xfrm>
          <a:custGeom>
            <a:avLst/>
            <a:gdLst>
              <a:gd name="connsiteX0" fmla="*/ 0 w 6621236"/>
              <a:gd name="connsiteY0" fmla="*/ 0 h 1276350"/>
              <a:gd name="connsiteX1" fmla="*/ 315686 w 6621236"/>
              <a:gd name="connsiteY1" fmla="*/ 0 h 1276350"/>
              <a:gd name="connsiteX2" fmla="*/ 6087836 w 6621236"/>
              <a:gd name="connsiteY2" fmla="*/ 0 h 1276350"/>
              <a:gd name="connsiteX3" fmla="*/ 6621236 w 6621236"/>
              <a:gd name="connsiteY3" fmla="*/ 0 h 1276350"/>
              <a:gd name="connsiteX4" fmla="*/ 6621236 w 6621236"/>
              <a:gd name="connsiteY4" fmla="*/ 875027 h 1276350"/>
              <a:gd name="connsiteX5" fmla="*/ 6227282 w 6621236"/>
              <a:gd name="connsiteY5" fmla="*/ 1276350 h 1276350"/>
              <a:gd name="connsiteX6" fmla="*/ 5693882 w 6621236"/>
              <a:gd name="connsiteY6" fmla="*/ 1276350 h 1276350"/>
              <a:gd name="connsiteX7" fmla="*/ 3758853 w 6621236"/>
              <a:gd name="connsiteY7" fmla="*/ 1276350 h 1276350"/>
              <a:gd name="connsiteX8" fmla="*/ 3225453 w 6621236"/>
              <a:gd name="connsiteY8" fmla="*/ 1276350 h 1276350"/>
              <a:gd name="connsiteX9" fmla="*/ 315686 w 6621236"/>
              <a:gd name="connsiteY9" fmla="*/ 1276350 h 1276350"/>
              <a:gd name="connsiteX10" fmla="*/ 0 w 6621236"/>
              <a:gd name="connsiteY10" fmla="*/ 1276350 h 1276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21236" h="1276350">
                <a:moveTo>
                  <a:pt x="0" y="0"/>
                </a:moveTo>
                <a:lnTo>
                  <a:pt x="315686" y="0"/>
                </a:lnTo>
                <a:lnTo>
                  <a:pt x="6087836" y="0"/>
                </a:lnTo>
                <a:lnTo>
                  <a:pt x="6621236" y="0"/>
                </a:lnTo>
                <a:lnTo>
                  <a:pt x="6621236" y="875027"/>
                </a:lnTo>
                <a:cubicBezTo>
                  <a:pt x="6621236" y="1096672"/>
                  <a:pt x="6444857" y="1276350"/>
                  <a:pt x="6227282" y="1276350"/>
                </a:cubicBezTo>
                <a:lnTo>
                  <a:pt x="5693882" y="1276350"/>
                </a:lnTo>
                <a:lnTo>
                  <a:pt x="3758853" y="1276350"/>
                </a:lnTo>
                <a:lnTo>
                  <a:pt x="3225453" y="1276350"/>
                </a:lnTo>
                <a:lnTo>
                  <a:pt x="315686" y="1276350"/>
                </a:lnTo>
                <a:lnTo>
                  <a:pt x="0" y="1276350"/>
                </a:lnTo>
                <a:close/>
              </a:path>
            </a:pathLst>
          </a:custGeom>
          <a:solidFill>
            <a:srgbClr val="133CCF"/>
          </a:solidFill>
          <a:ln>
            <a:noFill/>
          </a:ln>
          <a:effectLst>
            <a:innerShdw blurRad="177800" dist="50800" dir="2700000">
              <a:prstClr val="black">
                <a:alpha val="20000"/>
              </a:prstClr>
            </a:inn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itle 5">
            <a:extLst>
              <a:ext uri="{FF2B5EF4-FFF2-40B4-BE49-F238E27FC236}">
                <a16:creationId xmlns:a16="http://schemas.microsoft.com/office/drawing/2014/main" id="{766813AF-3B58-3D9A-8A37-E8D2ACB3043A}"/>
              </a:ext>
            </a:extLst>
          </p:cNvPr>
          <p:cNvSpPr txBox="1">
            <a:spLocks/>
          </p:cNvSpPr>
          <p:nvPr/>
        </p:nvSpPr>
        <p:spPr>
          <a:xfrm>
            <a:off x="875892" y="298295"/>
            <a:ext cx="4343400" cy="62388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133CCF"/>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a:ln>
                  <a:noFill/>
                </a:ln>
                <a:solidFill>
                  <a:srgbClr val="FFFFFF"/>
                </a:solidFill>
                <a:effectLst/>
                <a:uLnTx/>
                <a:uFillTx/>
                <a:latin typeface="Calibri" panose="020F0502020204030204"/>
                <a:ea typeface="+mj-ea"/>
                <a:cs typeface="+mj-cs"/>
              </a:rPr>
              <a:t>HOW IT WORKS</a:t>
            </a:r>
          </a:p>
        </p:txBody>
      </p:sp>
      <p:sp>
        <p:nvSpPr>
          <p:cNvPr id="29" name="Rectangle: Rounded Corners 28">
            <a:extLst>
              <a:ext uri="{FF2B5EF4-FFF2-40B4-BE49-F238E27FC236}">
                <a16:creationId xmlns:a16="http://schemas.microsoft.com/office/drawing/2014/main" id="{87460F56-42A2-E4A0-819B-32C297A9B006}"/>
              </a:ext>
            </a:extLst>
          </p:cNvPr>
          <p:cNvSpPr/>
          <p:nvPr/>
        </p:nvSpPr>
        <p:spPr>
          <a:xfrm>
            <a:off x="3248167" y="2371892"/>
            <a:ext cx="8857400" cy="4138087"/>
          </a:xfrm>
          <a:prstGeom prst="roundRect">
            <a:avLst>
              <a:gd name="adj" fmla="val 11490"/>
            </a:avLst>
          </a:prstGeom>
          <a:solidFill>
            <a:srgbClr val="011D8F">
              <a:alpha val="46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30" name="Group 29">
            <a:extLst>
              <a:ext uri="{FF2B5EF4-FFF2-40B4-BE49-F238E27FC236}">
                <a16:creationId xmlns:a16="http://schemas.microsoft.com/office/drawing/2014/main" id="{1799EFC1-2533-653C-73C2-685477FD50B1}"/>
              </a:ext>
            </a:extLst>
          </p:cNvPr>
          <p:cNvGrpSpPr/>
          <p:nvPr/>
        </p:nvGrpSpPr>
        <p:grpSpPr>
          <a:xfrm>
            <a:off x="5831044" y="591251"/>
            <a:ext cx="714900" cy="660714"/>
            <a:chOff x="2216084" y="603068"/>
            <a:chExt cx="797626" cy="737170"/>
          </a:xfrm>
        </p:grpSpPr>
        <p:sp>
          <p:nvSpPr>
            <p:cNvPr id="31" name="object 35">
              <a:extLst>
                <a:ext uri="{FF2B5EF4-FFF2-40B4-BE49-F238E27FC236}">
                  <a16:creationId xmlns:a16="http://schemas.microsoft.com/office/drawing/2014/main" id="{1A48AA1E-8727-7F8F-DE6D-73C2F74CD19B}"/>
                </a:ext>
              </a:extLst>
            </p:cNvPr>
            <p:cNvSpPr/>
            <p:nvPr/>
          </p:nvSpPr>
          <p:spPr>
            <a:xfrm>
              <a:off x="2216084" y="1025913"/>
              <a:ext cx="314325" cy="314325"/>
            </a:xfrm>
            <a:custGeom>
              <a:avLst/>
              <a:gdLst/>
              <a:ahLst/>
              <a:cxnLst/>
              <a:rect l="l" t="t" r="r" b="b"/>
              <a:pathLst>
                <a:path w="314325" h="314325">
                  <a:moveTo>
                    <a:pt x="177491" y="0"/>
                  </a:moveTo>
                  <a:lnTo>
                    <a:pt x="136634" y="0"/>
                  </a:lnTo>
                  <a:lnTo>
                    <a:pt x="129014" y="1549"/>
                  </a:lnTo>
                  <a:lnTo>
                    <a:pt x="122775" y="5768"/>
                  </a:lnTo>
                  <a:lnTo>
                    <a:pt x="118560" y="12010"/>
                  </a:lnTo>
                  <a:lnTo>
                    <a:pt x="117012" y="19632"/>
                  </a:lnTo>
                  <a:lnTo>
                    <a:pt x="117012" y="117012"/>
                  </a:lnTo>
                  <a:lnTo>
                    <a:pt x="19622" y="117012"/>
                  </a:lnTo>
                  <a:lnTo>
                    <a:pt x="12006" y="118561"/>
                  </a:lnTo>
                  <a:lnTo>
                    <a:pt x="5766" y="122780"/>
                  </a:lnTo>
                  <a:lnTo>
                    <a:pt x="1549" y="129023"/>
                  </a:lnTo>
                  <a:lnTo>
                    <a:pt x="0" y="136645"/>
                  </a:lnTo>
                  <a:lnTo>
                    <a:pt x="0" y="177491"/>
                  </a:lnTo>
                  <a:lnTo>
                    <a:pt x="1549" y="185112"/>
                  </a:lnTo>
                  <a:lnTo>
                    <a:pt x="5766" y="191351"/>
                  </a:lnTo>
                  <a:lnTo>
                    <a:pt x="12006" y="195566"/>
                  </a:lnTo>
                  <a:lnTo>
                    <a:pt x="19622" y="197114"/>
                  </a:lnTo>
                  <a:lnTo>
                    <a:pt x="117012" y="197114"/>
                  </a:lnTo>
                  <a:lnTo>
                    <a:pt x="117012" y="294504"/>
                  </a:lnTo>
                  <a:lnTo>
                    <a:pt x="118560" y="302124"/>
                  </a:lnTo>
                  <a:lnTo>
                    <a:pt x="122775" y="308363"/>
                  </a:lnTo>
                  <a:lnTo>
                    <a:pt x="129014" y="312578"/>
                  </a:lnTo>
                  <a:lnTo>
                    <a:pt x="136634" y="314126"/>
                  </a:lnTo>
                  <a:lnTo>
                    <a:pt x="177491" y="314126"/>
                  </a:lnTo>
                  <a:lnTo>
                    <a:pt x="185112" y="312578"/>
                  </a:lnTo>
                  <a:lnTo>
                    <a:pt x="191351" y="308363"/>
                  </a:lnTo>
                  <a:lnTo>
                    <a:pt x="195566" y="302124"/>
                  </a:lnTo>
                  <a:lnTo>
                    <a:pt x="197114" y="294504"/>
                  </a:lnTo>
                  <a:lnTo>
                    <a:pt x="197114" y="197114"/>
                  </a:lnTo>
                  <a:lnTo>
                    <a:pt x="294504" y="197114"/>
                  </a:lnTo>
                  <a:lnTo>
                    <a:pt x="302120" y="195566"/>
                  </a:lnTo>
                  <a:lnTo>
                    <a:pt x="308359" y="191351"/>
                  </a:lnTo>
                  <a:lnTo>
                    <a:pt x="312577" y="185112"/>
                  </a:lnTo>
                  <a:lnTo>
                    <a:pt x="314126" y="177491"/>
                  </a:lnTo>
                  <a:lnTo>
                    <a:pt x="314126" y="136645"/>
                  </a:lnTo>
                  <a:lnTo>
                    <a:pt x="312577" y="129023"/>
                  </a:lnTo>
                  <a:lnTo>
                    <a:pt x="308359" y="122780"/>
                  </a:lnTo>
                  <a:lnTo>
                    <a:pt x="302120" y="118561"/>
                  </a:lnTo>
                  <a:lnTo>
                    <a:pt x="294504" y="117012"/>
                  </a:lnTo>
                  <a:lnTo>
                    <a:pt x="197114" y="117012"/>
                  </a:lnTo>
                  <a:lnTo>
                    <a:pt x="197114" y="19632"/>
                  </a:lnTo>
                  <a:lnTo>
                    <a:pt x="195566" y="12010"/>
                  </a:lnTo>
                  <a:lnTo>
                    <a:pt x="191351" y="5768"/>
                  </a:lnTo>
                  <a:lnTo>
                    <a:pt x="185112" y="1549"/>
                  </a:lnTo>
                  <a:lnTo>
                    <a:pt x="177491" y="0"/>
                  </a:lnTo>
                  <a:close/>
                </a:path>
              </a:pathLst>
            </a:custGeom>
            <a:solidFill>
              <a:srgbClr val="FFC62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 name="object 36">
              <a:extLst>
                <a:ext uri="{FF2B5EF4-FFF2-40B4-BE49-F238E27FC236}">
                  <a16:creationId xmlns:a16="http://schemas.microsoft.com/office/drawing/2014/main" id="{26750466-106F-61A0-0FFF-F5FE2F34806A}"/>
                </a:ext>
              </a:extLst>
            </p:cNvPr>
            <p:cNvSpPr/>
            <p:nvPr/>
          </p:nvSpPr>
          <p:spPr>
            <a:xfrm>
              <a:off x="2622550" y="718835"/>
              <a:ext cx="391160" cy="391160"/>
            </a:xfrm>
            <a:custGeom>
              <a:avLst/>
              <a:gdLst/>
              <a:ahLst/>
              <a:cxnLst/>
              <a:rect l="l" t="t" r="r" b="b"/>
              <a:pathLst>
                <a:path w="391160" h="391160">
                  <a:moveTo>
                    <a:pt x="220841" y="0"/>
                  </a:moveTo>
                  <a:lnTo>
                    <a:pt x="170005" y="0"/>
                  </a:lnTo>
                  <a:lnTo>
                    <a:pt x="160526" y="1929"/>
                  </a:lnTo>
                  <a:lnTo>
                    <a:pt x="152762" y="7180"/>
                  </a:lnTo>
                  <a:lnTo>
                    <a:pt x="147514" y="14948"/>
                  </a:lnTo>
                  <a:lnTo>
                    <a:pt x="145587" y="24428"/>
                  </a:lnTo>
                  <a:lnTo>
                    <a:pt x="145587" y="145587"/>
                  </a:lnTo>
                  <a:lnTo>
                    <a:pt x="24418" y="145587"/>
                  </a:lnTo>
                  <a:lnTo>
                    <a:pt x="14939" y="147516"/>
                  </a:lnTo>
                  <a:lnTo>
                    <a:pt x="7175" y="152767"/>
                  </a:lnTo>
                  <a:lnTo>
                    <a:pt x="1927" y="160535"/>
                  </a:lnTo>
                  <a:lnTo>
                    <a:pt x="0" y="170015"/>
                  </a:lnTo>
                  <a:lnTo>
                    <a:pt x="0" y="220841"/>
                  </a:lnTo>
                  <a:lnTo>
                    <a:pt x="1927" y="230324"/>
                  </a:lnTo>
                  <a:lnTo>
                    <a:pt x="7175" y="238088"/>
                  </a:lnTo>
                  <a:lnTo>
                    <a:pt x="14939" y="243333"/>
                  </a:lnTo>
                  <a:lnTo>
                    <a:pt x="24418" y="245259"/>
                  </a:lnTo>
                  <a:lnTo>
                    <a:pt x="145587" y="245259"/>
                  </a:lnTo>
                  <a:lnTo>
                    <a:pt x="145587" y="366428"/>
                  </a:lnTo>
                  <a:lnTo>
                    <a:pt x="147514" y="375911"/>
                  </a:lnTo>
                  <a:lnTo>
                    <a:pt x="152762" y="383675"/>
                  </a:lnTo>
                  <a:lnTo>
                    <a:pt x="160526" y="388920"/>
                  </a:lnTo>
                  <a:lnTo>
                    <a:pt x="170005" y="390846"/>
                  </a:lnTo>
                  <a:lnTo>
                    <a:pt x="220841" y="390846"/>
                  </a:lnTo>
                  <a:lnTo>
                    <a:pt x="230319" y="388920"/>
                  </a:lnTo>
                  <a:lnTo>
                    <a:pt x="238084" y="383675"/>
                  </a:lnTo>
                  <a:lnTo>
                    <a:pt x="243331" y="375911"/>
                  </a:lnTo>
                  <a:lnTo>
                    <a:pt x="245259" y="366428"/>
                  </a:lnTo>
                  <a:lnTo>
                    <a:pt x="245259" y="245259"/>
                  </a:lnTo>
                  <a:lnTo>
                    <a:pt x="366428" y="245259"/>
                  </a:lnTo>
                  <a:lnTo>
                    <a:pt x="375907" y="243333"/>
                  </a:lnTo>
                  <a:lnTo>
                    <a:pt x="383671" y="238088"/>
                  </a:lnTo>
                  <a:lnTo>
                    <a:pt x="388919" y="230324"/>
                  </a:lnTo>
                  <a:lnTo>
                    <a:pt x="390846" y="220841"/>
                  </a:lnTo>
                  <a:lnTo>
                    <a:pt x="390846" y="170015"/>
                  </a:lnTo>
                  <a:lnTo>
                    <a:pt x="388919" y="160535"/>
                  </a:lnTo>
                  <a:lnTo>
                    <a:pt x="383671" y="152767"/>
                  </a:lnTo>
                  <a:lnTo>
                    <a:pt x="375907" y="147516"/>
                  </a:lnTo>
                  <a:lnTo>
                    <a:pt x="366428" y="145587"/>
                  </a:lnTo>
                  <a:lnTo>
                    <a:pt x="245259" y="145587"/>
                  </a:lnTo>
                  <a:lnTo>
                    <a:pt x="245259" y="24428"/>
                  </a:lnTo>
                  <a:lnTo>
                    <a:pt x="243331" y="14948"/>
                  </a:lnTo>
                  <a:lnTo>
                    <a:pt x="238084" y="7180"/>
                  </a:lnTo>
                  <a:lnTo>
                    <a:pt x="230319" y="1929"/>
                  </a:lnTo>
                  <a:lnTo>
                    <a:pt x="220841" y="0"/>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34" name="object 40">
              <a:extLst>
                <a:ext uri="{FF2B5EF4-FFF2-40B4-BE49-F238E27FC236}">
                  <a16:creationId xmlns:a16="http://schemas.microsoft.com/office/drawing/2014/main" id="{47494739-7970-0A46-45AD-25CD77AF6234}"/>
                </a:ext>
              </a:extLst>
            </p:cNvPr>
            <p:cNvPicPr/>
            <p:nvPr/>
          </p:nvPicPr>
          <p:blipFill>
            <a:blip r:embed="rId6" cstate="screen">
              <a:extLst>
                <a:ext uri="{28A0092B-C50C-407E-A947-70E740481C1C}">
                  <a14:useLocalDpi xmlns:a14="http://schemas.microsoft.com/office/drawing/2010/main"/>
                </a:ext>
              </a:extLst>
            </a:blip>
            <a:stretch>
              <a:fillRect/>
            </a:stretch>
          </p:blipFill>
          <p:spPr>
            <a:xfrm>
              <a:off x="2263120" y="603068"/>
              <a:ext cx="192486" cy="192486"/>
            </a:xfrm>
            <a:prstGeom prst="rect">
              <a:avLst/>
            </a:prstGeom>
          </p:spPr>
        </p:pic>
      </p:grpSp>
      <p:sp>
        <p:nvSpPr>
          <p:cNvPr id="39" name="Freeform: Shape 38">
            <a:extLst>
              <a:ext uri="{FF2B5EF4-FFF2-40B4-BE49-F238E27FC236}">
                <a16:creationId xmlns:a16="http://schemas.microsoft.com/office/drawing/2014/main" id="{F3E01A96-E45B-4450-C6A0-E068EC6DF185}"/>
              </a:ext>
            </a:extLst>
          </p:cNvPr>
          <p:cNvSpPr/>
          <p:nvPr/>
        </p:nvSpPr>
        <p:spPr>
          <a:xfrm>
            <a:off x="3400238" y="1625767"/>
            <a:ext cx="8527907" cy="792699"/>
          </a:xfrm>
          <a:custGeom>
            <a:avLst/>
            <a:gdLst>
              <a:gd name="connsiteX0" fmla="*/ 320981 w 8677729"/>
              <a:gd name="connsiteY0" fmla="*/ 0 h 931946"/>
              <a:gd name="connsiteX1" fmla="*/ 8356748 w 8677729"/>
              <a:gd name="connsiteY1" fmla="*/ 0 h 931946"/>
              <a:gd name="connsiteX2" fmla="*/ 8677729 w 8677729"/>
              <a:gd name="connsiteY2" fmla="*/ 320981 h 931946"/>
              <a:gd name="connsiteX3" fmla="*/ 8677729 w 8677729"/>
              <a:gd name="connsiteY3" fmla="*/ 562281 h 931946"/>
              <a:gd name="connsiteX4" fmla="*/ 8677729 w 8677729"/>
              <a:gd name="connsiteY4" fmla="*/ 690646 h 931946"/>
              <a:gd name="connsiteX5" fmla="*/ 8677729 w 8677729"/>
              <a:gd name="connsiteY5" fmla="*/ 931946 h 931946"/>
              <a:gd name="connsiteX6" fmla="*/ 8665099 w 8677729"/>
              <a:gd name="connsiteY6" fmla="*/ 925091 h 931946"/>
              <a:gd name="connsiteX7" fmla="*/ 8591893 w 8677729"/>
              <a:gd name="connsiteY7" fmla="*/ 902367 h 931946"/>
              <a:gd name="connsiteX8" fmla="*/ 8579724 w 8677729"/>
              <a:gd name="connsiteY8" fmla="*/ 901140 h 931946"/>
              <a:gd name="connsiteX9" fmla="*/ 8557290 w 8677729"/>
              <a:gd name="connsiteY9" fmla="*/ 894176 h 931946"/>
              <a:gd name="connsiteX10" fmla="*/ 8469959 w 8677729"/>
              <a:gd name="connsiteY10" fmla="*/ 885372 h 931946"/>
              <a:gd name="connsiteX11" fmla="*/ 207770 w 8677729"/>
              <a:gd name="connsiteY11" fmla="*/ 885372 h 931946"/>
              <a:gd name="connsiteX12" fmla="*/ 120439 w 8677729"/>
              <a:gd name="connsiteY12" fmla="*/ 894176 h 931946"/>
              <a:gd name="connsiteX13" fmla="*/ 98005 w 8677729"/>
              <a:gd name="connsiteY13" fmla="*/ 901140 h 931946"/>
              <a:gd name="connsiteX14" fmla="*/ 85836 w 8677729"/>
              <a:gd name="connsiteY14" fmla="*/ 902367 h 931946"/>
              <a:gd name="connsiteX15" fmla="*/ 12630 w 8677729"/>
              <a:gd name="connsiteY15" fmla="*/ 925091 h 931946"/>
              <a:gd name="connsiteX16" fmla="*/ 0 w 8677729"/>
              <a:gd name="connsiteY16" fmla="*/ 931946 h 931946"/>
              <a:gd name="connsiteX17" fmla="*/ 0 w 8677729"/>
              <a:gd name="connsiteY17" fmla="*/ 690646 h 931946"/>
              <a:gd name="connsiteX18" fmla="*/ 0 w 8677729"/>
              <a:gd name="connsiteY18" fmla="*/ 562281 h 931946"/>
              <a:gd name="connsiteX19" fmla="*/ 0 w 8677729"/>
              <a:gd name="connsiteY19" fmla="*/ 320981 h 931946"/>
              <a:gd name="connsiteX20" fmla="*/ 320981 w 8677729"/>
              <a:gd name="connsiteY20" fmla="*/ 0 h 931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677729" h="931946">
                <a:moveTo>
                  <a:pt x="320981" y="0"/>
                </a:moveTo>
                <a:lnTo>
                  <a:pt x="8356748" y="0"/>
                </a:lnTo>
                <a:cubicBezTo>
                  <a:pt x="8534021" y="0"/>
                  <a:pt x="8677729" y="143708"/>
                  <a:pt x="8677729" y="320981"/>
                </a:cubicBezTo>
                <a:lnTo>
                  <a:pt x="8677729" y="562281"/>
                </a:lnTo>
                <a:lnTo>
                  <a:pt x="8677729" y="690646"/>
                </a:lnTo>
                <a:lnTo>
                  <a:pt x="8677729" y="931946"/>
                </a:lnTo>
                <a:lnTo>
                  <a:pt x="8665099" y="925091"/>
                </a:lnTo>
                <a:cubicBezTo>
                  <a:pt x="8641770" y="915224"/>
                  <a:pt x="8617281" y="907562"/>
                  <a:pt x="8591893" y="902367"/>
                </a:cubicBezTo>
                <a:lnTo>
                  <a:pt x="8579724" y="901140"/>
                </a:lnTo>
                <a:lnTo>
                  <a:pt x="8557290" y="894176"/>
                </a:lnTo>
                <a:cubicBezTo>
                  <a:pt x="8529081" y="888404"/>
                  <a:pt x="8499874" y="885372"/>
                  <a:pt x="8469959" y="885372"/>
                </a:cubicBezTo>
                <a:lnTo>
                  <a:pt x="207770" y="885372"/>
                </a:lnTo>
                <a:cubicBezTo>
                  <a:pt x="177855" y="885372"/>
                  <a:pt x="148648" y="888404"/>
                  <a:pt x="120439" y="894176"/>
                </a:cubicBezTo>
                <a:lnTo>
                  <a:pt x="98005" y="901140"/>
                </a:lnTo>
                <a:lnTo>
                  <a:pt x="85836" y="902367"/>
                </a:lnTo>
                <a:cubicBezTo>
                  <a:pt x="60449" y="907562"/>
                  <a:pt x="35960" y="915224"/>
                  <a:pt x="12630" y="925091"/>
                </a:cubicBezTo>
                <a:lnTo>
                  <a:pt x="0" y="931946"/>
                </a:lnTo>
                <a:lnTo>
                  <a:pt x="0" y="690646"/>
                </a:lnTo>
                <a:lnTo>
                  <a:pt x="0" y="562281"/>
                </a:lnTo>
                <a:lnTo>
                  <a:pt x="0" y="320981"/>
                </a:lnTo>
                <a:cubicBezTo>
                  <a:pt x="0" y="143708"/>
                  <a:pt x="143708" y="0"/>
                  <a:pt x="320981" y="0"/>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1" name="Rectangle: Rounded Corners 40">
            <a:extLst>
              <a:ext uri="{FF2B5EF4-FFF2-40B4-BE49-F238E27FC236}">
                <a16:creationId xmlns:a16="http://schemas.microsoft.com/office/drawing/2014/main" id="{B94E9F35-F9CA-71DB-9E3A-BA2EE094BC40}"/>
              </a:ext>
            </a:extLst>
          </p:cNvPr>
          <p:cNvSpPr/>
          <p:nvPr/>
        </p:nvSpPr>
        <p:spPr>
          <a:xfrm>
            <a:off x="5425478" y="3067553"/>
            <a:ext cx="45719" cy="2987345"/>
          </a:xfrm>
          <a:prstGeom prst="roundRect">
            <a:avLst>
              <a:gd name="adj" fmla="val 50000"/>
            </a:avLst>
          </a:prstGeom>
          <a:solidFill>
            <a:srgbClr val="133CC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2" name="Rectangle: Rounded Corners 41">
            <a:extLst>
              <a:ext uri="{FF2B5EF4-FFF2-40B4-BE49-F238E27FC236}">
                <a16:creationId xmlns:a16="http://schemas.microsoft.com/office/drawing/2014/main" id="{4E8349AE-A9DF-CE09-146F-406716ECD6C1}"/>
              </a:ext>
            </a:extLst>
          </p:cNvPr>
          <p:cNvSpPr/>
          <p:nvPr/>
        </p:nvSpPr>
        <p:spPr>
          <a:xfrm>
            <a:off x="7664299" y="3067553"/>
            <a:ext cx="45719" cy="2987345"/>
          </a:xfrm>
          <a:prstGeom prst="roundRect">
            <a:avLst>
              <a:gd name="adj" fmla="val 50000"/>
            </a:avLst>
          </a:prstGeom>
          <a:solidFill>
            <a:srgbClr val="133CC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 name="Rectangle: Rounded Corners 43">
            <a:extLst>
              <a:ext uri="{FF2B5EF4-FFF2-40B4-BE49-F238E27FC236}">
                <a16:creationId xmlns:a16="http://schemas.microsoft.com/office/drawing/2014/main" id="{C83C1FBC-E713-5B8D-4AB4-69004BF5FA9A}"/>
              </a:ext>
            </a:extLst>
          </p:cNvPr>
          <p:cNvSpPr/>
          <p:nvPr/>
        </p:nvSpPr>
        <p:spPr>
          <a:xfrm>
            <a:off x="9889472" y="3067553"/>
            <a:ext cx="45719" cy="2987345"/>
          </a:xfrm>
          <a:prstGeom prst="roundRect">
            <a:avLst>
              <a:gd name="adj" fmla="val 50000"/>
            </a:avLst>
          </a:prstGeom>
          <a:solidFill>
            <a:srgbClr val="133CC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62" name="Group 6">
            <a:extLst>
              <a:ext uri="{FF2B5EF4-FFF2-40B4-BE49-F238E27FC236}">
                <a16:creationId xmlns:a16="http://schemas.microsoft.com/office/drawing/2014/main" id="{E81830F1-F2D3-8892-EB30-78BEA161411A}"/>
              </a:ext>
            </a:extLst>
          </p:cNvPr>
          <p:cNvGrpSpPr>
            <a:grpSpLocks/>
          </p:cNvGrpSpPr>
          <p:nvPr/>
        </p:nvGrpSpPr>
        <p:grpSpPr>
          <a:xfrm>
            <a:off x="3601658" y="2703633"/>
            <a:ext cx="1454924" cy="1436541"/>
            <a:chOff x="0" y="0"/>
            <a:chExt cx="6350000" cy="6349974"/>
          </a:xfrm>
        </p:grpSpPr>
        <p:sp>
          <p:nvSpPr>
            <p:cNvPr id="63" name="Freeform 7">
              <a:extLst>
                <a:ext uri="{FF2B5EF4-FFF2-40B4-BE49-F238E27FC236}">
                  <a16:creationId xmlns:a16="http://schemas.microsoft.com/office/drawing/2014/main" id="{A8777E28-485E-56E0-64E6-51EB61C9DE5E}"/>
                </a:ext>
              </a:extLst>
            </p:cNvPr>
            <p:cNvSpPr/>
            <p:nvPr/>
          </p:nvSpPr>
          <p:spPr>
            <a:xfrm>
              <a:off x="0" y="0"/>
              <a:ext cx="6350000" cy="6349974"/>
            </a:xfrm>
            <a:custGeom>
              <a:avLst/>
              <a:gdLst/>
              <a:ahLst/>
              <a:cxnLst/>
              <a:rect l="l" t="t" r="r" b="b"/>
              <a:pathLst>
                <a:path w="6350000" h="6349974">
                  <a:moveTo>
                    <a:pt x="6350000" y="3175025"/>
                  </a:moveTo>
                  <a:cubicBezTo>
                    <a:pt x="6350000" y="4928451"/>
                    <a:pt x="4928476" y="6349974"/>
                    <a:pt x="3175000" y="6349974"/>
                  </a:cubicBezTo>
                  <a:cubicBezTo>
                    <a:pt x="1421498" y="6349974"/>
                    <a:pt x="0" y="4928451"/>
                    <a:pt x="0" y="3175025"/>
                  </a:cubicBezTo>
                  <a:cubicBezTo>
                    <a:pt x="0" y="1421511"/>
                    <a:pt x="1421498" y="0"/>
                    <a:pt x="3175000" y="0"/>
                  </a:cubicBezTo>
                  <a:cubicBezTo>
                    <a:pt x="4928501" y="0"/>
                    <a:pt x="6350000" y="1421511"/>
                    <a:pt x="6350000" y="3175025"/>
                  </a:cubicBezTo>
                  <a:close/>
                </a:path>
              </a:pathLst>
            </a:custGeom>
            <a:blipFill>
              <a:blip r:embed="rId7" cstate="screen">
                <a:extLst>
                  <a:ext uri="{28A0092B-C50C-407E-A947-70E740481C1C}">
                    <a14:useLocalDpi xmlns:a14="http://schemas.microsoft.com/office/drawing/2010/main"/>
                  </a:ext>
                </a:extLst>
              </a:blip>
              <a:stretch>
                <a:fillRect l="-38640" r="-38640"/>
              </a:stretch>
            </a:blipFill>
            <a:ln w="50800">
              <a:solidFill>
                <a:schemeClr val="bg1">
                  <a:alpha val="46000"/>
                </a:schemeClr>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5120" name="Group 8">
            <a:extLst>
              <a:ext uri="{FF2B5EF4-FFF2-40B4-BE49-F238E27FC236}">
                <a16:creationId xmlns:a16="http://schemas.microsoft.com/office/drawing/2014/main" id="{785B0EF8-DF6B-E7E8-337A-924F769BED01}"/>
              </a:ext>
            </a:extLst>
          </p:cNvPr>
          <p:cNvGrpSpPr>
            <a:grpSpLocks noChangeAspect="1"/>
          </p:cNvGrpSpPr>
          <p:nvPr/>
        </p:nvGrpSpPr>
        <p:grpSpPr>
          <a:xfrm>
            <a:off x="5804843" y="2754520"/>
            <a:ext cx="1411490" cy="1411483"/>
            <a:chOff x="0" y="0"/>
            <a:chExt cx="6350000" cy="6349974"/>
          </a:xfrm>
        </p:grpSpPr>
        <p:sp>
          <p:nvSpPr>
            <p:cNvPr id="5121" name="Freeform 9">
              <a:extLst>
                <a:ext uri="{FF2B5EF4-FFF2-40B4-BE49-F238E27FC236}">
                  <a16:creationId xmlns:a16="http://schemas.microsoft.com/office/drawing/2014/main" id="{6165959A-E663-BC1F-E0C9-4EF994187C8D}"/>
                </a:ext>
              </a:extLst>
            </p:cNvPr>
            <p:cNvSpPr/>
            <p:nvPr/>
          </p:nvSpPr>
          <p:spPr>
            <a:xfrm>
              <a:off x="0" y="0"/>
              <a:ext cx="6350000" cy="6349974"/>
            </a:xfrm>
            <a:custGeom>
              <a:avLst/>
              <a:gdLst/>
              <a:ahLst/>
              <a:cxnLst/>
              <a:rect l="l" t="t" r="r" b="b"/>
              <a:pathLst>
                <a:path w="6350000" h="6349974">
                  <a:moveTo>
                    <a:pt x="6350000" y="3175025"/>
                  </a:moveTo>
                  <a:cubicBezTo>
                    <a:pt x="6350000" y="4928451"/>
                    <a:pt x="4928476" y="6349974"/>
                    <a:pt x="3175000" y="6349974"/>
                  </a:cubicBezTo>
                  <a:cubicBezTo>
                    <a:pt x="1421498" y="6349974"/>
                    <a:pt x="0" y="4928451"/>
                    <a:pt x="0" y="3175025"/>
                  </a:cubicBezTo>
                  <a:cubicBezTo>
                    <a:pt x="0" y="1421511"/>
                    <a:pt x="1421498" y="0"/>
                    <a:pt x="3175000" y="0"/>
                  </a:cubicBezTo>
                  <a:cubicBezTo>
                    <a:pt x="4928501" y="0"/>
                    <a:pt x="6350000" y="1421511"/>
                    <a:pt x="6350000" y="3175025"/>
                  </a:cubicBezTo>
                  <a:close/>
                </a:path>
              </a:pathLst>
            </a:custGeom>
            <a:blipFill>
              <a:blip r:embed="rId8" cstate="screen">
                <a:extLst>
                  <a:ext uri="{28A0092B-C50C-407E-A947-70E740481C1C}">
                    <a14:useLocalDpi xmlns:a14="http://schemas.microsoft.com/office/drawing/2010/main"/>
                  </a:ext>
                </a:extLst>
              </a:blip>
              <a:stretch>
                <a:fillRect l="-30488" t="-13909" r="-20880"/>
              </a:stretch>
            </a:blipFill>
            <a:ln w="50800">
              <a:solidFill>
                <a:schemeClr val="bg1">
                  <a:alpha val="46000"/>
                </a:schemeClr>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5122" name="Group 10">
            <a:extLst>
              <a:ext uri="{FF2B5EF4-FFF2-40B4-BE49-F238E27FC236}">
                <a16:creationId xmlns:a16="http://schemas.microsoft.com/office/drawing/2014/main" id="{975DB0A5-BE05-7668-DD5D-74A7F2C01F95}"/>
              </a:ext>
            </a:extLst>
          </p:cNvPr>
          <p:cNvGrpSpPr>
            <a:grpSpLocks noChangeAspect="1"/>
          </p:cNvGrpSpPr>
          <p:nvPr/>
        </p:nvGrpSpPr>
        <p:grpSpPr>
          <a:xfrm>
            <a:off x="8043661" y="2690718"/>
            <a:ext cx="1475294" cy="1475287"/>
            <a:chOff x="0" y="0"/>
            <a:chExt cx="6350000" cy="6349974"/>
          </a:xfrm>
        </p:grpSpPr>
        <p:sp>
          <p:nvSpPr>
            <p:cNvPr id="5123" name="Freeform 11">
              <a:extLst>
                <a:ext uri="{FF2B5EF4-FFF2-40B4-BE49-F238E27FC236}">
                  <a16:creationId xmlns:a16="http://schemas.microsoft.com/office/drawing/2014/main" id="{7296DF47-111B-B089-6AAB-582CB84DFF03}"/>
                </a:ext>
              </a:extLst>
            </p:cNvPr>
            <p:cNvSpPr/>
            <p:nvPr/>
          </p:nvSpPr>
          <p:spPr>
            <a:xfrm>
              <a:off x="0" y="0"/>
              <a:ext cx="6350000" cy="6349974"/>
            </a:xfrm>
            <a:custGeom>
              <a:avLst/>
              <a:gdLst/>
              <a:ahLst/>
              <a:cxnLst/>
              <a:rect l="l" t="t" r="r" b="b"/>
              <a:pathLst>
                <a:path w="6350000" h="6349974">
                  <a:moveTo>
                    <a:pt x="6350000" y="3175025"/>
                  </a:moveTo>
                  <a:cubicBezTo>
                    <a:pt x="6350000" y="4928451"/>
                    <a:pt x="4928476" y="6349974"/>
                    <a:pt x="3175000" y="6349974"/>
                  </a:cubicBezTo>
                  <a:cubicBezTo>
                    <a:pt x="1421498" y="6349974"/>
                    <a:pt x="0" y="4928451"/>
                    <a:pt x="0" y="3175025"/>
                  </a:cubicBezTo>
                  <a:cubicBezTo>
                    <a:pt x="0" y="1421511"/>
                    <a:pt x="1421498" y="0"/>
                    <a:pt x="3175000" y="0"/>
                  </a:cubicBezTo>
                  <a:cubicBezTo>
                    <a:pt x="4928501" y="0"/>
                    <a:pt x="6350000" y="1421511"/>
                    <a:pt x="6350000" y="3175025"/>
                  </a:cubicBezTo>
                  <a:close/>
                </a:path>
              </a:pathLst>
            </a:custGeom>
            <a:blipFill>
              <a:blip r:embed="rId9" cstate="screen">
                <a:extLst>
                  <a:ext uri="{28A0092B-C50C-407E-A947-70E740481C1C}">
                    <a14:useLocalDpi xmlns:a14="http://schemas.microsoft.com/office/drawing/2010/main"/>
                  </a:ext>
                </a:extLst>
              </a:blip>
              <a:stretch>
                <a:fillRect l="-76002" r="-877"/>
              </a:stretch>
            </a:blipFill>
            <a:ln w="50800">
              <a:solidFill>
                <a:schemeClr val="bg1">
                  <a:alpha val="46000"/>
                </a:schemeClr>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5124" name="Group 5123">
            <a:extLst>
              <a:ext uri="{FF2B5EF4-FFF2-40B4-BE49-F238E27FC236}">
                <a16:creationId xmlns:a16="http://schemas.microsoft.com/office/drawing/2014/main" id="{237414A2-F71E-F324-6BF8-D95280E30BC8}"/>
              </a:ext>
            </a:extLst>
          </p:cNvPr>
          <p:cNvGrpSpPr/>
          <p:nvPr/>
        </p:nvGrpSpPr>
        <p:grpSpPr>
          <a:xfrm>
            <a:off x="10327148" y="2724657"/>
            <a:ext cx="1439295" cy="1434705"/>
            <a:chOff x="10268831" y="2438187"/>
            <a:chExt cx="1583225" cy="1735992"/>
          </a:xfrm>
        </p:grpSpPr>
        <p:sp>
          <p:nvSpPr>
            <p:cNvPr id="5125" name="Freeform 4">
              <a:extLst>
                <a:ext uri="{FF2B5EF4-FFF2-40B4-BE49-F238E27FC236}">
                  <a16:creationId xmlns:a16="http://schemas.microsoft.com/office/drawing/2014/main" id="{D19DFDE8-681D-12D7-BE66-46830EF5FC50}"/>
                </a:ext>
              </a:extLst>
            </p:cNvPr>
            <p:cNvSpPr/>
            <p:nvPr/>
          </p:nvSpPr>
          <p:spPr>
            <a:xfrm>
              <a:off x="10268831" y="2438187"/>
              <a:ext cx="1583225" cy="1735992"/>
            </a:xfrm>
            <a:custGeom>
              <a:avLst/>
              <a:gdLst/>
              <a:ahLst/>
              <a:cxnLst/>
              <a:rect l="l" t="t" r="r" b="b"/>
              <a:pathLst>
                <a:path w="3451737" h="3905785">
                  <a:moveTo>
                    <a:pt x="0" y="0"/>
                  </a:moveTo>
                  <a:lnTo>
                    <a:pt x="3451737" y="0"/>
                  </a:lnTo>
                  <a:lnTo>
                    <a:pt x="3451737" y="3905785"/>
                  </a:lnTo>
                  <a:lnTo>
                    <a:pt x="0" y="3905785"/>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5126" name="Picture 2">
              <a:extLst>
                <a:ext uri="{FF2B5EF4-FFF2-40B4-BE49-F238E27FC236}">
                  <a16:creationId xmlns:a16="http://schemas.microsoft.com/office/drawing/2014/main" id="{F7C8CAF8-EA47-D67C-8E7B-E2D38B9AD0FB}"/>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0536473" y="2951446"/>
              <a:ext cx="1020645" cy="1020645"/>
            </a:xfrm>
            <a:prstGeom prst="rect">
              <a:avLst/>
            </a:prstGeom>
            <a:noFill/>
            <a:extLst>
              <a:ext uri="{909E8E84-426E-40DD-AFC4-6F175D3DCCD1}">
                <a14:hiddenFill xmlns:a14="http://schemas.microsoft.com/office/drawing/2010/main">
                  <a:solidFill>
                    <a:srgbClr val="FFFFFF"/>
                  </a:solidFill>
                </a14:hiddenFill>
              </a:ext>
            </a:extLst>
          </p:spPr>
        </p:pic>
      </p:grpSp>
      <p:sp>
        <p:nvSpPr>
          <p:cNvPr id="5131" name="Text Placeholder 1">
            <a:extLst>
              <a:ext uri="{FF2B5EF4-FFF2-40B4-BE49-F238E27FC236}">
                <a16:creationId xmlns:a16="http://schemas.microsoft.com/office/drawing/2014/main" id="{5D55AE76-476D-5164-2775-12B94FB7B38E}"/>
              </a:ext>
            </a:extLst>
          </p:cNvPr>
          <p:cNvSpPr txBox="1">
            <a:spLocks/>
          </p:cNvSpPr>
          <p:nvPr/>
        </p:nvSpPr>
        <p:spPr>
          <a:xfrm>
            <a:off x="3295740" y="1643179"/>
            <a:ext cx="1813222" cy="727086"/>
          </a:xfrm>
          <a:prstGeom prst="rect">
            <a:avLst/>
          </a:prstGeom>
        </p:spPr>
        <p:txBody>
          <a:bodyPr anchor="ctr"/>
          <a:lstStyle>
            <a:lvl1pPr marL="171450" indent="-171450" algn="l" defTabSz="914400" rtl="0" eaLnBrk="1" latinLnBrk="0" hangingPunct="1">
              <a:lnSpc>
                <a:spcPct val="90000"/>
              </a:lnSpc>
              <a:spcBef>
                <a:spcPts val="1000"/>
              </a:spcBef>
              <a:buFont typeface="Arial" panose="020B0604020202020204" pitchFamily="34" charset="0"/>
              <a:buChar char="•"/>
              <a:tabLst/>
              <a:defRPr sz="2800" kern="1200">
                <a:solidFill>
                  <a:srgbClr val="133CCF"/>
                </a:solidFill>
                <a:latin typeface="+mn-lt"/>
                <a:ea typeface="+mn-ea"/>
                <a:cs typeface="+mn-cs"/>
              </a:defRPr>
            </a:lvl1pPr>
            <a:lvl2pPr marL="344488" indent="-173038" algn="l" defTabSz="914400" rtl="0" eaLnBrk="1" latinLnBrk="0" hangingPunct="1">
              <a:lnSpc>
                <a:spcPct val="90000"/>
              </a:lnSpc>
              <a:spcBef>
                <a:spcPts val="500"/>
              </a:spcBef>
              <a:buSzPct val="70000"/>
              <a:buFont typeface="Courier New" panose="02070309020205020404" pitchFamily="49" charset="0"/>
              <a:buChar char="o"/>
              <a:tabLst/>
              <a:defRPr sz="1800" kern="1200">
                <a:solidFill>
                  <a:srgbClr val="133CCF"/>
                </a:solidFill>
                <a:latin typeface="+mn-lt"/>
                <a:ea typeface="+mn-ea"/>
                <a:cs typeface="+mn-cs"/>
              </a:defRPr>
            </a:lvl2pPr>
            <a:lvl3pPr marL="517525" indent="-173038" algn="l" defTabSz="914400" rtl="0" eaLnBrk="1" latinLnBrk="0" hangingPunct="1">
              <a:lnSpc>
                <a:spcPct val="90000"/>
              </a:lnSpc>
              <a:spcBef>
                <a:spcPts val="500"/>
              </a:spcBef>
              <a:buFont typeface="Wingdings" pitchFamily="2" charset="2"/>
              <a:buChar char="§"/>
              <a:tabLst/>
              <a:defRPr sz="1800" kern="1200">
                <a:solidFill>
                  <a:srgbClr val="133CCF"/>
                </a:solidFill>
                <a:latin typeface="+mn-lt"/>
                <a:ea typeface="+mn-ea"/>
                <a:cs typeface="+mn-cs"/>
              </a:defRPr>
            </a:lvl3pPr>
            <a:lvl4pPr marL="690563" indent="-173038" algn="l" defTabSz="914400" rtl="0" eaLnBrk="1" latinLnBrk="0" hangingPunct="1">
              <a:lnSpc>
                <a:spcPct val="90000"/>
              </a:lnSpc>
              <a:spcBef>
                <a:spcPts val="500"/>
              </a:spcBef>
              <a:buSzPct val="70000"/>
              <a:buFont typeface="Wingdings" pitchFamily="2" charset="2"/>
              <a:buChar char="q"/>
              <a:tabLst/>
              <a:defRPr sz="1800" kern="1200">
                <a:solidFill>
                  <a:srgbClr val="133CCF"/>
                </a:solidFill>
                <a:latin typeface="+mn-lt"/>
                <a:ea typeface="+mn-ea"/>
                <a:cs typeface="+mn-cs"/>
              </a:defRPr>
            </a:lvl4pPr>
            <a:lvl5pPr marL="863600" indent="-173038" algn="l" defTabSz="914400" rtl="0" eaLnBrk="1" latinLnBrk="0" hangingPunct="1">
              <a:lnSpc>
                <a:spcPct val="90000"/>
              </a:lnSpc>
              <a:spcBef>
                <a:spcPts val="500"/>
              </a:spcBef>
              <a:buSzPct val="80000"/>
              <a:buFont typeface="Wingdings" pitchFamily="2" charset="2"/>
              <a:buChar char="v"/>
              <a:tabLst/>
              <a:defRPr sz="1800" kern="1200">
                <a:solidFill>
                  <a:srgbClr val="133CC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FFFFFF"/>
                </a:solidFill>
                <a:effectLst/>
                <a:uLnTx/>
                <a:uFillTx/>
                <a:latin typeface="Calibri" panose="020F0502020204030204"/>
                <a:ea typeface="+mn-ea"/>
                <a:cs typeface="+mn-cs"/>
              </a:rPr>
              <a:t>Collect</a:t>
            </a:r>
            <a:br>
              <a:rPr kumimoji="0" lang="en-US" sz="2000" b="1" i="0" u="none" strike="noStrike" kern="1200" cap="none" spc="0" normalizeH="0" baseline="0" noProof="0">
                <a:ln>
                  <a:noFill/>
                </a:ln>
                <a:solidFill>
                  <a:srgbClr val="FFFFFF"/>
                </a:solidFill>
                <a:effectLst/>
                <a:uLnTx/>
                <a:uFillTx/>
                <a:latin typeface="Calibri" panose="020F0502020204030204"/>
                <a:ea typeface="+mn-ea"/>
                <a:cs typeface="+mn-cs"/>
              </a:rPr>
            </a:br>
            <a:r>
              <a:rPr kumimoji="0" lang="en-US" sz="2000" b="1" i="0" u="none" strike="noStrike" kern="1200" cap="none" spc="0" normalizeH="0" baseline="0" noProof="0">
                <a:ln>
                  <a:noFill/>
                </a:ln>
                <a:solidFill>
                  <a:srgbClr val="FFFFFF"/>
                </a:solidFill>
                <a:effectLst/>
                <a:uLnTx/>
                <a:uFillTx/>
                <a:latin typeface="Calibri" panose="020F0502020204030204"/>
                <a:ea typeface="+mn-ea"/>
                <a:cs typeface="+mn-cs"/>
              </a:rPr>
              <a:t>Material</a:t>
            </a:r>
          </a:p>
        </p:txBody>
      </p:sp>
      <p:sp>
        <p:nvSpPr>
          <p:cNvPr id="5132" name="Text Placeholder 2">
            <a:extLst>
              <a:ext uri="{FF2B5EF4-FFF2-40B4-BE49-F238E27FC236}">
                <a16:creationId xmlns:a16="http://schemas.microsoft.com/office/drawing/2014/main" id="{C948BF29-52B4-109C-D10C-A23AB23BC5AD}"/>
              </a:ext>
            </a:extLst>
          </p:cNvPr>
          <p:cNvSpPr txBox="1">
            <a:spLocks/>
          </p:cNvSpPr>
          <p:nvPr/>
        </p:nvSpPr>
        <p:spPr>
          <a:xfrm>
            <a:off x="5518829" y="1643179"/>
            <a:ext cx="1910842" cy="727086"/>
          </a:xfrm>
          <a:prstGeom prst="rect">
            <a:avLst/>
          </a:prstGeom>
        </p:spPr>
        <p:txBody>
          <a:bodyPr anchor="ctr"/>
          <a:lstStyle>
            <a:lvl1pPr marL="171450" indent="-171450" algn="l" defTabSz="914400" rtl="0" eaLnBrk="1" latinLnBrk="0" hangingPunct="1">
              <a:lnSpc>
                <a:spcPct val="90000"/>
              </a:lnSpc>
              <a:spcBef>
                <a:spcPts val="1000"/>
              </a:spcBef>
              <a:buFont typeface="Arial" panose="020B0604020202020204" pitchFamily="34" charset="0"/>
              <a:buChar char="•"/>
              <a:tabLst/>
              <a:defRPr sz="2800" kern="1200">
                <a:solidFill>
                  <a:srgbClr val="133CCF"/>
                </a:solidFill>
                <a:latin typeface="+mn-lt"/>
                <a:ea typeface="+mn-ea"/>
                <a:cs typeface="+mn-cs"/>
              </a:defRPr>
            </a:lvl1pPr>
            <a:lvl2pPr marL="344488" indent="-173038" algn="l" defTabSz="914400" rtl="0" eaLnBrk="1" latinLnBrk="0" hangingPunct="1">
              <a:lnSpc>
                <a:spcPct val="90000"/>
              </a:lnSpc>
              <a:spcBef>
                <a:spcPts val="500"/>
              </a:spcBef>
              <a:buSzPct val="70000"/>
              <a:buFont typeface="Courier New" panose="02070309020205020404" pitchFamily="49" charset="0"/>
              <a:buChar char="o"/>
              <a:tabLst/>
              <a:defRPr sz="1800" kern="1200">
                <a:solidFill>
                  <a:srgbClr val="133CCF"/>
                </a:solidFill>
                <a:latin typeface="+mn-lt"/>
                <a:ea typeface="+mn-ea"/>
                <a:cs typeface="+mn-cs"/>
              </a:defRPr>
            </a:lvl2pPr>
            <a:lvl3pPr marL="517525" indent="-173038" algn="l" defTabSz="914400" rtl="0" eaLnBrk="1" latinLnBrk="0" hangingPunct="1">
              <a:lnSpc>
                <a:spcPct val="90000"/>
              </a:lnSpc>
              <a:spcBef>
                <a:spcPts val="500"/>
              </a:spcBef>
              <a:buFont typeface="Wingdings" pitchFamily="2" charset="2"/>
              <a:buChar char="§"/>
              <a:tabLst/>
              <a:defRPr sz="1800" kern="1200">
                <a:solidFill>
                  <a:srgbClr val="133CCF"/>
                </a:solidFill>
                <a:latin typeface="+mn-lt"/>
                <a:ea typeface="+mn-ea"/>
                <a:cs typeface="+mn-cs"/>
              </a:defRPr>
            </a:lvl3pPr>
            <a:lvl4pPr marL="690563" indent="-173038" algn="l" defTabSz="914400" rtl="0" eaLnBrk="1" latinLnBrk="0" hangingPunct="1">
              <a:lnSpc>
                <a:spcPct val="90000"/>
              </a:lnSpc>
              <a:spcBef>
                <a:spcPts val="500"/>
              </a:spcBef>
              <a:buSzPct val="70000"/>
              <a:buFont typeface="Wingdings" pitchFamily="2" charset="2"/>
              <a:buChar char="q"/>
              <a:tabLst/>
              <a:defRPr sz="1800" kern="1200">
                <a:solidFill>
                  <a:srgbClr val="133CCF"/>
                </a:solidFill>
                <a:latin typeface="+mn-lt"/>
                <a:ea typeface="+mn-ea"/>
                <a:cs typeface="+mn-cs"/>
              </a:defRPr>
            </a:lvl4pPr>
            <a:lvl5pPr marL="863600" indent="-173038" algn="l" defTabSz="914400" rtl="0" eaLnBrk="1" latinLnBrk="0" hangingPunct="1">
              <a:lnSpc>
                <a:spcPct val="90000"/>
              </a:lnSpc>
              <a:spcBef>
                <a:spcPts val="500"/>
              </a:spcBef>
              <a:buSzPct val="80000"/>
              <a:buFont typeface="Wingdings" pitchFamily="2" charset="2"/>
              <a:buChar char="v"/>
              <a:tabLst/>
              <a:defRPr sz="1800" kern="1200">
                <a:solidFill>
                  <a:srgbClr val="133CC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FFFFFF"/>
                </a:solidFill>
                <a:effectLst/>
                <a:uLnTx/>
                <a:uFillTx/>
                <a:latin typeface="Calibri" panose="020F0502020204030204"/>
                <a:ea typeface="+mn-ea"/>
                <a:cs typeface="+mn-cs"/>
              </a:rPr>
              <a:t>Sort</a:t>
            </a:r>
            <a:br>
              <a:rPr kumimoji="0" lang="en-US" sz="2000" b="1" i="0" u="none" strike="noStrike" kern="1200" cap="none" spc="0" normalizeH="0" baseline="0" noProof="0">
                <a:ln>
                  <a:noFill/>
                </a:ln>
                <a:solidFill>
                  <a:srgbClr val="FFFFFF"/>
                </a:solidFill>
                <a:effectLst/>
                <a:uLnTx/>
                <a:uFillTx/>
                <a:latin typeface="Calibri" panose="020F0502020204030204"/>
                <a:ea typeface="+mn-ea"/>
                <a:cs typeface="+mn-cs"/>
              </a:rPr>
            </a:br>
            <a:r>
              <a:rPr kumimoji="0" lang="en-US" sz="2000" b="1" i="0" u="none" strike="noStrike" kern="1200" cap="none" spc="0" normalizeH="0" baseline="0" noProof="0">
                <a:ln>
                  <a:noFill/>
                </a:ln>
                <a:solidFill>
                  <a:srgbClr val="FFFFFF"/>
                </a:solidFill>
                <a:effectLst/>
                <a:uLnTx/>
                <a:uFillTx/>
                <a:latin typeface="Calibri" panose="020F0502020204030204"/>
                <a:ea typeface="+mn-ea"/>
                <a:cs typeface="+mn-cs"/>
              </a:rPr>
              <a:t>&amp; Store</a:t>
            </a:r>
          </a:p>
        </p:txBody>
      </p:sp>
      <p:sp>
        <p:nvSpPr>
          <p:cNvPr id="5133" name="Text Placeholder 3">
            <a:extLst>
              <a:ext uri="{FF2B5EF4-FFF2-40B4-BE49-F238E27FC236}">
                <a16:creationId xmlns:a16="http://schemas.microsoft.com/office/drawing/2014/main" id="{5124B54A-8319-3BD3-92EC-8EEF4A11F23B}"/>
              </a:ext>
            </a:extLst>
          </p:cNvPr>
          <p:cNvSpPr txBox="1">
            <a:spLocks/>
          </p:cNvSpPr>
          <p:nvPr/>
        </p:nvSpPr>
        <p:spPr>
          <a:xfrm>
            <a:off x="7839538" y="1643179"/>
            <a:ext cx="1910842" cy="727086"/>
          </a:xfrm>
          <a:prstGeom prst="rect">
            <a:avLst/>
          </a:prstGeom>
        </p:spPr>
        <p:txBody>
          <a:bodyPr anchor="ctr"/>
          <a:lstStyle>
            <a:lvl1pPr marL="171450" indent="-171450" algn="l" defTabSz="914400" rtl="0" eaLnBrk="1" latinLnBrk="0" hangingPunct="1">
              <a:lnSpc>
                <a:spcPct val="90000"/>
              </a:lnSpc>
              <a:spcBef>
                <a:spcPts val="1000"/>
              </a:spcBef>
              <a:buFont typeface="Arial" panose="020B0604020202020204" pitchFamily="34" charset="0"/>
              <a:buChar char="•"/>
              <a:tabLst/>
              <a:defRPr sz="2800" kern="1200">
                <a:solidFill>
                  <a:srgbClr val="133CCF"/>
                </a:solidFill>
                <a:latin typeface="+mn-lt"/>
                <a:ea typeface="+mn-ea"/>
                <a:cs typeface="+mn-cs"/>
              </a:defRPr>
            </a:lvl1pPr>
            <a:lvl2pPr marL="344488" indent="-173038" algn="l" defTabSz="914400" rtl="0" eaLnBrk="1" latinLnBrk="0" hangingPunct="1">
              <a:lnSpc>
                <a:spcPct val="90000"/>
              </a:lnSpc>
              <a:spcBef>
                <a:spcPts val="500"/>
              </a:spcBef>
              <a:buSzPct val="70000"/>
              <a:buFont typeface="Courier New" panose="02070309020205020404" pitchFamily="49" charset="0"/>
              <a:buChar char="o"/>
              <a:tabLst/>
              <a:defRPr sz="1800" kern="1200">
                <a:solidFill>
                  <a:srgbClr val="133CCF"/>
                </a:solidFill>
                <a:latin typeface="+mn-lt"/>
                <a:ea typeface="+mn-ea"/>
                <a:cs typeface="+mn-cs"/>
              </a:defRPr>
            </a:lvl2pPr>
            <a:lvl3pPr marL="517525" indent="-173038" algn="l" defTabSz="914400" rtl="0" eaLnBrk="1" latinLnBrk="0" hangingPunct="1">
              <a:lnSpc>
                <a:spcPct val="90000"/>
              </a:lnSpc>
              <a:spcBef>
                <a:spcPts val="500"/>
              </a:spcBef>
              <a:buFont typeface="Wingdings" pitchFamily="2" charset="2"/>
              <a:buChar char="§"/>
              <a:tabLst/>
              <a:defRPr sz="1800" kern="1200">
                <a:solidFill>
                  <a:srgbClr val="133CCF"/>
                </a:solidFill>
                <a:latin typeface="+mn-lt"/>
                <a:ea typeface="+mn-ea"/>
                <a:cs typeface="+mn-cs"/>
              </a:defRPr>
            </a:lvl3pPr>
            <a:lvl4pPr marL="690563" indent="-173038" algn="l" defTabSz="914400" rtl="0" eaLnBrk="1" latinLnBrk="0" hangingPunct="1">
              <a:lnSpc>
                <a:spcPct val="90000"/>
              </a:lnSpc>
              <a:spcBef>
                <a:spcPts val="500"/>
              </a:spcBef>
              <a:buSzPct val="70000"/>
              <a:buFont typeface="Wingdings" pitchFamily="2" charset="2"/>
              <a:buChar char="q"/>
              <a:tabLst/>
              <a:defRPr sz="1800" kern="1200">
                <a:solidFill>
                  <a:srgbClr val="133CCF"/>
                </a:solidFill>
                <a:latin typeface="+mn-lt"/>
                <a:ea typeface="+mn-ea"/>
                <a:cs typeface="+mn-cs"/>
              </a:defRPr>
            </a:lvl4pPr>
            <a:lvl5pPr marL="863600" indent="-173038" algn="l" defTabSz="914400" rtl="0" eaLnBrk="1" latinLnBrk="0" hangingPunct="1">
              <a:lnSpc>
                <a:spcPct val="90000"/>
              </a:lnSpc>
              <a:spcBef>
                <a:spcPts val="500"/>
              </a:spcBef>
              <a:buSzPct val="80000"/>
              <a:buFont typeface="Wingdings" pitchFamily="2" charset="2"/>
              <a:buChar char="v"/>
              <a:tabLst/>
              <a:defRPr sz="1800" kern="1200">
                <a:solidFill>
                  <a:srgbClr val="133CC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FFFFFF"/>
                </a:solidFill>
                <a:effectLst/>
                <a:uLnTx/>
                <a:uFillTx/>
                <a:latin typeface="Calibri" panose="020F0502020204030204"/>
                <a:ea typeface="+mn-ea"/>
                <a:cs typeface="+mn-cs"/>
              </a:rPr>
              <a:t>Request</a:t>
            </a:r>
            <a:br>
              <a:rPr kumimoji="0" lang="en-US" sz="2000" b="1" i="0" u="none" strike="noStrike" kern="1200" cap="none" spc="0" normalizeH="0" baseline="0" noProof="0">
                <a:ln>
                  <a:noFill/>
                </a:ln>
                <a:solidFill>
                  <a:srgbClr val="FFFFFF"/>
                </a:solidFill>
                <a:effectLst/>
                <a:uLnTx/>
                <a:uFillTx/>
                <a:latin typeface="Calibri" panose="020F0502020204030204"/>
                <a:ea typeface="+mn-ea"/>
                <a:cs typeface="+mn-cs"/>
              </a:rPr>
            </a:br>
            <a:r>
              <a:rPr kumimoji="0" lang="en-US" sz="2000" b="1" i="0" u="none" strike="noStrike" kern="1200" cap="none" spc="0" normalizeH="0" baseline="0" noProof="0">
                <a:ln>
                  <a:noFill/>
                </a:ln>
                <a:solidFill>
                  <a:srgbClr val="FFFFFF"/>
                </a:solidFill>
                <a:effectLst/>
                <a:uLnTx/>
                <a:uFillTx/>
                <a:latin typeface="Calibri" panose="020F0502020204030204"/>
                <a:ea typeface="+mn-ea"/>
                <a:cs typeface="+mn-cs"/>
              </a:rPr>
              <a:t>Pick Up</a:t>
            </a:r>
          </a:p>
        </p:txBody>
      </p:sp>
      <p:sp>
        <p:nvSpPr>
          <p:cNvPr id="5134" name="Text Placeholder 4">
            <a:extLst>
              <a:ext uri="{FF2B5EF4-FFF2-40B4-BE49-F238E27FC236}">
                <a16:creationId xmlns:a16="http://schemas.microsoft.com/office/drawing/2014/main" id="{4E3D31AD-1155-AD90-BF28-A37F96FAA60A}"/>
              </a:ext>
            </a:extLst>
          </p:cNvPr>
          <p:cNvSpPr txBox="1">
            <a:spLocks/>
          </p:cNvSpPr>
          <p:nvPr/>
        </p:nvSpPr>
        <p:spPr>
          <a:xfrm>
            <a:off x="10160247" y="1643179"/>
            <a:ext cx="1813222" cy="727086"/>
          </a:xfrm>
          <a:prstGeom prst="rect">
            <a:avLst/>
          </a:prstGeom>
        </p:spPr>
        <p:txBody>
          <a:bodyPr anchor="ctr"/>
          <a:lstStyle>
            <a:lvl1pPr marL="171450" indent="-171450" algn="l" defTabSz="914400" rtl="0" eaLnBrk="1" latinLnBrk="0" hangingPunct="1">
              <a:lnSpc>
                <a:spcPct val="90000"/>
              </a:lnSpc>
              <a:spcBef>
                <a:spcPts val="1000"/>
              </a:spcBef>
              <a:buFont typeface="Arial" panose="020B0604020202020204" pitchFamily="34" charset="0"/>
              <a:buChar char="•"/>
              <a:tabLst/>
              <a:defRPr sz="2800" kern="1200">
                <a:solidFill>
                  <a:srgbClr val="133CCF"/>
                </a:solidFill>
                <a:latin typeface="+mn-lt"/>
                <a:ea typeface="+mn-ea"/>
                <a:cs typeface="+mn-cs"/>
              </a:defRPr>
            </a:lvl1pPr>
            <a:lvl2pPr marL="344488" indent="-173038" algn="l" defTabSz="914400" rtl="0" eaLnBrk="1" latinLnBrk="0" hangingPunct="1">
              <a:lnSpc>
                <a:spcPct val="90000"/>
              </a:lnSpc>
              <a:spcBef>
                <a:spcPts val="500"/>
              </a:spcBef>
              <a:buSzPct val="70000"/>
              <a:buFont typeface="Courier New" panose="02070309020205020404" pitchFamily="49" charset="0"/>
              <a:buChar char="o"/>
              <a:tabLst/>
              <a:defRPr sz="1800" kern="1200">
                <a:solidFill>
                  <a:srgbClr val="133CCF"/>
                </a:solidFill>
                <a:latin typeface="+mn-lt"/>
                <a:ea typeface="+mn-ea"/>
                <a:cs typeface="+mn-cs"/>
              </a:defRPr>
            </a:lvl2pPr>
            <a:lvl3pPr marL="517525" indent="-173038" algn="l" defTabSz="914400" rtl="0" eaLnBrk="1" latinLnBrk="0" hangingPunct="1">
              <a:lnSpc>
                <a:spcPct val="90000"/>
              </a:lnSpc>
              <a:spcBef>
                <a:spcPts val="500"/>
              </a:spcBef>
              <a:buFont typeface="Wingdings" pitchFamily="2" charset="2"/>
              <a:buChar char="§"/>
              <a:tabLst/>
              <a:defRPr sz="1800" kern="1200">
                <a:solidFill>
                  <a:srgbClr val="133CCF"/>
                </a:solidFill>
                <a:latin typeface="+mn-lt"/>
                <a:ea typeface="+mn-ea"/>
                <a:cs typeface="+mn-cs"/>
              </a:defRPr>
            </a:lvl3pPr>
            <a:lvl4pPr marL="690563" indent="-173038" algn="l" defTabSz="914400" rtl="0" eaLnBrk="1" latinLnBrk="0" hangingPunct="1">
              <a:lnSpc>
                <a:spcPct val="90000"/>
              </a:lnSpc>
              <a:spcBef>
                <a:spcPts val="500"/>
              </a:spcBef>
              <a:buSzPct val="70000"/>
              <a:buFont typeface="Wingdings" pitchFamily="2" charset="2"/>
              <a:buChar char="q"/>
              <a:tabLst/>
              <a:defRPr sz="1800" kern="1200">
                <a:solidFill>
                  <a:srgbClr val="133CCF"/>
                </a:solidFill>
                <a:latin typeface="+mn-lt"/>
                <a:ea typeface="+mn-ea"/>
                <a:cs typeface="+mn-cs"/>
              </a:defRPr>
            </a:lvl4pPr>
            <a:lvl5pPr marL="863600" indent="-173038" algn="l" defTabSz="914400" rtl="0" eaLnBrk="1" latinLnBrk="0" hangingPunct="1">
              <a:lnSpc>
                <a:spcPct val="90000"/>
              </a:lnSpc>
              <a:spcBef>
                <a:spcPts val="500"/>
              </a:spcBef>
              <a:buSzPct val="80000"/>
              <a:buFont typeface="Wingdings" pitchFamily="2" charset="2"/>
              <a:buChar char="v"/>
              <a:tabLst/>
              <a:defRPr sz="1800" kern="1200">
                <a:solidFill>
                  <a:srgbClr val="133CC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FFFFFF"/>
                </a:solidFill>
                <a:effectLst/>
                <a:uLnTx/>
                <a:uFillTx/>
                <a:latin typeface="Calibri" panose="020F0502020204030204"/>
                <a:ea typeface="+mn-ea"/>
                <a:cs typeface="+mn-cs"/>
              </a:rPr>
              <a:t>Share</a:t>
            </a:r>
            <a:br>
              <a:rPr kumimoji="0" lang="en-US" sz="2000" b="1" i="0" u="none" strike="noStrike" kern="1200" cap="none" spc="0" normalizeH="0" baseline="0" noProof="0">
                <a:ln>
                  <a:noFill/>
                </a:ln>
                <a:solidFill>
                  <a:srgbClr val="FFFFFF"/>
                </a:solidFill>
                <a:effectLst/>
                <a:uLnTx/>
                <a:uFillTx/>
                <a:latin typeface="Calibri" panose="020F0502020204030204"/>
                <a:ea typeface="+mn-ea"/>
                <a:cs typeface="+mn-cs"/>
              </a:rPr>
            </a:br>
            <a:r>
              <a:rPr kumimoji="0" lang="en-US" sz="2000" b="1" i="0" u="none" strike="noStrike" kern="1200" cap="none" spc="0" normalizeH="0" baseline="0" noProof="0">
                <a:ln>
                  <a:noFill/>
                </a:ln>
                <a:solidFill>
                  <a:srgbClr val="FFFFFF"/>
                </a:solidFill>
                <a:effectLst/>
                <a:uLnTx/>
                <a:uFillTx/>
                <a:latin typeface="Calibri" panose="020F0502020204030204"/>
                <a:ea typeface="+mn-ea"/>
                <a:cs typeface="+mn-cs"/>
              </a:rPr>
              <a:t>Impact</a:t>
            </a:r>
          </a:p>
        </p:txBody>
      </p:sp>
      <p:cxnSp>
        <p:nvCxnSpPr>
          <p:cNvPr id="5135" name="Straight Connector 5134">
            <a:extLst>
              <a:ext uri="{FF2B5EF4-FFF2-40B4-BE49-F238E27FC236}">
                <a16:creationId xmlns:a16="http://schemas.microsoft.com/office/drawing/2014/main" id="{393B0C3A-1000-4E44-8360-02529D15575E}"/>
              </a:ext>
            </a:extLst>
          </p:cNvPr>
          <p:cNvCxnSpPr>
            <a:cxnSpLocks/>
          </p:cNvCxnSpPr>
          <p:nvPr/>
        </p:nvCxnSpPr>
        <p:spPr>
          <a:xfrm>
            <a:off x="5313897" y="1775151"/>
            <a:ext cx="0" cy="534386"/>
          </a:xfrm>
          <a:prstGeom prst="line">
            <a:avLst/>
          </a:prstGeom>
          <a:ln>
            <a:gradFill flip="none" rotWithShape="1">
              <a:gsLst>
                <a:gs pos="0">
                  <a:schemeClr val="accent1">
                    <a:alpha val="0"/>
                  </a:schemeClr>
                </a:gs>
                <a:gs pos="74000">
                  <a:schemeClr val="bg1"/>
                </a:gs>
                <a:gs pos="35000">
                  <a:schemeClr val="bg1"/>
                </a:gs>
                <a:gs pos="100000">
                  <a:schemeClr val="accent1">
                    <a:alpha val="0"/>
                  </a:schemeClr>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5136" name="Straight Connector 5135">
            <a:extLst>
              <a:ext uri="{FF2B5EF4-FFF2-40B4-BE49-F238E27FC236}">
                <a16:creationId xmlns:a16="http://schemas.microsoft.com/office/drawing/2014/main" id="{C691395D-F40C-7B01-03EE-5CDA872225EC}"/>
              </a:ext>
            </a:extLst>
          </p:cNvPr>
          <p:cNvCxnSpPr>
            <a:cxnSpLocks/>
          </p:cNvCxnSpPr>
          <p:nvPr/>
        </p:nvCxnSpPr>
        <p:spPr>
          <a:xfrm>
            <a:off x="7634606" y="1775151"/>
            <a:ext cx="0" cy="534386"/>
          </a:xfrm>
          <a:prstGeom prst="line">
            <a:avLst/>
          </a:prstGeom>
          <a:ln>
            <a:gradFill flip="none" rotWithShape="1">
              <a:gsLst>
                <a:gs pos="0">
                  <a:schemeClr val="accent1">
                    <a:alpha val="0"/>
                  </a:schemeClr>
                </a:gs>
                <a:gs pos="74000">
                  <a:schemeClr val="bg1"/>
                </a:gs>
                <a:gs pos="35000">
                  <a:schemeClr val="bg1"/>
                </a:gs>
                <a:gs pos="100000">
                  <a:schemeClr val="accent1">
                    <a:alpha val="0"/>
                  </a:schemeClr>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5137" name="Straight Connector 5136">
            <a:extLst>
              <a:ext uri="{FF2B5EF4-FFF2-40B4-BE49-F238E27FC236}">
                <a16:creationId xmlns:a16="http://schemas.microsoft.com/office/drawing/2014/main" id="{46B81B5F-318C-0778-1C48-F94EE112FC7B}"/>
              </a:ext>
            </a:extLst>
          </p:cNvPr>
          <p:cNvCxnSpPr>
            <a:cxnSpLocks/>
          </p:cNvCxnSpPr>
          <p:nvPr/>
        </p:nvCxnSpPr>
        <p:spPr>
          <a:xfrm>
            <a:off x="9955315" y="1775151"/>
            <a:ext cx="0" cy="534386"/>
          </a:xfrm>
          <a:prstGeom prst="line">
            <a:avLst/>
          </a:prstGeom>
          <a:ln>
            <a:gradFill flip="none" rotWithShape="1">
              <a:gsLst>
                <a:gs pos="0">
                  <a:schemeClr val="accent1">
                    <a:alpha val="0"/>
                  </a:schemeClr>
                </a:gs>
                <a:gs pos="74000">
                  <a:schemeClr val="bg1"/>
                </a:gs>
                <a:gs pos="35000">
                  <a:schemeClr val="bg1"/>
                </a:gs>
                <a:gs pos="100000">
                  <a:schemeClr val="accent1">
                    <a:alpha val="0"/>
                  </a:schemeClr>
                </a:gs>
              </a:gsLst>
              <a:lin ang="5400000" scaled="1"/>
              <a:tileRect/>
            </a:gradFill>
          </a:ln>
        </p:spPr>
        <p:style>
          <a:lnRef idx="1">
            <a:schemeClr val="accent1"/>
          </a:lnRef>
          <a:fillRef idx="0">
            <a:schemeClr val="accent1"/>
          </a:fillRef>
          <a:effectRef idx="0">
            <a:schemeClr val="accent1"/>
          </a:effectRef>
          <a:fontRef idx="minor">
            <a:schemeClr val="tx1"/>
          </a:fontRef>
        </p:style>
      </p:cxnSp>
      <p:sp>
        <p:nvSpPr>
          <p:cNvPr id="5138" name="Freeform: Shape 5137">
            <a:extLst>
              <a:ext uri="{FF2B5EF4-FFF2-40B4-BE49-F238E27FC236}">
                <a16:creationId xmlns:a16="http://schemas.microsoft.com/office/drawing/2014/main" id="{706EE032-ED39-F9F3-F67D-CFF4E77A1E4F}"/>
              </a:ext>
            </a:extLst>
          </p:cNvPr>
          <p:cNvSpPr/>
          <p:nvPr/>
        </p:nvSpPr>
        <p:spPr>
          <a:xfrm>
            <a:off x="218364" y="1648864"/>
            <a:ext cx="3084394" cy="891136"/>
          </a:xfrm>
          <a:custGeom>
            <a:avLst/>
            <a:gdLst>
              <a:gd name="connsiteX0" fmla="*/ 167843 w 2599445"/>
              <a:gd name="connsiteY0" fmla="*/ 0 h 845490"/>
              <a:gd name="connsiteX1" fmla="*/ 2599445 w 2599445"/>
              <a:gd name="connsiteY1" fmla="*/ 0 h 845490"/>
              <a:gd name="connsiteX2" fmla="*/ 2561357 w 2599445"/>
              <a:gd name="connsiteY2" fmla="*/ 70171 h 845490"/>
              <a:gd name="connsiteX3" fmla="*/ 2521555 w 2599445"/>
              <a:gd name="connsiteY3" fmla="*/ 267316 h 845490"/>
              <a:gd name="connsiteX4" fmla="*/ 2521555 w 2599445"/>
              <a:gd name="connsiteY4" fmla="*/ 818565 h 845490"/>
              <a:gd name="connsiteX5" fmla="*/ 103819 w 2599445"/>
              <a:gd name="connsiteY5" fmla="*/ 818565 h 845490"/>
              <a:gd name="connsiteX6" fmla="*/ 12628 w 2599445"/>
              <a:gd name="connsiteY6" fmla="*/ 836976 h 845490"/>
              <a:gd name="connsiteX7" fmla="*/ 0 w 2599445"/>
              <a:gd name="connsiteY7" fmla="*/ 845490 h 845490"/>
              <a:gd name="connsiteX8" fmla="*/ 0 w 2599445"/>
              <a:gd name="connsiteY8" fmla="*/ 179078 h 845490"/>
              <a:gd name="connsiteX9" fmla="*/ 167843 w 2599445"/>
              <a:gd name="connsiteY9" fmla="*/ 0 h 845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99445" h="845490">
                <a:moveTo>
                  <a:pt x="167843" y="0"/>
                </a:moveTo>
                <a:lnTo>
                  <a:pt x="2599445" y="0"/>
                </a:lnTo>
                <a:lnTo>
                  <a:pt x="2561357" y="70171"/>
                </a:lnTo>
                <a:cubicBezTo>
                  <a:pt x="2535728" y="130766"/>
                  <a:pt x="2521555" y="197386"/>
                  <a:pt x="2521555" y="267316"/>
                </a:cubicBezTo>
                <a:lnTo>
                  <a:pt x="2521555" y="818565"/>
                </a:lnTo>
                <a:lnTo>
                  <a:pt x="103819" y="818565"/>
                </a:lnTo>
                <a:cubicBezTo>
                  <a:pt x="71472" y="818565"/>
                  <a:pt x="40656" y="825121"/>
                  <a:pt x="12628" y="836976"/>
                </a:cubicBezTo>
                <a:lnTo>
                  <a:pt x="0" y="845490"/>
                </a:lnTo>
                <a:lnTo>
                  <a:pt x="0" y="179078"/>
                </a:lnTo>
                <a:cubicBezTo>
                  <a:pt x="0" y="80176"/>
                  <a:pt x="75146" y="0"/>
                  <a:pt x="167843" y="0"/>
                </a:cubicBezTo>
                <a:close/>
              </a:path>
            </a:pathLst>
          </a:custGeom>
          <a:solidFill>
            <a:srgbClr val="0065E5"/>
          </a:solidFill>
          <a:ln>
            <a:noFill/>
          </a:ln>
          <a:effectLst>
            <a:innerShdw blurRad="177800" dist="50800" dir="2700000">
              <a:prstClr val="black">
                <a:alpha val="20000"/>
              </a:prstClr>
            </a:inn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Calibri" panose="020F0502020204030204"/>
                <a:ea typeface="+mn-ea"/>
                <a:cs typeface="+mn-cs"/>
              </a:rPr>
              <a:t>Eligibility</a:t>
            </a:r>
          </a:p>
        </p:txBody>
      </p:sp>
      <p:sp>
        <p:nvSpPr>
          <p:cNvPr id="5139" name="Freeform: Shape 5138">
            <a:extLst>
              <a:ext uri="{FF2B5EF4-FFF2-40B4-BE49-F238E27FC236}">
                <a16:creationId xmlns:a16="http://schemas.microsoft.com/office/drawing/2014/main" id="{23508CA8-00E9-6951-181F-DB062072FBA4}"/>
              </a:ext>
            </a:extLst>
          </p:cNvPr>
          <p:cNvSpPr/>
          <p:nvPr/>
        </p:nvSpPr>
        <p:spPr>
          <a:xfrm>
            <a:off x="109182" y="2494353"/>
            <a:ext cx="3330054" cy="3894060"/>
          </a:xfrm>
          <a:custGeom>
            <a:avLst/>
            <a:gdLst>
              <a:gd name="connsiteX0" fmla="*/ 234277 w 2843614"/>
              <a:gd name="connsiteY0" fmla="*/ 0 h 3740232"/>
              <a:gd name="connsiteX1" fmla="*/ 2645662 w 2843614"/>
              <a:gd name="connsiteY1" fmla="*/ 0 h 3740232"/>
              <a:gd name="connsiteX2" fmla="*/ 2645662 w 2843614"/>
              <a:gd name="connsiteY2" fmla="*/ 3341167 h 3740232"/>
              <a:gd name="connsiteX3" fmla="*/ 2794007 w 2843614"/>
              <a:gd name="connsiteY3" fmla="*/ 3699303 h 3740232"/>
              <a:gd name="connsiteX4" fmla="*/ 2843614 w 2843614"/>
              <a:gd name="connsiteY4" fmla="*/ 3740232 h 3740232"/>
              <a:gd name="connsiteX5" fmla="*/ 234277 w 2843614"/>
              <a:gd name="connsiteY5" fmla="*/ 3740232 h 3740232"/>
              <a:gd name="connsiteX6" fmla="*/ 0 w 2843614"/>
              <a:gd name="connsiteY6" fmla="*/ 3505955 h 3740232"/>
              <a:gd name="connsiteX7" fmla="*/ 0 w 2843614"/>
              <a:gd name="connsiteY7" fmla="*/ 234277 h 3740232"/>
              <a:gd name="connsiteX8" fmla="*/ 234277 w 2843614"/>
              <a:gd name="connsiteY8" fmla="*/ 0 h 3740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43614" h="3740232">
                <a:moveTo>
                  <a:pt x="234277" y="0"/>
                </a:moveTo>
                <a:lnTo>
                  <a:pt x="2645662" y="0"/>
                </a:lnTo>
                <a:lnTo>
                  <a:pt x="2645662" y="3341167"/>
                </a:lnTo>
                <a:cubicBezTo>
                  <a:pt x="2645662" y="3481028"/>
                  <a:pt x="2702352" y="3607648"/>
                  <a:pt x="2794007" y="3699303"/>
                </a:cubicBezTo>
                <a:lnTo>
                  <a:pt x="2843614" y="3740232"/>
                </a:lnTo>
                <a:lnTo>
                  <a:pt x="234277" y="3740232"/>
                </a:lnTo>
                <a:cubicBezTo>
                  <a:pt x="104889" y="3740232"/>
                  <a:pt x="0" y="3635343"/>
                  <a:pt x="0" y="3505955"/>
                </a:cubicBezTo>
                <a:lnTo>
                  <a:pt x="0" y="234277"/>
                </a:lnTo>
                <a:cubicBezTo>
                  <a:pt x="0" y="104889"/>
                  <a:pt x="104889" y="0"/>
                  <a:pt x="234277" y="0"/>
                </a:cubicBezTo>
                <a:close/>
              </a:path>
            </a:pathLst>
          </a:custGeom>
          <a:solidFill>
            <a:schemeClr val="accent5">
              <a:lumMod val="20000"/>
              <a:lumOff val="8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5143" name="Group 5142">
            <a:extLst>
              <a:ext uri="{FF2B5EF4-FFF2-40B4-BE49-F238E27FC236}">
                <a16:creationId xmlns:a16="http://schemas.microsoft.com/office/drawing/2014/main" id="{28BF7DDF-CBB9-6713-7507-01745D0DB30F}"/>
              </a:ext>
            </a:extLst>
          </p:cNvPr>
          <p:cNvGrpSpPr/>
          <p:nvPr/>
        </p:nvGrpSpPr>
        <p:grpSpPr>
          <a:xfrm flipH="1" flipV="1">
            <a:off x="96218" y="146057"/>
            <a:ext cx="449692" cy="386206"/>
            <a:chOff x="4367028" y="834746"/>
            <a:chExt cx="1688060" cy="1630238"/>
          </a:xfrm>
        </p:grpSpPr>
        <p:sp>
          <p:nvSpPr>
            <p:cNvPr id="5144" name="object 6">
              <a:extLst>
                <a:ext uri="{FF2B5EF4-FFF2-40B4-BE49-F238E27FC236}">
                  <a16:creationId xmlns:a16="http://schemas.microsoft.com/office/drawing/2014/main" id="{4CE94716-3876-E41A-2D2B-2492D2725EDF}"/>
                </a:ext>
              </a:extLst>
            </p:cNvPr>
            <p:cNvSpPr/>
            <p:nvPr/>
          </p:nvSpPr>
          <p:spPr>
            <a:xfrm>
              <a:off x="4367028" y="834746"/>
              <a:ext cx="1510664" cy="1510666"/>
            </a:xfrm>
            <a:custGeom>
              <a:avLst/>
              <a:gdLst/>
              <a:ahLst/>
              <a:cxnLst/>
              <a:rect l="l" t="t" r="r" b="b"/>
              <a:pathLst>
                <a:path w="1510665" h="1510664">
                  <a:moveTo>
                    <a:pt x="853419" y="0"/>
                  </a:moveTo>
                  <a:lnTo>
                    <a:pt x="656985" y="0"/>
                  </a:lnTo>
                  <a:lnTo>
                    <a:pt x="620348" y="7451"/>
                  </a:lnTo>
                  <a:lnTo>
                    <a:pt x="590343" y="27738"/>
                  </a:lnTo>
                  <a:lnTo>
                    <a:pt x="570068" y="57757"/>
                  </a:lnTo>
                  <a:lnTo>
                    <a:pt x="562621" y="94405"/>
                  </a:lnTo>
                  <a:lnTo>
                    <a:pt x="562621" y="562621"/>
                  </a:lnTo>
                  <a:lnTo>
                    <a:pt x="94363" y="562621"/>
                  </a:lnTo>
                  <a:lnTo>
                    <a:pt x="57726" y="570073"/>
                  </a:lnTo>
                  <a:lnTo>
                    <a:pt x="27721" y="590360"/>
                  </a:lnTo>
                  <a:lnTo>
                    <a:pt x="7446" y="620379"/>
                  </a:lnTo>
                  <a:lnTo>
                    <a:pt x="0" y="657027"/>
                  </a:lnTo>
                  <a:lnTo>
                    <a:pt x="0" y="853429"/>
                  </a:lnTo>
                  <a:lnTo>
                    <a:pt x="7446" y="890072"/>
                  </a:lnTo>
                  <a:lnTo>
                    <a:pt x="27721" y="920080"/>
                  </a:lnTo>
                  <a:lnTo>
                    <a:pt x="57726" y="940356"/>
                  </a:lnTo>
                  <a:lnTo>
                    <a:pt x="94363" y="947803"/>
                  </a:lnTo>
                  <a:lnTo>
                    <a:pt x="562621" y="947803"/>
                  </a:lnTo>
                  <a:lnTo>
                    <a:pt x="562621" y="1416051"/>
                  </a:lnTo>
                  <a:lnTo>
                    <a:pt x="570068" y="1452694"/>
                  </a:lnTo>
                  <a:lnTo>
                    <a:pt x="590343" y="1482702"/>
                  </a:lnTo>
                  <a:lnTo>
                    <a:pt x="620348" y="1502978"/>
                  </a:lnTo>
                  <a:lnTo>
                    <a:pt x="656985" y="1510425"/>
                  </a:lnTo>
                  <a:lnTo>
                    <a:pt x="853419" y="1510425"/>
                  </a:lnTo>
                  <a:lnTo>
                    <a:pt x="890062" y="1502978"/>
                  </a:lnTo>
                  <a:lnTo>
                    <a:pt x="920070" y="1482702"/>
                  </a:lnTo>
                  <a:lnTo>
                    <a:pt x="940346" y="1452694"/>
                  </a:lnTo>
                  <a:lnTo>
                    <a:pt x="947793" y="1416051"/>
                  </a:lnTo>
                  <a:lnTo>
                    <a:pt x="947793" y="947803"/>
                  </a:lnTo>
                  <a:lnTo>
                    <a:pt x="1416040" y="947803"/>
                  </a:lnTo>
                  <a:lnTo>
                    <a:pt x="1452683" y="940356"/>
                  </a:lnTo>
                  <a:lnTo>
                    <a:pt x="1482691" y="920080"/>
                  </a:lnTo>
                  <a:lnTo>
                    <a:pt x="1502967" y="890072"/>
                  </a:lnTo>
                  <a:lnTo>
                    <a:pt x="1510414" y="853429"/>
                  </a:lnTo>
                  <a:lnTo>
                    <a:pt x="1510414" y="657027"/>
                  </a:lnTo>
                  <a:lnTo>
                    <a:pt x="1502967" y="620379"/>
                  </a:lnTo>
                  <a:lnTo>
                    <a:pt x="1482691" y="590360"/>
                  </a:lnTo>
                  <a:lnTo>
                    <a:pt x="1452683" y="570073"/>
                  </a:lnTo>
                  <a:lnTo>
                    <a:pt x="1416040" y="562621"/>
                  </a:lnTo>
                  <a:lnTo>
                    <a:pt x="947793" y="562621"/>
                  </a:lnTo>
                  <a:lnTo>
                    <a:pt x="947793" y="94405"/>
                  </a:lnTo>
                  <a:lnTo>
                    <a:pt x="940346" y="57757"/>
                  </a:lnTo>
                  <a:lnTo>
                    <a:pt x="920070" y="27738"/>
                  </a:lnTo>
                  <a:lnTo>
                    <a:pt x="890062" y="7451"/>
                  </a:lnTo>
                  <a:lnTo>
                    <a:pt x="853419" y="0"/>
                  </a:lnTo>
                  <a:close/>
                </a:path>
              </a:pathLst>
            </a:custGeom>
            <a:solidFill>
              <a:srgbClr val="4FE2F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145" name="object 7">
              <a:extLst>
                <a:ext uri="{FF2B5EF4-FFF2-40B4-BE49-F238E27FC236}">
                  <a16:creationId xmlns:a16="http://schemas.microsoft.com/office/drawing/2014/main" id="{C35DD8B3-F5BC-811D-012B-15482EE01BBF}"/>
                </a:ext>
              </a:extLst>
            </p:cNvPr>
            <p:cNvSpPr/>
            <p:nvPr/>
          </p:nvSpPr>
          <p:spPr>
            <a:xfrm>
              <a:off x="5575663" y="1985559"/>
              <a:ext cx="479425" cy="479425"/>
            </a:xfrm>
            <a:custGeom>
              <a:avLst/>
              <a:gdLst/>
              <a:ahLst/>
              <a:cxnLst/>
              <a:rect l="l" t="t" r="r" b="b"/>
              <a:pathLst>
                <a:path w="479425" h="479425">
                  <a:moveTo>
                    <a:pt x="270777" y="0"/>
                  </a:moveTo>
                  <a:lnTo>
                    <a:pt x="208454" y="0"/>
                  </a:lnTo>
                  <a:lnTo>
                    <a:pt x="196826" y="2364"/>
                  </a:lnTo>
                  <a:lnTo>
                    <a:pt x="187304" y="8802"/>
                  </a:lnTo>
                  <a:lnTo>
                    <a:pt x="180870" y="18327"/>
                  </a:lnTo>
                  <a:lnTo>
                    <a:pt x="178507" y="29957"/>
                  </a:lnTo>
                  <a:lnTo>
                    <a:pt x="178507" y="178518"/>
                  </a:lnTo>
                  <a:lnTo>
                    <a:pt x="29936" y="178518"/>
                  </a:lnTo>
                  <a:lnTo>
                    <a:pt x="18310" y="180882"/>
                  </a:lnTo>
                  <a:lnTo>
                    <a:pt x="8791" y="187320"/>
                  </a:lnTo>
                  <a:lnTo>
                    <a:pt x="2361" y="196845"/>
                  </a:lnTo>
                  <a:lnTo>
                    <a:pt x="0" y="208475"/>
                  </a:lnTo>
                  <a:lnTo>
                    <a:pt x="0" y="270787"/>
                  </a:lnTo>
                  <a:lnTo>
                    <a:pt x="2361" y="282415"/>
                  </a:lnTo>
                  <a:lnTo>
                    <a:pt x="8791" y="291937"/>
                  </a:lnTo>
                  <a:lnTo>
                    <a:pt x="18310" y="298371"/>
                  </a:lnTo>
                  <a:lnTo>
                    <a:pt x="29936" y="300734"/>
                  </a:lnTo>
                  <a:lnTo>
                    <a:pt x="178507" y="300734"/>
                  </a:lnTo>
                  <a:lnTo>
                    <a:pt x="178507" y="449305"/>
                  </a:lnTo>
                  <a:lnTo>
                    <a:pt x="180870" y="460933"/>
                  </a:lnTo>
                  <a:lnTo>
                    <a:pt x="187304" y="470455"/>
                  </a:lnTo>
                  <a:lnTo>
                    <a:pt x="196826" y="476889"/>
                  </a:lnTo>
                  <a:lnTo>
                    <a:pt x="208454" y="479252"/>
                  </a:lnTo>
                  <a:lnTo>
                    <a:pt x="270777" y="479252"/>
                  </a:lnTo>
                  <a:lnTo>
                    <a:pt x="282404" y="476889"/>
                  </a:lnTo>
                  <a:lnTo>
                    <a:pt x="291926" y="470455"/>
                  </a:lnTo>
                  <a:lnTo>
                    <a:pt x="298360" y="460933"/>
                  </a:lnTo>
                  <a:lnTo>
                    <a:pt x="300723" y="449305"/>
                  </a:lnTo>
                  <a:lnTo>
                    <a:pt x="300723" y="300734"/>
                  </a:lnTo>
                  <a:lnTo>
                    <a:pt x="449295" y="300734"/>
                  </a:lnTo>
                  <a:lnTo>
                    <a:pt x="460922" y="298371"/>
                  </a:lnTo>
                  <a:lnTo>
                    <a:pt x="470445" y="291937"/>
                  </a:lnTo>
                  <a:lnTo>
                    <a:pt x="476878" y="282415"/>
                  </a:lnTo>
                  <a:lnTo>
                    <a:pt x="479241" y="270787"/>
                  </a:lnTo>
                  <a:lnTo>
                    <a:pt x="479241" y="208475"/>
                  </a:lnTo>
                  <a:lnTo>
                    <a:pt x="476878" y="196845"/>
                  </a:lnTo>
                  <a:lnTo>
                    <a:pt x="470445" y="187320"/>
                  </a:lnTo>
                  <a:lnTo>
                    <a:pt x="460922" y="180882"/>
                  </a:lnTo>
                  <a:lnTo>
                    <a:pt x="449295" y="178518"/>
                  </a:lnTo>
                  <a:lnTo>
                    <a:pt x="300723" y="178518"/>
                  </a:lnTo>
                  <a:lnTo>
                    <a:pt x="300723" y="29957"/>
                  </a:lnTo>
                  <a:lnTo>
                    <a:pt x="298360" y="18327"/>
                  </a:lnTo>
                  <a:lnTo>
                    <a:pt x="291926" y="8802"/>
                  </a:lnTo>
                  <a:lnTo>
                    <a:pt x="282404" y="2364"/>
                  </a:lnTo>
                  <a:lnTo>
                    <a:pt x="270777" y="0"/>
                  </a:lnTo>
                  <a:close/>
                </a:path>
              </a:pathLst>
            </a:custGeom>
            <a:solidFill>
              <a:srgbClr val="FFC62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pic>
        <p:nvPicPr>
          <p:cNvPr id="5368" name="Picture 5367">
            <a:extLst>
              <a:ext uri="{FF2B5EF4-FFF2-40B4-BE49-F238E27FC236}">
                <a16:creationId xmlns:a16="http://schemas.microsoft.com/office/drawing/2014/main" id="{F99D7ED6-48A6-9C3D-431B-D8F64A0E5FE9}"/>
              </a:ext>
            </a:extLst>
          </p:cNvPr>
          <p:cNvPicPr>
            <a:picLocks noChangeAspect="1"/>
          </p:cNvPicPr>
          <p:nvPr/>
        </p:nvPicPr>
        <p:blipFill>
          <a:blip r:embed="rId13"/>
          <a:stretch>
            <a:fillRect/>
          </a:stretch>
        </p:blipFill>
        <p:spPr>
          <a:xfrm>
            <a:off x="292823" y="6592472"/>
            <a:ext cx="2324100" cy="107950"/>
          </a:xfrm>
          <a:prstGeom prst="rect">
            <a:avLst/>
          </a:prstGeom>
        </p:spPr>
      </p:pic>
      <p:sp>
        <p:nvSpPr>
          <p:cNvPr id="5369" name="TextBox 5368">
            <a:extLst>
              <a:ext uri="{FF2B5EF4-FFF2-40B4-BE49-F238E27FC236}">
                <a16:creationId xmlns:a16="http://schemas.microsoft.com/office/drawing/2014/main" id="{C8C72C58-4494-A5FC-83B1-02E34E501C6C}"/>
              </a:ext>
            </a:extLst>
          </p:cNvPr>
          <p:cNvSpPr txBox="1"/>
          <p:nvPr/>
        </p:nvSpPr>
        <p:spPr>
          <a:xfrm>
            <a:off x="11118832" y="6493809"/>
            <a:ext cx="993807" cy="20005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EE3F35-5EAA-0344-B6FC-083E415BACD9}" type="slidenum">
              <a:rPr kumimoji="0" lang="en-US" sz="700" b="0" i="0" u="none" strike="noStrike" kern="1200" cap="none" spc="300" normalizeH="0" baseline="0" noProof="0" smtClean="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700" b="0" i="0" u="none" strike="noStrike" kern="1200" cap="none" spc="300" normalizeH="0" baseline="0" noProof="0">
              <a:ln>
                <a:noFill/>
              </a:ln>
              <a:solidFill>
                <a:srgbClr val="FFFFFF"/>
              </a:solidFill>
              <a:effectLst/>
              <a:uLnTx/>
              <a:uFillTx/>
              <a:latin typeface="Calibri" panose="020F0502020204030204"/>
              <a:ea typeface="+mn-ea"/>
              <a:cs typeface="+mn-cs"/>
            </a:endParaRPr>
          </a:p>
        </p:txBody>
      </p:sp>
      <p:pic>
        <p:nvPicPr>
          <p:cNvPr id="2" name="Picture 1">
            <a:extLst>
              <a:ext uri="{FF2B5EF4-FFF2-40B4-BE49-F238E27FC236}">
                <a16:creationId xmlns:a16="http://schemas.microsoft.com/office/drawing/2014/main" id="{24712D21-812B-635C-EA94-E6107FF6F901}"/>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flipH="1">
            <a:off x="10566208" y="-1390"/>
            <a:ext cx="1625791" cy="1407109"/>
          </a:xfrm>
          <a:prstGeom prst="rect">
            <a:avLst/>
          </a:prstGeom>
        </p:spPr>
      </p:pic>
      <p:sp>
        <p:nvSpPr>
          <p:cNvPr id="5" name="Freeform: Shape 4">
            <a:extLst>
              <a:ext uri="{FF2B5EF4-FFF2-40B4-BE49-F238E27FC236}">
                <a16:creationId xmlns:a16="http://schemas.microsoft.com/office/drawing/2014/main" id="{725C8C9D-ECA1-F508-31C4-BE0195D8AFC9}"/>
              </a:ext>
            </a:extLst>
          </p:cNvPr>
          <p:cNvSpPr/>
          <p:nvPr/>
        </p:nvSpPr>
        <p:spPr>
          <a:xfrm>
            <a:off x="3439360" y="4406939"/>
            <a:ext cx="1635965" cy="38100"/>
          </a:xfrm>
          <a:custGeom>
            <a:avLst/>
            <a:gdLst>
              <a:gd name="connsiteX0" fmla="*/ 96925 w 2177470"/>
              <a:gd name="connsiteY0" fmla="*/ 0 h 38100"/>
              <a:gd name="connsiteX1" fmla="*/ 2080545 w 2177470"/>
              <a:gd name="connsiteY1" fmla="*/ 0 h 38100"/>
              <a:gd name="connsiteX2" fmla="*/ 2138235 w 2177470"/>
              <a:gd name="connsiteY2" fmla="*/ 11647 h 38100"/>
              <a:gd name="connsiteX3" fmla="*/ 2177470 w 2177470"/>
              <a:gd name="connsiteY3" fmla="*/ 38100 h 38100"/>
              <a:gd name="connsiteX4" fmla="*/ 0 w 2177470"/>
              <a:gd name="connsiteY4" fmla="*/ 38100 h 38100"/>
              <a:gd name="connsiteX5" fmla="*/ 39235 w 2177470"/>
              <a:gd name="connsiteY5" fmla="*/ 11647 h 38100"/>
              <a:gd name="connsiteX6" fmla="*/ 96925 w 2177470"/>
              <a:gd name="connsiteY6"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7470" h="38100">
                <a:moveTo>
                  <a:pt x="96925" y="0"/>
                </a:moveTo>
                <a:lnTo>
                  <a:pt x="2080545" y="0"/>
                </a:lnTo>
                <a:cubicBezTo>
                  <a:pt x="2101009" y="0"/>
                  <a:pt x="2120504" y="4147"/>
                  <a:pt x="2138235" y="11647"/>
                </a:cubicBezTo>
                <a:lnTo>
                  <a:pt x="2177470" y="38100"/>
                </a:lnTo>
                <a:lnTo>
                  <a:pt x="0" y="38100"/>
                </a:lnTo>
                <a:lnTo>
                  <a:pt x="39235" y="11647"/>
                </a:lnTo>
                <a:cubicBezTo>
                  <a:pt x="56967" y="4147"/>
                  <a:pt x="76462" y="0"/>
                  <a:pt x="96925" y="0"/>
                </a:cubicBezTo>
                <a:close/>
              </a:path>
            </a:pathLst>
          </a:custGeom>
          <a:solidFill>
            <a:srgbClr val="FFC62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Freeform: Shape 5">
            <a:extLst>
              <a:ext uri="{FF2B5EF4-FFF2-40B4-BE49-F238E27FC236}">
                <a16:creationId xmlns:a16="http://schemas.microsoft.com/office/drawing/2014/main" id="{C4F16D1D-6536-592E-E4C6-7108431C4D61}"/>
              </a:ext>
            </a:extLst>
          </p:cNvPr>
          <p:cNvSpPr/>
          <p:nvPr/>
        </p:nvSpPr>
        <p:spPr>
          <a:xfrm>
            <a:off x="5734458" y="4409214"/>
            <a:ext cx="1635965" cy="38100"/>
          </a:xfrm>
          <a:custGeom>
            <a:avLst/>
            <a:gdLst>
              <a:gd name="connsiteX0" fmla="*/ 96925 w 2177470"/>
              <a:gd name="connsiteY0" fmla="*/ 0 h 38100"/>
              <a:gd name="connsiteX1" fmla="*/ 2080545 w 2177470"/>
              <a:gd name="connsiteY1" fmla="*/ 0 h 38100"/>
              <a:gd name="connsiteX2" fmla="*/ 2138235 w 2177470"/>
              <a:gd name="connsiteY2" fmla="*/ 11647 h 38100"/>
              <a:gd name="connsiteX3" fmla="*/ 2177470 w 2177470"/>
              <a:gd name="connsiteY3" fmla="*/ 38100 h 38100"/>
              <a:gd name="connsiteX4" fmla="*/ 0 w 2177470"/>
              <a:gd name="connsiteY4" fmla="*/ 38100 h 38100"/>
              <a:gd name="connsiteX5" fmla="*/ 39235 w 2177470"/>
              <a:gd name="connsiteY5" fmla="*/ 11647 h 38100"/>
              <a:gd name="connsiteX6" fmla="*/ 96925 w 2177470"/>
              <a:gd name="connsiteY6"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7470" h="38100">
                <a:moveTo>
                  <a:pt x="96925" y="0"/>
                </a:moveTo>
                <a:lnTo>
                  <a:pt x="2080545" y="0"/>
                </a:lnTo>
                <a:cubicBezTo>
                  <a:pt x="2101009" y="0"/>
                  <a:pt x="2120504" y="4147"/>
                  <a:pt x="2138235" y="11647"/>
                </a:cubicBezTo>
                <a:lnTo>
                  <a:pt x="2177470" y="38100"/>
                </a:lnTo>
                <a:lnTo>
                  <a:pt x="0" y="38100"/>
                </a:lnTo>
                <a:lnTo>
                  <a:pt x="39235" y="11647"/>
                </a:lnTo>
                <a:cubicBezTo>
                  <a:pt x="56967" y="4147"/>
                  <a:pt x="76462" y="0"/>
                  <a:pt x="96925" y="0"/>
                </a:cubicBezTo>
                <a:close/>
              </a:path>
            </a:pathLst>
          </a:custGeom>
          <a:solidFill>
            <a:srgbClr val="FFC62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Freeform: Shape 6">
            <a:extLst>
              <a:ext uri="{FF2B5EF4-FFF2-40B4-BE49-F238E27FC236}">
                <a16:creationId xmlns:a16="http://schemas.microsoft.com/office/drawing/2014/main" id="{E24F9AC5-6156-D9E4-1719-AB46D0E4A750}"/>
              </a:ext>
            </a:extLst>
          </p:cNvPr>
          <p:cNvSpPr/>
          <p:nvPr/>
        </p:nvSpPr>
        <p:spPr>
          <a:xfrm>
            <a:off x="7972689" y="4422861"/>
            <a:ext cx="1635965" cy="38100"/>
          </a:xfrm>
          <a:custGeom>
            <a:avLst/>
            <a:gdLst>
              <a:gd name="connsiteX0" fmla="*/ 96925 w 2177470"/>
              <a:gd name="connsiteY0" fmla="*/ 0 h 38100"/>
              <a:gd name="connsiteX1" fmla="*/ 2080545 w 2177470"/>
              <a:gd name="connsiteY1" fmla="*/ 0 h 38100"/>
              <a:gd name="connsiteX2" fmla="*/ 2138235 w 2177470"/>
              <a:gd name="connsiteY2" fmla="*/ 11647 h 38100"/>
              <a:gd name="connsiteX3" fmla="*/ 2177470 w 2177470"/>
              <a:gd name="connsiteY3" fmla="*/ 38100 h 38100"/>
              <a:gd name="connsiteX4" fmla="*/ 0 w 2177470"/>
              <a:gd name="connsiteY4" fmla="*/ 38100 h 38100"/>
              <a:gd name="connsiteX5" fmla="*/ 39235 w 2177470"/>
              <a:gd name="connsiteY5" fmla="*/ 11647 h 38100"/>
              <a:gd name="connsiteX6" fmla="*/ 96925 w 2177470"/>
              <a:gd name="connsiteY6"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7470" h="38100">
                <a:moveTo>
                  <a:pt x="96925" y="0"/>
                </a:moveTo>
                <a:lnTo>
                  <a:pt x="2080545" y="0"/>
                </a:lnTo>
                <a:cubicBezTo>
                  <a:pt x="2101009" y="0"/>
                  <a:pt x="2120504" y="4147"/>
                  <a:pt x="2138235" y="11647"/>
                </a:cubicBezTo>
                <a:lnTo>
                  <a:pt x="2177470" y="38100"/>
                </a:lnTo>
                <a:lnTo>
                  <a:pt x="0" y="38100"/>
                </a:lnTo>
                <a:lnTo>
                  <a:pt x="39235" y="11647"/>
                </a:lnTo>
                <a:cubicBezTo>
                  <a:pt x="56967" y="4147"/>
                  <a:pt x="76462" y="0"/>
                  <a:pt x="96925" y="0"/>
                </a:cubicBezTo>
                <a:close/>
              </a:path>
            </a:pathLst>
          </a:custGeom>
          <a:solidFill>
            <a:srgbClr val="FFC62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Freeform: Shape 7">
            <a:extLst>
              <a:ext uri="{FF2B5EF4-FFF2-40B4-BE49-F238E27FC236}">
                <a16:creationId xmlns:a16="http://schemas.microsoft.com/office/drawing/2014/main" id="{DFC008E5-1004-26AF-A914-45552B2B577B}"/>
              </a:ext>
            </a:extLst>
          </p:cNvPr>
          <p:cNvSpPr/>
          <p:nvPr/>
        </p:nvSpPr>
        <p:spPr>
          <a:xfrm>
            <a:off x="10267787" y="4425136"/>
            <a:ext cx="1635965" cy="38100"/>
          </a:xfrm>
          <a:custGeom>
            <a:avLst/>
            <a:gdLst>
              <a:gd name="connsiteX0" fmla="*/ 96925 w 2177470"/>
              <a:gd name="connsiteY0" fmla="*/ 0 h 38100"/>
              <a:gd name="connsiteX1" fmla="*/ 2080545 w 2177470"/>
              <a:gd name="connsiteY1" fmla="*/ 0 h 38100"/>
              <a:gd name="connsiteX2" fmla="*/ 2138235 w 2177470"/>
              <a:gd name="connsiteY2" fmla="*/ 11647 h 38100"/>
              <a:gd name="connsiteX3" fmla="*/ 2177470 w 2177470"/>
              <a:gd name="connsiteY3" fmla="*/ 38100 h 38100"/>
              <a:gd name="connsiteX4" fmla="*/ 0 w 2177470"/>
              <a:gd name="connsiteY4" fmla="*/ 38100 h 38100"/>
              <a:gd name="connsiteX5" fmla="*/ 39235 w 2177470"/>
              <a:gd name="connsiteY5" fmla="*/ 11647 h 38100"/>
              <a:gd name="connsiteX6" fmla="*/ 96925 w 2177470"/>
              <a:gd name="connsiteY6" fmla="*/ 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7470" h="38100">
                <a:moveTo>
                  <a:pt x="96925" y="0"/>
                </a:moveTo>
                <a:lnTo>
                  <a:pt x="2080545" y="0"/>
                </a:lnTo>
                <a:cubicBezTo>
                  <a:pt x="2101009" y="0"/>
                  <a:pt x="2120504" y="4147"/>
                  <a:pt x="2138235" y="11647"/>
                </a:cubicBezTo>
                <a:lnTo>
                  <a:pt x="2177470" y="38100"/>
                </a:lnTo>
                <a:lnTo>
                  <a:pt x="0" y="38100"/>
                </a:lnTo>
                <a:lnTo>
                  <a:pt x="39235" y="11647"/>
                </a:lnTo>
                <a:cubicBezTo>
                  <a:pt x="56967" y="4147"/>
                  <a:pt x="76462" y="0"/>
                  <a:pt x="96925" y="0"/>
                </a:cubicBezTo>
                <a:close/>
              </a:path>
            </a:pathLst>
          </a:custGeom>
          <a:solidFill>
            <a:srgbClr val="FFC62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Rectangle: Top Corners Rounded 8">
            <a:extLst>
              <a:ext uri="{FF2B5EF4-FFF2-40B4-BE49-F238E27FC236}">
                <a16:creationId xmlns:a16="http://schemas.microsoft.com/office/drawing/2014/main" id="{8EFE910C-FC4A-C9CB-B173-94F956C05755}"/>
              </a:ext>
            </a:extLst>
          </p:cNvPr>
          <p:cNvSpPr>
            <a:spLocks/>
          </p:cNvSpPr>
          <p:nvPr/>
        </p:nvSpPr>
        <p:spPr>
          <a:xfrm>
            <a:off x="3318705" y="4618479"/>
            <a:ext cx="2031221" cy="1577605"/>
          </a:xfrm>
          <a:prstGeom prst="round2SameRect">
            <a:avLst>
              <a:gd name="adj1" fmla="val 4600"/>
              <a:gd name="adj2" fmla="val 0"/>
            </a:avLst>
          </a:prstGeom>
          <a:gradFill flip="none" rotWithShape="1">
            <a:gsLst>
              <a:gs pos="73840">
                <a:srgbClr val="00183E">
                  <a:alpha val="62000"/>
                </a:srgbClr>
              </a:gs>
              <a:gs pos="100000">
                <a:schemeClr val="tx1">
                  <a:alpha val="0"/>
                </a:schemeClr>
              </a:gs>
              <a:gs pos="40000">
                <a:srgbClr val="00368E"/>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45720" tIns="640080" rIns="4572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127" name="TextBox 5126">
            <a:extLst>
              <a:ext uri="{FF2B5EF4-FFF2-40B4-BE49-F238E27FC236}">
                <a16:creationId xmlns:a16="http://schemas.microsoft.com/office/drawing/2014/main" id="{F380E960-4718-B436-5E6C-A8647FFCFE03}"/>
              </a:ext>
            </a:extLst>
          </p:cNvPr>
          <p:cNvSpPr txBox="1"/>
          <p:nvPr/>
        </p:nvSpPr>
        <p:spPr>
          <a:xfrm>
            <a:off x="3259895" y="4718846"/>
            <a:ext cx="2005660"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rPr>
              <a:t>Collect recyclable materials from customers across the property</a:t>
            </a:r>
          </a:p>
        </p:txBody>
      </p:sp>
      <p:sp>
        <p:nvSpPr>
          <p:cNvPr id="14" name="Rectangle: Top Corners Rounded 13">
            <a:extLst>
              <a:ext uri="{FF2B5EF4-FFF2-40B4-BE49-F238E27FC236}">
                <a16:creationId xmlns:a16="http://schemas.microsoft.com/office/drawing/2014/main" id="{3E7DB22E-0505-69CE-8A0C-023DE49DC0C7}"/>
              </a:ext>
            </a:extLst>
          </p:cNvPr>
          <p:cNvSpPr>
            <a:spLocks/>
          </p:cNvSpPr>
          <p:nvPr/>
        </p:nvSpPr>
        <p:spPr>
          <a:xfrm>
            <a:off x="5559211" y="4593459"/>
            <a:ext cx="2031221" cy="1577605"/>
          </a:xfrm>
          <a:prstGeom prst="round2SameRect">
            <a:avLst>
              <a:gd name="adj1" fmla="val 4600"/>
              <a:gd name="adj2" fmla="val 0"/>
            </a:avLst>
          </a:prstGeom>
          <a:gradFill flip="none" rotWithShape="1">
            <a:gsLst>
              <a:gs pos="73840">
                <a:srgbClr val="00183E">
                  <a:alpha val="62000"/>
                </a:srgbClr>
              </a:gs>
              <a:gs pos="100000">
                <a:schemeClr val="tx1">
                  <a:alpha val="0"/>
                </a:schemeClr>
              </a:gs>
              <a:gs pos="40000">
                <a:srgbClr val="00368E"/>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45720" tIns="640080" rIns="4572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 name="Rectangle: Top Corners Rounded 14">
            <a:extLst>
              <a:ext uri="{FF2B5EF4-FFF2-40B4-BE49-F238E27FC236}">
                <a16:creationId xmlns:a16="http://schemas.microsoft.com/office/drawing/2014/main" id="{C7960D52-D7F3-FEE8-6B20-0B5F8CB428E2}"/>
              </a:ext>
            </a:extLst>
          </p:cNvPr>
          <p:cNvSpPr>
            <a:spLocks/>
          </p:cNvSpPr>
          <p:nvPr/>
        </p:nvSpPr>
        <p:spPr>
          <a:xfrm>
            <a:off x="7797443" y="4593458"/>
            <a:ext cx="2031221" cy="1577605"/>
          </a:xfrm>
          <a:prstGeom prst="round2SameRect">
            <a:avLst>
              <a:gd name="adj1" fmla="val 4600"/>
              <a:gd name="adj2" fmla="val 0"/>
            </a:avLst>
          </a:prstGeom>
          <a:gradFill flip="none" rotWithShape="1">
            <a:gsLst>
              <a:gs pos="73840">
                <a:srgbClr val="00183E">
                  <a:alpha val="62000"/>
                </a:srgbClr>
              </a:gs>
              <a:gs pos="100000">
                <a:schemeClr val="tx1">
                  <a:alpha val="0"/>
                </a:schemeClr>
              </a:gs>
              <a:gs pos="40000">
                <a:srgbClr val="00368E"/>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45720" tIns="640080" rIns="4572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 name="Rectangle: Top Corners Rounded 15">
            <a:extLst>
              <a:ext uri="{FF2B5EF4-FFF2-40B4-BE49-F238E27FC236}">
                <a16:creationId xmlns:a16="http://schemas.microsoft.com/office/drawing/2014/main" id="{AAE8CBD2-6896-73F8-FF79-A90F79C0FEC5}"/>
              </a:ext>
            </a:extLst>
          </p:cNvPr>
          <p:cNvSpPr>
            <a:spLocks/>
          </p:cNvSpPr>
          <p:nvPr/>
        </p:nvSpPr>
        <p:spPr>
          <a:xfrm>
            <a:off x="10008378" y="4593458"/>
            <a:ext cx="2031221" cy="1577605"/>
          </a:xfrm>
          <a:prstGeom prst="round2SameRect">
            <a:avLst>
              <a:gd name="adj1" fmla="val 4600"/>
              <a:gd name="adj2" fmla="val 0"/>
            </a:avLst>
          </a:prstGeom>
          <a:gradFill flip="none" rotWithShape="1">
            <a:gsLst>
              <a:gs pos="73840">
                <a:srgbClr val="00183E">
                  <a:alpha val="62000"/>
                </a:srgbClr>
              </a:gs>
              <a:gs pos="100000">
                <a:schemeClr val="tx1">
                  <a:alpha val="0"/>
                </a:schemeClr>
              </a:gs>
              <a:gs pos="40000">
                <a:srgbClr val="00368E"/>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45720" tIns="640080" rIns="4572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129" name="Text Placeholder 14">
            <a:extLst>
              <a:ext uri="{FF2B5EF4-FFF2-40B4-BE49-F238E27FC236}">
                <a16:creationId xmlns:a16="http://schemas.microsoft.com/office/drawing/2014/main" id="{A63480B0-092C-6859-D2C0-FEE9ACFD4CF3}"/>
              </a:ext>
            </a:extLst>
          </p:cNvPr>
          <p:cNvSpPr txBox="1">
            <a:spLocks/>
          </p:cNvSpPr>
          <p:nvPr/>
        </p:nvSpPr>
        <p:spPr>
          <a:xfrm>
            <a:off x="7778481" y="4648662"/>
            <a:ext cx="2005660" cy="1384943"/>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600" b="1" i="0" kern="1200" spc="300">
                <a:solidFill>
                  <a:srgbClr val="001D90"/>
                </a:solidFill>
                <a:latin typeface="Poppins SemiBold" pitchFamily="2" charset="77"/>
                <a:ea typeface="+mn-ea"/>
                <a:cs typeface="Poppins SemiBold"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defRPr/>
            </a:pPr>
            <a:r>
              <a:rPr lang="en-US" sz="1400" b="0" spc="0">
                <a:solidFill>
                  <a:srgbClr val="FFFFFF"/>
                </a:solidFill>
                <a:latin typeface="Calibri" panose="020F0502020204030204"/>
                <a:cs typeface="Poppins SemiBold"/>
              </a:rPr>
              <a:t>Once enough material has been collected, a </a:t>
            </a:r>
            <a:r>
              <a:rPr kumimoji="0" lang="en-US" sz="1400" b="0" i="0" u="none" strike="noStrike" kern="1200" cap="none" spc="0" normalizeH="0" baseline="0" noProof="0">
                <a:ln>
                  <a:noFill/>
                </a:ln>
                <a:solidFill>
                  <a:srgbClr val="FFFFFF"/>
                </a:solidFill>
                <a:effectLst/>
                <a:uLnTx/>
                <a:uFillTx/>
                <a:latin typeface="Calibri" panose="020F0502020204030204"/>
                <a:ea typeface="+mn-ea"/>
                <a:cs typeface="Poppins SemiBold"/>
              </a:rPr>
              <a:t>local operator will swap your full super </a:t>
            </a:r>
            <a:r>
              <a:rPr lang="en-US" sz="1400" b="0" spc="0">
                <a:solidFill>
                  <a:srgbClr val="FFFFFF"/>
                </a:solidFill>
                <a:latin typeface="Calibri" panose="020F0502020204030204"/>
                <a:cs typeface="Poppins SemiBold"/>
              </a:rPr>
              <a:t>sacks</a:t>
            </a:r>
            <a:r>
              <a:rPr kumimoji="0" lang="en-US" sz="1400" b="0" i="0" u="none" strike="noStrike" kern="1200" cap="none" spc="0" normalizeH="0" baseline="0" noProof="0">
                <a:ln>
                  <a:noFill/>
                </a:ln>
                <a:solidFill>
                  <a:srgbClr val="FFFFFF"/>
                </a:solidFill>
                <a:effectLst/>
                <a:uLnTx/>
                <a:uFillTx/>
                <a:latin typeface="Calibri" panose="020F0502020204030204"/>
                <a:ea typeface="+mn-ea"/>
                <a:cs typeface="Poppins SemiBold"/>
              </a:rPr>
              <a:t> for empty </a:t>
            </a:r>
            <a:r>
              <a:rPr lang="en-US" sz="1400" b="0" spc="0">
                <a:solidFill>
                  <a:srgbClr val="FFFFFF"/>
                </a:solidFill>
                <a:latin typeface="Calibri" panose="020F0502020204030204"/>
                <a:cs typeface="Poppins SemiBold"/>
              </a:rPr>
              <a:t>ones</a:t>
            </a:r>
            <a:r>
              <a:rPr kumimoji="0" lang="en-US" sz="1400" b="0" i="0" u="none" strike="noStrike" kern="1200" cap="none" spc="0" normalizeH="0" baseline="0" noProof="0">
                <a:ln>
                  <a:noFill/>
                </a:ln>
                <a:solidFill>
                  <a:srgbClr val="FFFFFF"/>
                </a:solidFill>
                <a:effectLst/>
                <a:uLnTx/>
                <a:uFillTx/>
                <a:latin typeface="Calibri" panose="020F0502020204030204"/>
                <a:ea typeface="+mn-ea"/>
                <a:cs typeface="Poppins SemiBold"/>
              </a:rPr>
              <a:t>; recurring pickups available</a:t>
            </a:r>
          </a:p>
        </p:txBody>
      </p:sp>
      <p:sp>
        <p:nvSpPr>
          <p:cNvPr id="5130" name="Text Placeholder 14">
            <a:extLst>
              <a:ext uri="{FF2B5EF4-FFF2-40B4-BE49-F238E27FC236}">
                <a16:creationId xmlns:a16="http://schemas.microsoft.com/office/drawing/2014/main" id="{33869847-5444-EDB0-D9CA-A0EBC45B8BB7}"/>
              </a:ext>
            </a:extLst>
          </p:cNvPr>
          <p:cNvSpPr txBox="1">
            <a:spLocks/>
          </p:cNvSpPr>
          <p:nvPr/>
        </p:nvSpPr>
        <p:spPr>
          <a:xfrm>
            <a:off x="10030950" y="4718846"/>
            <a:ext cx="2005660" cy="138494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600" b="1" i="0" kern="1200" spc="300">
                <a:solidFill>
                  <a:srgbClr val="001D90"/>
                </a:solidFill>
                <a:latin typeface="Poppins SemiBold" pitchFamily="2" charset="77"/>
                <a:ea typeface="+mn-ea"/>
                <a:cs typeface="Poppins SemiBold"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FFFFFF"/>
                </a:solidFill>
                <a:effectLst/>
                <a:uLnTx/>
                <a:uFillTx/>
                <a:latin typeface="Calibri" panose="020F0502020204030204"/>
                <a:ea typeface="+mn-ea"/>
                <a:cs typeface="Poppins SemiBold" pitchFamily="2" charset="77"/>
              </a:rPr>
              <a:t>Customized impact report updated in real-time and ready to share with</a:t>
            </a:r>
            <a:br>
              <a:rPr kumimoji="0" lang="en-US" sz="1600" b="0" i="0" u="none" strike="noStrike" kern="1200" cap="none" spc="0" normalizeH="0" baseline="0" noProof="0">
                <a:ln>
                  <a:noFill/>
                </a:ln>
                <a:solidFill>
                  <a:srgbClr val="FFFFFF"/>
                </a:solidFill>
                <a:effectLst/>
                <a:uLnTx/>
                <a:uFillTx/>
                <a:latin typeface="Calibri" panose="020F0502020204030204"/>
                <a:ea typeface="+mn-ea"/>
                <a:cs typeface="Poppins SemiBold" pitchFamily="2" charset="77"/>
              </a:rPr>
            </a:br>
            <a:r>
              <a:rPr kumimoji="0" lang="en-US" sz="1600" b="0" i="0" u="none" strike="noStrike" kern="1200" cap="none" spc="0" normalizeH="0" baseline="0" noProof="0">
                <a:ln>
                  <a:noFill/>
                </a:ln>
                <a:solidFill>
                  <a:srgbClr val="FFFFFF"/>
                </a:solidFill>
                <a:effectLst/>
                <a:uLnTx/>
                <a:uFillTx/>
                <a:latin typeface="Calibri" panose="020F0502020204030204"/>
                <a:ea typeface="+mn-ea"/>
                <a:cs typeface="Poppins SemiBold" pitchFamily="2" charset="77"/>
              </a:rPr>
              <a:t>the world</a:t>
            </a:r>
          </a:p>
        </p:txBody>
      </p:sp>
      <p:sp>
        <p:nvSpPr>
          <p:cNvPr id="5128" name="Text Placeholder 14">
            <a:extLst>
              <a:ext uri="{FF2B5EF4-FFF2-40B4-BE49-F238E27FC236}">
                <a16:creationId xmlns:a16="http://schemas.microsoft.com/office/drawing/2014/main" id="{6A22609B-4F2C-09F8-C09B-989D301B0AF6}"/>
              </a:ext>
            </a:extLst>
          </p:cNvPr>
          <p:cNvSpPr txBox="1">
            <a:spLocks/>
          </p:cNvSpPr>
          <p:nvPr/>
        </p:nvSpPr>
        <p:spPr>
          <a:xfrm>
            <a:off x="5539660" y="4718846"/>
            <a:ext cx="2005660" cy="1384943"/>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600" b="1" i="0" kern="1200" spc="300">
                <a:solidFill>
                  <a:srgbClr val="001D90"/>
                </a:solidFill>
                <a:latin typeface="Poppins SemiBold" pitchFamily="2" charset="77"/>
                <a:ea typeface="+mn-ea"/>
                <a:cs typeface="Poppins SemiBold"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defRPr/>
            </a:pPr>
            <a:r>
              <a:rPr kumimoji="0" lang="en-US" sz="1600" b="0" i="0" u="none" strike="noStrike" kern="1200" cap="none" spc="0" normalizeH="0" baseline="0" noProof="0">
                <a:ln>
                  <a:noFill/>
                </a:ln>
                <a:solidFill>
                  <a:srgbClr val="FFFFFF"/>
                </a:solidFill>
                <a:effectLst/>
                <a:uLnTx/>
                <a:uFillTx/>
                <a:latin typeface="Calibri" panose="020F0502020204030204"/>
                <a:ea typeface="+mn-ea"/>
                <a:cs typeface="Poppins SemiBold"/>
              </a:rPr>
              <a:t>We provide super sacks to store your plastic and aluminum</a:t>
            </a:r>
            <a:r>
              <a:rPr lang="en-US" b="0" spc="0">
                <a:solidFill>
                  <a:srgbClr val="FFFFFF"/>
                </a:solidFill>
                <a:latin typeface="Calibri" panose="020F0502020204030204"/>
                <a:cs typeface="Poppins SemiBold"/>
              </a:rPr>
              <a:t>. Material must be separated.</a:t>
            </a: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Poppins SemiBold" pitchFamily="2" charset="77"/>
            </a:endParaRPr>
          </a:p>
        </p:txBody>
      </p:sp>
      <p:sp>
        <p:nvSpPr>
          <p:cNvPr id="17" name="TextBox 16">
            <a:extLst>
              <a:ext uri="{FF2B5EF4-FFF2-40B4-BE49-F238E27FC236}">
                <a16:creationId xmlns:a16="http://schemas.microsoft.com/office/drawing/2014/main" id="{2E8A965C-0D34-92B5-EB18-4BC433D51E8B}"/>
              </a:ext>
            </a:extLst>
          </p:cNvPr>
          <p:cNvSpPr txBox="1"/>
          <p:nvPr/>
        </p:nvSpPr>
        <p:spPr>
          <a:xfrm>
            <a:off x="1019267" y="3048066"/>
            <a:ext cx="2593074" cy="1600438"/>
          </a:xfrm>
          <a:prstGeom prst="rect">
            <a:avLst/>
          </a:prstGeom>
          <a:noFill/>
        </p:spPr>
        <p:txBody>
          <a:bodyPr wrap="square" lIns="91440" tIns="45720" rIns="91440" bIns="45720" rtlCol="0" anchor="t">
            <a:spAutoFit/>
          </a:bodyPr>
          <a:lstStyle/>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Poppins"/>
              </a:rPr>
              <a:t>Jackson, MS</a:t>
            </a: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Poppins"/>
              </a:rPr>
              <a:t>Miami, FL</a:t>
            </a: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Poppins"/>
              </a:rPr>
              <a:t>Denver, CO</a:t>
            </a: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Poppins"/>
              </a:rPr>
              <a:t>Phoenix, AZ</a:t>
            </a: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Poppins"/>
              </a:rPr>
              <a:t>Flagstaff, AZ</a:t>
            </a: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Poppins" pitchFamily="2" charset="77"/>
              </a:rPr>
              <a:t>Chicago, IL</a:t>
            </a:r>
          </a:p>
          <a:p>
            <a:pPr marL="914400" marR="0" lvl="2"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Poppins" pitchFamily="2" charset="77"/>
            </a:endParaRPr>
          </a:p>
        </p:txBody>
      </p:sp>
      <p:sp>
        <p:nvSpPr>
          <p:cNvPr id="19" name="TextBox 18">
            <a:extLst>
              <a:ext uri="{FF2B5EF4-FFF2-40B4-BE49-F238E27FC236}">
                <a16:creationId xmlns:a16="http://schemas.microsoft.com/office/drawing/2014/main" id="{9B4ECEB0-0A67-4097-99EC-53F5A8B2779C}"/>
              </a:ext>
            </a:extLst>
          </p:cNvPr>
          <p:cNvSpPr txBox="1"/>
          <p:nvPr/>
        </p:nvSpPr>
        <p:spPr>
          <a:xfrm>
            <a:off x="-670564" y="3055046"/>
            <a:ext cx="3194921" cy="1384995"/>
          </a:xfrm>
          <a:prstGeom prst="rect">
            <a:avLst/>
          </a:prstGeom>
          <a:noFill/>
        </p:spPr>
        <p:txBody>
          <a:bodyPr wrap="square" lIns="91440" tIns="45720" rIns="91440" bIns="45720" anchor="t">
            <a:spAutoFit/>
          </a:bodyPr>
          <a:lstStyle/>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Poppins" pitchFamily="2" charset="77"/>
              </a:rPr>
              <a:t>San Antonio, TX</a:t>
            </a: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Poppins" pitchFamily="2" charset="77"/>
              <a:sym typeface="Poppins SemiBold"/>
            </a:endParaRP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Poppins" pitchFamily="2" charset="77"/>
              </a:rPr>
              <a:t>Houston, TX</a:t>
            </a: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Poppins" pitchFamily="2" charset="77"/>
              </a:rPr>
              <a:t>Dallas, TX</a:t>
            </a: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Poppins" pitchFamily="2" charset="77"/>
              </a:rPr>
              <a:t>Tulsa, OK</a:t>
            </a: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Poppins" pitchFamily="2" charset="77"/>
              </a:rPr>
              <a:t>Oklahoma City, OK</a:t>
            </a: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anose="020F0502020204030204"/>
                <a:ea typeface="+mn-ea"/>
                <a:cs typeface="Poppins"/>
              </a:rPr>
              <a:t>Los Angeles, CA</a:t>
            </a: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Poppins" pitchFamily="2" charset="77"/>
            </a:endParaRPr>
          </a:p>
        </p:txBody>
      </p:sp>
      <p:sp>
        <p:nvSpPr>
          <p:cNvPr id="20" name="TextBox 19">
            <a:extLst>
              <a:ext uri="{FF2B5EF4-FFF2-40B4-BE49-F238E27FC236}">
                <a16:creationId xmlns:a16="http://schemas.microsoft.com/office/drawing/2014/main" id="{E928AF91-79C9-595B-F42F-B10BC0CA62AB}"/>
              </a:ext>
            </a:extLst>
          </p:cNvPr>
          <p:cNvSpPr txBox="1"/>
          <p:nvPr/>
        </p:nvSpPr>
        <p:spPr>
          <a:xfrm>
            <a:off x="143476" y="2634017"/>
            <a:ext cx="301632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a:ea typeface="+mn-ea"/>
                <a:cs typeface="+mn-cs"/>
              </a:rPr>
              <a:t>Current Markets</a:t>
            </a:r>
          </a:p>
        </p:txBody>
      </p:sp>
      <p:sp>
        <p:nvSpPr>
          <p:cNvPr id="22" name="TextBox 21">
            <a:extLst>
              <a:ext uri="{FF2B5EF4-FFF2-40B4-BE49-F238E27FC236}">
                <a16:creationId xmlns:a16="http://schemas.microsoft.com/office/drawing/2014/main" id="{80330DD4-5DF7-9062-CB7B-A0C0E0BBE7CB}"/>
              </a:ext>
            </a:extLst>
          </p:cNvPr>
          <p:cNvSpPr txBox="1"/>
          <p:nvPr/>
        </p:nvSpPr>
        <p:spPr>
          <a:xfrm>
            <a:off x="105151" y="4486858"/>
            <a:ext cx="3013793" cy="1733808"/>
          </a:xfrm>
          <a:prstGeom prst="rect">
            <a:avLst/>
          </a:prstGeom>
          <a:noFill/>
        </p:spPr>
        <p:txBody>
          <a:bodyPr wrap="square" lIns="91440" tIns="45720" rIns="91440" bIns="45720" anchor="t">
            <a:spAutoFit/>
          </a:bodyPr>
          <a:lstStyle/>
          <a:p>
            <a:pPr marL="285750" indent="-285750">
              <a:spcBef>
                <a:spcPts val="400"/>
              </a:spcBef>
              <a:buFont typeface="Arial" panose="020B0604020202020204" pitchFamily="34" charset="0"/>
              <a:buChar char="•"/>
              <a:defRPr/>
            </a:pPr>
            <a:r>
              <a:rPr lang="en-US" sz="1100">
                <a:solidFill>
                  <a:srgbClr val="000000"/>
                </a:solidFill>
                <a:latin typeface="Calibri" panose="020F0502020204030204"/>
                <a:cs typeface="Calibri"/>
              </a:rPr>
              <a:t>New markets possible (3-week lead time to confirm)</a:t>
            </a:r>
            <a:endParaRPr lang="en-US" sz="1100" b="0" i="0" u="none" strike="noStrike" kern="1200" cap="none" spc="0" normalizeH="0" baseline="0" noProof="0">
              <a:ln>
                <a:noFill/>
              </a:ln>
              <a:solidFill>
                <a:srgbClr val="000000"/>
              </a:solidFill>
              <a:effectLst/>
              <a:uLnTx/>
              <a:uFillTx/>
              <a:latin typeface="Calibri" panose="020F0502020204030204"/>
              <a:cs typeface="Calibri"/>
            </a:endParaRPr>
          </a:p>
          <a:p>
            <a:pPr marL="2857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Partners with high volume, traffic, onsite consumption </a:t>
            </a:r>
            <a:endParaRPr lang="en-US" sz="1100" b="0" i="0" u="none" strike="noStrike" kern="1200" cap="none" spc="0" normalizeH="0" baseline="0" noProof="0">
              <a:ln>
                <a:noFill/>
              </a:ln>
              <a:solidFill>
                <a:srgbClr val="000000"/>
              </a:solidFill>
              <a:effectLst/>
              <a:uLnTx/>
              <a:uFillTx/>
              <a:latin typeface="Calibri" panose="020F0502020204030204"/>
              <a:cs typeface="Calibri"/>
            </a:endParaRPr>
          </a:p>
          <a:p>
            <a:pPr marL="285750" indent="-285750">
              <a:spcBef>
                <a:spcPts val="400"/>
              </a:spcBef>
              <a:buFont typeface="Arial" panose="020B0604020202020204" pitchFamily="34" charset="0"/>
              <a:buChar char="•"/>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Onsite storage space for 28 super sacks (3’x 3’ x 4’ each), or placement of 20 ft shipping</a:t>
            </a: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 </a:t>
            </a: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container</a:t>
            </a:r>
            <a:r>
              <a:rPr lang="en-US" sz="1100">
                <a:solidFill>
                  <a:srgbClr val="000000"/>
                </a:solidFill>
                <a:latin typeface="Calibri" panose="020F0502020204030204"/>
              </a:rPr>
              <a:t>. Storage requirement not applicable for markets in which Pepsi can backhaul recyclables (TBC)</a:t>
            </a:r>
            <a:endParaRPr lang="en-US" sz="1100" b="0" i="0" u="none" strike="noStrike" kern="1200" cap="none" spc="0" normalizeH="0" baseline="0" noProof="0">
              <a:ln>
                <a:noFill/>
              </a:ln>
              <a:solidFill>
                <a:srgbClr val="000000"/>
              </a:solidFill>
              <a:effectLst/>
              <a:uLnTx/>
              <a:uFillTx/>
              <a:latin typeface="Calibri" panose="020F0502020204030204"/>
              <a:cs typeface="Calibri"/>
            </a:endParaRPr>
          </a:p>
        </p:txBody>
      </p:sp>
      <p:pic>
        <p:nvPicPr>
          <p:cNvPr id="18" name="Picture 17" descr="A logo with white lines and blue text&#10;&#10;Description automatically generated">
            <a:extLst>
              <a:ext uri="{FF2B5EF4-FFF2-40B4-BE49-F238E27FC236}">
                <a16:creationId xmlns:a16="http://schemas.microsoft.com/office/drawing/2014/main" id="{79951711-E7C2-08B9-A548-04305FA25CF1}"/>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7634606" y="124418"/>
            <a:ext cx="3119079" cy="1289219"/>
          </a:xfrm>
          <a:prstGeom prst="rect">
            <a:avLst/>
          </a:prstGeom>
        </p:spPr>
      </p:pic>
    </p:spTree>
    <p:extLst>
      <p:ext uri="{BB962C8B-B14F-4D97-AF65-F5344CB8AC3E}">
        <p14:creationId xmlns:p14="http://schemas.microsoft.com/office/powerpoint/2010/main" val="28421547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84" name="Graphic 4183">
            <a:extLst>
              <a:ext uri="{FF2B5EF4-FFF2-40B4-BE49-F238E27FC236}">
                <a16:creationId xmlns:a16="http://schemas.microsoft.com/office/drawing/2014/main" id="{09EAF48A-C151-0626-D8B6-23E426A1A509}"/>
              </a:ext>
            </a:extLst>
          </p:cNvPr>
          <p:cNvPicPr>
            <a:picLocks noChangeAspect="1"/>
          </p:cNvPicPr>
          <p:nvPr/>
        </p:nvPicPr>
        <p:blipFill rotWithShape="1">
          <a:blip r:embed="rId4">
            <a:alphaModFix amt="18000"/>
            <a:duotone>
              <a:prstClr val="black"/>
              <a:schemeClr val="accent6">
                <a:tint val="45000"/>
                <a:satMod val="400000"/>
              </a:schemeClr>
            </a:duotone>
            <a:extLst>
              <a:ext uri="{96DAC541-7B7A-43D3-8B79-37D633B846F1}">
                <asvg:svgBlip xmlns:asvg="http://schemas.microsoft.com/office/drawing/2016/SVG/main" r:embed="rId5"/>
              </a:ext>
            </a:extLst>
          </a:blip>
          <a:srcRect l="15575" t="46096" r="46613" b="5991"/>
          <a:stretch/>
        </p:blipFill>
        <p:spPr>
          <a:xfrm rot="5400000">
            <a:off x="7922574" y="2588575"/>
            <a:ext cx="3766339" cy="4772512"/>
          </a:xfrm>
          <a:custGeom>
            <a:avLst/>
            <a:gdLst>
              <a:gd name="connsiteX0" fmla="*/ 0 w 3766339"/>
              <a:gd name="connsiteY0" fmla="*/ 4772512 h 4772512"/>
              <a:gd name="connsiteX1" fmla="*/ 0 w 3766339"/>
              <a:gd name="connsiteY1" fmla="*/ 0 h 4772512"/>
              <a:gd name="connsiteX2" fmla="*/ 3766339 w 3766339"/>
              <a:gd name="connsiteY2" fmla="*/ 0 h 4772512"/>
              <a:gd name="connsiteX3" fmla="*/ 3766338 w 3766339"/>
              <a:gd name="connsiteY3" fmla="*/ 4772512 h 4772512"/>
            </a:gdLst>
            <a:ahLst/>
            <a:cxnLst>
              <a:cxn ang="0">
                <a:pos x="connsiteX0" y="connsiteY0"/>
              </a:cxn>
              <a:cxn ang="0">
                <a:pos x="connsiteX1" y="connsiteY1"/>
              </a:cxn>
              <a:cxn ang="0">
                <a:pos x="connsiteX2" y="connsiteY2"/>
              </a:cxn>
              <a:cxn ang="0">
                <a:pos x="connsiteX3" y="connsiteY3"/>
              </a:cxn>
            </a:cxnLst>
            <a:rect l="l" t="t" r="r" b="b"/>
            <a:pathLst>
              <a:path w="3766339" h="4772512">
                <a:moveTo>
                  <a:pt x="0" y="4772512"/>
                </a:moveTo>
                <a:lnTo>
                  <a:pt x="0" y="0"/>
                </a:lnTo>
                <a:lnTo>
                  <a:pt x="3766339" y="0"/>
                </a:lnTo>
                <a:lnTo>
                  <a:pt x="3766338" y="4772512"/>
                </a:lnTo>
                <a:close/>
              </a:path>
            </a:pathLst>
          </a:custGeom>
        </p:spPr>
      </p:pic>
      <p:sp>
        <p:nvSpPr>
          <p:cNvPr id="4142" name="Freeform: Shape 4141">
            <a:extLst>
              <a:ext uri="{FF2B5EF4-FFF2-40B4-BE49-F238E27FC236}">
                <a16:creationId xmlns:a16="http://schemas.microsoft.com/office/drawing/2014/main" id="{153D3346-079D-6B4D-8967-955F7D46731B}"/>
              </a:ext>
            </a:extLst>
          </p:cNvPr>
          <p:cNvSpPr>
            <a:spLocks/>
          </p:cNvSpPr>
          <p:nvPr/>
        </p:nvSpPr>
        <p:spPr>
          <a:xfrm>
            <a:off x="4420856" y="0"/>
            <a:ext cx="7771144" cy="3670300"/>
          </a:xfrm>
          <a:custGeom>
            <a:avLst/>
            <a:gdLst>
              <a:gd name="connsiteX0" fmla="*/ 0 w 7771144"/>
              <a:gd name="connsiteY0" fmla="*/ 0 h 3670300"/>
              <a:gd name="connsiteX1" fmla="*/ 182880 w 7771144"/>
              <a:gd name="connsiteY1" fmla="*/ 0 h 3670300"/>
              <a:gd name="connsiteX2" fmla="*/ 3161044 w 7771144"/>
              <a:gd name="connsiteY2" fmla="*/ 0 h 3670300"/>
              <a:gd name="connsiteX3" fmla="*/ 7771144 w 7771144"/>
              <a:gd name="connsiteY3" fmla="*/ 0 h 3670300"/>
              <a:gd name="connsiteX4" fmla="*/ 7771144 w 7771144"/>
              <a:gd name="connsiteY4" fmla="*/ 3670300 h 3670300"/>
              <a:gd name="connsiteX5" fmla="*/ 7687745 w 7771144"/>
              <a:gd name="connsiteY5" fmla="*/ 3670300 h 3670300"/>
              <a:gd name="connsiteX6" fmla="*/ 7472694 w 7771144"/>
              <a:gd name="connsiteY6" fmla="*/ 3455249 h 3670300"/>
              <a:gd name="connsiteX7" fmla="*/ 7472694 w 7771144"/>
              <a:gd name="connsiteY7" fmla="*/ 2374900 h 3670300"/>
              <a:gd name="connsiteX8" fmla="*/ 7472694 w 7771144"/>
              <a:gd name="connsiteY8" fmla="*/ 1319951 h 3670300"/>
              <a:gd name="connsiteX9" fmla="*/ 7257643 w 7771144"/>
              <a:gd name="connsiteY9" fmla="*/ 1104900 h 3670300"/>
              <a:gd name="connsiteX10" fmla="*/ 6253494 w 7771144"/>
              <a:gd name="connsiteY10" fmla="*/ 1104900 h 3670300"/>
              <a:gd name="connsiteX11" fmla="*/ 4652445 w 7771144"/>
              <a:gd name="connsiteY11" fmla="*/ 1104900 h 3670300"/>
              <a:gd name="connsiteX12" fmla="*/ 3161044 w 7771144"/>
              <a:gd name="connsiteY12" fmla="*/ 1104900 h 3670300"/>
              <a:gd name="connsiteX13" fmla="*/ 388198 w 7771144"/>
              <a:gd name="connsiteY13" fmla="*/ 1104900 h 3670300"/>
              <a:gd name="connsiteX14" fmla="*/ 205318 w 7771144"/>
              <a:gd name="connsiteY14" fmla="*/ 1104900 h 3670300"/>
              <a:gd name="connsiteX15" fmla="*/ 0 w 7771144"/>
              <a:gd name="connsiteY15" fmla="*/ 899582 h 367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771144" h="3670300">
                <a:moveTo>
                  <a:pt x="0" y="0"/>
                </a:moveTo>
                <a:lnTo>
                  <a:pt x="182880" y="0"/>
                </a:lnTo>
                <a:lnTo>
                  <a:pt x="3161044" y="0"/>
                </a:lnTo>
                <a:lnTo>
                  <a:pt x="7771144" y="0"/>
                </a:lnTo>
                <a:lnTo>
                  <a:pt x="7771144" y="3670300"/>
                </a:lnTo>
                <a:lnTo>
                  <a:pt x="7687745" y="3670300"/>
                </a:lnTo>
                <a:cubicBezTo>
                  <a:pt x="7568976" y="3670300"/>
                  <a:pt x="7472694" y="3574018"/>
                  <a:pt x="7472694" y="3455249"/>
                </a:cubicBezTo>
                <a:lnTo>
                  <a:pt x="7472694" y="2374900"/>
                </a:lnTo>
                <a:lnTo>
                  <a:pt x="7472694" y="1319951"/>
                </a:lnTo>
                <a:cubicBezTo>
                  <a:pt x="7472694" y="1201182"/>
                  <a:pt x="7376412" y="1104900"/>
                  <a:pt x="7257643" y="1104900"/>
                </a:cubicBezTo>
                <a:lnTo>
                  <a:pt x="6253494" y="1104900"/>
                </a:lnTo>
                <a:lnTo>
                  <a:pt x="4652445" y="1104900"/>
                </a:lnTo>
                <a:lnTo>
                  <a:pt x="3161044" y="1104900"/>
                </a:lnTo>
                <a:lnTo>
                  <a:pt x="388198" y="1104900"/>
                </a:lnTo>
                <a:lnTo>
                  <a:pt x="205318" y="1104900"/>
                </a:lnTo>
                <a:cubicBezTo>
                  <a:pt x="91924" y="1104900"/>
                  <a:pt x="0" y="1012976"/>
                  <a:pt x="0" y="899582"/>
                </a:cubicBezTo>
                <a:close/>
              </a:path>
            </a:pathLst>
          </a:custGeom>
          <a:solidFill>
            <a:srgbClr val="133CCF"/>
          </a:solidFill>
          <a:ln>
            <a:noFill/>
          </a:ln>
          <a:effectLst>
            <a:innerShdw blurRad="177800" dist="50800" dir="2700000">
              <a:prstClr val="black">
                <a:alpha val="20000"/>
              </a:prstClr>
            </a:inn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96" name="Freeform: Shape 4095">
            <a:extLst>
              <a:ext uri="{FF2B5EF4-FFF2-40B4-BE49-F238E27FC236}">
                <a16:creationId xmlns:a16="http://schemas.microsoft.com/office/drawing/2014/main" id="{3551B8D3-C984-4080-FCC3-E89E5E02A0E1}"/>
              </a:ext>
            </a:extLst>
          </p:cNvPr>
          <p:cNvSpPr>
            <a:spLocks/>
          </p:cNvSpPr>
          <p:nvPr/>
        </p:nvSpPr>
        <p:spPr>
          <a:xfrm>
            <a:off x="0" y="-1"/>
            <a:ext cx="4237976" cy="6858000"/>
          </a:xfrm>
          <a:custGeom>
            <a:avLst/>
            <a:gdLst>
              <a:gd name="connsiteX0" fmla="*/ 0 w 4237976"/>
              <a:gd name="connsiteY0" fmla="*/ 0 h 6858000"/>
              <a:gd name="connsiteX1" fmla="*/ 33338 w 4237976"/>
              <a:gd name="connsiteY1" fmla="*/ 0 h 6858000"/>
              <a:gd name="connsiteX2" fmla="*/ 4204638 w 4237976"/>
              <a:gd name="connsiteY2" fmla="*/ 0 h 6858000"/>
              <a:gd name="connsiteX3" fmla="*/ 4237976 w 4237976"/>
              <a:gd name="connsiteY3" fmla="*/ 0 h 6858000"/>
              <a:gd name="connsiteX4" fmla="*/ 4237976 w 4237976"/>
              <a:gd name="connsiteY4" fmla="*/ 3115491 h 6858000"/>
              <a:gd name="connsiteX5" fmla="*/ 4015907 w 4237976"/>
              <a:gd name="connsiteY5" fmla="*/ 3337561 h 6858000"/>
              <a:gd name="connsiteX6" fmla="*/ 3982569 w 4237976"/>
              <a:gd name="connsiteY6" fmla="*/ 3337561 h 6858000"/>
              <a:gd name="connsiteX7" fmla="*/ 1513795 w 4237976"/>
              <a:gd name="connsiteY7" fmla="*/ 3337561 h 6858000"/>
              <a:gd name="connsiteX8" fmla="*/ 1480457 w 4237976"/>
              <a:gd name="connsiteY8" fmla="*/ 3337561 h 6858000"/>
              <a:gd name="connsiteX9" fmla="*/ 721678 w 4237976"/>
              <a:gd name="connsiteY9" fmla="*/ 3337561 h 6858000"/>
              <a:gd name="connsiteX10" fmla="*/ 630238 w 4237976"/>
              <a:gd name="connsiteY10" fmla="*/ 3429001 h 6858000"/>
              <a:gd name="connsiteX11" fmla="*/ 721678 w 4237976"/>
              <a:gd name="connsiteY11" fmla="*/ 3520441 h 6858000"/>
              <a:gd name="connsiteX12" fmla="*/ 3982578 w 4237976"/>
              <a:gd name="connsiteY12" fmla="*/ 3520441 h 6858000"/>
              <a:gd name="connsiteX13" fmla="*/ 4015916 w 4237976"/>
              <a:gd name="connsiteY13" fmla="*/ 3520441 h 6858000"/>
              <a:gd name="connsiteX14" fmla="*/ 4060662 w 4237976"/>
              <a:gd name="connsiteY14" fmla="*/ 3524952 h 6858000"/>
              <a:gd name="connsiteX15" fmla="*/ 4237976 w 4237976"/>
              <a:gd name="connsiteY15" fmla="*/ 3742509 h 6858000"/>
              <a:gd name="connsiteX16" fmla="*/ 4237976 w 4237976"/>
              <a:gd name="connsiteY16" fmla="*/ 6858000 h 6858000"/>
              <a:gd name="connsiteX17" fmla="*/ 4204638 w 4237976"/>
              <a:gd name="connsiteY17" fmla="*/ 6858000 h 6858000"/>
              <a:gd name="connsiteX18" fmla="*/ 33338 w 4237976"/>
              <a:gd name="connsiteY18" fmla="*/ 6858000 h 6858000"/>
              <a:gd name="connsiteX19" fmla="*/ 0 w 4237976"/>
              <a:gd name="connsiteY19" fmla="*/ 6858000 h 6858000"/>
              <a:gd name="connsiteX20" fmla="*/ 0 w 4237976"/>
              <a:gd name="connsiteY20" fmla="*/ 5756729 h 6858000"/>
              <a:gd name="connsiteX21" fmla="*/ 0 w 4237976"/>
              <a:gd name="connsiteY21" fmla="*/ 110127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237976" h="6858000">
                <a:moveTo>
                  <a:pt x="0" y="0"/>
                </a:moveTo>
                <a:lnTo>
                  <a:pt x="33338" y="0"/>
                </a:lnTo>
                <a:lnTo>
                  <a:pt x="4204638" y="0"/>
                </a:lnTo>
                <a:lnTo>
                  <a:pt x="4237976" y="0"/>
                </a:lnTo>
                <a:lnTo>
                  <a:pt x="4237976" y="3115491"/>
                </a:lnTo>
                <a:cubicBezTo>
                  <a:pt x="4237976" y="3238136"/>
                  <a:pt x="4138552" y="3337561"/>
                  <a:pt x="4015907" y="3337561"/>
                </a:cubicBezTo>
                <a:lnTo>
                  <a:pt x="3982569" y="3337561"/>
                </a:lnTo>
                <a:lnTo>
                  <a:pt x="1513795" y="3337561"/>
                </a:lnTo>
                <a:lnTo>
                  <a:pt x="1480457" y="3337561"/>
                </a:lnTo>
                <a:lnTo>
                  <a:pt x="721678" y="3337561"/>
                </a:lnTo>
                <a:cubicBezTo>
                  <a:pt x="671177" y="3337561"/>
                  <a:pt x="630238" y="3378500"/>
                  <a:pt x="630238" y="3429001"/>
                </a:cubicBezTo>
                <a:cubicBezTo>
                  <a:pt x="630238" y="3479502"/>
                  <a:pt x="671177" y="3520441"/>
                  <a:pt x="721678" y="3520441"/>
                </a:cubicBezTo>
                <a:lnTo>
                  <a:pt x="3982578" y="3520441"/>
                </a:lnTo>
                <a:lnTo>
                  <a:pt x="4015916" y="3520441"/>
                </a:lnTo>
                <a:lnTo>
                  <a:pt x="4060662" y="3524952"/>
                </a:lnTo>
                <a:cubicBezTo>
                  <a:pt x="4161855" y="3545659"/>
                  <a:pt x="4237976" y="3635195"/>
                  <a:pt x="4237976" y="3742509"/>
                </a:cubicBezTo>
                <a:lnTo>
                  <a:pt x="4237976" y="6858000"/>
                </a:lnTo>
                <a:lnTo>
                  <a:pt x="4204638" y="6858000"/>
                </a:lnTo>
                <a:lnTo>
                  <a:pt x="33338" y="6858000"/>
                </a:lnTo>
                <a:lnTo>
                  <a:pt x="0" y="6858000"/>
                </a:lnTo>
                <a:lnTo>
                  <a:pt x="0" y="5756729"/>
                </a:lnTo>
                <a:lnTo>
                  <a:pt x="0" y="1101271"/>
                </a:lnTo>
                <a:close/>
              </a:path>
            </a:pathLst>
          </a:custGeom>
          <a:solidFill>
            <a:srgbClr val="133CC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aphicFrame>
        <p:nvGraphicFramePr>
          <p:cNvPr id="2" name="think-cell data - do not delete" hidden="1">
            <a:extLst>
              <a:ext uri="{FF2B5EF4-FFF2-40B4-BE49-F238E27FC236}">
                <a16:creationId xmlns:a16="http://schemas.microsoft.com/office/drawing/2014/main" id="{C1C3C8FF-F6F0-FABB-E232-A83029DDAA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2" name="think-cell data - do not delete" hidden="1">
                        <a:extLst>
                          <a:ext uri="{FF2B5EF4-FFF2-40B4-BE49-F238E27FC236}">
                            <a16:creationId xmlns:a16="http://schemas.microsoft.com/office/drawing/2014/main" id="{C1C3C8FF-F6F0-FABB-E232-A83029DDAAC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E1FE82D9-0DFA-CA83-FDAE-BF586F9AAFF1}"/>
              </a:ext>
            </a:extLst>
          </p:cNvPr>
          <p:cNvSpPr txBox="1"/>
          <p:nvPr/>
        </p:nvSpPr>
        <p:spPr>
          <a:xfrm>
            <a:off x="4648200" y="128454"/>
            <a:ext cx="4784035" cy="80791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3200" b="1" i="0" u="none" strike="noStrike" kern="1200" cap="none" spc="0" normalizeH="0" baseline="0" noProof="0">
                <a:ln>
                  <a:noFill/>
                </a:ln>
                <a:solidFill>
                  <a:srgbClr val="FFFFFF"/>
                </a:solidFill>
                <a:effectLst/>
                <a:uLnTx/>
                <a:uFillTx/>
                <a:latin typeface="Calibri" panose="020F0502020204030204"/>
                <a:ea typeface="+mn-ea"/>
                <a:cs typeface="+mn-cs"/>
              </a:rPr>
              <a:t>FEATURES &amp; BENEFI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FFFFFF"/>
                </a:solidFill>
                <a:effectLst/>
                <a:uLnTx/>
                <a:uFillTx/>
                <a:latin typeface="Calibri" panose="020F0502020204030204"/>
                <a:ea typeface="+mn-ea"/>
                <a:cs typeface="+mn-cs"/>
              </a:rPr>
              <a:t>Showcasing Your Commitment To Sustainability</a:t>
            </a:r>
          </a:p>
        </p:txBody>
      </p:sp>
      <p:sp>
        <p:nvSpPr>
          <p:cNvPr id="28" name="Freeform: Shape 27">
            <a:extLst>
              <a:ext uri="{FF2B5EF4-FFF2-40B4-BE49-F238E27FC236}">
                <a16:creationId xmlns:a16="http://schemas.microsoft.com/office/drawing/2014/main" id="{E90A7C46-6780-4E7C-6623-34FE8C2078B1}"/>
              </a:ext>
            </a:extLst>
          </p:cNvPr>
          <p:cNvSpPr/>
          <p:nvPr/>
        </p:nvSpPr>
        <p:spPr>
          <a:xfrm>
            <a:off x="4237976" y="5943600"/>
            <a:ext cx="914400" cy="914400"/>
          </a:xfrm>
          <a:custGeom>
            <a:avLst/>
            <a:gdLst>
              <a:gd name="connsiteX0" fmla="*/ 0 w 914400"/>
              <a:gd name="connsiteY0" fmla="*/ 0 h 914400"/>
              <a:gd name="connsiteX1" fmla="*/ 914400 w 914400"/>
              <a:gd name="connsiteY1" fmla="*/ 914400 h 914400"/>
              <a:gd name="connsiteX2" fmla="*/ 0 w 914400"/>
              <a:gd name="connsiteY2" fmla="*/ 914400 h 914400"/>
            </a:gdLst>
            <a:ahLst/>
            <a:cxnLst>
              <a:cxn ang="0">
                <a:pos x="connsiteX0" y="connsiteY0"/>
              </a:cxn>
              <a:cxn ang="0">
                <a:pos x="connsiteX1" y="connsiteY1"/>
              </a:cxn>
              <a:cxn ang="0">
                <a:pos x="connsiteX2" y="connsiteY2"/>
              </a:cxn>
            </a:cxnLst>
            <a:rect l="l" t="t" r="r" b="b"/>
            <a:pathLst>
              <a:path w="914400" h="914400">
                <a:moveTo>
                  <a:pt x="0" y="0"/>
                </a:moveTo>
                <a:cubicBezTo>
                  <a:pt x="0" y="505009"/>
                  <a:pt x="409391" y="914400"/>
                  <a:pt x="914400" y="914400"/>
                </a:cubicBezTo>
                <a:lnTo>
                  <a:pt x="0" y="91440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51" name="Picture 50" descr="PepsiCo CIRQU powered by Replenysh - Integrated at Copper - YouTube">
            <a:extLst>
              <a:ext uri="{FF2B5EF4-FFF2-40B4-BE49-F238E27FC236}">
                <a16:creationId xmlns:a16="http://schemas.microsoft.com/office/drawing/2014/main" id="{3E15A2AF-0344-5A07-F209-37CF0923637F}"/>
              </a:ext>
            </a:extLst>
          </p:cNvPr>
          <p:cNvPicPr>
            <a:picLocks noChangeArrowheads="1"/>
          </p:cNvPicPr>
          <p:nvPr/>
        </p:nvPicPr>
        <p:blipFill rotWithShape="1">
          <a:blip r:embed="rId8" cstate="screen">
            <a:extLst>
              <a:ext uri="{28A0092B-C50C-407E-A947-70E740481C1C}">
                <a14:useLocalDpi xmlns:a14="http://schemas.microsoft.com/office/drawing/2010/main"/>
              </a:ext>
            </a:extLst>
          </a:blip>
          <a:srcRect l="24895" r="2311"/>
          <a:stretch/>
        </p:blipFill>
        <p:spPr bwMode="auto">
          <a:xfrm>
            <a:off x="90639" y="3657599"/>
            <a:ext cx="4023360" cy="3108960"/>
          </a:xfrm>
          <a:custGeom>
            <a:avLst/>
            <a:gdLst>
              <a:gd name="connsiteX0" fmla="*/ 160018 w 4023360"/>
              <a:gd name="connsiteY0" fmla="*/ 0 h 3108960"/>
              <a:gd name="connsiteX1" fmla="*/ 3863342 w 4023360"/>
              <a:gd name="connsiteY1" fmla="*/ 0 h 3108960"/>
              <a:gd name="connsiteX2" fmla="*/ 4023360 w 4023360"/>
              <a:gd name="connsiteY2" fmla="*/ 160018 h 3108960"/>
              <a:gd name="connsiteX3" fmla="*/ 4023360 w 4023360"/>
              <a:gd name="connsiteY3" fmla="*/ 2948942 h 3108960"/>
              <a:gd name="connsiteX4" fmla="*/ 3863342 w 4023360"/>
              <a:gd name="connsiteY4" fmla="*/ 3108960 h 3108960"/>
              <a:gd name="connsiteX5" fmla="*/ 160018 w 4023360"/>
              <a:gd name="connsiteY5" fmla="*/ 3108960 h 3108960"/>
              <a:gd name="connsiteX6" fmla="*/ 0 w 4023360"/>
              <a:gd name="connsiteY6" fmla="*/ 2948942 h 3108960"/>
              <a:gd name="connsiteX7" fmla="*/ 0 w 4023360"/>
              <a:gd name="connsiteY7" fmla="*/ 160018 h 3108960"/>
              <a:gd name="connsiteX8" fmla="*/ 160018 w 4023360"/>
              <a:gd name="connsiteY8" fmla="*/ 0 h 3108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23360" h="3108960">
                <a:moveTo>
                  <a:pt x="160018" y="0"/>
                </a:moveTo>
                <a:lnTo>
                  <a:pt x="3863342" y="0"/>
                </a:lnTo>
                <a:cubicBezTo>
                  <a:pt x="3951718" y="0"/>
                  <a:pt x="4023360" y="71642"/>
                  <a:pt x="4023360" y="160018"/>
                </a:cubicBezTo>
                <a:lnTo>
                  <a:pt x="4023360" y="2948942"/>
                </a:lnTo>
                <a:cubicBezTo>
                  <a:pt x="4023360" y="3037318"/>
                  <a:pt x="3951718" y="3108960"/>
                  <a:pt x="3863342" y="3108960"/>
                </a:cubicBezTo>
                <a:lnTo>
                  <a:pt x="160018" y="3108960"/>
                </a:lnTo>
                <a:cubicBezTo>
                  <a:pt x="71642" y="3108960"/>
                  <a:pt x="0" y="3037318"/>
                  <a:pt x="0" y="2948942"/>
                </a:cubicBezTo>
                <a:lnTo>
                  <a:pt x="0" y="160018"/>
                </a:lnTo>
                <a:cubicBezTo>
                  <a:pt x="0" y="71642"/>
                  <a:pt x="71642" y="0"/>
                  <a:pt x="160018" y="0"/>
                </a:cubicBezTo>
                <a:close/>
              </a:path>
            </a:pathLst>
          </a:custGeom>
          <a:extLst>
            <a:ext uri="{909E8E84-426E-40DD-AFC4-6F175D3DCCD1}">
              <a14:hiddenFill xmlns:a14="http://schemas.microsoft.com/office/drawing/2010/main">
                <a:solidFill>
                  <a:srgbClr val="FFFFFF"/>
                </a:solidFill>
              </a14:hiddenFill>
            </a:ext>
          </a:extLst>
        </p:spPr>
      </p:pic>
      <p:pic>
        <p:nvPicPr>
          <p:cNvPr id="50" name="Picture 49" descr="A white bag next to a white wall&#10;&#10;Description automatically generated">
            <a:extLst>
              <a:ext uri="{FF2B5EF4-FFF2-40B4-BE49-F238E27FC236}">
                <a16:creationId xmlns:a16="http://schemas.microsoft.com/office/drawing/2014/main" id="{54C2D32E-6E86-EA8D-BB35-D94692F9F378}"/>
              </a:ext>
            </a:extLst>
          </p:cNvPr>
          <p:cNvPicPr>
            <a:picLocks/>
          </p:cNvPicPr>
          <p:nvPr/>
        </p:nvPicPr>
        <p:blipFill rotWithShape="1">
          <a:blip r:embed="rId9"/>
          <a:srcRect t="227" b="227"/>
          <a:stretch/>
        </p:blipFill>
        <p:spPr>
          <a:xfrm>
            <a:off x="90639" y="91439"/>
            <a:ext cx="4023360" cy="3108960"/>
          </a:xfrm>
          <a:custGeom>
            <a:avLst/>
            <a:gdLst>
              <a:gd name="connsiteX0" fmla="*/ 121933 w 4023360"/>
              <a:gd name="connsiteY0" fmla="*/ 0 h 3108960"/>
              <a:gd name="connsiteX1" fmla="*/ 3901427 w 4023360"/>
              <a:gd name="connsiteY1" fmla="*/ 0 h 3108960"/>
              <a:gd name="connsiteX2" fmla="*/ 4023360 w 4023360"/>
              <a:gd name="connsiteY2" fmla="*/ 121933 h 3108960"/>
              <a:gd name="connsiteX3" fmla="*/ 4023360 w 4023360"/>
              <a:gd name="connsiteY3" fmla="*/ 2987027 h 3108960"/>
              <a:gd name="connsiteX4" fmla="*/ 3901427 w 4023360"/>
              <a:gd name="connsiteY4" fmla="*/ 3108960 h 3108960"/>
              <a:gd name="connsiteX5" fmla="*/ 121933 w 4023360"/>
              <a:gd name="connsiteY5" fmla="*/ 3108960 h 3108960"/>
              <a:gd name="connsiteX6" fmla="*/ 0 w 4023360"/>
              <a:gd name="connsiteY6" fmla="*/ 2987027 h 3108960"/>
              <a:gd name="connsiteX7" fmla="*/ 0 w 4023360"/>
              <a:gd name="connsiteY7" fmla="*/ 121933 h 3108960"/>
              <a:gd name="connsiteX8" fmla="*/ 121933 w 4023360"/>
              <a:gd name="connsiteY8" fmla="*/ 0 h 3108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23360" h="3108960">
                <a:moveTo>
                  <a:pt x="121933" y="0"/>
                </a:moveTo>
                <a:lnTo>
                  <a:pt x="3901427" y="0"/>
                </a:lnTo>
                <a:cubicBezTo>
                  <a:pt x="3968769" y="0"/>
                  <a:pt x="4023360" y="54591"/>
                  <a:pt x="4023360" y="121933"/>
                </a:cubicBezTo>
                <a:lnTo>
                  <a:pt x="4023360" y="2987027"/>
                </a:lnTo>
                <a:cubicBezTo>
                  <a:pt x="4023360" y="3054369"/>
                  <a:pt x="3968769" y="3108960"/>
                  <a:pt x="3901427" y="3108960"/>
                </a:cubicBezTo>
                <a:lnTo>
                  <a:pt x="121933" y="3108960"/>
                </a:lnTo>
                <a:cubicBezTo>
                  <a:pt x="54591" y="3108960"/>
                  <a:pt x="0" y="3054369"/>
                  <a:pt x="0" y="2987027"/>
                </a:cubicBezTo>
                <a:lnTo>
                  <a:pt x="0" y="121933"/>
                </a:lnTo>
                <a:cubicBezTo>
                  <a:pt x="0" y="54591"/>
                  <a:pt x="54591" y="0"/>
                  <a:pt x="121933" y="0"/>
                </a:cubicBezTo>
                <a:close/>
              </a:path>
            </a:pathLst>
          </a:custGeom>
        </p:spPr>
      </p:pic>
      <p:sp>
        <p:nvSpPr>
          <p:cNvPr id="61" name="Freeform: Shape 60">
            <a:extLst>
              <a:ext uri="{FF2B5EF4-FFF2-40B4-BE49-F238E27FC236}">
                <a16:creationId xmlns:a16="http://schemas.microsoft.com/office/drawing/2014/main" id="{7A11CEF8-6AF5-0D03-CC0A-A10669C73600}"/>
              </a:ext>
            </a:extLst>
          </p:cNvPr>
          <p:cNvSpPr/>
          <p:nvPr/>
        </p:nvSpPr>
        <p:spPr>
          <a:xfrm>
            <a:off x="90639" y="359172"/>
            <a:ext cx="2841246" cy="2841227"/>
          </a:xfrm>
          <a:custGeom>
            <a:avLst/>
            <a:gdLst>
              <a:gd name="connsiteX0" fmla="*/ 0 w 2841246"/>
              <a:gd name="connsiteY0" fmla="*/ 0 h 2841227"/>
              <a:gd name="connsiteX1" fmla="*/ 14668 w 2841246"/>
              <a:gd name="connsiteY1" fmla="*/ 290481 h 2841227"/>
              <a:gd name="connsiteX2" fmla="*/ 2841246 w 2841246"/>
              <a:gd name="connsiteY2" fmla="*/ 2841227 h 2841227"/>
              <a:gd name="connsiteX3" fmla="*/ 121933 w 2841246"/>
              <a:gd name="connsiteY3" fmla="*/ 2841227 h 2841227"/>
              <a:gd name="connsiteX4" fmla="*/ 0 w 2841246"/>
              <a:gd name="connsiteY4" fmla="*/ 2719294 h 2841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1246" h="2841227">
                <a:moveTo>
                  <a:pt x="0" y="0"/>
                </a:moveTo>
                <a:lnTo>
                  <a:pt x="14668" y="290481"/>
                </a:lnTo>
                <a:cubicBezTo>
                  <a:pt x="160169" y="1723198"/>
                  <a:pt x="1370142" y="2841227"/>
                  <a:pt x="2841246" y="2841227"/>
                </a:cubicBezTo>
                <a:lnTo>
                  <a:pt x="121933" y="2841227"/>
                </a:lnTo>
                <a:cubicBezTo>
                  <a:pt x="54591" y="2841227"/>
                  <a:pt x="0" y="2786636"/>
                  <a:pt x="0" y="2719294"/>
                </a:cubicBezTo>
                <a:close/>
              </a:path>
            </a:pathLst>
          </a:custGeom>
          <a:solidFill>
            <a:schemeClr val="accent5">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62" name="Picture 61" descr="A picture containing text, graphics, font, graphic design&#10;&#10;Description automatically generated">
            <a:extLst>
              <a:ext uri="{FF2B5EF4-FFF2-40B4-BE49-F238E27FC236}">
                <a16:creationId xmlns:a16="http://schemas.microsoft.com/office/drawing/2014/main" id="{21CD911D-CF52-48D5-8CC4-F611410F6812}"/>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l="19856" t="11473" r="19856" b="11473"/>
          <a:stretch/>
        </p:blipFill>
        <p:spPr>
          <a:xfrm>
            <a:off x="300189" y="2386964"/>
            <a:ext cx="517208" cy="661035"/>
          </a:xfrm>
          <a:prstGeom prst="rect">
            <a:avLst/>
          </a:prstGeom>
        </p:spPr>
      </p:pic>
      <p:grpSp>
        <p:nvGrpSpPr>
          <p:cNvPr id="4097" name="Group 4096">
            <a:extLst>
              <a:ext uri="{FF2B5EF4-FFF2-40B4-BE49-F238E27FC236}">
                <a16:creationId xmlns:a16="http://schemas.microsoft.com/office/drawing/2014/main" id="{C918103B-7B82-6A2E-70B6-A246B6BFEC08}"/>
              </a:ext>
            </a:extLst>
          </p:cNvPr>
          <p:cNvGrpSpPr/>
          <p:nvPr/>
        </p:nvGrpSpPr>
        <p:grpSpPr>
          <a:xfrm flipH="1">
            <a:off x="11231881" y="0"/>
            <a:ext cx="960119" cy="987942"/>
            <a:chOff x="0" y="-1390"/>
            <a:chExt cx="5292946" cy="5446328"/>
          </a:xfrm>
        </p:grpSpPr>
        <p:pic>
          <p:nvPicPr>
            <p:cNvPr id="4098" name="Picture 4097">
              <a:extLst>
                <a:ext uri="{FF2B5EF4-FFF2-40B4-BE49-F238E27FC236}">
                  <a16:creationId xmlns:a16="http://schemas.microsoft.com/office/drawing/2014/main" id="{28EFEBC1-A751-FAA5-9BFC-636B230BC190}"/>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0" y="-1390"/>
              <a:ext cx="5292946" cy="5286305"/>
            </a:xfrm>
            <a:prstGeom prst="rect">
              <a:avLst/>
            </a:prstGeom>
          </p:spPr>
        </p:pic>
        <p:pic>
          <p:nvPicPr>
            <p:cNvPr id="4099" name="Picture 4098">
              <a:extLst>
                <a:ext uri="{FF2B5EF4-FFF2-40B4-BE49-F238E27FC236}">
                  <a16:creationId xmlns:a16="http://schemas.microsoft.com/office/drawing/2014/main" id="{98E232F8-2E35-1593-296A-4F5D6044FCF7}"/>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165350" y="4549214"/>
              <a:ext cx="895724" cy="895724"/>
            </a:xfrm>
            <a:prstGeom prst="rect">
              <a:avLst/>
            </a:prstGeom>
          </p:spPr>
        </p:pic>
      </p:grpSp>
      <p:sp>
        <p:nvSpPr>
          <p:cNvPr id="4143" name="Rectangle: Rounded Corners 4142">
            <a:extLst>
              <a:ext uri="{FF2B5EF4-FFF2-40B4-BE49-F238E27FC236}">
                <a16:creationId xmlns:a16="http://schemas.microsoft.com/office/drawing/2014/main" id="{D13AF73E-EC4A-0B8A-AE49-20781F51A498}"/>
              </a:ext>
            </a:extLst>
          </p:cNvPr>
          <p:cNvSpPr>
            <a:spLocks/>
          </p:cNvSpPr>
          <p:nvPr/>
        </p:nvSpPr>
        <p:spPr>
          <a:xfrm>
            <a:off x="5372100" y="1395167"/>
            <a:ext cx="6222999" cy="5043732"/>
          </a:xfrm>
          <a:prstGeom prst="roundRect">
            <a:avLst>
              <a:gd name="adj" fmla="val 3153"/>
            </a:avLst>
          </a:prstGeom>
          <a:solidFill>
            <a:srgbClr val="0039B9"/>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144" name="Rectangle: Rounded Corners 4143">
            <a:extLst>
              <a:ext uri="{FF2B5EF4-FFF2-40B4-BE49-F238E27FC236}">
                <a16:creationId xmlns:a16="http://schemas.microsoft.com/office/drawing/2014/main" id="{8BB457E2-71E9-BE16-FB27-E3B8D85D07C7}"/>
              </a:ext>
            </a:extLst>
          </p:cNvPr>
          <p:cNvSpPr/>
          <p:nvPr/>
        </p:nvSpPr>
        <p:spPr>
          <a:xfrm>
            <a:off x="4843766" y="1395167"/>
            <a:ext cx="91440" cy="5043732"/>
          </a:xfrm>
          <a:prstGeom prst="roundRect">
            <a:avLst>
              <a:gd name="adj" fmla="val 50000"/>
            </a:avLst>
          </a:prstGeom>
          <a:solidFill>
            <a:srgbClr val="0065E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3" name="Group 2">
            <a:extLst>
              <a:ext uri="{FF2B5EF4-FFF2-40B4-BE49-F238E27FC236}">
                <a16:creationId xmlns:a16="http://schemas.microsoft.com/office/drawing/2014/main" id="{C383D822-F557-990E-A2D7-D2F8E135D286}"/>
              </a:ext>
            </a:extLst>
          </p:cNvPr>
          <p:cNvGrpSpPr/>
          <p:nvPr/>
        </p:nvGrpSpPr>
        <p:grpSpPr>
          <a:xfrm>
            <a:off x="4490692" y="1657617"/>
            <a:ext cx="797588" cy="797588"/>
            <a:chOff x="4469553" y="1636478"/>
            <a:chExt cx="839866" cy="839866"/>
          </a:xfrm>
        </p:grpSpPr>
        <p:pic>
          <p:nvPicPr>
            <p:cNvPr id="4188" name="Graphic 4187">
              <a:extLst>
                <a:ext uri="{FF2B5EF4-FFF2-40B4-BE49-F238E27FC236}">
                  <a16:creationId xmlns:a16="http://schemas.microsoft.com/office/drawing/2014/main" id="{1D7C7477-27E2-B101-FC1F-9EABF4BFA61D}"/>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rcRect l="2542" t="2542" r="2542" b="2542"/>
            <a:stretch>
              <a:fillRect/>
            </a:stretch>
          </p:blipFill>
          <p:spPr>
            <a:xfrm>
              <a:off x="4469553" y="1636478"/>
              <a:ext cx="839866" cy="839866"/>
            </a:xfrm>
            <a:custGeom>
              <a:avLst/>
              <a:gdLst>
                <a:gd name="connsiteX0" fmla="*/ 2438400 w 4876800"/>
                <a:gd name="connsiteY0" fmla="*/ 0 h 4876800"/>
                <a:gd name="connsiteX1" fmla="*/ 4876800 w 4876800"/>
                <a:gd name="connsiteY1" fmla="*/ 2438400 h 4876800"/>
                <a:gd name="connsiteX2" fmla="*/ 2438400 w 4876800"/>
                <a:gd name="connsiteY2" fmla="*/ 4876800 h 4876800"/>
                <a:gd name="connsiteX3" fmla="*/ 0 w 4876800"/>
                <a:gd name="connsiteY3" fmla="*/ 2438400 h 4876800"/>
                <a:gd name="connsiteX4" fmla="*/ 2438400 w 4876800"/>
                <a:gd name="connsiteY4" fmla="*/ 0 h 4876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6800" h="4876800">
                  <a:moveTo>
                    <a:pt x="2438400" y="0"/>
                  </a:moveTo>
                  <a:cubicBezTo>
                    <a:pt x="3785091" y="0"/>
                    <a:pt x="4876800" y="1091709"/>
                    <a:pt x="4876800" y="2438400"/>
                  </a:cubicBezTo>
                  <a:cubicBezTo>
                    <a:pt x="4876800" y="3785091"/>
                    <a:pt x="3785091" y="4876800"/>
                    <a:pt x="2438400" y="4876800"/>
                  </a:cubicBezTo>
                  <a:cubicBezTo>
                    <a:pt x="1091709" y="4876800"/>
                    <a:pt x="0" y="3785091"/>
                    <a:pt x="0" y="2438400"/>
                  </a:cubicBezTo>
                  <a:cubicBezTo>
                    <a:pt x="0" y="1091709"/>
                    <a:pt x="1091709" y="0"/>
                    <a:pt x="2438400" y="0"/>
                  </a:cubicBezTo>
                  <a:close/>
                </a:path>
              </a:pathLst>
            </a:custGeom>
          </p:spPr>
        </p:pic>
        <p:sp>
          <p:nvSpPr>
            <p:cNvPr id="4189" name="Oval 4188">
              <a:extLst>
                <a:ext uri="{FF2B5EF4-FFF2-40B4-BE49-F238E27FC236}">
                  <a16:creationId xmlns:a16="http://schemas.microsoft.com/office/drawing/2014/main" id="{3DC127A8-1D0E-0C1F-0A22-3F57AAB3E7D7}"/>
                </a:ext>
              </a:extLst>
            </p:cNvPr>
            <p:cNvSpPr/>
            <p:nvPr/>
          </p:nvSpPr>
          <p:spPr>
            <a:xfrm>
              <a:off x="4545662" y="1712588"/>
              <a:ext cx="687649" cy="68764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4187" name="Graphic 4186">
              <a:extLst>
                <a:ext uri="{FF2B5EF4-FFF2-40B4-BE49-F238E27FC236}">
                  <a16:creationId xmlns:a16="http://schemas.microsoft.com/office/drawing/2014/main" id="{CC12C74D-C562-E601-7A0E-1B6F975EB04F}"/>
                </a:ext>
              </a:extLst>
            </p:cNvPr>
            <p:cNvPicPr>
              <a:picLocks/>
            </p:cNvPicPr>
            <p:nvPr/>
          </p:nvPicPr>
          <p:blipFill>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655527" y="1822452"/>
              <a:ext cx="467920" cy="467920"/>
            </a:xfrm>
            <a:prstGeom prst="rect">
              <a:avLst/>
            </a:prstGeom>
          </p:spPr>
        </p:pic>
      </p:grpSp>
      <p:sp>
        <p:nvSpPr>
          <p:cNvPr id="4152" name="TextBox 4151">
            <a:extLst>
              <a:ext uri="{FF2B5EF4-FFF2-40B4-BE49-F238E27FC236}">
                <a16:creationId xmlns:a16="http://schemas.microsoft.com/office/drawing/2014/main" id="{E405C4BA-6B8E-E9D2-D03E-1BD484EEE088}"/>
              </a:ext>
            </a:extLst>
          </p:cNvPr>
          <p:cNvSpPr txBox="1"/>
          <p:nvPr/>
        </p:nvSpPr>
        <p:spPr>
          <a:xfrm>
            <a:off x="5552947" y="1652455"/>
            <a:ext cx="5861304" cy="807913"/>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FE2F3"/>
                </a:solidFill>
                <a:effectLst/>
                <a:uLnTx/>
                <a:uFillTx/>
                <a:latin typeface="Calibri" panose="020F0502020204030204"/>
                <a:ea typeface="+mn-ea"/>
                <a:cs typeface="+mn-cs"/>
              </a:rPr>
              <a:t>FUNDED BY PEPSICO</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rPr>
              <a:t>S</a:t>
            </a:r>
            <a:r>
              <a:rPr kumimoji="0" lang="en-US" sz="1600" b="0" i="0" u="none" strike="noStrike" kern="1200" cap="none" spc="0" normalizeH="0" baseline="0" noProof="0" err="1">
                <a:ln>
                  <a:noFill/>
                </a:ln>
                <a:solidFill>
                  <a:srgbClr val="FFFFFF"/>
                </a:solidFill>
                <a:effectLst/>
                <a:uLnTx/>
                <a:uFillTx/>
                <a:latin typeface="Calibri" panose="020F0502020204030204"/>
                <a:ea typeface="+mn-ea"/>
                <a:cs typeface="+mn-cs"/>
              </a:rPr>
              <a:t>upplies</a:t>
            </a:r>
            <a:r>
              <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rPr>
              <a:t>, training, and support make it easy to get started and involve your team!</a:t>
            </a:r>
          </a:p>
        </p:txBody>
      </p:sp>
      <p:sp>
        <p:nvSpPr>
          <p:cNvPr id="4153" name="Text Placeholder 3">
            <a:extLst>
              <a:ext uri="{FF2B5EF4-FFF2-40B4-BE49-F238E27FC236}">
                <a16:creationId xmlns:a16="http://schemas.microsoft.com/office/drawing/2014/main" id="{62454BFC-156C-410D-22D7-035F7E4F49AC}"/>
              </a:ext>
            </a:extLst>
          </p:cNvPr>
          <p:cNvSpPr txBox="1">
            <a:spLocks/>
          </p:cNvSpPr>
          <p:nvPr/>
        </p:nvSpPr>
        <p:spPr>
          <a:xfrm>
            <a:off x="5552947" y="2974944"/>
            <a:ext cx="5861304" cy="807913"/>
          </a:xfrm>
          <a:prstGeom prst="rect">
            <a:avLst/>
          </a:prstGeom>
        </p:spPr>
        <p:txBody>
          <a:bodyPr wrap="square" lIns="0" tIns="0" rIns="0" bIns="0">
            <a:spAutoFit/>
          </a:bodyPr>
          <a:lstStyle>
            <a:lvl1pPr marL="171450" indent="-171450" algn="l" defTabSz="914400" rtl="0" eaLnBrk="1" latinLnBrk="0" hangingPunct="1">
              <a:lnSpc>
                <a:spcPct val="90000"/>
              </a:lnSpc>
              <a:spcBef>
                <a:spcPts val="1000"/>
              </a:spcBef>
              <a:buFont typeface="Arial" panose="020B0604020202020204" pitchFamily="34" charset="0"/>
              <a:buChar char="•"/>
              <a:tabLst/>
              <a:defRPr sz="2800" kern="1200">
                <a:solidFill>
                  <a:srgbClr val="133CCF"/>
                </a:solidFill>
                <a:latin typeface="+mn-lt"/>
                <a:ea typeface="+mn-ea"/>
                <a:cs typeface="+mn-cs"/>
              </a:defRPr>
            </a:lvl1pPr>
            <a:lvl2pPr marL="344488" indent="-173038" algn="l" defTabSz="914400" rtl="0" eaLnBrk="1" latinLnBrk="0" hangingPunct="1">
              <a:lnSpc>
                <a:spcPct val="90000"/>
              </a:lnSpc>
              <a:spcBef>
                <a:spcPts val="500"/>
              </a:spcBef>
              <a:buSzPct val="70000"/>
              <a:buFont typeface="Courier New" panose="02070309020205020404" pitchFamily="49" charset="0"/>
              <a:buChar char="o"/>
              <a:tabLst/>
              <a:defRPr sz="1800" kern="1200">
                <a:solidFill>
                  <a:srgbClr val="133CCF"/>
                </a:solidFill>
                <a:latin typeface="+mn-lt"/>
                <a:ea typeface="+mn-ea"/>
                <a:cs typeface="+mn-cs"/>
              </a:defRPr>
            </a:lvl2pPr>
            <a:lvl3pPr marL="517525" indent="-173038" algn="l" defTabSz="914400" rtl="0" eaLnBrk="1" latinLnBrk="0" hangingPunct="1">
              <a:lnSpc>
                <a:spcPct val="90000"/>
              </a:lnSpc>
              <a:spcBef>
                <a:spcPts val="500"/>
              </a:spcBef>
              <a:buFont typeface="Wingdings" pitchFamily="2" charset="2"/>
              <a:buChar char="§"/>
              <a:tabLst/>
              <a:defRPr sz="1800" kern="1200">
                <a:solidFill>
                  <a:srgbClr val="133CCF"/>
                </a:solidFill>
                <a:latin typeface="+mn-lt"/>
                <a:ea typeface="+mn-ea"/>
                <a:cs typeface="+mn-cs"/>
              </a:defRPr>
            </a:lvl3pPr>
            <a:lvl4pPr marL="690563" indent="-173038" algn="l" defTabSz="914400" rtl="0" eaLnBrk="1" latinLnBrk="0" hangingPunct="1">
              <a:lnSpc>
                <a:spcPct val="90000"/>
              </a:lnSpc>
              <a:spcBef>
                <a:spcPts val="500"/>
              </a:spcBef>
              <a:buSzPct val="70000"/>
              <a:buFont typeface="Wingdings" pitchFamily="2" charset="2"/>
              <a:buChar char="q"/>
              <a:tabLst/>
              <a:defRPr sz="1800" kern="1200">
                <a:solidFill>
                  <a:srgbClr val="133CCF"/>
                </a:solidFill>
                <a:latin typeface="+mn-lt"/>
                <a:ea typeface="+mn-ea"/>
                <a:cs typeface="+mn-cs"/>
              </a:defRPr>
            </a:lvl4pPr>
            <a:lvl5pPr marL="863600" indent="-173038" algn="l" defTabSz="914400" rtl="0" eaLnBrk="1" latinLnBrk="0" hangingPunct="1">
              <a:lnSpc>
                <a:spcPct val="90000"/>
              </a:lnSpc>
              <a:spcBef>
                <a:spcPts val="500"/>
              </a:spcBef>
              <a:buSzPct val="80000"/>
              <a:buFont typeface="Wingdings" pitchFamily="2" charset="2"/>
              <a:buChar char="v"/>
              <a:tabLst/>
              <a:defRPr sz="1800" kern="1200">
                <a:solidFill>
                  <a:srgbClr val="133CC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4FE2F3"/>
                </a:solidFill>
                <a:effectLst/>
                <a:uLnTx/>
                <a:uFillTx/>
                <a:latin typeface="Calibri" panose="020F0502020204030204"/>
                <a:ea typeface="+mn-ea"/>
                <a:cs typeface="+mn-cs"/>
              </a:rPr>
              <a:t>IMPACT REPORTING</a:t>
            </a:r>
            <a:endParaRPr kumimoji="0" lang="en-US" sz="1800" b="0" i="0" u="none" strike="noStrike" kern="1200" cap="none" spc="0" normalizeH="0" baseline="0" noProof="0">
              <a:ln>
                <a:noFill/>
              </a:ln>
              <a:solidFill>
                <a:srgbClr val="4FE2F3"/>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rPr>
              <a:t>Trust that your material is being recycled and get shareable impact reports to publicly demonstrate your commitment to sustainability</a:t>
            </a:r>
            <a:endParaRPr kumimoji="0" lang="en-US" sz="16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154" name="Text Placeholder 4">
            <a:extLst>
              <a:ext uri="{FF2B5EF4-FFF2-40B4-BE49-F238E27FC236}">
                <a16:creationId xmlns:a16="http://schemas.microsoft.com/office/drawing/2014/main" id="{A13DB6EE-7281-1D36-2A41-22BE9E7AFE68}"/>
              </a:ext>
            </a:extLst>
          </p:cNvPr>
          <p:cNvSpPr txBox="1">
            <a:spLocks/>
          </p:cNvSpPr>
          <p:nvPr/>
        </p:nvSpPr>
        <p:spPr>
          <a:xfrm>
            <a:off x="5552947" y="4297433"/>
            <a:ext cx="5861304" cy="561692"/>
          </a:xfrm>
          <a:prstGeom prst="rect">
            <a:avLst/>
          </a:prstGeom>
        </p:spPr>
        <p:txBody>
          <a:bodyPr wrap="square" lIns="0" tIns="0" rIns="0" bIns="0">
            <a:spAutoFit/>
          </a:bodyPr>
          <a:lstStyle>
            <a:lvl1pPr marL="171450" indent="-171450" algn="l" defTabSz="914400" rtl="0" eaLnBrk="1" latinLnBrk="0" hangingPunct="1">
              <a:lnSpc>
                <a:spcPct val="90000"/>
              </a:lnSpc>
              <a:spcBef>
                <a:spcPts val="1000"/>
              </a:spcBef>
              <a:buFont typeface="Arial" panose="020B0604020202020204" pitchFamily="34" charset="0"/>
              <a:buChar char="•"/>
              <a:tabLst/>
              <a:defRPr sz="2800" kern="1200">
                <a:solidFill>
                  <a:srgbClr val="133CCF"/>
                </a:solidFill>
                <a:latin typeface="+mn-lt"/>
                <a:ea typeface="+mn-ea"/>
                <a:cs typeface="+mn-cs"/>
              </a:defRPr>
            </a:lvl1pPr>
            <a:lvl2pPr marL="344488" indent="-173038" algn="l" defTabSz="914400" rtl="0" eaLnBrk="1" latinLnBrk="0" hangingPunct="1">
              <a:lnSpc>
                <a:spcPct val="90000"/>
              </a:lnSpc>
              <a:spcBef>
                <a:spcPts val="500"/>
              </a:spcBef>
              <a:buSzPct val="70000"/>
              <a:buFont typeface="Courier New" panose="02070309020205020404" pitchFamily="49" charset="0"/>
              <a:buChar char="o"/>
              <a:tabLst/>
              <a:defRPr sz="1800" kern="1200">
                <a:solidFill>
                  <a:srgbClr val="133CCF"/>
                </a:solidFill>
                <a:latin typeface="+mn-lt"/>
                <a:ea typeface="+mn-ea"/>
                <a:cs typeface="+mn-cs"/>
              </a:defRPr>
            </a:lvl2pPr>
            <a:lvl3pPr marL="517525" indent="-173038" algn="l" defTabSz="914400" rtl="0" eaLnBrk="1" latinLnBrk="0" hangingPunct="1">
              <a:lnSpc>
                <a:spcPct val="90000"/>
              </a:lnSpc>
              <a:spcBef>
                <a:spcPts val="500"/>
              </a:spcBef>
              <a:buFont typeface="Wingdings" pitchFamily="2" charset="2"/>
              <a:buChar char="§"/>
              <a:tabLst/>
              <a:defRPr sz="1800" kern="1200">
                <a:solidFill>
                  <a:srgbClr val="133CCF"/>
                </a:solidFill>
                <a:latin typeface="+mn-lt"/>
                <a:ea typeface="+mn-ea"/>
                <a:cs typeface="+mn-cs"/>
              </a:defRPr>
            </a:lvl3pPr>
            <a:lvl4pPr marL="690563" indent="-173038" algn="l" defTabSz="914400" rtl="0" eaLnBrk="1" latinLnBrk="0" hangingPunct="1">
              <a:lnSpc>
                <a:spcPct val="90000"/>
              </a:lnSpc>
              <a:spcBef>
                <a:spcPts val="500"/>
              </a:spcBef>
              <a:buSzPct val="70000"/>
              <a:buFont typeface="Wingdings" pitchFamily="2" charset="2"/>
              <a:buChar char="q"/>
              <a:tabLst/>
              <a:defRPr sz="1800" kern="1200">
                <a:solidFill>
                  <a:srgbClr val="133CCF"/>
                </a:solidFill>
                <a:latin typeface="+mn-lt"/>
                <a:ea typeface="+mn-ea"/>
                <a:cs typeface="+mn-cs"/>
              </a:defRPr>
            </a:lvl4pPr>
            <a:lvl5pPr marL="863600" indent="-173038" algn="l" defTabSz="914400" rtl="0" eaLnBrk="1" latinLnBrk="0" hangingPunct="1">
              <a:lnSpc>
                <a:spcPct val="90000"/>
              </a:lnSpc>
              <a:spcBef>
                <a:spcPts val="500"/>
              </a:spcBef>
              <a:buSzPct val="80000"/>
              <a:buFont typeface="Wingdings" pitchFamily="2" charset="2"/>
              <a:buChar char="v"/>
              <a:tabLst/>
              <a:defRPr sz="1800" kern="1200">
                <a:solidFill>
                  <a:srgbClr val="133CC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4FE2F3"/>
                </a:solidFill>
                <a:effectLst/>
                <a:uLnTx/>
                <a:uFillTx/>
                <a:latin typeface="Calibri" panose="020F0502020204030204"/>
                <a:ea typeface="+mn-ea"/>
                <a:cs typeface="+mn-cs"/>
              </a:rPr>
              <a:t>FINANCIAL ADVANTAGES</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rPr>
              <a:t>Potentially reduce your waste service fees</a:t>
            </a:r>
            <a:endParaRPr kumimoji="0" lang="en-US" sz="16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155" name="Text Placeholder 1">
            <a:extLst>
              <a:ext uri="{FF2B5EF4-FFF2-40B4-BE49-F238E27FC236}">
                <a16:creationId xmlns:a16="http://schemas.microsoft.com/office/drawing/2014/main" id="{348F68CC-DD45-6ACF-53E7-6F88C1CCA917}"/>
              </a:ext>
            </a:extLst>
          </p:cNvPr>
          <p:cNvSpPr txBox="1">
            <a:spLocks/>
          </p:cNvSpPr>
          <p:nvPr/>
        </p:nvSpPr>
        <p:spPr>
          <a:xfrm>
            <a:off x="5552947" y="5373701"/>
            <a:ext cx="5861304" cy="807913"/>
          </a:xfrm>
          <a:prstGeom prst="rect">
            <a:avLst/>
          </a:prstGeom>
        </p:spPr>
        <p:txBody>
          <a:bodyPr wrap="square" lIns="0" tIns="0" rIns="0" bIns="0">
            <a:spAutoFit/>
          </a:bodyPr>
          <a:lstStyle>
            <a:lvl1pPr marL="171450" indent="-171450" algn="l" defTabSz="914400" rtl="0" eaLnBrk="1" latinLnBrk="0" hangingPunct="1">
              <a:lnSpc>
                <a:spcPct val="90000"/>
              </a:lnSpc>
              <a:spcBef>
                <a:spcPts val="1000"/>
              </a:spcBef>
              <a:buFont typeface="Arial" panose="020B0604020202020204" pitchFamily="34" charset="0"/>
              <a:buChar char="•"/>
              <a:tabLst/>
              <a:defRPr sz="2800" kern="1200">
                <a:solidFill>
                  <a:srgbClr val="133CCF"/>
                </a:solidFill>
                <a:latin typeface="+mn-lt"/>
                <a:ea typeface="+mn-ea"/>
                <a:cs typeface="+mn-cs"/>
              </a:defRPr>
            </a:lvl1pPr>
            <a:lvl2pPr marL="344488" indent="-173038" algn="l" defTabSz="914400" rtl="0" eaLnBrk="1" latinLnBrk="0" hangingPunct="1">
              <a:lnSpc>
                <a:spcPct val="90000"/>
              </a:lnSpc>
              <a:spcBef>
                <a:spcPts val="500"/>
              </a:spcBef>
              <a:buSzPct val="70000"/>
              <a:buFont typeface="Courier New" panose="02070309020205020404" pitchFamily="49" charset="0"/>
              <a:buChar char="o"/>
              <a:tabLst/>
              <a:defRPr sz="1800" kern="1200">
                <a:solidFill>
                  <a:srgbClr val="133CCF"/>
                </a:solidFill>
                <a:latin typeface="+mn-lt"/>
                <a:ea typeface="+mn-ea"/>
                <a:cs typeface="+mn-cs"/>
              </a:defRPr>
            </a:lvl2pPr>
            <a:lvl3pPr marL="517525" indent="-173038" algn="l" defTabSz="914400" rtl="0" eaLnBrk="1" latinLnBrk="0" hangingPunct="1">
              <a:lnSpc>
                <a:spcPct val="90000"/>
              </a:lnSpc>
              <a:spcBef>
                <a:spcPts val="500"/>
              </a:spcBef>
              <a:buFont typeface="Wingdings" pitchFamily="2" charset="2"/>
              <a:buChar char="§"/>
              <a:tabLst/>
              <a:defRPr sz="1800" kern="1200">
                <a:solidFill>
                  <a:srgbClr val="133CCF"/>
                </a:solidFill>
                <a:latin typeface="+mn-lt"/>
                <a:ea typeface="+mn-ea"/>
                <a:cs typeface="+mn-cs"/>
              </a:defRPr>
            </a:lvl3pPr>
            <a:lvl4pPr marL="690563" indent="-173038" algn="l" defTabSz="914400" rtl="0" eaLnBrk="1" latinLnBrk="0" hangingPunct="1">
              <a:lnSpc>
                <a:spcPct val="90000"/>
              </a:lnSpc>
              <a:spcBef>
                <a:spcPts val="500"/>
              </a:spcBef>
              <a:buSzPct val="70000"/>
              <a:buFont typeface="Wingdings" pitchFamily="2" charset="2"/>
              <a:buChar char="q"/>
              <a:tabLst/>
              <a:defRPr sz="1800" kern="1200">
                <a:solidFill>
                  <a:srgbClr val="133CCF"/>
                </a:solidFill>
                <a:latin typeface="+mn-lt"/>
                <a:ea typeface="+mn-ea"/>
                <a:cs typeface="+mn-cs"/>
              </a:defRPr>
            </a:lvl4pPr>
            <a:lvl5pPr marL="863600" indent="-173038" algn="l" defTabSz="914400" rtl="0" eaLnBrk="1" latinLnBrk="0" hangingPunct="1">
              <a:lnSpc>
                <a:spcPct val="90000"/>
              </a:lnSpc>
              <a:spcBef>
                <a:spcPts val="500"/>
              </a:spcBef>
              <a:buSzPct val="80000"/>
              <a:buFont typeface="Wingdings" pitchFamily="2" charset="2"/>
              <a:buChar char="v"/>
              <a:tabLst/>
              <a:defRPr sz="1800" kern="1200">
                <a:solidFill>
                  <a:srgbClr val="133CC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4FE2F3"/>
                </a:solidFill>
                <a:effectLst/>
                <a:uLnTx/>
                <a:uFillTx/>
                <a:latin typeface="Calibri" panose="020F0502020204030204"/>
                <a:ea typeface="+mn-ea"/>
                <a:cs typeface="+mn-cs"/>
              </a:rPr>
              <a:t>ENGAGEMENT</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rPr>
              <a:t>Opportunities to engage employees, partners, and the broader community in your efforts</a:t>
            </a:r>
          </a:p>
        </p:txBody>
      </p:sp>
      <p:cxnSp>
        <p:nvCxnSpPr>
          <p:cNvPr id="4156" name="Straight Connector 4155">
            <a:extLst>
              <a:ext uri="{FF2B5EF4-FFF2-40B4-BE49-F238E27FC236}">
                <a16:creationId xmlns:a16="http://schemas.microsoft.com/office/drawing/2014/main" id="{EDA9E3B4-35B0-0F83-8EC1-4C3E9AD8802F}"/>
              </a:ext>
            </a:extLst>
          </p:cNvPr>
          <p:cNvCxnSpPr>
            <a:cxnSpLocks/>
          </p:cNvCxnSpPr>
          <p:nvPr/>
        </p:nvCxnSpPr>
        <p:spPr>
          <a:xfrm>
            <a:off x="5552947" y="2717656"/>
            <a:ext cx="5861304" cy="0"/>
          </a:xfrm>
          <a:prstGeom prst="line">
            <a:avLst/>
          </a:prstGeom>
          <a:ln cap="rnd">
            <a:solidFill>
              <a:schemeClr val="bg1">
                <a:alpha val="68000"/>
              </a:schemeClr>
            </a:solidFill>
            <a:round/>
          </a:ln>
        </p:spPr>
        <p:style>
          <a:lnRef idx="1">
            <a:schemeClr val="accent1"/>
          </a:lnRef>
          <a:fillRef idx="0">
            <a:schemeClr val="accent1"/>
          </a:fillRef>
          <a:effectRef idx="0">
            <a:schemeClr val="accent1"/>
          </a:effectRef>
          <a:fontRef idx="minor">
            <a:schemeClr val="tx1"/>
          </a:fontRef>
        </p:style>
      </p:cxnSp>
      <p:cxnSp>
        <p:nvCxnSpPr>
          <p:cNvPr id="4157" name="Straight Connector 4156">
            <a:extLst>
              <a:ext uri="{FF2B5EF4-FFF2-40B4-BE49-F238E27FC236}">
                <a16:creationId xmlns:a16="http://schemas.microsoft.com/office/drawing/2014/main" id="{65D5985A-2807-8AE1-DD69-2CC0F557BF20}"/>
              </a:ext>
            </a:extLst>
          </p:cNvPr>
          <p:cNvCxnSpPr>
            <a:cxnSpLocks/>
          </p:cNvCxnSpPr>
          <p:nvPr/>
        </p:nvCxnSpPr>
        <p:spPr>
          <a:xfrm>
            <a:off x="5552947" y="4040145"/>
            <a:ext cx="5861304" cy="0"/>
          </a:xfrm>
          <a:prstGeom prst="line">
            <a:avLst/>
          </a:prstGeom>
          <a:ln cap="rnd">
            <a:solidFill>
              <a:schemeClr val="bg1">
                <a:alpha val="68000"/>
              </a:schemeClr>
            </a:solidFill>
            <a:round/>
          </a:ln>
        </p:spPr>
        <p:style>
          <a:lnRef idx="1">
            <a:schemeClr val="accent1"/>
          </a:lnRef>
          <a:fillRef idx="0">
            <a:schemeClr val="accent1"/>
          </a:fillRef>
          <a:effectRef idx="0">
            <a:schemeClr val="accent1"/>
          </a:effectRef>
          <a:fontRef idx="minor">
            <a:schemeClr val="tx1"/>
          </a:fontRef>
        </p:style>
      </p:cxnSp>
      <p:cxnSp>
        <p:nvCxnSpPr>
          <p:cNvPr id="4158" name="Straight Connector 4157">
            <a:extLst>
              <a:ext uri="{FF2B5EF4-FFF2-40B4-BE49-F238E27FC236}">
                <a16:creationId xmlns:a16="http://schemas.microsoft.com/office/drawing/2014/main" id="{E2C9F4FD-5539-76BC-D9FA-E7003D8DB49D}"/>
              </a:ext>
            </a:extLst>
          </p:cNvPr>
          <p:cNvCxnSpPr>
            <a:cxnSpLocks/>
          </p:cNvCxnSpPr>
          <p:nvPr/>
        </p:nvCxnSpPr>
        <p:spPr>
          <a:xfrm>
            <a:off x="5552947" y="5116413"/>
            <a:ext cx="5861304" cy="0"/>
          </a:xfrm>
          <a:prstGeom prst="line">
            <a:avLst/>
          </a:prstGeom>
          <a:ln cap="rnd">
            <a:solidFill>
              <a:schemeClr val="bg1">
                <a:alpha val="68000"/>
              </a:schemeClr>
            </a:solidFill>
            <a:round/>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19173672-3062-7953-1CE4-8A7F610AC42B}"/>
              </a:ext>
            </a:extLst>
          </p:cNvPr>
          <p:cNvGrpSpPr/>
          <p:nvPr/>
        </p:nvGrpSpPr>
        <p:grpSpPr>
          <a:xfrm>
            <a:off x="4490692" y="2980106"/>
            <a:ext cx="797588" cy="797588"/>
            <a:chOff x="4469553" y="2958967"/>
            <a:chExt cx="839866" cy="839866"/>
          </a:xfrm>
        </p:grpSpPr>
        <p:pic>
          <p:nvPicPr>
            <p:cNvPr id="4198" name="Graphic 4197">
              <a:extLst>
                <a:ext uri="{FF2B5EF4-FFF2-40B4-BE49-F238E27FC236}">
                  <a16:creationId xmlns:a16="http://schemas.microsoft.com/office/drawing/2014/main" id="{81B03D27-431A-14F5-CABA-8CDEA088F25F}"/>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rcRect l="2542" t="2542" r="2542" b="2542"/>
            <a:stretch>
              <a:fillRect/>
            </a:stretch>
          </p:blipFill>
          <p:spPr>
            <a:xfrm>
              <a:off x="4469553" y="2958967"/>
              <a:ext cx="839866" cy="839866"/>
            </a:xfrm>
            <a:custGeom>
              <a:avLst/>
              <a:gdLst>
                <a:gd name="connsiteX0" fmla="*/ 2438400 w 4876800"/>
                <a:gd name="connsiteY0" fmla="*/ 0 h 4876800"/>
                <a:gd name="connsiteX1" fmla="*/ 4876800 w 4876800"/>
                <a:gd name="connsiteY1" fmla="*/ 2438400 h 4876800"/>
                <a:gd name="connsiteX2" fmla="*/ 2438400 w 4876800"/>
                <a:gd name="connsiteY2" fmla="*/ 4876800 h 4876800"/>
                <a:gd name="connsiteX3" fmla="*/ 0 w 4876800"/>
                <a:gd name="connsiteY3" fmla="*/ 2438400 h 4876800"/>
                <a:gd name="connsiteX4" fmla="*/ 2438400 w 4876800"/>
                <a:gd name="connsiteY4" fmla="*/ 0 h 4876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6800" h="4876800">
                  <a:moveTo>
                    <a:pt x="2438400" y="0"/>
                  </a:moveTo>
                  <a:cubicBezTo>
                    <a:pt x="3785091" y="0"/>
                    <a:pt x="4876800" y="1091709"/>
                    <a:pt x="4876800" y="2438400"/>
                  </a:cubicBezTo>
                  <a:cubicBezTo>
                    <a:pt x="4876800" y="3785091"/>
                    <a:pt x="3785091" y="4876800"/>
                    <a:pt x="2438400" y="4876800"/>
                  </a:cubicBezTo>
                  <a:cubicBezTo>
                    <a:pt x="1091709" y="4876800"/>
                    <a:pt x="0" y="3785091"/>
                    <a:pt x="0" y="2438400"/>
                  </a:cubicBezTo>
                  <a:cubicBezTo>
                    <a:pt x="0" y="1091709"/>
                    <a:pt x="1091709" y="0"/>
                    <a:pt x="2438400" y="0"/>
                  </a:cubicBezTo>
                  <a:close/>
                </a:path>
              </a:pathLst>
            </a:custGeom>
          </p:spPr>
        </p:pic>
        <p:sp>
          <p:nvSpPr>
            <p:cNvPr id="4199" name="Oval 4198">
              <a:extLst>
                <a:ext uri="{FF2B5EF4-FFF2-40B4-BE49-F238E27FC236}">
                  <a16:creationId xmlns:a16="http://schemas.microsoft.com/office/drawing/2014/main" id="{D6A88770-0BCB-9D49-3F45-077024616885}"/>
                </a:ext>
              </a:extLst>
            </p:cNvPr>
            <p:cNvSpPr/>
            <p:nvPr/>
          </p:nvSpPr>
          <p:spPr>
            <a:xfrm>
              <a:off x="4545662" y="3035077"/>
              <a:ext cx="687649" cy="68764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4197" name="Graphic 4196">
              <a:extLst>
                <a:ext uri="{FF2B5EF4-FFF2-40B4-BE49-F238E27FC236}">
                  <a16:creationId xmlns:a16="http://schemas.microsoft.com/office/drawing/2014/main" id="{B4E39E25-1F50-5DA9-9C27-C11F318CC37B}"/>
                </a:ext>
              </a:extLst>
            </p:cNvPr>
            <p:cNvPicPr>
              <a:picLocks/>
            </p:cNvPicPr>
            <p:nvPr/>
          </p:nvPicPr>
          <p:blipFill>
            <a:blip r:embed="rId17" cstate="print">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4655527" y="3144941"/>
              <a:ext cx="467920" cy="467920"/>
            </a:xfrm>
            <a:prstGeom prst="rect">
              <a:avLst/>
            </a:prstGeom>
          </p:spPr>
        </p:pic>
      </p:grpSp>
      <p:grpSp>
        <p:nvGrpSpPr>
          <p:cNvPr id="7" name="Group 6">
            <a:extLst>
              <a:ext uri="{FF2B5EF4-FFF2-40B4-BE49-F238E27FC236}">
                <a16:creationId xmlns:a16="http://schemas.microsoft.com/office/drawing/2014/main" id="{4AD75E9F-316C-6913-8D04-5E02680F9695}"/>
              </a:ext>
            </a:extLst>
          </p:cNvPr>
          <p:cNvGrpSpPr/>
          <p:nvPr/>
        </p:nvGrpSpPr>
        <p:grpSpPr>
          <a:xfrm>
            <a:off x="4490692" y="4179485"/>
            <a:ext cx="797588" cy="797588"/>
            <a:chOff x="4469553" y="4158346"/>
            <a:chExt cx="839866" cy="839866"/>
          </a:xfrm>
        </p:grpSpPr>
        <p:pic>
          <p:nvPicPr>
            <p:cNvPr id="4193" name="Graphic 4192">
              <a:extLst>
                <a:ext uri="{FF2B5EF4-FFF2-40B4-BE49-F238E27FC236}">
                  <a16:creationId xmlns:a16="http://schemas.microsoft.com/office/drawing/2014/main" id="{6F3B3E5B-15EA-B4FA-D3B6-A3018BA6D701}"/>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rcRect l="2542" t="2542" r="2542" b="2542"/>
            <a:stretch>
              <a:fillRect/>
            </a:stretch>
          </p:blipFill>
          <p:spPr>
            <a:xfrm>
              <a:off x="4469553" y="4158346"/>
              <a:ext cx="839866" cy="839866"/>
            </a:xfrm>
            <a:custGeom>
              <a:avLst/>
              <a:gdLst>
                <a:gd name="connsiteX0" fmla="*/ 2438400 w 4876800"/>
                <a:gd name="connsiteY0" fmla="*/ 0 h 4876800"/>
                <a:gd name="connsiteX1" fmla="*/ 4876800 w 4876800"/>
                <a:gd name="connsiteY1" fmla="*/ 2438400 h 4876800"/>
                <a:gd name="connsiteX2" fmla="*/ 2438400 w 4876800"/>
                <a:gd name="connsiteY2" fmla="*/ 4876800 h 4876800"/>
                <a:gd name="connsiteX3" fmla="*/ 0 w 4876800"/>
                <a:gd name="connsiteY3" fmla="*/ 2438400 h 4876800"/>
                <a:gd name="connsiteX4" fmla="*/ 2438400 w 4876800"/>
                <a:gd name="connsiteY4" fmla="*/ 0 h 4876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6800" h="4876800">
                  <a:moveTo>
                    <a:pt x="2438400" y="0"/>
                  </a:moveTo>
                  <a:cubicBezTo>
                    <a:pt x="3785091" y="0"/>
                    <a:pt x="4876800" y="1091709"/>
                    <a:pt x="4876800" y="2438400"/>
                  </a:cubicBezTo>
                  <a:cubicBezTo>
                    <a:pt x="4876800" y="3785091"/>
                    <a:pt x="3785091" y="4876800"/>
                    <a:pt x="2438400" y="4876800"/>
                  </a:cubicBezTo>
                  <a:cubicBezTo>
                    <a:pt x="1091709" y="4876800"/>
                    <a:pt x="0" y="3785091"/>
                    <a:pt x="0" y="2438400"/>
                  </a:cubicBezTo>
                  <a:cubicBezTo>
                    <a:pt x="0" y="1091709"/>
                    <a:pt x="1091709" y="0"/>
                    <a:pt x="2438400" y="0"/>
                  </a:cubicBezTo>
                  <a:close/>
                </a:path>
              </a:pathLst>
            </a:custGeom>
          </p:spPr>
        </p:pic>
        <p:sp>
          <p:nvSpPr>
            <p:cNvPr id="4194" name="Oval 4193">
              <a:extLst>
                <a:ext uri="{FF2B5EF4-FFF2-40B4-BE49-F238E27FC236}">
                  <a16:creationId xmlns:a16="http://schemas.microsoft.com/office/drawing/2014/main" id="{26A97454-7446-9B2A-DF09-505E61FE1D2F}"/>
                </a:ext>
              </a:extLst>
            </p:cNvPr>
            <p:cNvSpPr/>
            <p:nvPr/>
          </p:nvSpPr>
          <p:spPr>
            <a:xfrm>
              <a:off x="4545662" y="4234456"/>
              <a:ext cx="687649" cy="68764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4192" name="Graphic 4191">
              <a:extLst>
                <a:ext uri="{FF2B5EF4-FFF2-40B4-BE49-F238E27FC236}">
                  <a16:creationId xmlns:a16="http://schemas.microsoft.com/office/drawing/2014/main" id="{C170A675-D8EC-C99C-955F-7FB9118DCA5C}"/>
                </a:ext>
              </a:extLst>
            </p:cNvPr>
            <p:cNvPicPr>
              <a:picLocks/>
            </p:cNvPicPr>
            <p:nvPr/>
          </p:nvPicPr>
          <p:blipFill>
            <a:blip r:embed="rId19" cstate="print">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4655527" y="4344320"/>
              <a:ext cx="467920" cy="467920"/>
            </a:xfrm>
            <a:prstGeom prst="rect">
              <a:avLst/>
            </a:prstGeom>
          </p:spPr>
        </p:pic>
      </p:grpSp>
      <p:grpSp>
        <p:nvGrpSpPr>
          <p:cNvPr id="8" name="Group 7">
            <a:extLst>
              <a:ext uri="{FF2B5EF4-FFF2-40B4-BE49-F238E27FC236}">
                <a16:creationId xmlns:a16="http://schemas.microsoft.com/office/drawing/2014/main" id="{EEBED84C-3381-7A25-34C4-CC6FDD2A2CE6}"/>
              </a:ext>
            </a:extLst>
          </p:cNvPr>
          <p:cNvGrpSpPr/>
          <p:nvPr/>
        </p:nvGrpSpPr>
        <p:grpSpPr>
          <a:xfrm>
            <a:off x="4490692" y="5378863"/>
            <a:ext cx="797588" cy="797588"/>
            <a:chOff x="4469553" y="5357724"/>
            <a:chExt cx="839866" cy="839866"/>
          </a:xfrm>
        </p:grpSpPr>
        <p:pic>
          <p:nvPicPr>
            <p:cNvPr id="4203" name="Graphic 4202">
              <a:extLst>
                <a:ext uri="{FF2B5EF4-FFF2-40B4-BE49-F238E27FC236}">
                  <a16:creationId xmlns:a16="http://schemas.microsoft.com/office/drawing/2014/main" id="{B7447C4B-8459-6B0C-B13C-58DF26F52E8D}"/>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rcRect l="2542" t="2542" r="2542" b="2542"/>
            <a:stretch>
              <a:fillRect/>
            </a:stretch>
          </p:blipFill>
          <p:spPr>
            <a:xfrm>
              <a:off x="4469553" y="5357724"/>
              <a:ext cx="839866" cy="839866"/>
            </a:xfrm>
            <a:custGeom>
              <a:avLst/>
              <a:gdLst>
                <a:gd name="connsiteX0" fmla="*/ 2438400 w 4876800"/>
                <a:gd name="connsiteY0" fmla="*/ 0 h 4876800"/>
                <a:gd name="connsiteX1" fmla="*/ 4876800 w 4876800"/>
                <a:gd name="connsiteY1" fmla="*/ 2438400 h 4876800"/>
                <a:gd name="connsiteX2" fmla="*/ 2438400 w 4876800"/>
                <a:gd name="connsiteY2" fmla="*/ 4876800 h 4876800"/>
                <a:gd name="connsiteX3" fmla="*/ 0 w 4876800"/>
                <a:gd name="connsiteY3" fmla="*/ 2438400 h 4876800"/>
                <a:gd name="connsiteX4" fmla="*/ 2438400 w 4876800"/>
                <a:gd name="connsiteY4" fmla="*/ 0 h 4876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6800" h="4876800">
                  <a:moveTo>
                    <a:pt x="2438400" y="0"/>
                  </a:moveTo>
                  <a:cubicBezTo>
                    <a:pt x="3785091" y="0"/>
                    <a:pt x="4876800" y="1091709"/>
                    <a:pt x="4876800" y="2438400"/>
                  </a:cubicBezTo>
                  <a:cubicBezTo>
                    <a:pt x="4876800" y="3785091"/>
                    <a:pt x="3785091" y="4876800"/>
                    <a:pt x="2438400" y="4876800"/>
                  </a:cubicBezTo>
                  <a:cubicBezTo>
                    <a:pt x="1091709" y="4876800"/>
                    <a:pt x="0" y="3785091"/>
                    <a:pt x="0" y="2438400"/>
                  </a:cubicBezTo>
                  <a:cubicBezTo>
                    <a:pt x="0" y="1091709"/>
                    <a:pt x="1091709" y="0"/>
                    <a:pt x="2438400" y="0"/>
                  </a:cubicBezTo>
                  <a:close/>
                </a:path>
              </a:pathLst>
            </a:custGeom>
          </p:spPr>
        </p:pic>
        <p:sp>
          <p:nvSpPr>
            <p:cNvPr id="4204" name="Oval 4203">
              <a:extLst>
                <a:ext uri="{FF2B5EF4-FFF2-40B4-BE49-F238E27FC236}">
                  <a16:creationId xmlns:a16="http://schemas.microsoft.com/office/drawing/2014/main" id="{D32179C7-4BD0-2431-B60E-5411E2558778}"/>
                </a:ext>
              </a:extLst>
            </p:cNvPr>
            <p:cNvSpPr/>
            <p:nvPr/>
          </p:nvSpPr>
          <p:spPr>
            <a:xfrm>
              <a:off x="4545662" y="5433834"/>
              <a:ext cx="687649" cy="68764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4202" name="Graphic 4201">
              <a:extLst>
                <a:ext uri="{FF2B5EF4-FFF2-40B4-BE49-F238E27FC236}">
                  <a16:creationId xmlns:a16="http://schemas.microsoft.com/office/drawing/2014/main" id="{C4EB2D3A-9F9F-DF4B-75F2-E1FB9952D74A}"/>
                </a:ext>
              </a:extLst>
            </p:cNvPr>
            <p:cNvPicPr>
              <a:picLocks/>
            </p:cNvPicPr>
            <p:nvPr/>
          </p:nvPicPr>
          <p:blipFill>
            <a:blip r:embed="rId21" cstate="print">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4655527" y="5543698"/>
              <a:ext cx="467920" cy="467920"/>
            </a:xfrm>
            <a:prstGeom prst="rect">
              <a:avLst/>
            </a:prstGeom>
          </p:spPr>
        </p:pic>
      </p:grpSp>
      <p:grpSp>
        <p:nvGrpSpPr>
          <p:cNvPr id="4177" name="Group 4176">
            <a:extLst>
              <a:ext uri="{FF2B5EF4-FFF2-40B4-BE49-F238E27FC236}">
                <a16:creationId xmlns:a16="http://schemas.microsoft.com/office/drawing/2014/main" id="{30214CF3-C818-917A-03E3-F402AE830A66}"/>
              </a:ext>
            </a:extLst>
          </p:cNvPr>
          <p:cNvGrpSpPr/>
          <p:nvPr/>
        </p:nvGrpSpPr>
        <p:grpSpPr>
          <a:xfrm>
            <a:off x="11345075" y="6011617"/>
            <a:ext cx="548474" cy="548924"/>
            <a:chOff x="787399" y="5423749"/>
            <a:chExt cx="766749" cy="767378"/>
          </a:xfrm>
        </p:grpSpPr>
        <p:sp>
          <p:nvSpPr>
            <p:cNvPr id="4175" name="object 54">
              <a:extLst>
                <a:ext uri="{FF2B5EF4-FFF2-40B4-BE49-F238E27FC236}">
                  <a16:creationId xmlns:a16="http://schemas.microsoft.com/office/drawing/2014/main" id="{0FE6CEBB-C336-7EC6-89A6-FF87E1EFA729}"/>
                </a:ext>
              </a:extLst>
            </p:cNvPr>
            <p:cNvSpPr/>
            <p:nvPr/>
          </p:nvSpPr>
          <p:spPr>
            <a:xfrm>
              <a:off x="787399" y="5716782"/>
              <a:ext cx="474345" cy="474345"/>
            </a:xfrm>
            <a:custGeom>
              <a:avLst/>
              <a:gdLst/>
              <a:ahLst/>
              <a:cxnLst/>
              <a:rect l="l" t="t" r="r" b="b"/>
              <a:pathLst>
                <a:path w="474345" h="474345">
                  <a:moveTo>
                    <a:pt x="267887" y="0"/>
                  </a:moveTo>
                  <a:lnTo>
                    <a:pt x="206224" y="0"/>
                  </a:lnTo>
                  <a:lnTo>
                    <a:pt x="194722" y="2338"/>
                  </a:lnTo>
                  <a:lnTo>
                    <a:pt x="185303" y="8706"/>
                  </a:lnTo>
                  <a:lnTo>
                    <a:pt x="178939" y="18129"/>
                  </a:lnTo>
                  <a:lnTo>
                    <a:pt x="176601" y="29632"/>
                  </a:lnTo>
                  <a:lnTo>
                    <a:pt x="176601" y="176601"/>
                  </a:lnTo>
                  <a:lnTo>
                    <a:pt x="29622" y="176601"/>
                  </a:lnTo>
                  <a:lnTo>
                    <a:pt x="18120" y="178940"/>
                  </a:lnTo>
                  <a:lnTo>
                    <a:pt x="8701" y="185308"/>
                  </a:lnTo>
                  <a:lnTo>
                    <a:pt x="2337" y="194730"/>
                  </a:lnTo>
                  <a:lnTo>
                    <a:pt x="0" y="206234"/>
                  </a:lnTo>
                  <a:lnTo>
                    <a:pt x="0" y="267887"/>
                  </a:lnTo>
                  <a:lnTo>
                    <a:pt x="2337" y="279389"/>
                  </a:lnTo>
                  <a:lnTo>
                    <a:pt x="8701" y="288807"/>
                  </a:lnTo>
                  <a:lnTo>
                    <a:pt x="18120" y="295171"/>
                  </a:lnTo>
                  <a:lnTo>
                    <a:pt x="29622" y="297509"/>
                  </a:lnTo>
                  <a:lnTo>
                    <a:pt x="176601" y="297509"/>
                  </a:lnTo>
                  <a:lnTo>
                    <a:pt x="176601" y="444489"/>
                  </a:lnTo>
                  <a:lnTo>
                    <a:pt x="178939" y="455991"/>
                  </a:lnTo>
                  <a:lnTo>
                    <a:pt x="185303" y="465409"/>
                  </a:lnTo>
                  <a:lnTo>
                    <a:pt x="194722" y="471773"/>
                  </a:lnTo>
                  <a:lnTo>
                    <a:pt x="206224" y="474111"/>
                  </a:lnTo>
                  <a:lnTo>
                    <a:pt x="267887" y="474111"/>
                  </a:lnTo>
                  <a:lnTo>
                    <a:pt x="279389" y="471773"/>
                  </a:lnTo>
                  <a:lnTo>
                    <a:pt x="288807" y="465409"/>
                  </a:lnTo>
                  <a:lnTo>
                    <a:pt x="295171" y="455991"/>
                  </a:lnTo>
                  <a:lnTo>
                    <a:pt x="297509" y="444489"/>
                  </a:lnTo>
                  <a:lnTo>
                    <a:pt x="297509" y="297509"/>
                  </a:lnTo>
                  <a:lnTo>
                    <a:pt x="444489" y="297509"/>
                  </a:lnTo>
                  <a:lnTo>
                    <a:pt x="455991" y="295171"/>
                  </a:lnTo>
                  <a:lnTo>
                    <a:pt x="465409" y="288807"/>
                  </a:lnTo>
                  <a:lnTo>
                    <a:pt x="471773" y="279389"/>
                  </a:lnTo>
                  <a:lnTo>
                    <a:pt x="474111" y="267887"/>
                  </a:lnTo>
                  <a:lnTo>
                    <a:pt x="474111" y="206234"/>
                  </a:lnTo>
                  <a:lnTo>
                    <a:pt x="471773" y="194730"/>
                  </a:lnTo>
                  <a:lnTo>
                    <a:pt x="465409" y="185308"/>
                  </a:lnTo>
                  <a:lnTo>
                    <a:pt x="455991" y="178940"/>
                  </a:lnTo>
                  <a:lnTo>
                    <a:pt x="444489" y="176601"/>
                  </a:lnTo>
                  <a:lnTo>
                    <a:pt x="297509" y="176601"/>
                  </a:lnTo>
                  <a:lnTo>
                    <a:pt x="297509" y="29632"/>
                  </a:lnTo>
                  <a:lnTo>
                    <a:pt x="295171" y="18129"/>
                  </a:lnTo>
                  <a:lnTo>
                    <a:pt x="288807" y="8706"/>
                  </a:lnTo>
                  <a:lnTo>
                    <a:pt x="279389" y="2338"/>
                  </a:lnTo>
                  <a:lnTo>
                    <a:pt x="267887" y="0"/>
                  </a:lnTo>
                  <a:close/>
                </a:path>
              </a:pathLst>
            </a:custGeom>
            <a:solidFill>
              <a:srgbClr val="FFC62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176" name="object 56">
              <a:extLst>
                <a:ext uri="{FF2B5EF4-FFF2-40B4-BE49-F238E27FC236}">
                  <a16:creationId xmlns:a16="http://schemas.microsoft.com/office/drawing/2014/main" id="{88823714-B8A6-71B4-C0DF-E74D46832527}"/>
                </a:ext>
              </a:extLst>
            </p:cNvPr>
            <p:cNvSpPr/>
            <p:nvPr/>
          </p:nvSpPr>
          <p:spPr>
            <a:xfrm>
              <a:off x="1263318" y="5423749"/>
              <a:ext cx="290830" cy="290830"/>
            </a:xfrm>
            <a:custGeom>
              <a:avLst/>
              <a:gdLst/>
              <a:ahLst/>
              <a:cxnLst/>
              <a:rect l="l" t="t" r="r" b="b"/>
              <a:pathLst>
                <a:path w="290830" h="290829">
                  <a:moveTo>
                    <a:pt x="164152" y="0"/>
                  </a:moveTo>
                  <a:lnTo>
                    <a:pt x="126373" y="0"/>
                  </a:lnTo>
                  <a:lnTo>
                    <a:pt x="119321" y="1433"/>
                  </a:lnTo>
                  <a:lnTo>
                    <a:pt x="113548" y="5336"/>
                  </a:lnTo>
                  <a:lnTo>
                    <a:pt x="109648" y="11109"/>
                  </a:lnTo>
                  <a:lnTo>
                    <a:pt x="108216" y="18156"/>
                  </a:lnTo>
                  <a:lnTo>
                    <a:pt x="108216" y="108216"/>
                  </a:lnTo>
                  <a:lnTo>
                    <a:pt x="18156" y="108216"/>
                  </a:lnTo>
                  <a:lnTo>
                    <a:pt x="11105" y="109650"/>
                  </a:lnTo>
                  <a:lnTo>
                    <a:pt x="5332" y="113552"/>
                  </a:lnTo>
                  <a:lnTo>
                    <a:pt x="1432" y="119326"/>
                  </a:lnTo>
                  <a:lnTo>
                    <a:pt x="0" y="126373"/>
                  </a:lnTo>
                  <a:lnTo>
                    <a:pt x="0" y="164152"/>
                  </a:lnTo>
                  <a:lnTo>
                    <a:pt x="1432" y="171198"/>
                  </a:lnTo>
                  <a:lnTo>
                    <a:pt x="5332" y="176972"/>
                  </a:lnTo>
                  <a:lnTo>
                    <a:pt x="11105" y="180874"/>
                  </a:lnTo>
                  <a:lnTo>
                    <a:pt x="18156" y="182308"/>
                  </a:lnTo>
                  <a:lnTo>
                    <a:pt x="108216" y="182308"/>
                  </a:lnTo>
                  <a:lnTo>
                    <a:pt x="108216" y="272368"/>
                  </a:lnTo>
                  <a:lnTo>
                    <a:pt x="109648" y="279419"/>
                  </a:lnTo>
                  <a:lnTo>
                    <a:pt x="113548" y="285192"/>
                  </a:lnTo>
                  <a:lnTo>
                    <a:pt x="119321" y="289092"/>
                  </a:lnTo>
                  <a:lnTo>
                    <a:pt x="126373" y="290525"/>
                  </a:lnTo>
                  <a:lnTo>
                    <a:pt x="164152" y="290525"/>
                  </a:lnTo>
                  <a:lnTo>
                    <a:pt x="171203" y="289092"/>
                  </a:lnTo>
                  <a:lnTo>
                    <a:pt x="176976" y="285192"/>
                  </a:lnTo>
                  <a:lnTo>
                    <a:pt x="180876" y="279419"/>
                  </a:lnTo>
                  <a:lnTo>
                    <a:pt x="182308" y="272368"/>
                  </a:lnTo>
                  <a:lnTo>
                    <a:pt x="182308" y="182308"/>
                  </a:lnTo>
                  <a:lnTo>
                    <a:pt x="272368" y="182308"/>
                  </a:lnTo>
                  <a:lnTo>
                    <a:pt x="279419" y="180874"/>
                  </a:lnTo>
                  <a:lnTo>
                    <a:pt x="285192" y="176972"/>
                  </a:lnTo>
                  <a:lnTo>
                    <a:pt x="289092" y="171198"/>
                  </a:lnTo>
                  <a:lnTo>
                    <a:pt x="290525" y="164152"/>
                  </a:lnTo>
                  <a:lnTo>
                    <a:pt x="290525" y="126373"/>
                  </a:lnTo>
                  <a:lnTo>
                    <a:pt x="289092" y="119326"/>
                  </a:lnTo>
                  <a:lnTo>
                    <a:pt x="285192" y="113552"/>
                  </a:lnTo>
                  <a:lnTo>
                    <a:pt x="279419" y="109650"/>
                  </a:lnTo>
                  <a:lnTo>
                    <a:pt x="272368" y="108216"/>
                  </a:lnTo>
                  <a:lnTo>
                    <a:pt x="182308" y="108216"/>
                  </a:lnTo>
                  <a:lnTo>
                    <a:pt x="182308" y="18156"/>
                  </a:lnTo>
                  <a:lnTo>
                    <a:pt x="180876" y="11109"/>
                  </a:lnTo>
                  <a:lnTo>
                    <a:pt x="176976" y="5336"/>
                  </a:lnTo>
                  <a:lnTo>
                    <a:pt x="171203" y="1433"/>
                  </a:lnTo>
                  <a:lnTo>
                    <a:pt x="164152" y="0"/>
                  </a:lnTo>
                  <a:close/>
                </a:path>
              </a:pathLst>
            </a:custGeom>
            <a:solidFill>
              <a:srgbClr val="4FD9E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pic>
        <p:nvPicPr>
          <p:cNvPr id="4182" name="Graphic 4181">
            <a:extLst>
              <a:ext uri="{FF2B5EF4-FFF2-40B4-BE49-F238E27FC236}">
                <a16:creationId xmlns:a16="http://schemas.microsoft.com/office/drawing/2014/main" id="{DEC94894-55CF-648A-8A85-CC503BF312E0}"/>
              </a:ext>
            </a:extLst>
          </p:cNvPr>
          <p:cNvPicPr>
            <a:picLocks noChangeAspect="1"/>
          </p:cNvPicPr>
          <p:nvPr/>
        </p:nvPicPr>
        <p:blipFill>
          <a:blip r:embed="rId23" cstate="print">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11131923" y="1207074"/>
            <a:ext cx="308770" cy="469326"/>
          </a:xfrm>
          <a:prstGeom prst="rect">
            <a:avLst/>
          </a:prstGeom>
        </p:spPr>
      </p:pic>
      <p:sp>
        <p:nvSpPr>
          <p:cNvPr id="6" name="TextBox 5">
            <a:extLst>
              <a:ext uri="{FF2B5EF4-FFF2-40B4-BE49-F238E27FC236}">
                <a16:creationId xmlns:a16="http://schemas.microsoft.com/office/drawing/2014/main" id="{5FB4C970-3683-96EE-3562-D07F8FD71968}"/>
              </a:ext>
            </a:extLst>
          </p:cNvPr>
          <p:cNvSpPr txBox="1"/>
          <p:nvPr/>
        </p:nvSpPr>
        <p:spPr>
          <a:xfrm>
            <a:off x="11064240" y="6589345"/>
            <a:ext cx="993807" cy="20005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EE3F35-5EAA-0344-B6FC-083E415BACD9}" type="slidenum">
              <a:rPr kumimoji="0" lang="en-US" sz="700" b="0" i="0" u="none" strike="noStrike" kern="1200" cap="none" spc="300" normalizeH="0" baseline="0" noProof="0" smtClean="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700" b="0" i="0" u="none" strike="noStrike" kern="1200" cap="none" spc="30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03287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Rectangle 118">
            <a:extLst>
              <a:ext uri="{FF2B5EF4-FFF2-40B4-BE49-F238E27FC236}">
                <a16:creationId xmlns:a16="http://schemas.microsoft.com/office/drawing/2014/main" id="{DB3EB713-371A-7F8A-CE39-D2314945366D}"/>
              </a:ext>
            </a:extLst>
          </p:cNvPr>
          <p:cNvSpPr/>
          <p:nvPr/>
        </p:nvSpPr>
        <p:spPr>
          <a:xfrm>
            <a:off x="0" y="0"/>
            <a:ext cx="12192000" cy="6858000"/>
          </a:xfrm>
          <a:prstGeom prst="rect">
            <a:avLst/>
          </a:prstGeom>
          <a:solidFill>
            <a:srgbClr val="133CC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7" name="Freeform: Shape 306">
            <a:extLst>
              <a:ext uri="{FF2B5EF4-FFF2-40B4-BE49-F238E27FC236}">
                <a16:creationId xmlns:a16="http://schemas.microsoft.com/office/drawing/2014/main" id="{C6ABAB65-38B4-7F85-31F4-4CC0E22CFF00}"/>
              </a:ext>
            </a:extLst>
          </p:cNvPr>
          <p:cNvSpPr>
            <a:spLocks/>
          </p:cNvSpPr>
          <p:nvPr/>
        </p:nvSpPr>
        <p:spPr>
          <a:xfrm>
            <a:off x="464459" y="4047335"/>
            <a:ext cx="6739841" cy="2426036"/>
          </a:xfrm>
          <a:custGeom>
            <a:avLst/>
            <a:gdLst>
              <a:gd name="connsiteX0" fmla="*/ 5156901 w 6739841"/>
              <a:gd name="connsiteY0" fmla="*/ 941829 h 2426036"/>
              <a:gd name="connsiteX1" fmla="*/ 5156904 w 6739841"/>
              <a:gd name="connsiteY1" fmla="*/ 941831 h 2426036"/>
              <a:gd name="connsiteX2" fmla="*/ 5179341 w 6739841"/>
              <a:gd name="connsiteY2" fmla="*/ 946361 h 2426036"/>
              <a:gd name="connsiteX3" fmla="*/ 5179341 w 6739841"/>
              <a:gd name="connsiteY3" fmla="*/ 946362 h 2426036"/>
              <a:gd name="connsiteX4" fmla="*/ 5156904 w 6739841"/>
              <a:gd name="connsiteY4" fmla="*/ 941832 h 2426036"/>
              <a:gd name="connsiteX5" fmla="*/ 3538759 w 6739841"/>
              <a:gd name="connsiteY5" fmla="*/ 941829 h 2426036"/>
              <a:gd name="connsiteX6" fmla="*/ 3538762 w 6739841"/>
              <a:gd name="connsiteY6" fmla="*/ 941831 h 2426036"/>
              <a:gd name="connsiteX7" fmla="*/ 3561199 w 6739841"/>
              <a:gd name="connsiteY7" fmla="*/ 946361 h 2426036"/>
              <a:gd name="connsiteX8" fmla="*/ 3561198 w 6739841"/>
              <a:gd name="connsiteY8" fmla="*/ 946362 h 2426036"/>
              <a:gd name="connsiteX9" fmla="*/ 3538762 w 6739841"/>
              <a:gd name="connsiteY9" fmla="*/ 941832 h 2426036"/>
              <a:gd name="connsiteX10" fmla="*/ 1902295 w 6739841"/>
              <a:gd name="connsiteY10" fmla="*/ 929478 h 2426036"/>
              <a:gd name="connsiteX11" fmla="*/ 1920618 w 6739841"/>
              <a:gd name="connsiteY11" fmla="*/ 941831 h 2426036"/>
              <a:gd name="connsiteX12" fmla="*/ 1943055 w 6739841"/>
              <a:gd name="connsiteY12" fmla="*/ 946361 h 2426036"/>
              <a:gd name="connsiteX13" fmla="*/ 1943054 w 6739841"/>
              <a:gd name="connsiteY13" fmla="*/ 946362 h 2426036"/>
              <a:gd name="connsiteX14" fmla="*/ 1920618 w 6739841"/>
              <a:gd name="connsiteY14" fmla="*/ 941832 h 2426036"/>
              <a:gd name="connsiteX15" fmla="*/ 1902296 w 6739841"/>
              <a:gd name="connsiteY15" fmla="*/ 929479 h 2426036"/>
              <a:gd name="connsiteX16" fmla="*/ 5221821 w 6739841"/>
              <a:gd name="connsiteY16" fmla="*/ 925328 h 2426036"/>
              <a:gd name="connsiteX17" fmla="*/ 5220101 w 6739841"/>
              <a:gd name="connsiteY17" fmla="*/ 929480 h 2426036"/>
              <a:gd name="connsiteX18" fmla="*/ 5179340 w 6739841"/>
              <a:gd name="connsiteY18" fmla="*/ 946363 h 2426036"/>
              <a:gd name="connsiteX19" fmla="*/ 5179342 w 6739841"/>
              <a:gd name="connsiteY19" fmla="*/ 946362 h 2426036"/>
              <a:gd name="connsiteX20" fmla="*/ 5179341 w 6739841"/>
              <a:gd name="connsiteY20" fmla="*/ 946362 h 2426036"/>
              <a:gd name="connsiteX21" fmla="*/ 5201778 w 6739841"/>
              <a:gd name="connsiteY21" fmla="*/ 941832 h 2426036"/>
              <a:gd name="connsiteX22" fmla="*/ 3618840 w 6739841"/>
              <a:gd name="connsiteY22" fmla="*/ 888724 h 2426036"/>
              <a:gd name="connsiteX23" fmla="*/ 3618840 w 6739841"/>
              <a:gd name="connsiteY23" fmla="*/ 888725 h 2426036"/>
              <a:gd name="connsiteX24" fmla="*/ 3601958 w 6739841"/>
              <a:gd name="connsiteY24" fmla="*/ 929480 h 2426036"/>
              <a:gd name="connsiteX25" fmla="*/ 3561197 w 6739841"/>
              <a:gd name="connsiteY25" fmla="*/ 946363 h 2426036"/>
              <a:gd name="connsiteX26" fmla="*/ 3561199 w 6739841"/>
              <a:gd name="connsiteY26" fmla="*/ 946362 h 2426036"/>
              <a:gd name="connsiteX27" fmla="*/ 3561198 w 6739841"/>
              <a:gd name="connsiteY27" fmla="*/ 946362 h 2426036"/>
              <a:gd name="connsiteX28" fmla="*/ 3583635 w 6739841"/>
              <a:gd name="connsiteY28" fmla="*/ 941832 h 2426036"/>
              <a:gd name="connsiteX29" fmla="*/ 3601958 w 6739841"/>
              <a:gd name="connsiteY29" fmla="*/ 929479 h 2426036"/>
              <a:gd name="connsiteX30" fmla="*/ 2000696 w 6739841"/>
              <a:gd name="connsiteY30" fmla="*/ 888723 h 2426036"/>
              <a:gd name="connsiteX31" fmla="*/ 2000696 w 6739841"/>
              <a:gd name="connsiteY31" fmla="*/ 888724 h 2426036"/>
              <a:gd name="connsiteX32" fmla="*/ 1983815 w 6739841"/>
              <a:gd name="connsiteY32" fmla="*/ 929480 h 2426036"/>
              <a:gd name="connsiteX33" fmla="*/ 1943054 w 6739841"/>
              <a:gd name="connsiteY33" fmla="*/ 946363 h 2426036"/>
              <a:gd name="connsiteX34" fmla="*/ 1943055 w 6739841"/>
              <a:gd name="connsiteY34" fmla="*/ 946362 h 2426036"/>
              <a:gd name="connsiteX35" fmla="*/ 1943054 w 6739841"/>
              <a:gd name="connsiteY35" fmla="*/ 946362 h 2426036"/>
              <a:gd name="connsiteX36" fmla="*/ 1983814 w 6739841"/>
              <a:gd name="connsiteY36" fmla="*/ 929479 h 2426036"/>
              <a:gd name="connsiteX37" fmla="*/ 5236983 w 6739841"/>
              <a:gd name="connsiteY37" fmla="*/ 888722 h 2426036"/>
              <a:gd name="connsiteX38" fmla="*/ 5227140 w 6739841"/>
              <a:gd name="connsiteY38" fmla="*/ 920948 h 2426036"/>
              <a:gd name="connsiteX39" fmla="*/ 5221821 w 6739841"/>
              <a:gd name="connsiteY39" fmla="*/ 925328 h 2426036"/>
              <a:gd name="connsiteX40" fmla="*/ 5236984 w 6739841"/>
              <a:gd name="connsiteY40" fmla="*/ 888718 h 2426036"/>
              <a:gd name="connsiteX41" fmla="*/ 5236984 w 6739841"/>
              <a:gd name="connsiteY41" fmla="*/ 888719 h 2426036"/>
              <a:gd name="connsiteX42" fmla="*/ 5236983 w 6739841"/>
              <a:gd name="connsiteY42" fmla="*/ 888722 h 2426036"/>
              <a:gd name="connsiteX43" fmla="*/ 5121697 w 6739841"/>
              <a:gd name="connsiteY43" fmla="*/ 888717 h 2426036"/>
              <a:gd name="connsiteX44" fmla="*/ 5136862 w 6739841"/>
              <a:gd name="connsiteY44" fmla="*/ 925328 h 2426036"/>
              <a:gd name="connsiteX45" fmla="*/ 5131542 w 6739841"/>
              <a:gd name="connsiteY45" fmla="*/ 920948 h 2426036"/>
              <a:gd name="connsiteX46" fmla="*/ 5121697 w 6739841"/>
              <a:gd name="connsiteY46" fmla="*/ 888718 h 2426036"/>
              <a:gd name="connsiteX47" fmla="*/ 3503555 w 6739841"/>
              <a:gd name="connsiteY47" fmla="*/ 888717 h 2426036"/>
              <a:gd name="connsiteX48" fmla="*/ 3518720 w 6739841"/>
              <a:gd name="connsiteY48" fmla="*/ 925328 h 2426036"/>
              <a:gd name="connsiteX49" fmla="*/ 3513400 w 6739841"/>
              <a:gd name="connsiteY49" fmla="*/ 920948 h 2426036"/>
              <a:gd name="connsiteX50" fmla="*/ 3503555 w 6739841"/>
              <a:gd name="connsiteY50" fmla="*/ 888718 h 2426036"/>
              <a:gd name="connsiteX51" fmla="*/ 5121696 w 6739841"/>
              <a:gd name="connsiteY51" fmla="*/ 589061 h 2426036"/>
              <a:gd name="connsiteX52" fmla="*/ 5121697 w 6739841"/>
              <a:gd name="connsiteY52" fmla="*/ 589061 h 2426036"/>
              <a:gd name="connsiteX53" fmla="*/ 5121697 w 6739841"/>
              <a:gd name="connsiteY53" fmla="*/ 589062 h 2426036"/>
              <a:gd name="connsiteX54" fmla="*/ 5121696 w 6739841"/>
              <a:gd name="connsiteY54" fmla="*/ 589062 h 2426036"/>
              <a:gd name="connsiteX55" fmla="*/ 3503553 w 6739841"/>
              <a:gd name="connsiteY55" fmla="*/ 589061 h 2426036"/>
              <a:gd name="connsiteX56" fmla="*/ 3503555 w 6739841"/>
              <a:gd name="connsiteY56" fmla="*/ 589061 h 2426036"/>
              <a:gd name="connsiteX57" fmla="*/ 3503555 w 6739841"/>
              <a:gd name="connsiteY57" fmla="*/ 589062 h 2426036"/>
              <a:gd name="connsiteX58" fmla="*/ 3503553 w 6739841"/>
              <a:gd name="connsiteY58" fmla="*/ 589062 h 2426036"/>
              <a:gd name="connsiteX59" fmla="*/ 1885408 w 6739841"/>
              <a:gd name="connsiteY59" fmla="*/ 589061 h 2426036"/>
              <a:gd name="connsiteX60" fmla="*/ 1885411 w 6739841"/>
              <a:gd name="connsiteY60" fmla="*/ 589061 h 2426036"/>
              <a:gd name="connsiteX61" fmla="*/ 1885411 w 6739841"/>
              <a:gd name="connsiteY61" fmla="*/ 589062 h 2426036"/>
              <a:gd name="connsiteX62" fmla="*/ 1885408 w 6739841"/>
              <a:gd name="connsiteY62" fmla="*/ 589062 h 2426036"/>
              <a:gd name="connsiteX63" fmla="*/ 0 w 6739841"/>
              <a:gd name="connsiteY63" fmla="*/ 243760 h 2426036"/>
              <a:gd name="connsiteX64" fmla="*/ 43627 w 6739841"/>
              <a:gd name="connsiteY64" fmla="*/ 291772 h 2426036"/>
              <a:gd name="connsiteX65" fmla="*/ 115195 w 6739841"/>
              <a:gd name="connsiteY65" fmla="*/ 335194 h 2426036"/>
              <a:gd name="connsiteX66" fmla="*/ 118664 w 6739841"/>
              <a:gd name="connsiteY66" fmla="*/ 336271 h 2426036"/>
              <a:gd name="connsiteX67" fmla="*/ 118664 w 6739841"/>
              <a:gd name="connsiteY67" fmla="*/ 340749 h 2426036"/>
              <a:gd name="connsiteX68" fmla="*/ 157514 w 6739841"/>
              <a:gd name="connsiteY68" fmla="*/ 369074 h 2426036"/>
              <a:gd name="connsiteX69" fmla="*/ 310242 w 6739841"/>
              <a:gd name="connsiteY69" fmla="*/ 703258 h 2426036"/>
              <a:gd name="connsiteX70" fmla="*/ 310242 w 6739841"/>
              <a:gd name="connsiteY70" fmla="*/ 1350910 h 2426036"/>
              <a:gd name="connsiteX71" fmla="*/ 310242 w 6739841"/>
              <a:gd name="connsiteY71" fmla="*/ 1722105 h 2426036"/>
              <a:gd name="connsiteX72" fmla="*/ 310242 w 6739841"/>
              <a:gd name="connsiteY72" fmla="*/ 1784145 h 2426036"/>
              <a:gd name="connsiteX73" fmla="*/ 498562 w 6739841"/>
              <a:gd name="connsiteY73" fmla="*/ 1972465 h 2426036"/>
              <a:gd name="connsiteX74" fmla="*/ 602342 w 6739841"/>
              <a:gd name="connsiteY74" fmla="*/ 1972465 h 2426036"/>
              <a:gd name="connsiteX75" fmla="*/ 1066820 w 6739841"/>
              <a:gd name="connsiteY75" fmla="*/ 1972465 h 2426036"/>
              <a:gd name="connsiteX76" fmla="*/ 3663440 w 6739841"/>
              <a:gd name="connsiteY76" fmla="*/ 1972465 h 2426036"/>
              <a:gd name="connsiteX77" fmla="*/ 3663440 w 6739841"/>
              <a:gd name="connsiteY77" fmla="*/ 1530107 h 2426036"/>
              <a:gd name="connsiteX78" fmla="*/ 6739840 w 6739841"/>
              <a:gd name="connsiteY78" fmla="*/ 1530107 h 2426036"/>
              <a:gd name="connsiteX79" fmla="*/ 6739840 w 6739841"/>
              <a:gd name="connsiteY79" fmla="*/ 2323412 h 2426036"/>
              <a:gd name="connsiteX80" fmla="*/ 6739841 w 6739841"/>
              <a:gd name="connsiteY80" fmla="*/ 2323412 h 2426036"/>
              <a:gd name="connsiteX81" fmla="*/ 6739841 w 6739841"/>
              <a:gd name="connsiteY81" fmla="*/ 2426036 h 2426036"/>
              <a:gd name="connsiteX82" fmla="*/ 6739840 w 6739841"/>
              <a:gd name="connsiteY82" fmla="*/ 2426036 h 2426036"/>
              <a:gd name="connsiteX83" fmla="*/ 3663440 w 6739841"/>
              <a:gd name="connsiteY83" fmla="*/ 2426036 h 2426036"/>
              <a:gd name="connsiteX84" fmla="*/ 437856 w 6739841"/>
              <a:gd name="connsiteY84" fmla="*/ 2426036 h 2426036"/>
              <a:gd name="connsiteX85" fmla="*/ 0 w 6739841"/>
              <a:gd name="connsiteY85" fmla="*/ 1988180 h 2426036"/>
              <a:gd name="connsiteX86" fmla="*/ 6026105 w 6739841"/>
              <a:gd name="connsiteY86" fmla="*/ 164358 h 2426036"/>
              <a:gd name="connsiteX87" fmla="*/ 6487496 w 6739841"/>
              <a:gd name="connsiteY87" fmla="*/ 164358 h 2426036"/>
              <a:gd name="connsiteX88" fmla="*/ 6739841 w 6739841"/>
              <a:gd name="connsiteY88" fmla="*/ 416703 h 2426036"/>
              <a:gd name="connsiteX89" fmla="*/ 6739841 w 6739841"/>
              <a:gd name="connsiteY89" fmla="*/ 416704 h 2426036"/>
              <a:gd name="connsiteX90" fmla="*/ 6487496 w 6739841"/>
              <a:gd name="connsiteY90" fmla="*/ 164359 h 2426036"/>
              <a:gd name="connsiteX91" fmla="*/ 6026105 w 6739841"/>
              <a:gd name="connsiteY91" fmla="*/ 164359 h 2426036"/>
              <a:gd name="connsiteX92" fmla="*/ 5481809 w 6739841"/>
              <a:gd name="connsiteY92" fmla="*/ 162714 h 2426036"/>
              <a:gd name="connsiteX93" fmla="*/ 5537637 w 6739841"/>
              <a:gd name="connsiteY93" fmla="*/ 162714 h 2426036"/>
              <a:gd name="connsiteX94" fmla="*/ 5631544 w 6739841"/>
              <a:gd name="connsiteY94" fmla="*/ 162714 h 2426036"/>
              <a:gd name="connsiteX95" fmla="*/ 6026105 w 6739841"/>
              <a:gd name="connsiteY95" fmla="*/ 162714 h 2426036"/>
              <a:gd name="connsiteX96" fmla="*/ 6026105 w 6739841"/>
              <a:gd name="connsiteY96" fmla="*/ 162715 h 2426036"/>
              <a:gd name="connsiteX97" fmla="*/ 5631544 w 6739841"/>
              <a:gd name="connsiteY97" fmla="*/ 162715 h 2426036"/>
              <a:gd name="connsiteX98" fmla="*/ 5537638 w 6739841"/>
              <a:gd name="connsiteY98" fmla="*/ 162715 h 2426036"/>
              <a:gd name="connsiteX99" fmla="*/ 5481809 w 6739841"/>
              <a:gd name="connsiteY99" fmla="*/ 162715 h 2426036"/>
              <a:gd name="connsiteX100" fmla="*/ 5236984 w 6739841"/>
              <a:gd name="connsiteY100" fmla="*/ 407539 h 2426036"/>
              <a:gd name="connsiteX101" fmla="*/ 5236984 w 6739841"/>
              <a:gd name="connsiteY101" fmla="*/ 407538 h 2426036"/>
              <a:gd name="connsiteX102" fmla="*/ 5481809 w 6739841"/>
              <a:gd name="connsiteY102" fmla="*/ 162714 h 2426036"/>
              <a:gd name="connsiteX103" fmla="*/ 3863664 w 6739841"/>
              <a:gd name="connsiteY103" fmla="*/ 162714 h 2426036"/>
              <a:gd name="connsiteX104" fmla="*/ 4876872 w 6739841"/>
              <a:gd name="connsiteY104" fmla="*/ 162714 h 2426036"/>
              <a:gd name="connsiteX105" fmla="*/ 5121696 w 6739841"/>
              <a:gd name="connsiteY105" fmla="*/ 407538 h 2426036"/>
              <a:gd name="connsiteX106" fmla="*/ 5121696 w 6739841"/>
              <a:gd name="connsiteY106" fmla="*/ 407539 h 2426036"/>
              <a:gd name="connsiteX107" fmla="*/ 4876872 w 6739841"/>
              <a:gd name="connsiteY107" fmla="*/ 162715 h 2426036"/>
              <a:gd name="connsiteX108" fmla="*/ 3863664 w 6739841"/>
              <a:gd name="connsiteY108" fmla="*/ 162715 h 2426036"/>
              <a:gd name="connsiteX109" fmla="*/ 3618840 w 6739841"/>
              <a:gd name="connsiteY109" fmla="*/ 407539 h 2426036"/>
              <a:gd name="connsiteX110" fmla="*/ 3618840 w 6739841"/>
              <a:gd name="connsiteY110" fmla="*/ 407538 h 2426036"/>
              <a:gd name="connsiteX111" fmla="*/ 3863664 w 6739841"/>
              <a:gd name="connsiteY111" fmla="*/ 162714 h 2426036"/>
              <a:gd name="connsiteX112" fmla="*/ 2245520 w 6739841"/>
              <a:gd name="connsiteY112" fmla="*/ 162714 h 2426036"/>
              <a:gd name="connsiteX113" fmla="*/ 3258729 w 6739841"/>
              <a:gd name="connsiteY113" fmla="*/ 162714 h 2426036"/>
              <a:gd name="connsiteX114" fmla="*/ 3503553 w 6739841"/>
              <a:gd name="connsiteY114" fmla="*/ 407538 h 2426036"/>
              <a:gd name="connsiteX115" fmla="*/ 3503553 w 6739841"/>
              <a:gd name="connsiteY115" fmla="*/ 407539 h 2426036"/>
              <a:gd name="connsiteX116" fmla="*/ 3258729 w 6739841"/>
              <a:gd name="connsiteY116" fmla="*/ 162715 h 2426036"/>
              <a:gd name="connsiteX117" fmla="*/ 2245520 w 6739841"/>
              <a:gd name="connsiteY117" fmla="*/ 162715 h 2426036"/>
              <a:gd name="connsiteX118" fmla="*/ 2000696 w 6739841"/>
              <a:gd name="connsiteY118" fmla="*/ 407539 h 2426036"/>
              <a:gd name="connsiteX119" fmla="*/ 2000696 w 6739841"/>
              <a:gd name="connsiteY119" fmla="*/ 407538 h 2426036"/>
              <a:gd name="connsiteX120" fmla="*/ 2245520 w 6739841"/>
              <a:gd name="connsiteY120" fmla="*/ 162714 h 2426036"/>
              <a:gd name="connsiteX121" fmla="*/ 500841 w 6739841"/>
              <a:gd name="connsiteY121" fmla="*/ 162714 h 2426036"/>
              <a:gd name="connsiteX122" fmla="*/ 1400789 w 6739841"/>
              <a:gd name="connsiteY122" fmla="*/ 162714 h 2426036"/>
              <a:gd name="connsiteX123" fmla="*/ 1640584 w 6739841"/>
              <a:gd name="connsiteY123" fmla="*/ 162714 h 2426036"/>
              <a:gd name="connsiteX124" fmla="*/ 1885408 w 6739841"/>
              <a:gd name="connsiteY124" fmla="*/ 407538 h 2426036"/>
              <a:gd name="connsiteX125" fmla="*/ 1885408 w 6739841"/>
              <a:gd name="connsiteY125" fmla="*/ 407539 h 2426036"/>
              <a:gd name="connsiteX126" fmla="*/ 1640584 w 6739841"/>
              <a:gd name="connsiteY126" fmla="*/ 162715 h 2426036"/>
              <a:gd name="connsiteX127" fmla="*/ 1400789 w 6739841"/>
              <a:gd name="connsiteY127" fmla="*/ 162715 h 2426036"/>
              <a:gd name="connsiteX128" fmla="*/ 500840 w 6739841"/>
              <a:gd name="connsiteY128" fmla="*/ 162715 h 2426036"/>
              <a:gd name="connsiteX129" fmla="*/ 280651 w 6739841"/>
              <a:gd name="connsiteY129" fmla="*/ 146896 h 2426036"/>
              <a:gd name="connsiteX130" fmla="*/ 297185 w 6739841"/>
              <a:gd name="connsiteY130" fmla="*/ 152028 h 2426036"/>
              <a:gd name="connsiteX131" fmla="*/ 288640 w 6739841"/>
              <a:gd name="connsiteY131" fmla="*/ 150736 h 2426036"/>
              <a:gd name="connsiteX132" fmla="*/ 122383 w 6739841"/>
              <a:gd name="connsiteY132" fmla="*/ 0 h 2426036"/>
              <a:gd name="connsiteX133" fmla="*/ 173740 w 6739841"/>
              <a:gd name="connsiteY133" fmla="*/ 76174 h 2426036"/>
              <a:gd name="connsiteX134" fmla="*/ 162281 w 6739841"/>
              <a:gd name="connsiteY134" fmla="*/ 65760 h 242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6739841" h="2426036">
                <a:moveTo>
                  <a:pt x="5156901" y="941829"/>
                </a:moveTo>
                <a:lnTo>
                  <a:pt x="5156904" y="941831"/>
                </a:lnTo>
                <a:cubicBezTo>
                  <a:pt x="5163800" y="944748"/>
                  <a:pt x="5171382" y="946361"/>
                  <a:pt x="5179341" y="946361"/>
                </a:cubicBezTo>
                <a:lnTo>
                  <a:pt x="5179341" y="946362"/>
                </a:lnTo>
                <a:lnTo>
                  <a:pt x="5156904" y="941832"/>
                </a:lnTo>
                <a:close/>
                <a:moveTo>
                  <a:pt x="3538759" y="941829"/>
                </a:moveTo>
                <a:lnTo>
                  <a:pt x="3538762" y="941831"/>
                </a:lnTo>
                <a:cubicBezTo>
                  <a:pt x="3545658" y="944748"/>
                  <a:pt x="3553240" y="946361"/>
                  <a:pt x="3561199" y="946361"/>
                </a:cubicBezTo>
                <a:lnTo>
                  <a:pt x="3561198" y="946362"/>
                </a:lnTo>
                <a:lnTo>
                  <a:pt x="3538762" y="941832"/>
                </a:lnTo>
                <a:close/>
                <a:moveTo>
                  <a:pt x="1902295" y="929478"/>
                </a:moveTo>
                <a:lnTo>
                  <a:pt x="1920618" y="941831"/>
                </a:lnTo>
                <a:cubicBezTo>
                  <a:pt x="1927514" y="944748"/>
                  <a:pt x="1935096" y="946361"/>
                  <a:pt x="1943055" y="946361"/>
                </a:cubicBezTo>
                <a:lnTo>
                  <a:pt x="1943054" y="946362"/>
                </a:lnTo>
                <a:lnTo>
                  <a:pt x="1920618" y="941832"/>
                </a:lnTo>
                <a:cubicBezTo>
                  <a:pt x="1913722" y="938915"/>
                  <a:pt x="1907511" y="934694"/>
                  <a:pt x="1902296" y="929479"/>
                </a:cubicBezTo>
                <a:close/>
                <a:moveTo>
                  <a:pt x="5221821" y="925328"/>
                </a:moveTo>
                <a:lnTo>
                  <a:pt x="5220101" y="929480"/>
                </a:lnTo>
                <a:cubicBezTo>
                  <a:pt x="5209669" y="939911"/>
                  <a:pt x="5195258" y="946363"/>
                  <a:pt x="5179340" y="946363"/>
                </a:cubicBezTo>
                <a:lnTo>
                  <a:pt x="5179342" y="946362"/>
                </a:lnTo>
                <a:lnTo>
                  <a:pt x="5179341" y="946362"/>
                </a:lnTo>
                <a:lnTo>
                  <a:pt x="5201778" y="941832"/>
                </a:lnTo>
                <a:close/>
                <a:moveTo>
                  <a:pt x="3618840" y="888724"/>
                </a:moveTo>
                <a:lnTo>
                  <a:pt x="3618840" y="888725"/>
                </a:lnTo>
                <a:lnTo>
                  <a:pt x="3601958" y="929480"/>
                </a:lnTo>
                <a:cubicBezTo>
                  <a:pt x="3591527" y="939911"/>
                  <a:pt x="3577115" y="946363"/>
                  <a:pt x="3561197" y="946363"/>
                </a:cubicBezTo>
                <a:lnTo>
                  <a:pt x="3561199" y="946362"/>
                </a:lnTo>
                <a:lnTo>
                  <a:pt x="3561198" y="946362"/>
                </a:lnTo>
                <a:lnTo>
                  <a:pt x="3583635" y="941832"/>
                </a:lnTo>
                <a:cubicBezTo>
                  <a:pt x="3590532" y="938915"/>
                  <a:pt x="3596743" y="934695"/>
                  <a:pt x="3601958" y="929479"/>
                </a:cubicBezTo>
                <a:close/>
                <a:moveTo>
                  <a:pt x="2000696" y="888723"/>
                </a:moveTo>
                <a:lnTo>
                  <a:pt x="2000696" y="888724"/>
                </a:lnTo>
                <a:lnTo>
                  <a:pt x="1983815" y="929480"/>
                </a:lnTo>
                <a:cubicBezTo>
                  <a:pt x="1973383" y="939911"/>
                  <a:pt x="1958972" y="946363"/>
                  <a:pt x="1943054" y="946363"/>
                </a:cubicBezTo>
                <a:lnTo>
                  <a:pt x="1943055" y="946362"/>
                </a:lnTo>
                <a:lnTo>
                  <a:pt x="1943054" y="946362"/>
                </a:lnTo>
                <a:cubicBezTo>
                  <a:pt x="1958972" y="946362"/>
                  <a:pt x="1973383" y="939910"/>
                  <a:pt x="1983814" y="929479"/>
                </a:cubicBezTo>
                <a:close/>
                <a:moveTo>
                  <a:pt x="5236983" y="888722"/>
                </a:moveTo>
                <a:lnTo>
                  <a:pt x="5227140" y="920948"/>
                </a:lnTo>
                <a:lnTo>
                  <a:pt x="5221821" y="925328"/>
                </a:lnTo>
                <a:close/>
                <a:moveTo>
                  <a:pt x="5236984" y="888718"/>
                </a:moveTo>
                <a:lnTo>
                  <a:pt x="5236984" y="888719"/>
                </a:lnTo>
                <a:lnTo>
                  <a:pt x="5236983" y="888722"/>
                </a:lnTo>
                <a:close/>
                <a:moveTo>
                  <a:pt x="5121697" y="888717"/>
                </a:moveTo>
                <a:lnTo>
                  <a:pt x="5136862" y="925328"/>
                </a:lnTo>
                <a:lnTo>
                  <a:pt x="5131542" y="920948"/>
                </a:lnTo>
                <a:cubicBezTo>
                  <a:pt x="5125327" y="911747"/>
                  <a:pt x="5121697" y="900657"/>
                  <a:pt x="5121697" y="888718"/>
                </a:cubicBezTo>
                <a:close/>
                <a:moveTo>
                  <a:pt x="3503555" y="888717"/>
                </a:moveTo>
                <a:lnTo>
                  <a:pt x="3518720" y="925328"/>
                </a:lnTo>
                <a:lnTo>
                  <a:pt x="3513400" y="920948"/>
                </a:lnTo>
                <a:cubicBezTo>
                  <a:pt x="3507184" y="911747"/>
                  <a:pt x="3503555" y="900657"/>
                  <a:pt x="3503555" y="888718"/>
                </a:cubicBezTo>
                <a:close/>
                <a:moveTo>
                  <a:pt x="5121696" y="589061"/>
                </a:moveTo>
                <a:lnTo>
                  <a:pt x="5121697" y="589061"/>
                </a:lnTo>
                <a:lnTo>
                  <a:pt x="5121697" y="589062"/>
                </a:lnTo>
                <a:lnTo>
                  <a:pt x="5121696" y="589062"/>
                </a:lnTo>
                <a:close/>
                <a:moveTo>
                  <a:pt x="3503553" y="589061"/>
                </a:moveTo>
                <a:lnTo>
                  <a:pt x="3503555" y="589061"/>
                </a:lnTo>
                <a:lnTo>
                  <a:pt x="3503555" y="589062"/>
                </a:lnTo>
                <a:lnTo>
                  <a:pt x="3503553" y="589062"/>
                </a:lnTo>
                <a:close/>
                <a:moveTo>
                  <a:pt x="1885408" y="589061"/>
                </a:moveTo>
                <a:lnTo>
                  <a:pt x="1885411" y="589061"/>
                </a:lnTo>
                <a:lnTo>
                  <a:pt x="1885411" y="589062"/>
                </a:lnTo>
                <a:lnTo>
                  <a:pt x="1885408" y="589062"/>
                </a:lnTo>
                <a:close/>
                <a:moveTo>
                  <a:pt x="0" y="243760"/>
                </a:moveTo>
                <a:lnTo>
                  <a:pt x="43627" y="291772"/>
                </a:lnTo>
                <a:cubicBezTo>
                  <a:pt x="65105" y="309498"/>
                  <a:pt x="89180" y="324191"/>
                  <a:pt x="115195" y="335194"/>
                </a:cubicBezTo>
                <a:lnTo>
                  <a:pt x="118664" y="336271"/>
                </a:lnTo>
                <a:lnTo>
                  <a:pt x="118664" y="340749"/>
                </a:lnTo>
                <a:lnTo>
                  <a:pt x="157514" y="369074"/>
                </a:lnTo>
                <a:cubicBezTo>
                  <a:pt x="251065" y="450111"/>
                  <a:pt x="310242" y="569774"/>
                  <a:pt x="310242" y="703258"/>
                </a:cubicBezTo>
                <a:lnTo>
                  <a:pt x="310242" y="1350910"/>
                </a:lnTo>
                <a:lnTo>
                  <a:pt x="310242" y="1722105"/>
                </a:lnTo>
                <a:lnTo>
                  <a:pt x="310242" y="1784145"/>
                </a:lnTo>
                <a:cubicBezTo>
                  <a:pt x="310242" y="1888151"/>
                  <a:pt x="394556" y="1972465"/>
                  <a:pt x="498562" y="1972465"/>
                </a:cubicBezTo>
                <a:lnTo>
                  <a:pt x="602342" y="1972465"/>
                </a:lnTo>
                <a:lnTo>
                  <a:pt x="1066820" y="1972465"/>
                </a:lnTo>
                <a:lnTo>
                  <a:pt x="3663440" y="1972465"/>
                </a:lnTo>
                <a:lnTo>
                  <a:pt x="3663440" y="1530107"/>
                </a:lnTo>
                <a:lnTo>
                  <a:pt x="6739840" y="1530107"/>
                </a:lnTo>
                <a:lnTo>
                  <a:pt x="6739840" y="2323412"/>
                </a:lnTo>
                <a:lnTo>
                  <a:pt x="6739841" y="2323412"/>
                </a:lnTo>
                <a:lnTo>
                  <a:pt x="6739841" y="2426036"/>
                </a:lnTo>
                <a:lnTo>
                  <a:pt x="6739840" y="2426036"/>
                </a:lnTo>
                <a:lnTo>
                  <a:pt x="3663440" y="2426036"/>
                </a:lnTo>
                <a:lnTo>
                  <a:pt x="437856" y="2426036"/>
                </a:lnTo>
                <a:cubicBezTo>
                  <a:pt x="196035" y="2426036"/>
                  <a:pt x="0" y="2230001"/>
                  <a:pt x="0" y="1988180"/>
                </a:cubicBezTo>
                <a:close/>
                <a:moveTo>
                  <a:pt x="6026105" y="164358"/>
                </a:moveTo>
                <a:lnTo>
                  <a:pt x="6487496" y="164358"/>
                </a:lnTo>
                <a:cubicBezTo>
                  <a:pt x="6626862" y="164358"/>
                  <a:pt x="6739841" y="277337"/>
                  <a:pt x="6739841" y="416703"/>
                </a:cubicBezTo>
                <a:lnTo>
                  <a:pt x="6739841" y="416704"/>
                </a:lnTo>
                <a:cubicBezTo>
                  <a:pt x="6739841" y="277338"/>
                  <a:pt x="6626862" y="164359"/>
                  <a:pt x="6487496" y="164359"/>
                </a:cubicBezTo>
                <a:lnTo>
                  <a:pt x="6026105" y="164359"/>
                </a:lnTo>
                <a:close/>
                <a:moveTo>
                  <a:pt x="5481809" y="162714"/>
                </a:moveTo>
                <a:lnTo>
                  <a:pt x="5537637" y="162714"/>
                </a:lnTo>
                <a:lnTo>
                  <a:pt x="5631544" y="162714"/>
                </a:lnTo>
                <a:lnTo>
                  <a:pt x="6026105" y="162714"/>
                </a:lnTo>
                <a:lnTo>
                  <a:pt x="6026105" y="162715"/>
                </a:lnTo>
                <a:lnTo>
                  <a:pt x="5631544" y="162715"/>
                </a:lnTo>
                <a:lnTo>
                  <a:pt x="5537638" y="162715"/>
                </a:lnTo>
                <a:lnTo>
                  <a:pt x="5481809" y="162715"/>
                </a:lnTo>
                <a:cubicBezTo>
                  <a:pt x="5346595" y="162715"/>
                  <a:pt x="5236984" y="272326"/>
                  <a:pt x="5236984" y="407539"/>
                </a:cubicBezTo>
                <a:lnTo>
                  <a:pt x="5236984" y="407538"/>
                </a:lnTo>
                <a:cubicBezTo>
                  <a:pt x="5236984" y="272325"/>
                  <a:pt x="5346595" y="162714"/>
                  <a:pt x="5481809" y="162714"/>
                </a:cubicBezTo>
                <a:close/>
                <a:moveTo>
                  <a:pt x="3863664" y="162714"/>
                </a:moveTo>
                <a:lnTo>
                  <a:pt x="4876872" y="162714"/>
                </a:lnTo>
                <a:cubicBezTo>
                  <a:pt x="5012086" y="162714"/>
                  <a:pt x="5121696" y="272325"/>
                  <a:pt x="5121696" y="407538"/>
                </a:cubicBezTo>
                <a:lnTo>
                  <a:pt x="5121696" y="407539"/>
                </a:lnTo>
                <a:cubicBezTo>
                  <a:pt x="5121696" y="272326"/>
                  <a:pt x="5012086" y="162715"/>
                  <a:pt x="4876872" y="162715"/>
                </a:cubicBezTo>
                <a:lnTo>
                  <a:pt x="3863664" y="162715"/>
                </a:lnTo>
                <a:cubicBezTo>
                  <a:pt x="3728451" y="162715"/>
                  <a:pt x="3618840" y="272326"/>
                  <a:pt x="3618840" y="407539"/>
                </a:cubicBezTo>
                <a:lnTo>
                  <a:pt x="3618840" y="407538"/>
                </a:lnTo>
                <a:cubicBezTo>
                  <a:pt x="3618840" y="272325"/>
                  <a:pt x="3728451" y="162714"/>
                  <a:pt x="3863664" y="162714"/>
                </a:cubicBezTo>
                <a:close/>
                <a:moveTo>
                  <a:pt x="2245520" y="162714"/>
                </a:moveTo>
                <a:lnTo>
                  <a:pt x="3258729" y="162714"/>
                </a:lnTo>
                <a:cubicBezTo>
                  <a:pt x="3393942" y="162714"/>
                  <a:pt x="3503553" y="272325"/>
                  <a:pt x="3503553" y="407538"/>
                </a:cubicBezTo>
                <a:lnTo>
                  <a:pt x="3503553" y="407539"/>
                </a:lnTo>
                <a:cubicBezTo>
                  <a:pt x="3503553" y="272326"/>
                  <a:pt x="3393942" y="162715"/>
                  <a:pt x="3258729" y="162715"/>
                </a:cubicBezTo>
                <a:lnTo>
                  <a:pt x="2245520" y="162715"/>
                </a:lnTo>
                <a:cubicBezTo>
                  <a:pt x="2110307" y="162715"/>
                  <a:pt x="2000696" y="272326"/>
                  <a:pt x="2000696" y="407539"/>
                </a:cubicBezTo>
                <a:lnTo>
                  <a:pt x="2000696" y="407538"/>
                </a:lnTo>
                <a:cubicBezTo>
                  <a:pt x="2000696" y="272325"/>
                  <a:pt x="2110307" y="162714"/>
                  <a:pt x="2245520" y="162714"/>
                </a:cubicBezTo>
                <a:close/>
                <a:moveTo>
                  <a:pt x="500841" y="162714"/>
                </a:moveTo>
                <a:lnTo>
                  <a:pt x="1400789" y="162714"/>
                </a:lnTo>
                <a:lnTo>
                  <a:pt x="1640584" y="162714"/>
                </a:lnTo>
                <a:cubicBezTo>
                  <a:pt x="1775798" y="162714"/>
                  <a:pt x="1885408" y="272325"/>
                  <a:pt x="1885408" y="407538"/>
                </a:cubicBezTo>
                <a:lnTo>
                  <a:pt x="1885408" y="407539"/>
                </a:lnTo>
                <a:cubicBezTo>
                  <a:pt x="1885408" y="272326"/>
                  <a:pt x="1775798" y="162715"/>
                  <a:pt x="1640584" y="162715"/>
                </a:cubicBezTo>
                <a:lnTo>
                  <a:pt x="1400789" y="162715"/>
                </a:lnTo>
                <a:lnTo>
                  <a:pt x="500840" y="162715"/>
                </a:lnTo>
                <a:close/>
                <a:moveTo>
                  <a:pt x="280651" y="146896"/>
                </a:moveTo>
                <a:lnTo>
                  <a:pt x="297185" y="152028"/>
                </a:lnTo>
                <a:lnTo>
                  <a:pt x="288640" y="150736"/>
                </a:lnTo>
                <a:close/>
                <a:moveTo>
                  <a:pt x="122383" y="0"/>
                </a:moveTo>
                <a:lnTo>
                  <a:pt x="173740" y="76174"/>
                </a:lnTo>
                <a:lnTo>
                  <a:pt x="162281" y="65760"/>
                </a:lnTo>
                <a:close/>
              </a:path>
            </a:pathLst>
          </a:custGeom>
          <a:solidFill>
            <a:srgbClr val="0A1E6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aphicFrame>
        <p:nvGraphicFramePr>
          <p:cNvPr id="8" name="think-cell data - do not delete" hidden="1">
            <a:extLst>
              <a:ext uri="{FF2B5EF4-FFF2-40B4-BE49-F238E27FC236}">
                <a16:creationId xmlns:a16="http://schemas.microsoft.com/office/drawing/2014/main" id="{BAC75D8E-00E4-385A-FC21-78AC80515C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8" name="think-cell data - do not delete" hidden="1">
                        <a:extLst>
                          <a:ext uri="{FF2B5EF4-FFF2-40B4-BE49-F238E27FC236}">
                            <a16:creationId xmlns:a16="http://schemas.microsoft.com/office/drawing/2014/main" id="{BAC75D8E-00E4-385A-FC21-78AC80515C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0" name="Rectangle: Rounded Corners 289">
            <a:extLst>
              <a:ext uri="{FF2B5EF4-FFF2-40B4-BE49-F238E27FC236}">
                <a16:creationId xmlns:a16="http://schemas.microsoft.com/office/drawing/2014/main" id="{3FB12057-D3B3-2F28-CC2B-7F926224450B}"/>
              </a:ext>
            </a:extLst>
          </p:cNvPr>
          <p:cNvSpPr/>
          <p:nvPr/>
        </p:nvSpPr>
        <p:spPr>
          <a:xfrm>
            <a:off x="599722" y="5341258"/>
            <a:ext cx="2070992" cy="738778"/>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Graphic 4">
            <a:extLst>
              <a:ext uri="{FF2B5EF4-FFF2-40B4-BE49-F238E27FC236}">
                <a16:creationId xmlns:a16="http://schemas.microsoft.com/office/drawing/2014/main" id="{2DCB380D-FD03-052F-86C7-A05C6738ACD3}"/>
              </a:ext>
            </a:extLst>
          </p:cNvPr>
          <p:cNvSpPr>
            <a:spLocks/>
          </p:cNvSpPr>
          <p:nvPr/>
        </p:nvSpPr>
        <p:spPr>
          <a:xfrm>
            <a:off x="402578" y="1125726"/>
            <a:ext cx="11789422" cy="5732274"/>
          </a:xfrm>
          <a:custGeom>
            <a:avLst/>
            <a:gdLst>
              <a:gd name="connsiteX0" fmla="*/ 444368 w 12191992"/>
              <a:gd name="connsiteY0" fmla="*/ -148 h 5745289"/>
              <a:gd name="connsiteX1" fmla="*/ 6656097 w 12191992"/>
              <a:gd name="connsiteY1" fmla="*/ -148 h 5745289"/>
              <a:gd name="connsiteX2" fmla="*/ 11187656 w 12191992"/>
              <a:gd name="connsiteY2" fmla="*/ -148 h 5745289"/>
              <a:gd name="connsiteX3" fmla="*/ 12191940 w 12191992"/>
              <a:gd name="connsiteY3" fmla="*/ -148 h 5745289"/>
              <a:gd name="connsiteX4" fmla="*/ 12191940 w 12191992"/>
              <a:gd name="connsiteY4" fmla="*/ 5272239 h 5745289"/>
              <a:gd name="connsiteX5" fmla="*/ 12191940 w 12191992"/>
              <a:gd name="connsiteY5" fmla="*/ 5456144 h 5745289"/>
              <a:gd name="connsiteX6" fmla="*/ 12191940 w 12191992"/>
              <a:gd name="connsiteY6" fmla="*/ 5745142 h 5745289"/>
              <a:gd name="connsiteX7" fmla="*/ 7260101 w 12191992"/>
              <a:gd name="connsiteY7" fmla="*/ 5745142 h 5745289"/>
              <a:gd name="connsiteX8" fmla="*/ 7042269 w 12191992"/>
              <a:gd name="connsiteY8" fmla="*/ 5600729 h 5745289"/>
              <a:gd name="connsiteX9" fmla="*/ 7028241 w 12191992"/>
              <a:gd name="connsiteY9" fmla="*/ 5531210 h 5745289"/>
              <a:gd name="connsiteX10" fmla="*/ 7023693 w 12191992"/>
              <a:gd name="connsiteY10" fmla="*/ 5531210 h 5745289"/>
              <a:gd name="connsiteX11" fmla="*/ 7023693 w 12191992"/>
              <a:gd name="connsiteY11" fmla="*/ 5459170 h 5745289"/>
              <a:gd name="connsiteX12" fmla="*/ 6826951 w 12191992"/>
              <a:gd name="connsiteY12" fmla="*/ 5262388 h 5745289"/>
              <a:gd name="connsiteX13" fmla="*/ 6327174 w 12191992"/>
              <a:gd name="connsiteY13" fmla="*/ 5262388 h 5745289"/>
              <a:gd name="connsiteX14" fmla="*/ 6268610 w 12191992"/>
              <a:gd name="connsiteY14" fmla="*/ 5262388 h 5745289"/>
              <a:gd name="connsiteX15" fmla="*/ 4352891 w 12191992"/>
              <a:gd name="connsiteY15" fmla="*/ 5262388 h 5745289"/>
              <a:gd name="connsiteX16" fmla="*/ 4168166 w 12191992"/>
              <a:gd name="connsiteY16" fmla="*/ 5262388 h 5745289"/>
              <a:gd name="connsiteX17" fmla="*/ 4035938 w 12191992"/>
              <a:gd name="connsiteY17" fmla="*/ 5262388 h 5745289"/>
              <a:gd name="connsiteX18" fmla="*/ 4009269 w 12191992"/>
              <a:gd name="connsiteY18" fmla="*/ 5262388 h 5745289"/>
              <a:gd name="connsiteX19" fmla="*/ 3997069 w 12191992"/>
              <a:gd name="connsiteY19" fmla="*/ 5262388 h 5745289"/>
              <a:gd name="connsiteX20" fmla="*/ 385354 w 12191992"/>
              <a:gd name="connsiteY20" fmla="*/ 5262388 h 5745289"/>
              <a:gd name="connsiteX21" fmla="*/ 194338 w 12191992"/>
              <a:gd name="connsiteY21" fmla="*/ 5071327 h 5745289"/>
              <a:gd name="connsiteX22" fmla="*/ 194338 w 12191992"/>
              <a:gd name="connsiteY22" fmla="*/ 4385928 h 5745289"/>
              <a:gd name="connsiteX23" fmla="*/ 181207 w 12191992"/>
              <a:gd name="connsiteY23" fmla="*/ 4326512 h 5745289"/>
              <a:gd name="connsiteX24" fmla="*/ 120149 w 12191992"/>
              <a:gd name="connsiteY24" fmla="*/ 4245731 h 5745289"/>
              <a:gd name="connsiteX25" fmla="*/ 98864 w 12191992"/>
              <a:gd name="connsiteY25" fmla="*/ 4230206 h 5745289"/>
              <a:gd name="connsiteX26" fmla="*/ 98864 w 12191992"/>
              <a:gd name="connsiteY26" fmla="*/ 4227755 h 5745289"/>
              <a:gd name="connsiteX27" fmla="*/ 96964 w 12191992"/>
              <a:gd name="connsiteY27" fmla="*/ 4227164 h 5745289"/>
              <a:gd name="connsiteX28" fmla="*/ -52 w 12191992"/>
              <a:gd name="connsiteY28" fmla="*/ 4080773 h 5745289"/>
              <a:gd name="connsiteX29" fmla="*/ -53 w 12191992"/>
              <a:gd name="connsiteY29" fmla="*/ 808748 h 5745289"/>
              <a:gd name="connsiteX30" fmla="*/ 132139 w 12191992"/>
              <a:gd name="connsiteY30" fmla="*/ 560077 h 5745289"/>
              <a:gd name="connsiteX31" fmla="*/ 168847 w 12191992"/>
              <a:gd name="connsiteY31" fmla="*/ 491724 h 5745289"/>
              <a:gd name="connsiteX32" fmla="*/ 168847 w 12191992"/>
              <a:gd name="connsiteY32" fmla="*/ 275429 h 5745289"/>
              <a:gd name="connsiteX33" fmla="*/ 444368 w 12191992"/>
              <a:gd name="connsiteY33" fmla="*/ -148 h 5745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191992" h="5745289">
                <a:moveTo>
                  <a:pt x="444368" y="-148"/>
                </a:moveTo>
                <a:lnTo>
                  <a:pt x="6656097" y="-148"/>
                </a:lnTo>
                <a:lnTo>
                  <a:pt x="11187656" y="-148"/>
                </a:lnTo>
                <a:lnTo>
                  <a:pt x="12191940" y="-148"/>
                </a:lnTo>
                <a:lnTo>
                  <a:pt x="12191940" y="5272239"/>
                </a:lnTo>
                <a:lnTo>
                  <a:pt x="12191940" y="5456144"/>
                </a:lnTo>
                <a:lnTo>
                  <a:pt x="12191940" y="5745142"/>
                </a:lnTo>
                <a:lnTo>
                  <a:pt x="7260101" y="5745142"/>
                </a:lnTo>
                <a:cubicBezTo>
                  <a:pt x="7162179" y="5745142"/>
                  <a:pt x="7078159" y="5685592"/>
                  <a:pt x="7042269" y="5600729"/>
                </a:cubicBezTo>
                <a:lnTo>
                  <a:pt x="7028241" y="5531210"/>
                </a:lnTo>
                <a:lnTo>
                  <a:pt x="7023693" y="5531210"/>
                </a:lnTo>
                <a:lnTo>
                  <a:pt x="7023693" y="5459170"/>
                </a:lnTo>
                <a:cubicBezTo>
                  <a:pt x="7023693" y="5350490"/>
                  <a:pt x="6935607" y="5262388"/>
                  <a:pt x="6826951" y="5262388"/>
                </a:cubicBezTo>
                <a:lnTo>
                  <a:pt x="6327174" y="5262388"/>
                </a:lnTo>
                <a:lnTo>
                  <a:pt x="6268610" y="5262388"/>
                </a:lnTo>
                <a:lnTo>
                  <a:pt x="4352891" y="5262388"/>
                </a:lnTo>
                <a:lnTo>
                  <a:pt x="4168166" y="5262388"/>
                </a:lnTo>
                <a:lnTo>
                  <a:pt x="4035938" y="5262388"/>
                </a:lnTo>
                <a:lnTo>
                  <a:pt x="4009269" y="5262388"/>
                </a:lnTo>
                <a:lnTo>
                  <a:pt x="3997069" y="5262388"/>
                </a:lnTo>
                <a:lnTo>
                  <a:pt x="385354" y="5262388"/>
                </a:lnTo>
                <a:cubicBezTo>
                  <a:pt x="279861" y="5262388"/>
                  <a:pt x="194338" y="5176847"/>
                  <a:pt x="194338" y="5071327"/>
                </a:cubicBezTo>
                <a:lnTo>
                  <a:pt x="194338" y="4385928"/>
                </a:lnTo>
                <a:lnTo>
                  <a:pt x="181207" y="4326512"/>
                </a:lnTo>
                <a:cubicBezTo>
                  <a:pt x="166695" y="4295430"/>
                  <a:pt x="145776" y="4267933"/>
                  <a:pt x="120149" y="4245731"/>
                </a:cubicBezTo>
                <a:lnTo>
                  <a:pt x="98864" y="4230206"/>
                </a:lnTo>
                <a:lnTo>
                  <a:pt x="98864" y="4227755"/>
                </a:lnTo>
                <a:lnTo>
                  <a:pt x="96964" y="4227164"/>
                </a:lnTo>
                <a:cubicBezTo>
                  <a:pt x="39952" y="4203040"/>
                  <a:pt x="-52" y="4146580"/>
                  <a:pt x="-52" y="4080773"/>
                </a:cubicBezTo>
                <a:cubicBezTo>
                  <a:pt x="-52" y="2990098"/>
                  <a:pt x="-53" y="1899423"/>
                  <a:pt x="-53" y="808748"/>
                </a:cubicBezTo>
                <a:cubicBezTo>
                  <a:pt x="-53" y="705230"/>
                  <a:pt x="52385" y="613968"/>
                  <a:pt x="132139" y="560077"/>
                </a:cubicBezTo>
                <a:cubicBezTo>
                  <a:pt x="155980" y="545741"/>
                  <a:pt x="170067" y="519513"/>
                  <a:pt x="168847" y="491724"/>
                </a:cubicBezTo>
                <a:lnTo>
                  <a:pt x="168847" y="275429"/>
                </a:lnTo>
                <a:cubicBezTo>
                  <a:pt x="168847" y="123230"/>
                  <a:pt x="292202" y="-148"/>
                  <a:pt x="444368" y="-148"/>
                </a:cubicBezTo>
                <a:close/>
              </a:path>
            </a:pathLst>
          </a:custGeom>
          <a:solidFill>
            <a:srgbClr val="E4F0FF"/>
          </a:solidFill>
          <a:ln w="78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8" name="Rectangle 127">
            <a:extLst>
              <a:ext uri="{FF2B5EF4-FFF2-40B4-BE49-F238E27FC236}">
                <a16:creationId xmlns:a16="http://schemas.microsoft.com/office/drawing/2014/main" id="{D9343A48-BA92-6B03-18EF-78034DCCB4EE}"/>
              </a:ext>
            </a:extLst>
          </p:cNvPr>
          <p:cNvSpPr>
            <a:spLocks noChangeArrowheads="1"/>
          </p:cNvSpPr>
          <p:nvPr/>
        </p:nvSpPr>
        <p:spPr bwMode="auto">
          <a:xfrm>
            <a:off x="596900" y="307576"/>
            <a:ext cx="8895443"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200" b="1" i="0" u="none" strike="noStrike" kern="0" cap="none" spc="0" normalizeH="0" baseline="0" noProof="0">
                <a:ln>
                  <a:noFill/>
                </a:ln>
                <a:solidFill>
                  <a:srgbClr val="FFFFFF"/>
                </a:solidFill>
                <a:effectLst/>
                <a:uLnTx/>
                <a:uFillTx/>
                <a:latin typeface="Calibri" panose="020F0502020204030204"/>
                <a:ea typeface="+mn-ea"/>
                <a:cs typeface="+mn-cs"/>
                <a:sym typeface="Calibri"/>
              </a:rPr>
              <a:t>CIRQU FAQ’s</a:t>
            </a:r>
          </a:p>
        </p:txBody>
      </p:sp>
      <p:grpSp>
        <p:nvGrpSpPr>
          <p:cNvPr id="219" name="Group 218">
            <a:extLst>
              <a:ext uri="{FF2B5EF4-FFF2-40B4-BE49-F238E27FC236}">
                <a16:creationId xmlns:a16="http://schemas.microsoft.com/office/drawing/2014/main" id="{7828F179-ACF1-33EA-C1AE-8B639F1EBB22}"/>
              </a:ext>
            </a:extLst>
          </p:cNvPr>
          <p:cNvGrpSpPr/>
          <p:nvPr/>
        </p:nvGrpSpPr>
        <p:grpSpPr>
          <a:xfrm>
            <a:off x="88240" y="837304"/>
            <a:ext cx="508660" cy="470106"/>
            <a:chOff x="2216084" y="603068"/>
            <a:chExt cx="797626" cy="737170"/>
          </a:xfrm>
        </p:grpSpPr>
        <p:sp>
          <p:nvSpPr>
            <p:cNvPr id="220" name="object 35">
              <a:extLst>
                <a:ext uri="{FF2B5EF4-FFF2-40B4-BE49-F238E27FC236}">
                  <a16:creationId xmlns:a16="http://schemas.microsoft.com/office/drawing/2014/main" id="{D6EEED6E-F2A7-FB81-6EAC-4A2212C3E74D}"/>
                </a:ext>
              </a:extLst>
            </p:cNvPr>
            <p:cNvSpPr/>
            <p:nvPr/>
          </p:nvSpPr>
          <p:spPr>
            <a:xfrm>
              <a:off x="2216084" y="1025913"/>
              <a:ext cx="314325" cy="314325"/>
            </a:xfrm>
            <a:custGeom>
              <a:avLst/>
              <a:gdLst/>
              <a:ahLst/>
              <a:cxnLst/>
              <a:rect l="l" t="t" r="r" b="b"/>
              <a:pathLst>
                <a:path w="314325" h="314325">
                  <a:moveTo>
                    <a:pt x="177491" y="0"/>
                  </a:moveTo>
                  <a:lnTo>
                    <a:pt x="136634" y="0"/>
                  </a:lnTo>
                  <a:lnTo>
                    <a:pt x="129014" y="1549"/>
                  </a:lnTo>
                  <a:lnTo>
                    <a:pt x="122775" y="5768"/>
                  </a:lnTo>
                  <a:lnTo>
                    <a:pt x="118560" y="12010"/>
                  </a:lnTo>
                  <a:lnTo>
                    <a:pt x="117012" y="19632"/>
                  </a:lnTo>
                  <a:lnTo>
                    <a:pt x="117012" y="117012"/>
                  </a:lnTo>
                  <a:lnTo>
                    <a:pt x="19622" y="117012"/>
                  </a:lnTo>
                  <a:lnTo>
                    <a:pt x="12006" y="118561"/>
                  </a:lnTo>
                  <a:lnTo>
                    <a:pt x="5766" y="122780"/>
                  </a:lnTo>
                  <a:lnTo>
                    <a:pt x="1549" y="129023"/>
                  </a:lnTo>
                  <a:lnTo>
                    <a:pt x="0" y="136645"/>
                  </a:lnTo>
                  <a:lnTo>
                    <a:pt x="0" y="177491"/>
                  </a:lnTo>
                  <a:lnTo>
                    <a:pt x="1549" y="185112"/>
                  </a:lnTo>
                  <a:lnTo>
                    <a:pt x="5766" y="191351"/>
                  </a:lnTo>
                  <a:lnTo>
                    <a:pt x="12006" y="195566"/>
                  </a:lnTo>
                  <a:lnTo>
                    <a:pt x="19622" y="197114"/>
                  </a:lnTo>
                  <a:lnTo>
                    <a:pt x="117012" y="197114"/>
                  </a:lnTo>
                  <a:lnTo>
                    <a:pt x="117012" y="294504"/>
                  </a:lnTo>
                  <a:lnTo>
                    <a:pt x="118560" y="302124"/>
                  </a:lnTo>
                  <a:lnTo>
                    <a:pt x="122775" y="308363"/>
                  </a:lnTo>
                  <a:lnTo>
                    <a:pt x="129014" y="312578"/>
                  </a:lnTo>
                  <a:lnTo>
                    <a:pt x="136634" y="314126"/>
                  </a:lnTo>
                  <a:lnTo>
                    <a:pt x="177491" y="314126"/>
                  </a:lnTo>
                  <a:lnTo>
                    <a:pt x="185112" y="312578"/>
                  </a:lnTo>
                  <a:lnTo>
                    <a:pt x="191351" y="308363"/>
                  </a:lnTo>
                  <a:lnTo>
                    <a:pt x="195566" y="302124"/>
                  </a:lnTo>
                  <a:lnTo>
                    <a:pt x="197114" y="294504"/>
                  </a:lnTo>
                  <a:lnTo>
                    <a:pt x="197114" y="197114"/>
                  </a:lnTo>
                  <a:lnTo>
                    <a:pt x="294504" y="197114"/>
                  </a:lnTo>
                  <a:lnTo>
                    <a:pt x="302120" y="195566"/>
                  </a:lnTo>
                  <a:lnTo>
                    <a:pt x="308359" y="191351"/>
                  </a:lnTo>
                  <a:lnTo>
                    <a:pt x="312577" y="185112"/>
                  </a:lnTo>
                  <a:lnTo>
                    <a:pt x="314126" y="177491"/>
                  </a:lnTo>
                  <a:lnTo>
                    <a:pt x="314126" y="136645"/>
                  </a:lnTo>
                  <a:lnTo>
                    <a:pt x="312577" y="129023"/>
                  </a:lnTo>
                  <a:lnTo>
                    <a:pt x="308359" y="122780"/>
                  </a:lnTo>
                  <a:lnTo>
                    <a:pt x="302120" y="118561"/>
                  </a:lnTo>
                  <a:lnTo>
                    <a:pt x="294504" y="117012"/>
                  </a:lnTo>
                  <a:lnTo>
                    <a:pt x="197114" y="117012"/>
                  </a:lnTo>
                  <a:lnTo>
                    <a:pt x="197114" y="19632"/>
                  </a:lnTo>
                  <a:lnTo>
                    <a:pt x="195566" y="12010"/>
                  </a:lnTo>
                  <a:lnTo>
                    <a:pt x="191351" y="5768"/>
                  </a:lnTo>
                  <a:lnTo>
                    <a:pt x="185112" y="1549"/>
                  </a:lnTo>
                  <a:lnTo>
                    <a:pt x="177491" y="0"/>
                  </a:lnTo>
                  <a:close/>
                </a:path>
              </a:pathLst>
            </a:custGeom>
            <a:solidFill>
              <a:srgbClr val="FFC62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1" name="object 36">
              <a:extLst>
                <a:ext uri="{FF2B5EF4-FFF2-40B4-BE49-F238E27FC236}">
                  <a16:creationId xmlns:a16="http://schemas.microsoft.com/office/drawing/2014/main" id="{761914B0-88A7-40F4-0CB6-D0AC1FE4C252}"/>
                </a:ext>
              </a:extLst>
            </p:cNvPr>
            <p:cNvSpPr/>
            <p:nvPr/>
          </p:nvSpPr>
          <p:spPr>
            <a:xfrm>
              <a:off x="2622550" y="718835"/>
              <a:ext cx="391160" cy="391160"/>
            </a:xfrm>
            <a:custGeom>
              <a:avLst/>
              <a:gdLst/>
              <a:ahLst/>
              <a:cxnLst/>
              <a:rect l="l" t="t" r="r" b="b"/>
              <a:pathLst>
                <a:path w="391160" h="391160">
                  <a:moveTo>
                    <a:pt x="220841" y="0"/>
                  </a:moveTo>
                  <a:lnTo>
                    <a:pt x="170005" y="0"/>
                  </a:lnTo>
                  <a:lnTo>
                    <a:pt x="160526" y="1929"/>
                  </a:lnTo>
                  <a:lnTo>
                    <a:pt x="152762" y="7180"/>
                  </a:lnTo>
                  <a:lnTo>
                    <a:pt x="147514" y="14948"/>
                  </a:lnTo>
                  <a:lnTo>
                    <a:pt x="145587" y="24428"/>
                  </a:lnTo>
                  <a:lnTo>
                    <a:pt x="145587" y="145587"/>
                  </a:lnTo>
                  <a:lnTo>
                    <a:pt x="24418" y="145587"/>
                  </a:lnTo>
                  <a:lnTo>
                    <a:pt x="14939" y="147516"/>
                  </a:lnTo>
                  <a:lnTo>
                    <a:pt x="7175" y="152767"/>
                  </a:lnTo>
                  <a:lnTo>
                    <a:pt x="1927" y="160535"/>
                  </a:lnTo>
                  <a:lnTo>
                    <a:pt x="0" y="170015"/>
                  </a:lnTo>
                  <a:lnTo>
                    <a:pt x="0" y="220841"/>
                  </a:lnTo>
                  <a:lnTo>
                    <a:pt x="1927" y="230324"/>
                  </a:lnTo>
                  <a:lnTo>
                    <a:pt x="7175" y="238088"/>
                  </a:lnTo>
                  <a:lnTo>
                    <a:pt x="14939" y="243333"/>
                  </a:lnTo>
                  <a:lnTo>
                    <a:pt x="24418" y="245259"/>
                  </a:lnTo>
                  <a:lnTo>
                    <a:pt x="145587" y="245259"/>
                  </a:lnTo>
                  <a:lnTo>
                    <a:pt x="145587" y="366428"/>
                  </a:lnTo>
                  <a:lnTo>
                    <a:pt x="147514" y="375911"/>
                  </a:lnTo>
                  <a:lnTo>
                    <a:pt x="152762" y="383675"/>
                  </a:lnTo>
                  <a:lnTo>
                    <a:pt x="160526" y="388920"/>
                  </a:lnTo>
                  <a:lnTo>
                    <a:pt x="170005" y="390846"/>
                  </a:lnTo>
                  <a:lnTo>
                    <a:pt x="220841" y="390846"/>
                  </a:lnTo>
                  <a:lnTo>
                    <a:pt x="230319" y="388920"/>
                  </a:lnTo>
                  <a:lnTo>
                    <a:pt x="238084" y="383675"/>
                  </a:lnTo>
                  <a:lnTo>
                    <a:pt x="243331" y="375911"/>
                  </a:lnTo>
                  <a:lnTo>
                    <a:pt x="245259" y="366428"/>
                  </a:lnTo>
                  <a:lnTo>
                    <a:pt x="245259" y="245259"/>
                  </a:lnTo>
                  <a:lnTo>
                    <a:pt x="366428" y="245259"/>
                  </a:lnTo>
                  <a:lnTo>
                    <a:pt x="375907" y="243333"/>
                  </a:lnTo>
                  <a:lnTo>
                    <a:pt x="383671" y="238088"/>
                  </a:lnTo>
                  <a:lnTo>
                    <a:pt x="388919" y="230324"/>
                  </a:lnTo>
                  <a:lnTo>
                    <a:pt x="390846" y="220841"/>
                  </a:lnTo>
                  <a:lnTo>
                    <a:pt x="390846" y="170015"/>
                  </a:lnTo>
                  <a:lnTo>
                    <a:pt x="388919" y="160535"/>
                  </a:lnTo>
                  <a:lnTo>
                    <a:pt x="383671" y="152767"/>
                  </a:lnTo>
                  <a:lnTo>
                    <a:pt x="375907" y="147516"/>
                  </a:lnTo>
                  <a:lnTo>
                    <a:pt x="366428" y="145587"/>
                  </a:lnTo>
                  <a:lnTo>
                    <a:pt x="245259" y="145587"/>
                  </a:lnTo>
                  <a:lnTo>
                    <a:pt x="245259" y="24428"/>
                  </a:lnTo>
                  <a:lnTo>
                    <a:pt x="243331" y="14948"/>
                  </a:lnTo>
                  <a:lnTo>
                    <a:pt x="238084" y="7180"/>
                  </a:lnTo>
                  <a:lnTo>
                    <a:pt x="230319" y="1929"/>
                  </a:lnTo>
                  <a:lnTo>
                    <a:pt x="220841" y="0"/>
                  </a:lnTo>
                  <a:close/>
                </a:path>
              </a:pathLst>
            </a:custGeom>
            <a:solidFill>
              <a:srgbClr val="0065D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222" name="object 40">
              <a:extLst>
                <a:ext uri="{FF2B5EF4-FFF2-40B4-BE49-F238E27FC236}">
                  <a16:creationId xmlns:a16="http://schemas.microsoft.com/office/drawing/2014/main" id="{1290C350-C458-9705-9AFC-1DFD0676A0AC}"/>
                </a:ext>
              </a:extLst>
            </p:cNvPr>
            <p:cNvPicPr/>
            <p:nvPr/>
          </p:nvPicPr>
          <p:blipFill>
            <a:blip r:embed="rId6" cstate="screen">
              <a:extLst>
                <a:ext uri="{28A0092B-C50C-407E-A947-70E740481C1C}">
                  <a14:useLocalDpi xmlns:a14="http://schemas.microsoft.com/office/drawing/2010/main"/>
                </a:ext>
              </a:extLst>
            </a:blip>
            <a:stretch>
              <a:fillRect/>
            </a:stretch>
          </p:blipFill>
          <p:spPr>
            <a:xfrm>
              <a:off x="2263120" y="603068"/>
              <a:ext cx="192486" cy="192486"/>
            </a:xfrm>
            <a:prstGeom prst="rect">
              <a:avLst/>
            </a:prstGeom>
          </p:spPr>
        </p:pic>
      </p:grpSp>
      <p:grpSp>
        <p:nvGrpSpPr>
          <p:cNvPr id="224" name="Group 223">
            <a:extLst>
              <a:ext uri="{FF2B5EF4-FFF2-40B4-BE49-F238E27FC236}">
                <a16:creationId xmlns:a16="http://schemas.microsoft.com/office/drawing/2014/main" id="{0A2D1E82-563A-EE61-6120-452955F848FA}"/>
              </a:ext>
            </a:extLst>
          </p:cNvPr>
          <p:cNvGrpSpPr/>
          <p:nvPr/>
        </p:nvGrpSpPr>
        <p:grpSpPr>
          <a:xfrm>
            <a:off x="11065564" y="5936973"/>
            <a:ext cx="1126435" cy="934485"/>
            <a:chOff x="7796213" y="3055938"/>
            <a:chExt cx="4395787" cy="3803649"/>
          </a:xfrm>
        </p:grpSpPr>
        <p:sp>
          <p:nvSpPr>
            <p:cNvPr id="225" name="AutoShape 3">
              <a:extLst>
                <a:ext uri="{FF2B5EF4-FFF2-40B4-BE49-F238E27FC236}">
                  <a16:creationId xmlns:a16="http://schemas.microsoft.com/office/drawing/2014/main" id="{D20E4D3F-51B1-A7D0-C6FA-CA87D92357AB}"/>
                </a:ext>
              </a:extLst>
            </p:cNvPr>
            <p:cNvSpPr>
              <a:spLocks noChangeAspect="1" noChangeArrowheads="1" noTextEdit="1"/>
            </p:cNvSpPr>
            <p:nvPr/>
          </p:nvSpPr>
          <p:spPr bwMode="auto">
            <a:xfrm flipH="1" flipV="1">
              <a:off x="7799388" y="3055938"/>
              <a:ext cx="4392612" cy="380206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6" name="Freeform 5">
              <a:extLst>
                <a:ext uri="{FF2B5EF4-FFF2-40B4-BE49-F238E27FC236}">
                  <a16:creationId xmlns:a16="http://schemas.microsoft.com/office/drawing/2014/main" id="{81E0B668-0EDF-83F8-0EEE-C8C9470EAD3D}"/>
                </a:ext>
              </a:extLst>
            </p:cNvPr>
            <p:cNvSpPr>
              <a:spLocks/>
            </p:cNvSpPr>
            <p:nvPr/>
          </p:nvSpPr>
          <p:spPr bwMode="auto">
            <a:xfrm flipH="1" flipV="1">
              <a:off x="9634538" y="4672013"/>
              <a:ext cx="257175" cy="257175"/>
            </a:xfrm>
            <a:custGeom>
              <a:avLst/>
              <a:gdLst>
                <a:gd name="T0" fmla="*/ 0 w 844"/>
                <a:gd name="T1" fmla="*/ 477 h 844"/>
                <a:gd name="T2" fmla="*/ 0 w 844"/>
                <a:gd name="T3" fmla="*/ 477 h 844"/>
                <a:gd name="T4" fmla="*/ 0 w 844"/>
                <a:gd name="T5" fmla="*/ 367 h 844"/>
                <a:gd name="T6" fmla="*/ 53 w 844"/>
                <a:gd name="T7" fmla="*/ 314 h 844"/>
                <a:gd name="T8" fmla="*/ 315 w 844"/>
                <a:gd name="T9" fmla="*/ 314 h 844"/>
                <a:gd name="T10" fmla="*/ 315 w 844"/>
                <a:gd name="T11" fmla="*/ 53 h 844"/>
                <a:gd name="T12" fmla="*/ 367 w 844"/>
                <a:gd name="T13" fmla="*/ 0 h 844"/>
                <a:gd name="T14" fmla="*/ 477 w 844"/>
                <a:gd name="T15" fmla="*/ 0 h 844"/>
                <a:gd name="T16" fmla="*/ 530 w 844"/>
                <a:gd name="T17" fmla="*/ 53 h 844"/>
                <a:gd name="T18" fmla="*/ 530 w 844"/>
                <a:gd name="T19" fmla="*/ 314 h 844"/>
                <a:gd name="T20" fmla="*/ 791 w 844"/>
                <a:gd name="T21" fmla="*/ 314 h 844"/>
                <a:gd name="T22" fmla="*/ 844 w 844"/>
                <a:gd name="T23" fmla="*/ 367 h 844"/>
                <a:gd name="T24" fmla="*/ 844 w 844"/>
                <a:gd name="T25" fmla="*/ 477 h 844"/>
                <a:gd name="T26" fmla="*/ 791 w 844"/>
                <a:gd name="T27" fmla="*/ 530 h 844"/>
                <a:gd name="T28" fmla="*/ 530 w 844"/>
                <a:gd name="T29" fmla="*/ 530 h 844"/>
                <a:gd name="T30" fmla="*/ 530 w 844"/>
                <a:gd name="T31" fmla="*/ 791 h 844"/>
                <a:gd name="T32" fmla="*/ 477 w 844"/>
                <a:gd name="T33" fmla="*/ 844 h 844"/>
                <a:gd name="T34" fmla="*/ 367 w 844"/>
                <a:gd name="T35" fmla="*/ 844 h 844"/>
                <a:gd name="T36" fmla="*/ 315 w 844"/>
                <a:gd name="T37" fmla="*/ 791 h 844"/>
                <a:gd name="T38" fmla="*/ 315 w 844"/>
                <a:gd name="T39" fmla="*/ 530 h 844"/>
                <a:gd name="T40" fmla="*/ 53 w 844"/>
                <a:gd name="T41" fmla="*/ 530 h 844"/>
                <a:gd name="T42" fmla="*/ 0 w 844"/>
                <a:gd name="T43" fmla="*/ 477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44" h="844">
                  <a:moveTo>
                    <a:pt x="0" y="477"/>
                  </a:moveTo>
                  <a:lnTo>
                    <a:pt x="0" y="477"/>
                  </a:lnTo>
                  <a:lnTo>
                    <a:pt x="0" y="367"/>
                  </a:lnTo>
                  <a:cubicBezTo>
                    <a:pt x="0" y="338"/>
                    <a:pt x="24" y="314"/>
                    <a:pt x="53" y="314"/>
                  </a:cubicBezTo>
                  <a:lnTo>
                    <a:pt x="315" y="314"/>
                  </a:lnTo>
                  <a:lnTo>
                    <a:pt x="315" y="53"/>
                  </a:lnTo>
                  <a:cubicBezTo>
                    <a:pt x="315" y="24"/>
                    <a:pt x="338" y="0"/>
                    <a:pt x="367" y="0"/>
                  </a:cubicBezTo>
                  <a:lnTo>
                    <a:pt x="477" y="0"/>
                  </a:lnTo>
                  <a:cubicBezTo>
                    <a:pt x="506" y="0"/>
                    <a:pt x="530" y="24"/>
                    <a:pt x="530" y="53"/>
                  </a:cubicBezTo>
                  <a:lnTo>
                    <a:pt x="530" y="314"/>
                  </a:lnTo>
                  <a:lnTo>
                    <a:pt x="791" y="314"/>
                  </a:lnTo>
                  <a:cubicBezTo>
                    <a:pt x="821" y="314"/>
                    <a:pt x="844" y="338"/>
                    <a:pt x="844" y="367"/>
                  </a:cubicBezTo>
                  <a:lnTo>
                    <a:pt x="844" y="477"/>
                  </a:lnTo>
                  <a:cubicBezTo>
                    <a:pt x="844" y="506"/>
                    <a:pt x="821" y="530"/>
                    <a:pt x="791" y="530"/>
                  </a:cubicBezTo>
                  <a:lnTo>
                    <a:pt x="530" y="530"/>
                  </a:lnTo>
                  <a:lnTo>
                    <a:pt x="530" y="791"/>
                  </a:lnTo>
                  <a:cubicBezTo>
                    <a:pt x="530" y="820"/>
                    <a:pt x="506" y="844"/>
                    <a:pt x="477" y="844"/>
                  </a:cubicBezTo>
                  <a:lnTo>
                    <a:pt x="367" y="844"/>
                  </a:lnTo>
                  <a:cubicBezTo>
                    <a:pt x="338" y="844"/>
                    <a:pt x="315" y="820"/>
                    <a:pt x="315" y="791"/>
                  </a:cubicBezTo>
                  <a:lnTo>
                    <a:pt x="315" y="530"/>
                  </a:lnTo>
                  <a:lnTo>
                    <a:pt x="53" y="530"/>
                  </a:lnTo>
                  <a:cubicBezTo>
                    <a:pt x="24" y="530"/>
                    <a:pt x="0" y="506"/>
                    <a:pt x="0" y="477"/>
                  </a:cubicBezTo>
                  <a:close/>
                </a:path>
              </a:pathLst>
            </a:custGeom>
            <a:solidFill>
              <a:srgbClr val="00C04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7" name="Freeform 6">
              <a:extLst>
                <a:ext uri="{FF2B5EF4-FFF2-40B4-BE49-F238E27FC236}">
                  <a16:creationId xmlns:a16="http://schemas.microsoft.com/office/drawing/2014/main" id="{E53998A5-7DDF-0C23-C57E-B477EB1CE181}"/>
                </a:ext>
              </a:extLst>
            </p:cNvPr>
            <p:cNvSpPr>
              <a:spLocks/>
            </p:cNvSpPr>
            <p:nvPr/>
          </p:nvSpPr>
          <p:spPr bwMode="auto">
            <a:xfrm flipH="1" flipV="1">
              <a:off x="10726738" y="5397500"/>
              <a:ext cx="1457325" cy="1455737"/>
            </a:xfrm>
            <a:custGeom>
              <a:avLst/>
              <a:gdLst>
                <a:gd name="T0" fmla="*/ 0 w 4763"/>
                <a:gd name="T1" fmla="*/ 0 h 4764"/>
                <a:gd name="T2" fmla="*/ 0 w 4763"/>
                <a:gd name="T3" fmla="*/ 0 h 4764"/>
                <a:gd name="T4" fmla="*/ 4763 w 4763"/>
                <a:gd name="T5" fmla="*/ 0 h 4764"/>
                <a:gd name="T6" fmla="*/ 4763 w 4763"/>
                <a:gd name="T7" fmla="*/ 4764 h 4764"/>
                <a:gd name="T8" fmla="*/ 0 w 4763"/>
                <a:gd name="T9" fmla="*/ 4764 h 4764"/>
                <a:gd name="T10" fmla="*/ 0 w 4763"/>
                <a:gd name="T11" fmla="*/ 0 h 4764"/>
              </a:gdLst>
              <a:ahLst/>
              <a:cxnLst>
                <a:cxn ang="0">
                  <a:pos x="T0" y="T1"/>
                </a:cxn>
                <a:cxn ang="0">
                  <a:pos x="T2" y="T3"/>
                </a:cxn>
                <a:cxn ang="0">
                  <a:pos x="T4" y="T5"/>
                </a:cxn>
                <a:cxn ang="0">
                  <a:pos x="T6" y="T7"/>
                </a:cxn>
                <a:cxn ang="0">
                  <a:pos x="T8" y="T9"/>
                </a:cxn>
                <a:cxn ang="0">
                  <a:pos x="T10" y="T11"/>
                </a:cxn>
              </a:cxnLst>
              <a:rect l="0" t="0" r="r" b="b"/>
              <a:pathLst>
                <a:path w="4763" h="4764">
                  <a:moveTo>
                    <a:pt x="0" y="0"/>
                  </a:moveTo>
                  <a:lnTo>
                    <a:pt x="0" y="0"/>
                  </a:lnTo>
                  <a:lnTo>
                    <a:pt x="4763" y="0"/>
                  </a:lnTo>
                  <a:lnTo>
                    <a:pt x="4763" y="4764"/>
                  </a:lnTo>
                  <a:lnTo>
                    <a:pt x="0" y="4764"/>
                  </a:lnTo>
                  <a:lnTo>
                    <a:pt x="0" y="0"/>
                  </a:lnTo>
                  <a:close/>
                </a:path>
              </a:pathLst>
            </a:custGeom>
            <a:solidFill>
              <a:srgbClr val="8EDB4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8" name="Freeform 7">
              <a:extLst>
                <a:ext uri="{FF2B5EF4-FFF2-40B4-BE49-F238E27FC236}">
                  <a16:creationId xmlns:a16="http://schemas.microsoft.com/office/drawing/2014/main" id="{1BA608B4-17B8-57C4-9D87-FB841AFD36AC}"/>
                </a:ext>
              </a:extLst>
            </p:cNvPr>
            <p:cNvSpPr>
              <a:spLocks/>
            </p:cNvSpPr>
            <p:nvPr/>
          </p:nvSpPr>
          <p:spPr bwMode="auto">
            <a:xfrm flipH="1" flipV="1">
              <a:off x="10731500" y="5397500"/>
              <a:ext cx="1460500" cy="1462087"/>
            </a:xfrm>
            <a:custGeom>
              <a:avLst/>
              <a:gdLst>
                <a:gd name="T0" fmla="*/ 0 w 4775"/>
                <a:gd name="T1" fmla="*/ 4783 h 4783"/>
                <a:gd name="T2" fmla="*/ 0 w 4775"/>
                <a:gd name="T3" fmla="*/ 4783 h 4783"/>
                <a:gd name="T4" fmla="*/ 4775 w 4775"/>
                <a:gd name="T5" fmla="*/ 0 h 4783"/>
                <a:gd name="T6" fmla="*/ 0 w 4775"/>
                <a:gd name="T7" fmla="*/ 0 h 4783"/>
                <a:gd name="T8" fmla="*/ 0 w 4775"/>
                <a:gd name="T9" fmla="*/ 4783 h 4783"/>
              </a:gdLst>
              <a:ahLst/>
              <a:cxnLst>
                <a:cxn ang="0">
                  <a:pos x="T0" y="T1"/>
                </a:cxn>
                <a:cxn ang="0">
                  <a:pos x="T2" y="T3"/>
                </a:cxn>
                <a:cxn ang="0">
                  <a:pos x="T4" y="T5"/>
                </a:cxn>
                <a:cxn ang="0">
                  <a:pos x="T6" y="T7"/>
                </a:cxn>
                <a:cxn ang="0">
                  <a:pos x="T8" y="T9"/>
                </a:cxn>
              </a:cxnLst>
              <a:rect l="0" t="0" r="r" b="b"/>
              <a:pathLst>
                <a:path w="4775" h="4783">
                  <a:moveTo>
                    <a:pt x="0" y="4783"/>
                  </a:moveTo>
                  <a:lnTo>
                    <a:pt x="0" y="4783"/>
                  </a:lnTo>
                  <a:cubicBezTo>
                    <a:pt x="2637" y="4783"/>
                    <a:pt x="4775" y="2641"/>
                    <a:pt x="4775" y="0"/>
                  </a:cubicBezTo>
                  <a:lnTo>
                    <a:pt x="0" y="0"/>
                  </a:lnTo>
                  <a:lnTo>
                    <a:pt x="0" y="4783"/>
                  </a:lnTo>
                  <a:close/>
                </a:path>
              </a:pathLst>
            </a:custGeom>
            <a:solidFill>
              <a:srgbClr val="00A65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9" name="Freeform 8">
              <a:extLst>
                <a:ext uri="{FF2B5EF4-FFF2-40B4-BE49-F238E27FC236}">
                  <a16:creationId xmlns:a16="http://schemas.microsoft.com/office/drawing/2014/main" id="{DD4937BD-A6F5-13D0-3C5F-958BB0171352}"/>
                </a:ext>
              </a:extLst>
            </p:cNvPr>
            <p:cNvSpPr>
              <a:spLocks/>
            </p:cNvSpPr>
            <p:nvPr/>
          </p:nvSpPr>
          <p:spPr bwMode="auto">
            <a:xfrm flipH="1" flipV="1">
              <a:off x="9304338" y="5397500"/>
              <a:ext cx="1422400" cy="1455737"/>
            </a:xfrm>
            <a:custGeom>
              <a:avLst/>
              <a:gdLst>
                <a:gd name="T0" fmla="*/ 4651 w 4651"/>
                <a:gd name="T1" fmla="*/ 4764 h 4764"/>
                <a:gd name="T2" fmla="*/ 4651 w 4651"/>
                <a:gd name="T3" fmla="*/ 4764 h 4764"/>
                <a:gd name="T4" fmla="*/ 0 w 4651"/>
                <a:gd name="T5" fmla="*/ 4764 h 4764"/>
                <a:gd name="T6" fmla="*/ 0 w 4651"/>
                <a:gd name="T7" fmla="*/ 0 h 4764"/>
                <a:gd name="T8" fmla="*/ 4651 w 4651"/>
                <a:gd name="T9" fmla="*/ 0 h 4764"/>
                <a:gd name="T10" fmla="*/ 4651 w 4651"/>
                <a:gd name="T11" fmla="*/ 4764 h 4764"/>
              </a:gdLst>
              <a:ahLst/>
              <a:cxnLst>
                <a:cxn ang="0">
                  <a:pos x="T0" y="T1"/>
                </a:cxn>
                <a:cxn ang="0">
                  <a:pos x="T2" y="T3"/>
                </a:cxn>
                <a:cxn ang="0">
                  <a:pos x="T4" y="T5"/>
                </a:cxn>
                <a:cxn ang="0">
                  <a:pos x="T6" y="T7"/>
                </a:cxn>
                <a:cxn ang="0">
                  <a:pos x="T8" y="T9"/>
                </a:cxn>
                <a:cxn ang="0">
                  <a:pos x="T10" y="T11"/>
                </a:cxn>
              </a:cxnLst>
              <a:rect l="0" t="0" r="r" b="b"/>
              <a:pathLst>
                <a:path w="4651" h="4764">
                  <a:moveTo>
                    <a:pt x="4651" y="4764"/>
                  </a:moveTo>
                  <a:lnTo>
                    <a:pt x="4651" y="4764"/>
                  </a:lnTo>
                  <a:lnTo>
                    <a:pt x="0" y="4764"/>
                  </a:lnTo>
                  <a:lnTo>
                    <a:pt x="0" y="0"/>
                  </a:lnTo>
                  <a:lnTo>
                    <a:pt x="4651" y="0"/>
                  </a:lnTo>
                  <a:lnTo>
                    <a:pt x="4651" y="4764"/>
                  </a:lnTo>
                  <a:close/>
                </a:path>
              </a:pathLst>
            </a:custGeom>
            <a:solidFill>
              <a:srgbClr val="4FE1F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0" name="Freeform 9">
              <a:extLst>
                <a:ext uri="{FF2B5EF4-FFF2-40B4-BE49-F238E27FC236}">
                  <a16:creationId xmlns:a16="http://schemas.microsoft.com/office/drawing/2014/main" id="{63F7587B-33A1-BBCA-68E2-544E7ED1547F}"/>
                </a:ext>
              </a:extLst>
            </p:cNvPr>
            <p:cNvSpPr>
              <a:spLocks/>
            </p:cNvSpPr>
            <p:nvPr/>
          </p:nvSpPr>
          <p:spPr bwMode="auto">
            <a:xfrm flipH="1" flipV="1">
              <a:off x="7796213" y="5394325"/>
              <a:ext cx="1477962" cy="1465262"/>
            </a:xfrm>
            <a:custGeom>
              <a:avLst/>
              <a:gdLst>
                <a:gd name="T0" fmla="*/ 0 w 4832"/>
                <a:gd name="T1" fmla="*/ 4792 h 4792"/>
                <a:gd name="T2" fmla="*/ 0 w 4832"/>
                <a:gd name="T3" fmla="*/ 4792 h 4792"/>
                <a:gd name="T4" fmla="*/ 4832 w 4832"/>
                <a:gd name="T5" fmla="*/ 0 h 4792"/>
                <a:gd name="T6" fmla="*/ 4832 w 4832"/>
                <a:gd name="T7" fmla="*/ 0 h 4792"/>
                <a:gd name="T8" fmla="*/ 0 w 4832"/>
                <a:gd name="T9" fmla="*/ 4792 h 4792"/>
              </a:gdLst>
              <a:ahLst/>
              <a:cxnLst>
                <a:cxn ang="0">
                  <a:pos x="T0" y="T1"/>
                </a:cxn>
                <a:cxn ang="0">
                  <a:pos x="T2" y="T3"/>
                </a:cxn>
                <a:cxn ang="0">
                  <a:pos x="T4" y="T5"/>
                </a:cxn>
                <a:cxn ang="0">
                  <a:pos x="T6" y="T7"/>
                </a:cxn>
                <a:cxn ang="0">
                  <a:pos x="T8" y="T9"/>
                </a:cxn>
              </a:cxnLst>
              <a:rect l="0" t="0" r="r" b="b"/>
              <a:pathLst>
                <a:path w="4832" h="4792">
                  <a:moveTo>
                    <a:pt x="0" y="4792"/>
                  </a:moveTo>
                  <a:lnTo>
                    <a:pt x="0" y="4792"/>
                  </a:lnTo>
                  <a:cubicBezTo>
                    <a:pt x="0" y="2145"/>
                    <a:pt x="2163" y="0"/>
                    <a:pt x="4832" y="0"/>
                  </a:cubicBezTo>
                  <a:lnTo>
                    <a:pt x="4832" y="0"/>
                  </a:lnTo>
                  <a:cubicBezTo>
                    <a:pt x="4832" y="2646"/>
                    <a:pt x="2669" y="4792"/>
                    <a:pt x="0" y="4792"/>
                  </a:cubicBezTo>
                  <a:close/>
                </a:path>
              </a:pathLst>
            </a:custGeom>
            <a:solidFill>
              <a:srgbClr val="00C04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1" name="Freeform 10">
              <a:extLst>
                <a:ext uri="{FF2B5EF4-FFF2-40B4-BE49-F238E27FC236}">
                  <a16:creationId xmlns:a16="http://schemas.microsoft.com/office/drawing/2014/main" id="{318AAC57-0FA2-A17A-A25A-455132520183}"/>
                </a:ext>
              </a:extLst>
            </p:cNvPr>
            <p:cNvSpPr>
              <a:spLocks/>
            </p:cNvSpPr>
            <p:nvPr/>
          </p:nvSpPr>
          <p:spPr bwMode="auto">
            <a:xfrm flipH="1" flipV="1">
              <a:off x="9275763" y="5394325"/>
              <a:ext cx="1457325" cy="1465262"/>
            </a:xfrm>
            <a:custGeom>
              <a:avLst/>
              <a:gdLst>
                <a:gd name="T0" fmla="*/ 0 w 4763"/>
                <a:gd name="T1" fmla="*/ 0 h 4789"/>
                <a:gd name="T2" fmla="*/ 0 w 4763"/>
                <a:gd name="T3" fmla="*/ 0 h 4789"/>
                <a:gd name="T4" fmla="*/ 4763 w 4763"/>
                <a:gd name="T5" fmla="*/ 0 h 4789"/>
                <a:gd name="T6" fmla="*/ 4763 w 4763"/>
                <a:gd name="T7" fmla="*/ 4789 h 4789"/>
                <a:gd name="T8" fmla="*/ 0 w 4763"/>
                <a:gd name="T9" fmla="*/ 0 h 4789"/>
              </a:gdLst>
              <a:ahLst/>
              <a:cxnLst>
                <a:cxn ang="0">
                  <a:pos x="T0" y="T1"/>
                </a:cxn>
                <a:cxn ang="0">
                  <a:pos x="T2" y="T3"/>
                </a:cxn>
                <a:cxn ang="0">
                  <a:pos x="T4" y="T5"/>
                </a:cxn>
                <a:cxn ang="0">
                  <a:pos x="T6" y="T7"/>
                </a:cxn>
                <a:cxn ang="0">
                  <a:pos x="T8" y="T9"/>
                </a:cxn>
              </a:cxnLst>
              <a:rect l="0" t="0" r="r" b="b"/>
              <a:pathLst>
                <a:path w="4763" h="4789">
                  <a:moveTo>
                    <a:pt x="0" y="0"/>
                  </a:moveTo>
                  <a:lnTo>
                    <a:pt x="0" y="0"/>
                  </a:lnTo>
                  <a:lnTo>
                    <a:pt x="4763" y="0"/>
                  </a:lnTo>
                  <a:lnTo>
                    <a:pt x="4763" y="4789"/>
                  </a:lnTo>
                  <a:cubicBezTo>
                    <a:pt x="2132" y="4789"/>
                    <a:pt x="0" y="2645"/>
                    <a:pt x="0" y="0"/>
                  </a:cubicBezTo>
                  <a:close/>
                </a:path>
              </a:pathLst>
            </a:custGeom>
            <a:solidFill>
              <a:srgbClr val="0065E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2" name="Freeform 11">
              <a:extLst>
                <a:ext uri="{FF2B5EF4-FFF2-40B4-BE49-F238E27FC236}">
                  <a16:creationId xmlns:a16="http://schemas.microsoft.com/office/drawing/2014/main" id="{F7A7AF52-C81F-A594-5B7E-05976862B2D2}"/>
                </a:ext>
              </a:extLst>
            </p:cNvPr>
            <p:cNvSpPr>
              <a:spLocks/>
            </p:cNvSpPr>
            <p:nvPr/>
          </p:nvSpPr>
          <p:spPr bwMode="auto">
            <a:xfrm flipH="1" flipV="1">
              <a:off x="10726738" y="3917950"/>
              <a:ext cx="1465262" cy="1481137"/>
            </a:xfrm>
            <a:custGeom>
              <a:avLst/>
              <a:gdLst>
                <a:gd name="T0" fmla="*/ 4790 w 4790"/>
                <a:gd name="T1" fmla="*/ 0 h 4840"/>
                <a:gd name="T2" fmla="*/ 4790 w 4790"/>
                <a:gd name="T3" fmla="*/ 0 h 4840"/>
                <a:gd name="T4" fmla="*/ 4790 w 4790"/>
                <a:gd name="T5" fmla="*/ 4840 h 4840"/>
                <a:gd name="T6" fmla="*/ 0 w 4790"/>
                <a:gd name="T7" fmla="*/ 4840 h 4840"/>
                <a:gd name="T8" fmla="*/ 0 w 4790"/>
                <a:gd name="T9" fmla="*/ 0 h 4840"/>
                <a:gd name="T10" fmla="*/ 4790 w 4790"/>
                <a:gd name="T11" fmla="*/ 0 h 4840"/>
              </a:gdLst>
              <a:ahLst/>
              <a:cxnLst>
                <a:cxn ang="0">
                  <a:pos x="T0" y="T1"/>
                </a:cxn>
                <a:cxn ang="0">
                  <a:pos x="T2" y="T3"/>
                </a:cxn>
                <a:cxn ang="0">
                  <a:pos x="T4" y="T5"/>
                </a:cxn>
                <a:cxn ang="0">
                  <a:pos x="T6" y="T7"/>
                </a:cxn>
                <a:cxn ang="0">
                  <a:pos x="T8" y="T9"/>
                </a:cxn>
                <a:cxn ang="0">
                  <a:pos x="T10" y="T11"/>
                </a:cxn>
              </a:cxnLst>
              <a:rect l="0" t="0" r="r" b="b"/>
              <a:pathLst>
                <a:path w="4790" h="4840">
                  <a:moveTo>
                    <a:pt x="4790" y="0"/>
                  </a:moveTo>
                  <a:lnTo>
                    <a:pt x="4790" y="0"/>
                  </a:lnTo>
                  <a:lnTo>
                    <a:pt x="4790" y="4840"/>
                  </a:lnTo>
                  <a:lnTo>
                    <a:pt x="0" y="4840"/>
                  </a:lnTo>
                  <a:lnTo>
                    <a:pt x="0" y="0"/>
                  </a:lnTo>
                  <a:lnTo>
                    <a:pt x="4790" y="0"/>
                  </a:lnTo>
                  <a:close/>
                </a:path>
              </a:pathLst>
            </a:custGeom>
            <a:solidFill>
              <a:srgbClr val="0065E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3" name="Freeform 12">
              <a:extLst>
                <a:ext uri="{FF2B5EF4-FFF2-40B4-BE49-F238E27FC236}">
                  <a16:creationId xmlns:a16="http://schemas.microsoft.com/office/drawing/2014/main" id="{A8443586-AFD0-4870-D3CC-4B0D1B0347B4}"/>
                </a:ext>
              </a:extLst>
            </p:cNvPr>
            <p:cNvSpPr>
              <a:spLocks/>
            </p:cNvSpPr>
            <p:nvPr/>
          </p:nvSpPr>
          <p:spPr bwMode="auto">
            <a:xfrm flipH="1" flipV="1">
              <a:off x="10726738" y="3917950"/>
              <a:ext cx="874712" cy="1481137"/>
            </a:xfrm>
            <a:custGeom>
              <a:avLst/>
              <a:gdLst>
                <a:gd name="T0" fmla="*/ 0 w 2860"/>
                <a:gd name="T1" fmla="*/ 4840 h 4840"/>
                <a:gd name="T2" fmla="*/ 0 w 2860"/>
                <a:gd name="T3" fmla="*/ 4840 h 4840"/>
                <a:gd name="T4" fmla="*/ 2860 w 2860"/>
                <a:gd name="T5" fmla="*/ 0 h 4840"/>
                <a:gd name="T6" fmla="*/ 2860 w 2860"/>
                <a:gd name="T7" fmla="*/ 4840 h 4840"/>
                <a:gd name="T8" fmla="*/ 0 w 2860"/>
                <a:gd name="T9" fmla="*/ 4840 h 4840"/>
              </a:gdLst>
              <a:ahLst/>
              <a:cxnLst>
                <a:cxn ang="0">
                  <a:pos x="T0" y="T1"/>
                </a:cxn>
                <a:cxn ang="0">
                  <a:pos x="T2" y="T3"/>
                </a:cxn>
                <a:cxn ang="0">
                  <a:pos x="T4" y="T5"/>
                </a:cxn>
                <a:cxn ang="0">
                  <a:pos x="T6" y="T7"/>
                </a:cxn>
                <a:cxn ang="0">
                  <a:pos x="T8" y="T9"/>
                </a:cxn>
              </a:cxnLst>
              <a:rect l="0" t="0" r="r" b="b"/>
              <a:pathLst>
                <a:path w="2860" h="4840">
                  <a:moveTo>
                    <a:pt x="0" y="4840"/>
                  </a:moveTo>
                  <a:lnTo>
                    <a:pt x="0" y="4840"/>
                  </a:lnTo>
                  <a:lnTo>
                    <a:pt x="2860" y="0"/>
                  </a:lnTo>
                  <a:lnTo>
                    <a:pt x="2860" y="4840"/>
                  </a:lnTo>
                  <a:lnTo>
                    <a:pt x="0" y="4840"/>
                  </a:lnTo>
                  <a:close/>
                </a:path>
              </a:pathLst>
            </a:custGeom>
            <a:solidFill>
              <a:srgbClr val="4FE1F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4" name="Freeform 13">
              <a:extLst>
                <a:ext uri="{FF2B5EF4-FFF2-40B4-BE49-F238E27FC236}">
                  <a16:creationId xmlns:a16="http://schemas.microsoft.com/office/drawing/2014/main" id="{AC106F19-7B81-FD7C-26DB-73C77D4DEF48}"/>
                </a:ext>
              </a:extLst>
            </p:cNvPr>
            <p:cNvSpPr>
              <a:spLocks/>
            </p:cNvSpPr>
            <p:nvPr/>
          </p:nvSpPr>
          <p:spPr bwMode="auto">
            <a:xfrm flipH="1" flipV="1">
              <a:off x="10399713" y="3621088"/>
              <a:ext cx="669925" cy="668337"/>
            </a:xfrm>
            <a:custGeom>
              <a:avLst/>
              <a:gdLst>
                <a:gd name="T0" fmla="*/ 0 w 2186"/>
                <a:gd name="T1" fmla="*/ 1235 h 2185"/>
                <a:gd name="T2" fmla="*/ 0 w 2186"/>
                <a:gd name="T3" fmla="*/ 1235 h 2185"/>
                <a:gd name="T4" fmla="*/ 0 w 2186"/>
                <a:gd name="T5" fmla="*/ 951 h 2185"/>
                <a:gd name="T6" fmla="*/ 137 w 2186"/>
                <a:gd name="T7" fmla="*/ 814 h 2185"/>
                <a:gd name="T8" fmla="*/ 814 w 2186"/>
                <a:gd name="T9" fmla="*/ 814 h 2185"/>
                <a:gd name="T10" fmla="*/ 814 w 2186"/>
                <a:gd name="T11" fmla="*/ 137 h 2185"/>
                <a:gd name="T12" fmla="*/ 951 w 2186"/>
                <a:gd name="T13" fmla="*/ 0 h 2185"/>
                <a:gd name="T14" fmla="*/ 1235 w 2186"/>
                <a:gd name="T15" fmla="*/ 0 h 2185"/>
                <a:gd name="T16" fmla="*/ 1372 w 2186"/>
                <a:gd name="T17" fmla="*/ 137 h 2185"/>
                <a:gd name="T18" fmla="*/ 1372 w 2186"/>
                <a:gd name="T19" fmla="*/ 814 h 2185"/>
                <a:gd name="T20" fmla="*/ 2049 w 2186"/>
                <a:gd name="T21" fmla="*/ 814 h 2185"/>
                <a:gd name="T22" fmla="*/ 2186 w 2186"/>
                <a:gd name="T23" fmla="*/ 951 h 2185"/>
                <a:gd name="T24" fmla="*/ 2186 w 2186"/>
                <a:gd name="T25" fmla="*/ 1235 h 2185"/>
                <a:gd name="T26" fmla="*/ 2049 w 2186"/>
                <a:gd name="T27" fmla="*/ 1371 h 2185"/>
                <a:gd name="T28" fmla="*/ 1372 w 2186"/>
                <a:gd name="T29" fmla="*/ 1371 h 2185"/>
                <a:gd name="T30" fmla="*/ 1372 w 2186"/>
                <a:gd name="T31" fmla="*/ 2049 h 2185"/>
                <a:gd name="T32" fmla="*/ 1235 w 2186"/>
                <a:gd name="T33" fmla="*/ 2185 h 2185"/>
                <a:gd name="T34" fmla="*/ 951 w 2186"/>
                <a:gd name="T35" fmla="*/ 2185 h 2185"/>
                <a:gd name="T36" fmla="*/ 814 w 2186"/>
                <a:gd name="T37" fmla="*/ 2049 h 2185"/>
                <a:gd name="T38" fmla="*/ 814 w 2186"/>
                <a:gd name="T39" fmla="*/ 1371 h 2185"/>
                <a:gd name="T40" fmla="*/ 137 w 2186"/>
                <a:gd name="T41" fmla="*/ 1371 h 2185"/>
                <a:gd name="T42" fmla="*/ 0 w 2186"/>
                <a:gd name="T43" fmla="*/ 1235 h 2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86" h="2185">
                  <a:moveTo>
                    <a:pt x="0" y="1235"/>
                  </a:moveTo>
                  <a:lnTo>
                    <a:pt x="0" y="1235"/>
                  </a:lnTo>
                  <a:lnTo>
                    <a:pt x="0" y="951"/>
                  </a:lnTo>
                  <a:cubicBezTo>
                    <a:pt x="0" y="875"/>
                    <a:pt x="62" y="814"/>
                    <a:pt x="137" y="814"/>
                  </a:cubicBezTo>
                  <a:lnTo>
                    <a:pt x="814" y="814"/>
                  </a:lnTo>
                  <a:lnTo>
                    <a:pt x="814" y="137"/>
                  </a:lnTo>
                  <a:cubicBezTo>
                    <a:pt x="814" y="61"/>
                    <a:pt x="876" y="0"/>
                    <a:pt x="951" y="0"/>
                  </a:cubicBezTo>
                  <a:lnTo>
                    <a:pt x="1235" y="0"/>
                  </a:lnTo>
                  <a:cubicBezTo>
                    <a:pt x="1310" y="0"/>
                    <a:pt x="1372" y="61"/>
                    <a:pt x="1372" y="137"/>
                  </a:cubicBezTo>
                  <a:lnTo>
                    <a:pt x="1372" y="814"/>
                  </a:lnTo>
                  <a:lnTo>
                    <a:pt x="2049" y="814"/>
                  </a:lnTo>
                  <a:cubicBezTo>
                    <a:pt x="2124" y="814"/>
                    <a:pt x="2186" y="875"/>
                    <a:pt x="2186" y="951"/>
                  </a:cubicBezTo>
                  <a:lnTo>
                    <a:pt x="2186" y="1235"/>
                  </a:lnTo>
                  <a:cubicBezTo>
                    <a:pt x="2186" y="1310"/>
                    <a:pt x="2124" y="1371"/>
                    <a:pt x="2049" y="1371"/>
                  </a:cubicBezTo>
                  <a:lnTo>
                    <a:pt x="1372" y="1371"/>
                  </a:lnTo>
                  <a:lnTo>
                    <a:pt x="1372" y="2049"/>
                  </a:lnTo>
                  <a:cubicBezTo>
                    <a:pt x="1372" y="2124"/>
                    <a:pt x="1310" y="2185"/>
                    <a:pt x="1235" y="2185"/>
                  </a:cubicBezTo>
                  <a:lnTo>
                    <a:pt x="951" y="2185"/>
                  </a:lnTo>
                  <a:cubicBezTo>
                    <a:pt x="876" y="2185"/>
                    <a:pt x="814" y="2124"/>
                    <a:pt x="814" y="2049"/>
                  </a:cubicBezTo>
                  <a:lnTo>
                    <a:pt x="814" y="1371"/>
                  </a:lnTo>
                  <a:lnTo>
                    <a:pt x="137" y="1371"/>
                  </a:lnTo>
                  <a:cubicBezTo>
                    <a:pt x="62" y="1371"/>
                    <a:pt x="0" y="1310"/>
                    <a:pt x="0" y="1235"/>
                  </a:cubicBez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240" name="Group 239">
            <a:extLst>
              <a:ext uri="{FF2B5EF4-FFF2-40B4-BE49-F238E27FC236}">
                <a16:creationId xmlns:a16="http://schemas.microsoft.com/office/drawing/2014/main" id="{F95A75A6-B6DB-58DE-0439-2345FF6268C7}"/>
              </a:ext>
            </a:extLst>
          </p:cNvPr>
          <p:cNvGrpSpPr/>
          <p:nvPr/>
        </p:nvGrpSpPr>
        <p:grpSpPr>
          <a:xfrm>
            <a:off x="812800" y="1045028"/>
            <a:ext cx="11379200" cy="5259519"/>
            <a:chOff x="746760" y="1045028"/>
            <a:chExt cx="11445240" cy="5058711"/>
          </a:xfrm>
        </p:grpSpPr>
        <p:sp>
          <p:nvSpPr>
            <p:cNvPr id="241" name="Arrow: Bent 240">
              <a:extLst>
                <a:ext uri="{FF2B5EF4-FFF2-40B4-BE49-F238E27FC236}">
                  <a16:creationId xmlns:a16="http://schemas.microsoft.com/office/drawing/2014/main" id="{04A271CF-B550-531B-CBC6-A36D33B20856}"/>
                </a:ext>
              </a:extLst>
            </p:cNvPr>
            <p:cNvSpPr/>
            <p:nvPr/>
          </p:nvSpPr>
          <p:spPr>
            <a:xfrm>
              <a:off x="769257" y="1045028"/>
              <a:ext cx="11422743" cy="4974772"/>
            </a:xfrm>
            <a:prstGeom prst="bentArrow">
              <a:avLst>
                <a:gd name="adj1" fmla="val 25000"/>
                <a:gd name="adj2" fmla="val 0"/>
                <a:gd name="adj3" fmla="val 0"/>
                <a:gd name="adj4" fmla="val 7996"/>
              </a:avLst>
            </a:prstGeom>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2" name="Rectangle: Rounded Corners 241">
              <a:extLst>
                <a:ext uri="{FF2B5EF4-FFF2-40B4-BE49-F238E27FC236}">
                  <a16:creationId xmlns:a16="http://schemas.microsoft.com/office/drawing/2014/main" id="{8CE363F2-365F-1855-D562-A9108ECAD02F}"/>
                </a:ext>
              </a:extLst>
            </p:cNvPr>
            <p:cNvSpPr/>
            <p:nvPr/>
          </p:nvSpPr>
          <p:spPr>
            <a:xfrm>
              <a:off x="746760" y="6012299"/>
              <a:ext cx="45719" cy="91440"/>
            </a:xfrm>
            <a:prstGeom prst="roundRect">
              <a:avLst>
                <a:gd name="adj" fmla="val 50000"/>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246" name="Group 245">
            <a:extLst>
              <a:ext uri="{FF2B5EF4-FFF2-40B4-BE49-F238E27FC236}">
                <a16:creationId xmlns:a16="http://schemas.microsoft.com/office/drawing/2014/main" id="{FDAB5CC4-8E8B-BF17-172E-E7B3B2C458AD}"/>
              </a:ext>
            </a:extLst>
          </p:cNvPr>
          <p:cNvGrpSpPr/>
          <p:nvPr/>
        </p:nvGrpSpPr>
        <p:grpSpPr>
          <a:xfrm>
            <a:off x="704118" y="1333750"/>
            <a:ext cx="271293" cy="271293"/>
            <a:chOff x="5913337" y="4288075"/>
            <a:chExt cx="271293" cy="271293"/>
          </a:xfrm>
        </p:grpSpPr>
        <p:pic>
          <p:nvPicPr>
            <p:cNvPr id="247" name="Picture 246">
              <a:extLst>
                <a:ext uri="{FF2B5EF4-FFF2-40B4-BE49-F238E27FC236}">
                  <a16:creationId xmlns:a16="http://schemas.microsoft.com/office/drawing/2014/main" id="{6E92244A-3A9A-150C-031A-F9643C241964}"/>
                </a:ext>
              </a:extLst>
            </p:cNvPr>
            <p:cNvPicPr>
              <a:picLocks/>
            </p:cNvPicPr>
            <p:nvPr/>
          </p:nvPicPr>
          <p:blipFill>
            <a:blip r:embed="rId7" cstate="screen">
              <a:extLst>
                <a:ext uri="{28A0092B-C50C-407E-A947-70E740481C1C}">
                  <a14:useLocalDpi xmlns:a14="http://schemas.microsoft.com/office/drawing/2010/main"/>
                </a:ext>
              </a:extLst>
            </a:blip>
            <a:srcRect l="36669" t="14450" r="36669" b="14450"/>
            <a:stretch>
              <a:fillRect/>
            </a:stretch>
          </p:blipFill>
          <p:spPr>
            <a:xfrm>
              <a:off x="5913337" y="4288075"/>
              <a:ext cx="271293" cy="271293"/>
            </a:xfrm>
            <a:custGeom>
              <a:avLst/>
              <a:gdLst>
                <a:gd name="connsiteX0" fmla="*/ 1657349 w 3314699"/>
                <a:gd name="connsiteY0" fmla="*/ 0 h 3314700"/>
                <a:gd name="connsiteX1" fmla="*/ 3314699 w 3314699"/>
                <a:gd name="connsiteY1" fmla="*/ 1657350 h 3314700"/>
                <a:gd name="connsiteX2" fmla="*/ 1657349 w 3314699"/>
                <a:gd name="connsiteY2" fmla="*/ 3314700 h 3314700"/>
                <a:gd name="connsiteX3" fmla="*/ 0 w 3314699"/>
                <a:gd name="connsiteY3" fmla="*/ 1657350 h 3314700"/>
                <a:gd name="connsiteX4" fmla="*/ 1657349 w 3314699"/>
                <a:gd name="connsiteY4" fmla="*/ 0 h 3314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699" h="3314700">
                  <a:moveTo>
                    <a:pt x="1657349" y="0"/>
                  </a:moveTo>
                  <a:cubicBezTo>
                    <a:pt x="2572678" y="0"/>
                    <a:pt x="3314699" y="742021"/>
                    <a:pt x="3314699" y="1657350"/>
                  </a:cubicBezTo>
                  <a:cubicBezTo>
                    <a:pt x="3314699" y="2572679"/>
                    <a:pt x="2572678" y="3314700"/>
                    <a:pt x="1657349" y="3314700"/>
                  </a:cubicBezTo>
                  <a:cubicBezTo>
                    <a:pt x="742020" y="3314700"/>
                    <a:pt x="0" y="2572679"/>
                    <a:pt x="0" y="1657350"/>
                  </a:cubicBezTo>
                  <a:cubicBezTo>
                    <a:pt x="0" y="742021"/>
                    <a:pt x="742020" y="0"/>
                    <a:pt x="1657349" y="0"/>
                  </a:cubicBezTo>
                  <a:close/>
                </a:path>
              </a:pathLst>
            </a:custGeom>
            <a:ln w="3175">
              <a:solidFill>
                <a:schemeClr val="bg1"/>
              </a:solidFill>
            </a:ln>
          </p:spPr>
        </p:pic>
        <p:sp>
          <p:nvSpPr>
            <p:cNvPr id="248" name="Oval 247">
              <a:extLst>
                <a:ext uri="{FF2B5EF4-FFF2-40B4-BE49-F238E27FC236}">
                  <a16:creationId xmlns:a16="http://schemas.microsoft.com/office/drawing/2014/main" id="{7E3EF18D-59AB-BBD2-3133-9FBD8502E0E4}"/>
                </a:ext>
              </a:extLst>
            </p:cNvPr>
            <p:cNvSpPr>
              <a:spLocks/>
            </p:cNvSpPr>
            <p:nvPr/>
          </p:nvSpPr>
          <p:spPr>
            <a:xfrm>
              <a:off x="5959137" y="4333875"/>
              <a:ext cx="179692" cy="179692"/>
            </a:xfrm>
            <a:prstGeom prst="ellipse">
              <a:avLst/>
            </a:prstGeom>
            <a:solidFill>
              <a:schemeClr val="bg1"/>
            </a:solidFill>
            <a:ln w="3175">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249" name="Group 248">
            <a:extLst>
              <a:ext uri="{FF2B5EF4-FFF2-40B4-BE49-F238E27FC236}">
                <a16:creationId xmlns:a16="http://schemas.microsoft.com/office/drawing/2014/main" id="{D0908363-4942-751B-872D-3DF5C6B8B3EC}"/>
              </a:ext>
            </a:extLst>
          </p:cNvPr>
          <p:cNvGrpSpPr/>
          <p:nvPr/>
        </p:nvGrpSpPr>
        <p:grpSpPr>
          <a:xfrm>
            <a:off x="699520" y="1976959"/>
            <a:ext cx="271293" cy="271293"/>
            <a:chOff x="5913337" y="4288075"/>
            <a:chExt cx="271293" cy="271293"/>
          </a:xfrm>
        </p:grpSpPr>
        <p:pic>
          <p:nvPicPr>
            <p:cNvPr id="250" name="Picture 249">
              <a:extLst>
                <a:ext uri="{FF2B5EF4-FFF2-40B4-BE49-F238E27FC236}">
                  <a16:creationId xmlns:a16="http://schemas.microsoft.com/office/drawing/2014/main" id="{B534B5D2-69F4-B390-E503-C7590E733308}"/>
                </a:ext>
              </a:extLst>
            </p:cNvPr>
            <p:cNvPicPr>
              <a:picLocks/>
            </p:cNvPicPr>
            <p:nvPr/>
          </p:nvPicPr>
          <p:blipFill>
            <a:blip r:embed="rId7" cstate="screen">
              <a:extLst>
                <a:ext uri="{28A0092B-C50C-407E-A947-70E740481C1C}">
                  <a14:useLocalDpi xmlns:a14="http://schemas.microsoft.com/office/drawing/2010/main"/>
                </a:ext>
              </a:extLst>
            </a:blip>
            <a:srcRect l="36669" t="14450" r="36669" b="14450"/>
            <a:stretch>
              <a:fillRect/>
            </a:stretch>
          </p:blipFill>
          <p:spPr>
            <a:xfrm>
              <a:off x="5913337" y="4288075"/>
              <a:ext cx="271293" cy="271293"/>
            </a:xfrm>
            <a:custGeom>
              <a:avLst/>
              <a:gdLst>
                <a:gd name="connsiteX0" fmla="*/ 1657349 w 3314699"/>
                <a:gd name="connsiteY0" fmla="*/ 0 h 3314700"/>
                <a:gd name="connsiteX1" fmla="*/ 3314699 w 3314699"/>
                <a:gd name="connsiteY1" fmla="*/ 1657350 h 3314700"/>
                <a:gd name="connsiteX2" fmla="*/ 1657349 w 3314699"/>
                <a:gd name="connsiteY2" fmla="*/ 3314700 h 3314700"/>
                <a:gd name="connsiteX3" fmla="*/ 0 w 3314699"/>
                <a:gd name="connsiteY3" fmla="*/ 1657350 h 3314700"/>
                <a:gd name="connsiteX4" fmla="*/ 1657349 w 3314699"/>
                <a:gd name="connsiteY4" fmla="*/ 0 h 3314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699" h="3314700">
                  <a:moveTo>
                    <a:pt x="1657349" y="0"/>
                  </a:moveTo>
                  <a:cubicBezTo>
                    <a:pt x="2572678" y="0"/>
                    <a:pt x="3314699" y="742021"/>
                    <a:pt x="3314699" y="1657350"/>
                  </a:cubicBezTo>
                  <a:cubicBezTo>
                    <a:pt x="3314699" y="2572679"/>
                    <a:pt x="2572678" y="3314700"/>
                    <a:pt x="1657349" y="3314700"/>
                  </a:cubicBezTo>
                  <a:cubicBezTo>
                    <a:pt x="742020" y="3314700"/>
                    <a:pt x="0" y="2572679"/>
                    <a:pt x="0" y="1657350"/>
                  </a:cubicBezTo>
                  <a:cubicBezTo>
                    <a:pt x="0" y="742021"/>
                    <a:pt x="742020" y="0"/>
                    <a:pt x="1657349" y="0"/>
                  </a:cubicBezTo>
                  <a:close/>
                </a:path>
              </a:pathLst>
            </a:custGeom>
            <a:ln w="3175">
              <a:solidFill>
                <a:schemeClr val="bg1"/>
              </a:solidFill>
            </a:ln>
          </p:spPr>
        </p:pic>
        <p:sp>
          <p:nvSpPr>
            <p:cNvPr id="251" name="Oval 250">
              <a:extLst>
                <a:ext uri="{FF2B5EF4-FFF2-40B4-BE49-F238E27FC236}">
                  <a16:creationId xmlns:a16="http://schemas.microsoft.com/office/drawing/2014/main" id="{D3A0F535-0CA3-DD5C-1629-3D1BEC97D617}"/>
                </a:ext>
              </a:extLst>
            </p:cNvPr>
            <p:cNvSpPr>
              <a:spLocks/>
            </p:cNvSpPr>
            <p:nvPr/>
          </p:nvSpPr>
          <p:spPr>
            <a:xfrm>
              <a:off x="5959137" y="4333875"/>
              <a:ext cx="179692" cy="179692"/>
            </a:xfrm>
            <a:prstGeom prst="ellipse">
              <a:avLst/>
            </a:prstGeom>
            <a:solidFill>
              <a:schemeClr val="bg1"/>
            </a:solidFill>
            <a:ln w="3175">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pic>
        <p:nvPicPr>
          <p:cNvPr id="2" name="Picture 1">
            <a:extLst>
              <a:ext uri="{FF2B5EF4-FFF2-40B4-BE49-F238E27FC236}">
                <a16:creationId xmlns:a16="http://schemas.microsoft.com/office/drawing/2014/main" id="{AB5997C3-DEF6-E5E8-0DC0-F0F34267C20A}"/>
              </a:ext>
            </a:extLst>
          </p:cNvPr>
          <p:cNvPicPr>
            <a:picLocks noChangeAspect="1"/>
          </p:cNvPicPr>
          <p:nvPr/>
        </p:nvPicPr>
        <p:blipFill>
          <a:blip r:embed="rId8"/>
          <a:stretch>
            <a:fillRect/>
          </a:stretch>
        </p:blipFill>
        <p:spPr>
          <a:xfrm>
            <a:off x="292823" y="6592472"/>
            <a:ext cx="2324100" cy="107950"/>
          </a:xfrm>
          <a:prstGeom prst="rect">
            <a:avLst/>
          </a:prstGeom>
        </p:spPr>
      </p:pic>
      <p:sp>
        <p:nvSpPr>
          <p:cNvPr id="3" name="TextBox 2">
            <a:extLst>
              <a:ext uri="{FF2B5EF4-FFF2-40B4-BE49-F238E27FC236}">
                <a16:creationId xmlns:a16="http://schemas.microsoft.com/office/drawing/2014/main" id="{772DD170-DCAD-E29C-C493-41EB12DDBBE2}"/>
              </a:ext>
            </a:extLst>
          </p:cNvPr>
          <p:cNvSpPr txBox="1"/>
          <p:nvPr/>
        </p:nvSpPr>
        <p:spPr>
          <a:xfrm>
            <a:off x="11064240" y="6589345"/>
            <a:ext cx="99380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EE3F35-5EAA-0344-B6FC-083E415BACD9}" type="slidenum">
              <a:rPr kumimoji="0" lang="en-US" sz="1400" b="0" i="0" u="none" strike="noStrike" kern="1200" cap="none" spc="300" normalizeH="0" baseline="0" noProof="0" smtClean="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400" b="0" i="0" u="none" strike="noStrike" kern="1200" cap="none" spc="300" normalizeH="0" baseline="0" noProof="0">
              <a:ln>
                <a:noFill/>
              </a:ln>
              <a:solidFill>
                <a:srgbClr val="FFFFFF"/>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ACEC386B-AAE2-EC98-0500-82B4E8E7D94D}"/>
              </a:ext>
            </a:extLst>
          </p:cNvPr>
          <p:cNvSpPr txBox="1"/>
          <p:nvPr/>
        </p:nvSpPr>
        <p:spPr>
          <a:xfrm>
            <a:off x="1050233" y="1340481"/>
            <a:ext cx="11164134" cy="1641475"/>
          </a:xfrm>
          <a:prstGeom prst="rect">
            <a:avLst/>
          </a:prstGeom>
          <a:noFill/>
        </p:spPr>
        <p:txBody>
          <a:bodyPr wrap="square">
            <a:spAutoFit/>
          </a:bodyPr>
          <a:lstStyle/>
          <a:p>
            <a:pPr marL="0" marR="0" lvl="0" indent="0" algn="l" defTabSz="914400" rtl="0" eaLnBrk="1" fontAlgn="auto" latinLnBrk="0" hangingPunct="1">
              <a:lnSpc>
                <a:spcPct val="100000"/>
              </a:lnSpc>
              <a:spcBef>
                <a:spcPts val="1000"/>
              </a:spcBef>
              <a:spcAft>
                <a:spcPts val="0"/>
              </a:spcAft>
              <a:buClr>
                <a:srgbClr val="000000"/>
              </a:buClr>
              <a:buSzPts val="800"/>
              <a:buFontTx/>
              <a:buNone/>
              <a:tabLst/>
              <a:defRPr/>
            </a:pPr>
            <a:r>
              <a:rPr kumimoji="0" lang="en-US" sz="1400" b="0" i="0" u="none" strike="noStrike" kern="1200" cap="none" spc="0" normalizeH="0" baseline="0" noProof="0">
                <a:ln>
                  <a:noFill/>
                </a:ln>
                <a:solidFill>
                  <a:srgbClr val="00B050"/>
                </a:solidFill>
                <a:effectLst/>
                <a:uLnTx/>
                <a:uFillTx/>
                <a:latin typeface="Poppins SemiBold" pitchFamily="2" charset="77"/>
                <a:ea typeface="+mn-ea"/>
                <a:cs typeface="Poppins SemiBold" pitchFamily="2" charset="77"/>
              </a:rPr>
              <a:t>What type of materials can I recycle through the CIRQU program? </a:t>
            </a:r>
            <a:r>
              <a:rPr kumimoji="0" lang="en-US" sz="1400" b="0" i="0" u="none" strike="noStrike" kern="1200" cap="none" spc="0" normalizeH="0" baseline="0" noProof="0">
                <a:ln>
                  <a:noFill/>
                </a:ln>
                <a:solidFill>
                  <a:srgbClr val="000000"/>
                </a:solidFill>
                <a:effectLst/>
                <a:uLnTx/>
                <a:uFillTx/>
                <a:latin typeface="Poppins" pitchFamily="2" charset="77"/>
                <a:ea typeface="+mn-ea"/>
                <a:cs typeface="Poppins" pitchFamily="2" charset="77"/>
              </a:rPr>
              <a:t>We accept PET beverage bottles (clear bottles with a “#1” stamped on the bottom) and aluminum beverage cans.</a:t>
            </a:r>
            <a:endParaRPr kumimoji="0" lang="en-US" sz="1400" b="0" i="0" u="none" strike="noStrike" kern="1200" cap="none" spc="0" normalizeH="0" baseline="0" noProof="0">
              <a:ln>
                <a:noFill/>
              </a:ln>
              <a:solidFill>
                <a:srgbClr val="000000"/>
              </a:solidFill>
              <a:effectLst/>
              <a:uLnTx/>
              <a:uFillTx/>
              <a:latin typeface="Poppins" pitchFamily="2" charset="77"/>
              <a:ea typeface="+mn-ea"/>
              <a:cs typeface="Poppins" pitchFamily="2" charset="77"/>
              <a:sym typeface="Poppins SemiBold"/>
            </a:endParaRPr>
          </a:p>
          <a:p>
            <a:pPr marL="0" marR="0" lvl="0" indent="0" algn="l" defTabSz="914400" rtl="0" eaLnBrk="1" fontAlgn="auto" latinLnBrk="0" hangingPunct="1">
              <a:lnSpc>
                <a:spcPct val="100000"/>
              </a:lnSpc>
              <a:spcBef>
                <a:spcPts val="1000"/>
              </a:spcBef>
              <a:spcAft>
                <a:spcPts val="0"/>
              </a:spcAft>
              <a:buClr>
                <a:srgbClr val="000000"/>
              </a:buClr>
              <a:buSzPts val="800"/>
              <a:buFontTx/>
              <a:buNone/>
              <a:tabLst/>
              <a:defRPr/>
            </a:pPr>
            <a:r>
              <a:rPr kumimoji="0" lang="en-US" sz="1400" b="0" i="0" u="none" strike="noStrike" kern="1200" cap="none" spc="0" normalizeH="0" baseline="0" noProof="0">
                <a:ln>
                  <a:noFill/>
                </a:ln>
                <a:solidFill>
                  <a:srgbClr val="00B050"/>
                </a:solidFill>
                <a:effectLst/>
                <a:uLnTx/>
                <a:uFillTx/>
                <a:latin typeface="Poppins SemiBold" pitchFamily="2" charset="77"/>
                <a:ea typeface="+mn-ea"/>
                <a:cs typeface="Poppins SemiBold" pitchFamily="2" charset="77"/>
              </a:rPr>
              <a:t>Can I recycle other non-Pepsi bottles and cans in this recycling program? </a:t>
            </a:r>
            <a:r>
              <a:rPr kumimoji="0" lang="en-US" sz="1400" b="0" i="0" u="none" strike="noStrike" kern="1200" cap="none" spc="0" normalizeH="0" baseline="0" noProof="0">
                <a:ln>
                  <a:noFill/>
                </a:ln>
                <a:solidFill>
                  <a:srgbClr val="000000"/>
                </a:solidFill>
                <a:effectLst/>
                <a:uLnTx/>
                <a:uFillTx/>
                <a:latin typeface="Poppins" pitchFamily="2" charset="77"/>
                <a:ea typeface="+mn-ea"/>
                <a:cs typeface="Poppins" pitchFamily="2" charset="77"/>
              </a:rPr>
              <a:t>Absolutely! All PET bottles and aluminum cans, regardless of brand, are accepted.</a:t>
            </a:r>
            <a:endParaRPr kumimoji="0" lang="en-US" sz="1400" b="0" i="0" u="none" strike="noStrike" kern="1200" cap="none" spc="0" normalizeH="0" baseline="0" noProof="0">
              <a:ln>
                <a:noFill/>
              </a:ln>
              <a:solidFill>
                <a:srgbClr val="000000"/>
              </a:solidFill>
              <a:effectLst/>
              <a:uLnTx/>
              <a:uFillTx/>
              <a:latin typeface="Poppins" pitchFamily="2" charset="77"/>
              <a:ea typeface="+mn-ea"/>
              <a:cs typeface="Poppins" pitchFamily="2" charset="77"/>
              <a:sym typeface="Poppins SemiBold"/>
            </a:endParaRPr>
          </a:p>
          <a:p>
            <a:pPr marL="0" marR="0" lvl="0" indent="0" algn="l" defTabSz="914400" rtl="0" eaLnBrk="1" fontAlgn="auto" latinLnBrk="0" hangingPunct="1">
              <a:lnSpc>
                <a:spcPct val="100000"/>
              </a:lnSpc>
              <a:spcBef>
                <a:spcPts val="1000"/>
              </a:spcBef>
              <a:spcAft>
                <a:spcPts val="0"/>
              </a:spcAft>
              <a:buClr>
                <a:srgbClr val="000000"/>
              </a:buClr>
              <a:buSzPts val="800"/>
              <a:buFontTx/>
              <a:buNone/>
              <a:tabLst/>
              <a:defRPr/>
            </a:pPr>
            <a:r>
              <a:rPr kumimoji="0" lang="en-US" sz="1400" b="0" i="0" u="none" strike="noStrike" kern="1200" cap="none" spc="0" normalizeH="0" baseline="0" noProof="0">
                <a:ln>
                  <a:noFill/>
                </a:ln>
                <a:solidFill>
                  <a:srgbClr val="00B050"/>
                </a:solidFill>
                <a:effectLst/>
                <a:uLnTx/>
                <a:uFillTx/>
                <a:latin typeface="Poppins SemiBold" pitchFamily="2" charset="77"/>
                <a:ea typeface="+mn-ea"/>
                <a:cs typeface="Poppins SemiBold" pitchFamily="2" charset="77"/>
              </a:rPr>
              <a:t>Is there a minimum amount of material I need to collect to participate in CIRQU? </a:t>
            </a:r>
            <a:r>
              <a:rPr kumimoji="0" lang="en-US" sz="1400" b="0" i="0" u="none" strike="noStrike" kern="1200" cap="none" spc="0" normalizeH="0" baseline="0" noProof="0">
                <a:ln>
                  <a:noFill/>
                </a:ln>
                <a:solidFill>
                  <a:srgbClr val="000000"/>
                </a:solidFill>
                <a:effectLst/>
                <a:uLnTx/>
                <a:uFillTx/>
                <a:latin typeface="Poppins" pitchFamily="2" charset="77"/>
                <a:ea typeface="+mn-ea"/>
                <a:cs typeface="Poppins" pitchFamily="2" charset="77"/>
              </a:rPr>
              <a:t>There is a monthly collection volume minimum of 200 pounds. This is approximately 5,300 containers. You can ramp up your collection over a few months.</a:t>
            </a:r>
          </a:p>
        </p:txBody>
      </p:sp>
      <p:sp>
        <p:nvSpPr>
          <p:cNvPr id="10" name="TextBox 9">
            <a:extLst>
              <a:ext uri="{FF2B5EF4-FFF2-40B4-BE49-F238E27FC236}">
                <a16:creationId xmlns:a16="http://schemas.microsoft.com/office/drawing/2014/main" id="{B20F5F46-9597-B8DE-6C48-1C6535BFEB69}"/>
              </a:ext>
            </a:extLst>
          </p:cNvPr>
          <p:cNvSpPr txBox="1"/>
          <p:nvPr/>
        </p:nvSpPr>
        <p:spPr>
          <a:xfrm>
            <a:off x="1052403" y="3099722"/>
            <a:ext cx="10956235" cy="1082348"/>
          </a:xfrm>
          <a:prstGeom prst="rect">
            <a:avLst/>
          </a:prstGeom>
          <a:noFill/>
        </p:spPr>
        <p:txBody>
          <a:bodyPr wrap="square">
            <a:spAutoFit/>
          </a:bodyPr>
          <a:lstStyle/>
          <a:p>
            <a:pPr marL="0" marR="0" lvl="0" indent="0" algn="l" defTabSz="914400" rtl="0" eaLnBrk="1" fontAlgn="auto" latinLnBrk="0" hangingPunct="1">
              <a:lnSpc>
                <a:spcPct val="100000"/>
              </a:lnSpc>
              <a:spcBef>
                <a:spcPts val="1000"/>
              </a:spcBef>
              <a:spcAft>
                <a:spcPts val="0"/>
              </a:spcAft>
              <a:buClr>
                <a:srgbClr val="000000"/>
              </a:buClr>
              <a:buSzPts val="800"/>
              <a:buFontTx/>
              <a:buNone/>
              <a:tabLst/>
              <a:defRPr/>
            </a:pPr>
            <a:r>
              <a:rPr kumimoji="0" lang="en-US" sz="1400" b="0" i="0" u="none" strike="noStrike" kern="1200" cap="none" spc="0" normalizeH="0" baseline="0" noProof="0">
                <a:ln>
                  <a:noFill/>
                </a:ln>
                <a:solidFill>
                  <a:srgbClr val="00B050"/>
                </a:solidFill>
                <a:effectLst/>
                <a:uLnTx/>
                <a:uFillTx/>
                <a:latin typeface="Poppins SemiBold" pitchFamily="2" charset="77"/>
                <a:ea typeface="+mn-ea"/>
                <a:cs typeface="Poppins SemiBold" pitchFamily="2" charset="77"/>
              </a:rPr>
              <a:t>Do I have to sort my recyclables? </a:t>
            </a:r>
            <a:r>
              <a:rPr kumimoji="0" lang="en-US" sz="1400" b="0" i="0" u="none" strike="noStrike" kern="1200" cap="none" spc="0" normalizeH="0" baseline="0" noProof="0">
                <a:ln>
                  <a:noFill/>
                </a:ln>
                <a:solidFill>
                  <a:srgbClr val="000000"/>
                </a:solidFill>
                <a:effectLst/>
                <a:uLnTx/>
                <a:uFillTx/>
                <a:latin typeface="Poppins" pitchFamily="2" charset="77"/>
                <a:ea typeface="+mn-ea"/>
                <a:cs typeface="Poppins" pitchFamily="2" charset="77"/>
                <a:sym typeface="Poppins SemiBold"/>
              </a:rPr>
              <a:t>Yes</a:t>
            </a:r>
            <a:r>
              <a:rPr kumimoji="0" lang="en-US" sz="1400" b="0" i="0" u="none" strike="noStrike" kern="1200" cap="none" spc="0" normalizeH="0" baseline="0" noProof="0">
                <a:ln>
                  <a:noFill/>
                </a:ln>
                <a:solidFill>
                  <a:srgbClr val="000000"/>
                </a:solidFill>
                <a:effectLst/>
                <a:uLnTx/>
                <a:uFillTx/>
                <a:latin typeface="Poppins" pitchFamily="2" charset="77"/>
                <a:ea typeface="+mn-ea"/>
                <a:cs typeface="Poppins" pitchFamily="2" charset="77"/>
              </a:rPr>
              <a:t>, but the effort level depends on your collection strategy. We can help you identify efficiencies that maximize collection through low-lift back-of-house efforts. This typically requires a few trained staff to separate materials at the point of collection, which minimizes the need to sort.</a:t>
            </a:r>
          </a:p>
          <a:p>
            <a:pPr marL="0" marR="0" lvl="0" indent="0" algn="l" defTabSz="914400" rtl="0" eaLnBrk="1" fontAlgn="auto" latinLnBrk="0" hangingPunct="1">
              <a:lnSpc>
                <a:spcPct val="100000"/>
              </a:lnSpc>
              <a:spcBef>
                <a:spcPts val="1000"/>
              </a:spcBef>
              <a:spcAft>
                <a:spcPts val="0"/>
              </a:spcAft>
              <a:buClr>
                <a:srgbClr val="000000"/>
              </a:buClr>
              <a:buSzPts val="800"/>
              <a:buFontTx/>
              <a:buNone/>
              <a:tabLst/>
              <a:defRPr/>
            </a:pPr>
            <a:r>
              <a:rPr kumimoji="0" lang="en-US" sz="1400" b="0" i="0" u="none" strike="noStrike" kern="1200" cap="none" spc="0" normalizeH="0" baseline="0" noProof="0">
                <a:ln>
                  <a:noFill/>
                </a:ln>
                <a:solidFill>
                  <a:srgbClr val="00B050"/>
                </a:solidFill>
                <a:effectLst/>
                <a:uLnTx/>
                <a:uFillTx/>
                <a:latin typeface="Poppins SemiBold" pitchFamily="2" charset="77"/>
                <a:ea typeface="+mn-ea"/>
                <a:cs typeface="Poppins SemiBold" pitchFamily="2" charset="77"/>
              </a:rPr>
              <a:t>How big is a super sack? </a:t>
            </a:r>
            <a:r>
              <a:rPr kumimoji="0" lang="en-US" sz="1400" b="0" i="0" u="none" strike="noStrike" kern="1200" cap="none" spc="0" normalizeH="0" baseline="0" noProof="0">
                <a:ln>
                  <a:noFill/>
                </a:ln>
                <a:solidFill>
                  <a:srgbClr val="000000"/>
                </a:solidFill>
                <a:effectLst/>
                <a:uLnTx/>
                <a:uFillTx/>
                <a:latin typeface="Poppins" pitchFamily="2" charset="77"/>
                <a:ea typeface="+mn-ea"/>
                <a:cs typeface="Poppins" pitchFamily="2" charset="77"/>
              </a:rPr>
              <a:t>Each super sack measures 3x3x4 ft and weighs between 50 to 65 pounds when full.</a:t>
            </a:r>
          </a:p>
        </p:txBody>
      </p:sp>
      <p:sp>
        <p:nvSpPr>
          <p:cNvPr id="12" name="TextBox 11">
            <a:extLst>
              <a:ext uri="{FF2B5EF4-FFF2-40B4-BE49-F238E27FC236}">
                <a16:creationId xmlns:a16="http://schemas.microsoft.com/office/drawing/2014/main" id="{4871357E-5752-A062-F36A-A69FEC0E13E8}"/>
              </a:ext>
            </a:extLst>
          </p:cNvPr>
          <p:cNvSpPr txBox="1"/>
          <p:nvPr/>
        </p:nvSpPr>
        <p:spPr>
          <a:xfrm>
            <a:off x="1052123" y="4335871"/>
            <a:ext cx="10823713" cy="1082348"/>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1000"/>
              </a:spcBef>
              <a:spcAft>
                <a:spcPts val="0"/>
              </a:spcAft>
              <a:buClr>
                <a:srgbClr val="000000"/>
              </a:buClr>
              <a:buSzPts val="800"/>
              <a:buFont typeface="Arial"/>
              <a:buNone/>
              <a:tabLst/>
              <a:defRPr/>
            </a:pPr>
            <a:r>
              <a:rPr kumimoji="0" lang="en-US" sz="1400" b="0" i="0" u="none" strike="noStrike" kern="1200" cap="none" spc="0" normalizeH="0" baseline="0" noProof="0">
                <a:ln>
                  <a:noFill/>
                </a:ln>
                <a:solidFill>
                  <a:srgbClr val="00B050"/>
                </a:solidFill>
                <a:effectLst/>
                <a:uLnTx/>
                <a:uFillTx/>
                <a:latin typeface="Poppins SemiBold"/>
                <a:cs typeface="Poppins SemiBold"/>
              </a:rPr>
              <a:t>How much space do I need for the collection setup? </a:t>
            </a:r>
            <a:r>
              <a:rPr kumimoji="0" lang="en-US" sz="1400" b="0" i="0" u="none" strike="noStrike" kern="1200" cap="none" spc="0" normalizeH="0" baseline="0" noProof="0">
                <a:ln>
                  <a:noFill/>
                </a:ln>
                <a:solidFill>
                  <a:srgbClr val="000000"/>
                </a:solidFill>
                <a:effectLst/>
                <a:uLnTx/>
                <a:uFillTx/>
                <a:latin typeface="Poppins"/>
                <a:cs typeface="Poppins"/>
              </a:rPr>
              <a:t>Up to 6x3 ft as the collection set up (2 super sacks side by side)</a:t>
            </a:r>
          </a:p>
          <a:p>
            <a:pPr>
              <a:spcBef>
                <a:spcPts val="1000"/>
              </a:spcBef>
              <a:buClr>
                <a:srgbClr val="000000"/>
              </a:buClr>
              <a:buSzPts val="800"/>
              <a:defRPr/>
            </a:pPr>
            <a:r>
              <a:rPr kumimoji="0" lang="en-US" sz="1400" b="0" i="0" u="none" strike="noStrike" kern="1200" cap="none" spc="0" normalizeH="0" baseline="0" noProof="0">
                <a:ln>
                  <a:noFill/>
                </a:ln>
                <a:solidFill>
                  <a:srgbClr val="00B050"/>
                </a:solidFill>
                <a:effectLst/>
                <a:uLnTx/>
                <a:uFillTx/>
                <a:latin typeface="Poppins SemiBold"/>
                <a:cs typeface="Poppins SemiBold"/>
              </a:rPr>
              <a:t>How much material do I need to collect before scheduling a pickup? </a:t>
            </a:r>
            <a:r>
              <a:rPr lang="en-US" sz="1400">
                <a:solidFill>
                  <a:srgbClr val="000000"/>
                </a:solidFill>
                <a:latin typeface="Poppins"/>
                <a:cs typeface="Poppins"/>
                <a:sym typeface="Poppins SemiBold"/>
              </a:rPr>
              <a:t>We will inform you at the time we check your site's eligibility how much needs to be collected and stored onsite. In some cases, it can be up to 28 super sacks. Storage requirement is not applicable for markets in which Pepsi can backhaul.</a:t>
            </a:r>
            <a:endParaRPr lang="en-US" sz="1400" b="0" i="0" u="none" strike="noStrike" kern="1200" cap="none" spc="0" normalizeH="0" baseline="0" noProof="0">
              <a:ln>
                <a:noFill/>
              </a:ln>
              <a:solidFill>
                <a:srgbClr val="00B050"/>
              </a:solidFill>
              <a:effectLst/>
              <a:uLnTx/>
              <a:uFillTx/>
              <a:latin typeface="Poppins"/>
              <a:cs typeface="Poppins"/>
            </a:endParaRPr>
          </a:p>
        </p:txBody>
      </p:sp>
      <p:sp>
        <p:nvSpPr>
          <p:cNvPr id="14" name="TextBox 13">
            <a:extLst>
              <a:ext uri="{FF2B5EF4-FFF2-40B4-BE49-F238E27FC236}">
                <a16:creationId xmlns:a16="http://schemas.microsoft.com/office/drawing/2014/main" id="{0B9C935E-F4C2-A5E7-4AF3-F3052A9D6ADF}"/>
              </a:ext>
            </a:extLst>
          </p:cNvPr>
          <p:cNvSpPr txBox="1"/>
          <p:nvPr/>
        </p:nvSpPr>
        <p:spPr>
          <a:xfrm>
            <a:off x="1051128" y="5566498"/>
            <a:ext cx="11060289" cy="738664"/>
          </a:xfrm>
          <a:prstGeom prst="rect">
            <a:avLst/>
          </a:prstGeom>
          <a:noFill/>
        </p:spPr>
        <p:txBody>
          <a:bodyPr wrap="square" lIns="91440" tIns="45720" rIns="91440" bIns="45720" anchor="t">
            <a:spAutoFit/>
          </a:bodyPr>
          <a:lstStyle/>
          <a:p>
            <a:pPr>
              <a:spcBef>
                <a:spcPts val="1000"/>
              </a:spcBef>
              <a:buClr>
                <a:srgbClr val="000000"/>
              </a:buClr>
              <a:buSzPts val="800"/>
              <a:defRPr/>
            </a:pPr>
            <a:r>
              <a:rPr kumimoji="0" lang="en-US" sz="1400" b="0" i="0" u="none" strike="noStrike" kern="1200" cap="none" spc="0" normalizeH="0" baseline="0" noProof="0">
                <a:ln>
                  <a:noFill/>
                </a:ln>
                <a:solidFill>
                  <a:srgbClr val="00B050"/>
                </a:solidFill>
                <a:effectLst/>
                <a:uLnTx/>
                <a:uFillTx/>
                <a:latin typeface="Poppins SemiBold"/>
                <a:cs typeface="Poppins SemiBold"/>
              </a:rPr>
              <a:t>We do not have storage space. Is there another storage solution? </a:t>
            </a:r>
            <a:r>
              <a:rPr kumimoji="0" lang="en-US" sz="1400" b="0" i="0" u="none" strike="noStrike" kern="1200" cap="none" spc="0" normalizeH="0" baseline="0" noProof="0">
                <a:ln>
                  <a:noFill/>
                </a:ln>
                <a:solidFill>
                  <a:srgbClr val="000000"/>
                </a:solidFill>
                <a:effectLst/>
                <a:uLnTx/>
                <a:uFillTx/>
                <a:latin typeface="Poppins"/>
                <a:cs typeface="Poppins"/>
              </a:rPr>
              <a:t>Yes, we have a solution that fits in your parking lot. We offer a 20 ft shipping container as a storage solution that stores up to 28 super sacks. The shipping container measures 8x9x20 ft, roughly the size of an average parking space.</a:t>
            </a:r>
            <a:r>
              <a:rPr lang="en-US" sz="1400">
                <a:solidFill>
                  <a:srgbClr val="000000"/>
                </a:solidFill>
                <a:latin typeface="Poppins"/>
                <a:cs typeface="Poppins"/>
              </a:rPr>
              <a:t> </a:t>
            </a:r>
            <a:endParaRPr lang="en-US" sz="1400" b="0" i="0" u="none" strike="noStrike" kern="1200" cap="none" spc="0" normalizeH="0" baseline="0" noProof="0">
              <a:ln>
                <a:noFill/>
              </a:ln>
              <a:solidFill>
                <a:srgbClr val="000000"/>
              </a:solidFill>
              <a:effectLst/>
              <a:uLnTx/>
              <a:uFillTx/>
              <a:latin typeface="Poppins" pitchFamily="2" charset="77"/>
              <a:cs typeface="Poppins" pitchFamily="2" charset="77"/>
            </a:endParaRPr>
          </a:p>
        </p:txBody>
      </p:sp>
      <p:grpSp>
        <p:nvGrpSpPr>
          <p:cNvPr id="4" name="Group 3">
            <a:extLst>
              <a:ext uri="{FF2B5EF4-FFF2-40B4-BE49-F238E27FC236}">
                <a16:creationId xmlns:a16="http://schemas.microsoft.com/office/drawing/2014/main" id="{EF870FB5-5694-FCEB-73F3-AD6513CC3D67}"/>
              </a:ext>
            </a:extLst>
          </p:cNvPr>
          <p:cNvGrpSpPr/>
          <p:nvPr/>
        </p:nvGrpSpPr>
        <p:grpSpPr>
          <a:xfrm flipH="1">
            <a:off x="11231881" y="0"/>
            <a:ext cx="960119" cy="987942"/>
            <a:chOff x="0" y="-1390"/>
            <a:chExt cx="5292946" cy="5446328"/>
          </a:xfrm>
        </p:grpSpPr>
        <p:pic>
          <p:nvPicPr>
            <p:cNvPr id="7" name="Picture 6">
              <a:extLst>
                <a:ext uri="{FF2B5EF4-FFF2-40B4-BE49-F238E27FC236}">
                  <a16:creationId xmlns:a16="http://schemas.microsoft.com/office/drawing/2014/main" id="{9E8CBAAD-3DAC-7D48-9133-3B3B9829B33D}"/>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0" y="-1390"/>
              <a:ext cx="5292946" cy="5286305"/>
            </a:xfrm>
            <a:prstGeom prst="rect">
              <a:avLst/>
            </a:prstGeom>
          </p:spPr>
        </p:pic>
        <p:pic>
          <p:nvPicPr>
            <p:cNvPr id="9" name="Picture 8">
              <a:extLst>
                <a:ext uri="{FF2B5EF4-FFF2-40B4-BE49-F238E27FC236}">
                  <a16:creationId xmlns:a16="http://schemas.microsoft.com/office/drawing/2014/main" id="{DBAF4461-2933-6593-270F-DEAF494DBF87}"/>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2165350" y="4549214"/>
              <a:ext cx="895724" cy="895724"/>
            </a:xfrm>
            <a:prstGeom prst="rect">
              <a:avLst/>
            </a:prstGeom>
          </p:spPr>
        </p:pic>
      </p:grpSp>
      <p:grpSp>
        <p:nvGrpSpPr>
          <p:cNvPr id="11" name="Group 10">
            <a:extLst>
              <a:ext uri="{FF2B5EF4-FFF2-40B4-BE49-F238E27FC236}">
                <a16:creationId xmlns:a16="http://schemas.microsoft.com/office/drawing/2014/main" id="{28689D27-9288-8F85-96B4-F9B08AF72B3C}"/>
              </a:ext>
            </a:extLst>
          </p:cNvPr>
          <p:cNvGrpSpPr/>
          <p:nvPr/>
        </p:nvGrpSpPr>
        <p:grpSpPr>
          <a:xfrm>
            <a:off x="712140" y="2480759"/>
            <a:ext cx="271293" cy="271293"/>
            <a:chOff x="5913337" y="4288075"/>
            <a:chExt cx="271293" cy="271293"/>
          </a:xfrm>
        </p:grpSpPr>
        <p:pic>
          <p:nvPicPr>
            <p:cNvPr id="13" name="Picture 12">
              <a:extLst>
                <a:ext uri="{FF2B5EF4-FFF2-40B4-BE49-F238E27FC236}">
                  <a16:creationId xmlns:a16="http://schemas.microsoft.com/office/drawing/2014/main" id="{1634CD6D-5706-3100-A222-72730CB93860}"/>
                </a:ext>
              </a:extLst>
            </p:cNvPr>
            <p:cNvPicPr>
              <a:picLocks/>
            </p:cNvPicPr>
            <p:nvPr/>
          </p:nvPicPr>
          <p:blipFill>
            <a:blip r:embed="rId7" cstate="screen">
              <a:extLst>
                <a:ext uri="{28A0092B-C50C-407E-A947-70E740481C1C}">
                  <a14:useLocalDpi xmlns:a14="http://schemas.microsoft.com/office/drawing/2010/main"/>
                </a:ext>
              </a:extLst>
            </a:blip>
            <a:srcRect l="36669" t="14450" r="36669" b="14450"/>
            <a:stretch>
              <a:fillRect/>
            </a:stretch>
          </p:blipFill>
          <p:spPr>
            <a:xfrm>
              <a:off x="5913337" y="4288075"/>
              <a:ext cx="271293" cy="271293"/>
            </a:xfrm>
            <a:custGeom>
              <a:avLst/>
              <a:gdLst>
                <a:gd name="connsiteX0" fmla="*/ 1657349 w 3314699"/>
                <a:gd name="connsiteY0" fmla="*/ 0 h 3314700"/>
                <a:gd name="connsiteX1" fmla="*/ 3314699 w 3314699"/>
                <a:gd name="connsiteY1" fmla="*/ 1657350 h 3314700"/>
                <a:gd name="connsiteX2" fmla="*/ 1657349 w 3314699"/>
                <a:gd name="connsiteY2" fmla="*/ 3314700 h 3314700"/>
                <a:gd name="connsiteX3" fmla="*/ 0 w 3314699"/>
                <a:gd name="connsiteY3" fmla="*/ 1657350 h 3314700"/>
                <a:gd name="connsiteX4" fmla="*/ 1657349 w 3314699"/>
                <a:gd name="connsiteY4" fmla="*/ 0 h 3314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699" h="3314700">
                  <a:moveTo>
                    <a:pt x="1657349" y="0"/>
                  </a:moveTo>
                  <a:cubicBezTo>
                    <a:pt x="2572678" y="0"/>
                    <a:pt x="3314699" y="742021"/>
                    <a:pt x="3314699" y="1657350"/>
                  </a:cubicBezTo>
                  <a:cubicBezTo>
                    <a:pt x="3314699" y="2572679"/>
                    <a:pt x="2572678" y="3314700"/>
                    <a:pt x="1657349" y="3314700"/>
                  </a:cubicBezTo>
                  <a:cubicBezTo>
                    <a:pt x="742020" y="3314700"/>
                    <a:pt x="0" y="2572679"/>
                    <a:pt x="0" y="1657350"/>
                  </a:cubicBezTo>
                  <a:cubicBezTo>
                    <a:pt x="0" y="742021"/>
                    <a:pt x="742020" y="0"/>
                    <a:pt x="1657349" y="0"/>
                  </a:cubicBezTo>
                  <a:close/>
                </a:path>
              </a:pathLst>
            </a:custGeom>
            <a:ln w="3175">
              <a:solidFill>
                <a:schemeClr val="bg1"/>
              </a:solidFill>
            </a:ln>
          </p:spPr>
        </p:pic>
        <p:sp>
          <p:nvSpPr>
            <p:cNvPr id="15" name="Oval 14">
              <a:extLst>
                <a:ext uri="{FF2B5EF4-FFF2-40B4-BE49-F238E27FC236}">
                  <a16:creationId xmlns:a16="http://schemas.microsoft.com/office/drawing/2014/main" id="{9F0839B9-D7EA-11EB-FA1D-C37EC43B4622}"/>
                </a:ext>
              </a:extLst>
            </p:cNvPr>
            <p:cNvSpPr>
              <a:spLocks/>
            </p:cNvSpPr>
            <p:nvPr/>
          </p:nvSpPr>
          <p:spPr>
            <a:xfrm>
              <a:off x="5959137" y="4333875"/>
              <a:ext cx="179692" cy="179692"/>
            </a:xfrm>
            <a:prstGeom prst="ellipse">
              <a:avLst/>
            </a:prstGeom>
            <a:solidFill>
              <a:schemeClr val="bg1"/>
            </a:solidFill>
            <a:ln w="3175">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16" name="Group 15">
            <a:extLst>
              <a:ext uri="{FF2B5EF4-FFF2-40B4-BE49-F238E27FC236}">
                <a16:creationId xmlns:a16="http://schemas.microsoft.com/office/drawing/2014/main" id="{74203C82-BED2-73AF-9727-656E5767C4FE}"/>
              </a:ext>
            </a:extLst>
          </p:cNvPr>
          <p:cNvGrpSpPr/>
          <p:nvPr/>
        </p:nvGrpSpPr>
        <p:grpSpPr>
          <a:xfrm>
            <a:off x="723584" y="3107926"/>
            <a:ext cx="271293" cy="271293"/>
            <a:chOff x="5913337" y="4288075"/>
            <a:chExt cx="271293" cy="271293"/>
          </a:xfrm>
        </p:grpSpPr>
        <p:pic>
          <p:nvPicPr>
            <p:cNvPr id="17" name="Picture 16">
              <a:extLst>
                <a:ext uri="{FF2B5EF4-FFF2-40B4-BE49-F238E27FC236}">
                  <a16:creationId xmlns:a16="http://schemas.microsoft.com/office/drawing/2014/main" id="{A0A0E814-CD32-EC42-F8E8-DA4E08389FE7}"/>
                </a:ext>
              </a:extLst>
            </p:cNvPr>
            <p:cNvPicPr>
              <a:picLocks/>
            </p:cNvPicPr>
            <p:nvPr/>
          </p:nvPicPr>
          <p:blipFill>
            <a:blip r:embed="rId7" cstate="screen">
              <a:extLst>
                <a:ext uri="{28A0092B-C50C-407E-A947-70E740481C1C}">
                  <a14:useLocalDpi xmlns:a14="http://schemas.microsoft.com/office/drawing/2010/main"/>
                </a:ext>
              </a:extLst>
            </a:blip>
            <a:srcRect l="36669" t="14450" r="36669" b="14450"/>
            <a:stretch>
              <a:fillRect/>
            </a:stretch>
          </p:blipFill>
          <p:spPr>
            <a:xfrm>
              <a:off x="5913337" y="4288075"/>
              <a:ext cx="271293" cy="271293"/>
            </a:xfrm>
            <a:custGeom>
              <a:avLst/>
              <a:gdLst>
                <a:gd name="connsiteX0" fmla="*/ 1657349 w 3314699"/>
                <a:gd name="connsiteY0" fmla="*/ 0 h 3314700"/>
                <a:gd name="connsiteX1" fmla="*/ 3314699 w 3314699"/>
                <a:gd name="connsiteY1" fmla="*/ 1657350 h 3314700"/>
                <a:gd name="connsiteX2" fmla="*/ 1657349 w 3314699"/>
                <a:gd name="connsiteY2" fmla="*/ 3314700 h 3314700"/>
                <a:gd name="connsiteX3" fmla="*/ 0 w 3314699"/>
                <a:gd name="connsiteY3" fmla="*/ 1657350 h 3314700"/>
                <a:gd name="connsiteX4" fmla="*/ 1657349 w 3314699"/>
                <a:gd name="connsiteY4" fmla="*/ 0 h 3314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699" h="3314700">
                  <a:moveTo>
                    <a:pt x="1657349" y="0"/>
                  </a:moveTo>
                  <a:cubicBezTo>
                    <a:pt x="2572678" y="0"/>
                    <a:pt x="3314699" y="742021"/>
                    <a:pt x="3314699" y="1657350"/>
                  </a:cubicBezTo>
                  <a:cubicBezTo>
                    <a:pt x="3314699" y="2572679"/>
                    <a:pt x="2572678" y="3314700"/>
                    <a:pt x="1657349" y="3314700"/>
                  </a:cubicBezTo>
                  <a:cubicBezTo>
                    <a:pt x="742020" y="3314700"/>
                    <a:pt x="0" y="2572679"/>
                    <a:pt x="0" y="1657350"/>
                  </a:cubicBezTo>
                  <a:cubicBezTo>
                    <a:pt x="0" y="742021"/>
                    <a:pt x="742020" y="0"/>
                    <a:pt x="1657349" y="0"/>
                  </a:cubicBezTo>
                  <a:close/>
                </a:path>
              </a:pathLst>
            </a:custGeom>
            <a:ln w="3175">
              <a:solidFill>
                <a:schemeClr val="bg1"/>
              </a:solidFill>
            </a:ln>
          </p:spPr>
        </p:pic>
        <p:sp>
          <p:nvSpPr>
            <p:cNvPr id="18" name="Oval 17">
              <a:extLst>
                <a:ext uri="{FF2B5EF4-FFF2-40B4-BE49-F238E27FC236}">
                  <a16:creationId xmlns:a16="http://schemas.microsoft.com/office/drawing/2014/main" id="{A2607686-AD81-0C2B-A54F-97DA8D126D9A}"/>
                </a:ext>
              </a:extLst>
            </p:cNvPr>
            <p:cNvSpPr>
              <a:spLocks/>
            </p:cNvSpPr>
            <p:nvPr/>
          </p:nvSpPr>
          <p:spPr>
            <a:xfrm>
              <a:off x="5959137" y="4333875"/>
              <a:ext cx="179692" cy="179692"/>
            </a:xfrm>
            <a:prstGeom prst="ellipse">
              <a:avLst/>
            </a:prstGeom>
            <a:solidFill>
              <a:schemeClr val="bg1"/>
            </a:solidFill>
            <a:ln w="3175">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25" name="Group 24">
            <a:extLst>
              <a:ext uri="{FF2B5EF4-FFF2-40B4-BE49-F238E27FC236}">
                <a16:creationId xmlns:a16="http://schemas.microsoft.com/office/drawing/2014/main" id="{B5C22E84-BAC4-326A-0A85-DC8D8DBA65F5}"/>
              </a:ext>
            </a:extLst>
          </p:cNvPr>
          <p:cNvGrpSpPr/>
          <p:nvPr/>
        </p:nvGrpSpPr>
        <p:grpSpPr>
          <a:xfrm>
            <a:off x="696098" y="3860366"/>
            <a:ext cx="271293" cy="271293"/>
            <a:chOff x="5913337" y="4288075"/>
            <a:chExt cx="271293" cy="271293"/>
          </a:xfrm>
        </p:grpSpPr>
        <p:pic>
          <p:nvPicPr>
            <p:cNvPr id="26" name="Picture 25">
              <a:extLst>
                <a:ext uri="{FF2B5EF4-FFF2-40B4-BE49-F238E27FC236}">
                  <a16:creationId xmlns:a16="http://schemas.microsoft.com/office/drawing/2014/main" id="{EC61DEAD-E5F8-E7FE-BD8D-85CB4875760B}"/>
                </a:ext>
              </a:extLst>
            </p:cNvPr>
            <p:cNvPicPr>
              <a:picLocks/>
            </p:cNvPicPr>
            <p:nvPr/>
          </p:nvPicPr>
          <p:blipFill>
            <a:blip r:embed="rId7" cstate="screen">
              <a:extLst>
                <a:ext uri="{28A0092B-C50C-407E-A947-70E740481C1C}">
                  <a14:useLocalDpi xmlns:a14="http://schemas.microsoft.com/office/drawing/2010/main"/>
                </a:ext>
              </a:extLst>
            </a:blip>
            <a:srcRect l="36669" t="14450" r="36669" b="14450"/>
            <a:stretch>
              <a:fillRect/>
            </a:stretch>
          </p:blipFill>
          <p:spPr>
            <a:xfrm>
              <a:off x="5913337" y="4288075"/>
              <a:ext cx="271293" cy="271293"/>
            </a:xfrm>
            <a:custGeom>
              <a:avLst/>
              <a:gdLst>
                <a:gd name="connsiteX0" fmla="*/ 1657349 w 3314699"/>
                <a:gd name="connsiteY0" fmla="*/ 0 h 3314700"/>
                <a:gd name="connsiteX1" fmla="*/ 3314699 w 3314699"/>
                <a:gd name="connsiteY1" fmla="*/ 1657350 h 3314700"/>
                <a:gd name="connsiteX2" fmla="*/ 1657349 w 3314699"/>
                <a:gd name="connsiteY2" fmla="*/ 3314700 h 3314700"/>
                <a:gd name="connsiteX3" fmla="*/ 0 w 3314699"/>
                <a:gd name="connsiteY3" fmla="*/ 1657350 h 3314700"/>
                <a:gd name="connsiteX4" fmla="*/ 1657349 w 3314699"/>
                <a:gd name="connsiteY4" fmla="*/ 0 h 3314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699" h="3314700">
                  <a:moveTo>
                    <a:pt x="1657349" y="0"/>
                  </a:moveTo>
                  <a:cubicBezTo>
                    <a:pt x="2572678" y="0"/>
                    <a:pt x="3314699" y="742021"/>
                    <a:pt x="3314699" y="1657350"/>
                  </a:cubicBezTo>
                  <a:cubicBezTo>
                    <a:pt x="3314699" y="2572679"/>
                    <a:pt x="2572678" y="3314700"/>
                    <a:pt x="1657349" y="3314700"/>
                  </a:cubicBezTo>
                  <a:cubicBezTo>
                    <a:pt x="742020" y="3314700"/>
                    <a:pt x="0" y="2572679"/>
                    <a:pt x="0" y="1657350"/>
                  </a:cubicBezTo>
                  <a:cubicBezTo>
                    <a:pt x="0" y="742021"/>
                    <a:pt x="742020" y="0"/>
                    <a:pt x="1657349" y="0"/>
                  </a:cubicBezTo>
                  <a:close/>
                </a:path>
              </a:pathLst>
            </a:custGeom>
            <a:ln w="3175">
              <a:solidFill>
                <a:schemeClr val="bg1"/>
              </a:solidFill>
            </a:ln>
          </p:spPr>
        </p:pic>
        <p:sp>
          <p:nvSpPr>
            <p:cNvPr id="27" name="Oval 26">
              <a:extLst>
                <a:ext uri="{FF2B5EF4-FFF2-40B4-BE49-F238E27FC236}">
                  <a16:creationId xmlns:a16="http://schemas.microsoft.com/office/drawing/2014/main" id="{9DCAF259-E7F9-C830-C11B-C3D637417979}"/>
                </a:ext>
              </a:extLst>
            </p:cNvPr>
            <p:cNvSpPr>
              <a:spLocks/>
            </p:cNvSpPr>
            <p:nvPr/>
          </p:nvSpPr>
          <p:spPr>
            <a:xfrm>
              <a:off x="5959137" y="4333875"/>
              <a:ext cx="179692" cy="179692"/>
            </a:xfrm>
            <a:prstGeom prst="ellipse">
              <a:avLst/>
            </a:prstGeom>
            <a:solidFill>
              <a:schemeClr val="bg1"/>
            </a:solidFill>
            <a:ln w="3175">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28" name="Group 27">
            <a:extLst>
              <a:ext uri="{FF2B5EF4-FFF2-40B4-BE49-F238E27FC236}">
                <a16:creationId xmlns:a16="http://schemas.microsoft.com/office/drawing/2014/main" id="{925C0482-B217-C54C-1E5F-1D66D6D3C715}"/>
              </a:ext>
            </a:extLst>
          </p:cNvPr>
          <p:cNvGrpSpPr/>
          <p:nvPr/>
        </p:nvGrpSpPr>
        <p:grpSpPr>
          <a:xfrm>
            <a:off x="707542" y="4339144"/>
            <a:ext cx="271293" cy="271293"/>
            <a:chOff x="5913337" y="4288075"/>
            <a:chExt cx="271293" cy="271293"/>
          </a:xfrm>
        </p:grpSpPr>
        <p:pic>
          <p:nvPicPr>
            <p:cNvPr id="29" name="Picture 28">
              <a:extLst>
                <a:ext uri="{FF2B5EF4-FFF2-40B4-BE49-F238E27FC236}">
                  <a16:creationId xmlns:a16="http://schemas.microsoft.com/office/drawing/2014/main" id="{8ECC2D27-40FC-D99A-3E9A-F4E0CBCF1C0E}"/>
                </a:ext>
              </a:extLst>
            </p:cNvPr>
            <p:cNvPicPr>
              <a:picLocks/>
            </p:cNvPicPr>
            <p:nvPr/>
          </p:nvPicPr>
          <p:blipFill>
            <a:blip r:embed="rId7" cstate="screen">
              <a:extLst>
                <a:ext uri="{28A0092B-C50C-407E-A947-70E740481C1C}">
                  <a14:useLocalDpi xmlns:a14="http://schemas.microsoft.com/office/drawing/2010/main"/>
                </a:ext>
              </a:extLst>
            </a:blip>
            <a:srcRect l="36669" t="14450" r="36669" b="14450"/>
            <a:stretch>
              <a:fillRect/>
            </a:stretch>
          </p:blipFill>
          <p:spPr>
            <a:xfrm>
              <a:off x="5913337" y="4288075"/>
              <a:ext cx="271293" cy="271293"/>
            </a:xfrm>
            <a:custGeom>
              <a:avLst/>
              <a:gdLst>
                <a:gd name="connsiteX0" fmla="*/ 1657349 w 3314699"/>
                <a:gd name="connsiteY0" fmla="*/ 0 h 3314700"/>
                <a:gd name="connsiteX1" fmla="*/ 3314699 w 3314699"/>
                <a:gd name="connsiteY1" fmla="*/ 1657350 h 3314700"/>
                <a:gd name="connsiteX2" fmla="*/ 1657349 w 3314699"/>
                <a:gd name="connsiteY2" fmla="*/ 3314700 h 3314700"/>
                <a:gd name="connsiteX3" fmla="*/ 0 w 3314699"/>
                <a:gd name="connsiteY3" fmla="*/ 1657350 h 3314700"/>
                <a:gd name="connsiteX4" fmla="*/ 1657349 w 3314699"/>
                <a:gd name="connsiteY4" fmla="*/ 0 h 3314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699" h="3314700">
                  <a:moveTo>
                    <a:pt x="1657349" y="0"/>
                  </a:moveTo>
                  <a:cubicBezTo>
                    <a:pt x="2572678" y="0"/>
                    <a:pt x="3314699" y="742021"/>
                    <a:pt x="3314699" y="1657350"/>
                  </a:cubicBezTo>
                  <a:cubicBezTo>
                    <a:pt x="3314699" y="2572679"/>
                    <a:pt x="2572678" y="3314700"/>
                    <a:pt x="1657349" y="3314700"/>
                  </a:cubicBezTo>
                  <a:cubicBezTo>
                    <a:pt x="742020" y="3314700"/>
                    <a:pt x="0" y="2572679"/>
                    <a:pt x="0" y="1657350"/>
                  </a:cubicBezTo>
                  <a:cubicBezTo>
                    <a:pt x="0" y="742021"/>
                    <a:pt x="742020" y="0"/>
                    <a:pt x="1657349" y="0"/>
                  </a:cubicBezTo>
                  <a:close/>
                </a:path>
              </a:pathLst>
            </a:custGeom>
            <a:ln w="3175">
              <a:solidFill>
                <a:schemeClr val="bg1"/>
              </a:solidFill>
            </a:ln>
          </p:spPr>
        </p:pic>
        <p:sp>
          <p:nvSpPr>
            <p:cNvPr id="30" name="Oval 29">
              <a:extLst>
                <a:ext uri="{FF2B5EF4-FFF2-40B4-BE49-F238E27FC236}">
                  <a16:creationId xmlns:a16="http://schemas.microsoft.com/office/drawing/2014/main" id="{391E55E5-814E-2D6F-7DC5-9F6BF136ABD9}"/>
                </a:ext>
              </a:extLst>
            </p:cNvPr>
            <p:cNvSpPr>
              <a:spLocks/>
            </p:cNvSpPr>
            <p:nvPr/>
          </p:nvSpPr>
          <p:spPr>
            <a:xfrm>
              <a:off x="5959137" y="4333875"/>
              <a:ext cx="179692" cy="179692"/>
            </a:xfrm>
            <a:prstGeom prst="ellipse">
              <a:avLst/>
            </a:prstGeom>
            <a:solidFill>
              <a:schemeClr val="bg1"/>
            </a:solidFill>
            <a:ln w="3175">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31" name="Group 30">
            <a:extLst>
              <a:ext uri="{FF2B5EF4-FFF2-40B4-BE49-F238E27FC236}">
                <a16:creationId xmlns:a16="http://schemas.microsoft.com/office/drawing/2014/main" id="{006C8978-4C91-33B4-89E6-FC94CE7AB124}"/>
              </a:ext>
            </a:extLst>
          </p:cNvPr>
          <p:cNvGrpSpPr/>
          <p:nvPr/>
        </p:nvGrpSpPr>
        <p:grpSpPr>
          <a:xfrm>
            <a:off x="708128" y="4772776"/>
            <a:ext cx="271293" cy="271293"/>
            <a:chOff x="5913337" y="4288075"/>
            <a:chExt cx="271293" cy="271293"/>
          </a:xfrm>
        </p:grpSpPr>
        <p:pic>
          <p:nvPicPr>
            <p:cNvPr id="235" name="Picture 234">
              <a:extLst>
                <a:ext uri="{FF2B5EF4-FFF2-40B4-BE49-F238E27FC236}">
                  <a16:creationId xmlns:a16="http://schemas.microsoft.com/office/drawing/2014/main" id="{C33EA3EE-1088-8BEA-6B71-0906472E3490}"/>
                </a:ext>
              </a:extLst>
            </p:cNvPr>
            <p:cNvPicPr>
              <a:picLocks/>
            </p:cNvPicPr>
            <p:nvPr/>
          </p:nvPicPr>
          <p:blipFill>
            <a:blip r:embed="rId7" cstate="screen">
              <a:extLst>
                <a:ext uri="{28A0092B-C50C-407E-A947-70E740481C1C}">
                  <a14:useLocalDpi xmlns:a14="http://schemas.microsoft.com/office/drawing/2010/main"/>
                </a:ext>
              </a:extLst>
            </a:blip>
            <a:srcRect l="36669" t="14450" r="36669" b="14450"/>
            <a:stretch>
              <a:fillRect/>
            </a:stretch>
          </p:blipFill>
          <p:spPr>
            <a:xfrm>
              <a:off x="5913337" y="4288075"/>
              <a:ext cx="271293" cy="271293"/>
            </a:xfrm>
            <a:custGeom>
              <a:avLst/>
              <a:gdLst>
                <a:gd name="connsiteX0" fmla="*/ 1657349 w 3314699"/>
                <a:gd name="connsiteY0" fmla="*/ 0 h 3314700"/>
                <a:gd name="connsiteX1" fmla="*/ 3314699 w 3314699"/>
                <a:gd name="connsiteY1" fmla="*/ 1657350 h 3314700"/>
                <a:gd name="connsiteX2" fmla="*/ 1657349 w 3314699"/>
                <a:gd name="connsiteY2" fmla="*/ 3314700 h 3314700"/>
                <a:gd name="connsiteX3" fmla="*/ 0 w 3314699"/>
                <a:gd name="connsiteY3" fmla="*/ 1657350 h 3314700"/>
                <a:gd name="connsiteX4" fmla="*/ 1657349 w 3314699"/>
                <a:gd name="connsiteY4" fmla="*/ 0 h 3314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699" h="3314700">
                  <a:moveTo>
                    <a:pt x="1657349" y="0"/>
                  </a:moveTo>
                  <a:cubicBezTo>
                    <a:pt x="2572678" y="0"/>
                    <a:pt x="3314699" y="742021"/>
                    <a:pt x="3314699" y="1657350"/>
                  </a:cubicBezTo>
                  <a:cubicBezTo>
                    <a:pt x="3314699" y="2572679"/>
                    <a:pt x="2572678" y="3314700"/>
                    <a:pt x="1657349" y="3314700"/>
                  </a:cubicBezTo>
                  <a:cubicBezTo>
                    <a:pt x="742020" y="3314700"/>
                    <a:pt x="0" y="2572679"/>
                    <a:pt x="0" y="1657350"/>
                  </a:cubicBezTo>
                  <a:cubicBezTo>
                    <a:pt x="0" y="742021"/>
                    <a:pt x="742020" y="0"/>
                    <a:pt x="1657349" y="0"/>
                  </a:cubicBezTo>
                  <a:close/>
                </a:path>
              </a:pathLst>
            </a:custGeom>
            <a:ln w="3175">
              <a:solidFill>
                <a:schemeClr val="bg1"/>
              </a:solidFill>
            </a:ln>
          </p:spPr>
        </p:pic>
        <p:sp>
          <p:nvSpPr>
            <p:cNvPr id="236" name="Oval 235">
              <a:extLst>
                <a:ext uri="{FF2B5EF4-FFF2-40B4-BE49-F238E27FC236}">
                  <a16:creationId xmlns:a16="http://schemas.microsoft.com/office/drawing/2014/main" id="{F3C1655F-8D7F-DDDE-3CC8-C5E15E48410C}"/>
                </a:ext>
              </a:extLst>
            </p:cNvPr>
            <p:cNvSpPr>
              <a:spLocks/>
            </p:cNvSpPr>
            <p:nvPr/>
          </p:nvSpPr>
          <p:spPr>
            <a:xfrm>
              <a:off x="5959137" y="4333875"/>
              <a:ext cx="179692" cy="179692"/>
            </a:xfrm>
            <a:prstGeom prst="ellipse">
              <a:avLst/>
            </a:prstGeom>
            <a:solidFill>
              <a:schemeClr val="bg1"/>
            </a:solidFill>
            <a:ln w="3175">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237" name="Group 236">
            <a:extLst>
              <a:ext uri="{FF2B5EF4-FFF2-40B4-BE49-F238E27FC236}">
                <a16:creationId xmlns:a16="http://schemas.microsoft.com/office/drawing/2014/main" id="{BB91AF5C-9CF7-7DFE-1507-7A072A4AD941}"/>
              </a:ext>
            </a:extLst>
          </p:cNvPr>
          <p:cNvGrpSpPr/>
          <p:nvPr/>
        </p:nvGrpSpPr>
        <p:grpSpPr>
          <a:xfrm>
            <a:off x="723583" y="5546327"/>
            <a:ext cx="271293" cy="271293"/>
            <a:chOff x="5913337" y="4288075"/>
            <a:chExt cx="271293" cy="271293"/>
          </a:xfrm>
        </p:grpSpPr>
        <p:pic>
          <p:nvPicPr>
            <p:cNvPr id="238" name="Picture 237">
              <a:extLst>
                <a:ext uri="{FF2B5EF4-FFF2-40B4-BE49-F238E27FC236}">
                  <a16:creationId xmlns:a16="http://schemas.microsoft.com/office/drawing/2014/main" id="{27304C94-774F-50C9-B29F-C216D80B9D3A}"/>
                </a:ext>
              </a:extLst>
            </p:cNvPr>
            <p:cNvPicPr>
              <a:picLocks/>
            </p:cNvPicPr>
            <p:nvPr/>
          </p:nvPicPr>
          <p:blipFill>
            <a:blip r:embed="rId7" cstate="screen">
              <a:extLst>
                <a:ext uri="{28A0092B-C50C-407E-A947-70E740481C1C}">
                  <a14:useLocalDpi xmlns:a14="http://schemas.microsoft.com/office/drawing/2010/main"/>
                </a:ext>
              </a:extLst>
            </a:blip>
            <a:srcRect l="36669" t="14450" r="36669" b="14450"/>
            <a:stretch>
              <a:fillRect/>
            </a:stretch>
          </p:blipFill>
          <p:spPr>
            <a:xfrm>
              <a:off x="5913337" y="4288075"/>
              <a:ext cx="271293" cy="271293"/>
            </a:xfrm>
            <a:custGeom>
              <a:avLst/>
              <a:gdLst>
                <a:gd name="connsiteX0" fmla="*/ 1657349 w 3314699"/>
                <a:gd name="connsiteY0" fmla="*/ 0 h 3314700"/>
                <a:gd name="connsiteX1" fmla="*/ 3314699 w 3314699"/>
                <a:gd name="connsiteY1" fmla="*/ 1657350 h 3314700"/>
                <a:gd name="connsiteX2" fmla="*/ 1657349 w 3314699"/>
                <a:gd name="connsiteY2" fmla="*/ 3314700 h 3314700"/>
                <a:gd name="connsiteX3" fmla="*/ 0 w 3314699"/>
                <a:gd name="connsiteY3" fmla="*/ 1657350 h 3314700"/>
                <a:gd name="connsiteX4" fmla="*/ 1657349 w 3314699"/>
                <a:gd name="connsiteY4" fmla="*/ 0 h 3314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699" h="3314700">
                  <a:moveTo>
                    <a:pt x="1657349" y="0"/>
                  </a:moveTo>
                  <a:cubicBezTo>
                    <a:pt x="2572678" y="0"/>
                    <a:pt x="3314699" y="742021"/>
                    <a:pt x="3314699" y="1657350"/>
                  </a:cubicBezTo>
                  <a:cubicBezTo>
                    <a:pt x="3314699" y="2572679"/>
                    <a:pt x="2572678" y="3314700"/>
                    <a:pt x="1657349" y="3314700"/>
                  </a:cubicBezTo>
                  <a:cubicBezTo>
                    <a:pt x="742020" y="3314700"/>
                    <a:pt x="0" y="2572679"/>
                    <a:pt x="0" y="1657350"/>
                  </a:cubicBezTo>
                  <a:cubicBezTo>
                    <a:pt x="0" y="742021"/>
                    <a:pt x="742020" y="0"/>
                    <a:pt x="1657349" y="0"/>
                  </a:cubicBezTo>
                  <a:close/>
                </a:path>
              </a:pathLst>
            </a:custGeom>
            <a:ln w="3175">
              <a:solidFill>
                <a:schemeClr val="bg1"/>
              </a:solidFill>
            </a:ln>
          </p:spPr>
        </p:pic>
        <p:sp>
          <p:nvSpPr>
            <p:cNvPr id="239" name="Oval 238">
              <a:extLst>
                <a:ext uri="{FF2B5EF4-FFF2-40B4-BE49-F238E27FC236}">
                  <a16:creationId xmlns:a16="http://schemas.microsoft.com/office/drawing/2014/main" id="{1F55E51F-D2FD-B8AB-6317-9D1A3E5C6829}"/>
                </a:ext>
              </a:extLst>
            </p:cNvPr>
            <p:cNvSpPr>
              <a:spLocks/>
            </p:cNvSpPr>
            <p:nvPr/>
          </p:nvSpPr>
          <p:spPr>
            <a:xfrm>
              <a:off x="5959137" y="4333875"/>
              <a:ext cx="179692" cy="179692"/>
            </a:xfrm>
            <a:prstGeom prst="ellipse">
              <a:avLst/>
            </a:prstGeom>
            <a:solidFill>
              <a:schemeClr val="bg1"/>
            </a:solidFill>
            <a:ln w="3175">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9736950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a:extLst>
              <a:ext uri="{FF2B5EF4-FFF2-40B4-BE49-F238E27FC236}">
                <a16:creationId xmlns:a16="http://schemas.microsoft.com/office/drawing/2014/main" id="{A7D80279-BED8-187C-64BB-169E03ED98BA}"/>
              </a:ext>
            </a:extLst>
          </p:cNvPr>
          <p:cNvSpPr/>
          <p:nvPr/>
        </p:nvSpPr>
        <p:spPr>
          <a:xfrm>
            <a:off x="0" y="1"/>
            <a:ext cx="12192000" cy="6858000"/>
          </a:xfrm>
          <a:prstGeom prst="rect">
            <a:avLst/>
          </a:prstGeom>
          <a:solidFill>
            <a:srgbClr val="133CC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2" name="Rectangle 71">
            <a:extLst>
              <a:ext uri="{FF2B5EF4-FFF2-40B4-BE49-F238E27FC236}">
                <a16:creationId xmlns:a16="http://schemas.microsoft.com/office/drawing/2014/main" id="{7143F7D2-1A74-08C6-C4FC-B3EEC7C82557}"/>
              </a:ext>
            </a:extLst>
          </p:cNvPr>
          <p:cNvSpPr/>
          <p:nvPr/>
        </p:nvSpPr>
        <p:spPr>
          <a:xfrm>
            <a:off x="0" y="0"/>
            <a:ext cx="12192000" cy="1683658"/>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Rectangle 15">
            <a:extLst>
              <a:ext uri="{FF2B5EF4-FFF2-40B4-BE49-F238E27FC236}">
                <a16:creationId xmlns:a16="http://schemas.microsoft.com/office/drawing/2014/main" id="{C2AA6D23-ACE2-D35A-97AC-49566FD188AA}"/>
              </a:ext>
            </a:extLst>
          </p:cNvPr>
          <p:cNvSpPr/>
          <p:nvPr/>
        </p:nvSpPr>
        <p:spPr>
          <a:xfrm flipH="1">
            <a:off x="2162629" y="380164"/>
            <a:ext cx="7866742" cy="923330"/>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spcBef>
                <a:spcPts val="600"/>
              </a:spcBef>
              <a:spcAft>
                <a:spcPts val="600"/>
              </a:spcAft>
              <a:defRPr/>
            </a:pPr>
            <a:r>
              <a:rPr lang="en-US" sz="3000" b="1">
                <a:solidFill>
                  <a:schemeClr val="bg1"/>
                </a:solidFill>
                <a:latin typeface="+mj-lt"/>
                <a:ea typeface="+mj-ea"/>
                <a:cs typeface="+mj-cs"/>
              </a:rPr>
              <a:t>COMMERCIAL SUSTAINABILITY CONTACTS</a:t>
            </a:r>
            <a:br>
              <a:rPr lang="en-US" sz="3000" b="1">
                <a:solidFill>
                  <a:schemeClr val="bg1"/>
                </a:solidFill>
                <a:latin typeface="+mj-lt"/>
                <a:ea typeface="+mj-ea"/>
                <a:cs typeface="+mj-cs"/>
              </a:rPr>
            </a:br>
            <a:r>
              <a:rPr lang="en-US" sz="3000" b="1" i="1">
                <a:solidFill>
                  <a:schemeClr val="bg1"/>
                </a:solidFill>
                <a:latin typeface="+mj-lt"/>
                <a:ea typeface="+mj-ea"/>
                <a:cs typeface="+mj-cs"/>
              </a:rPr>
              <a:t>LET’S PARTNER!</a:t>
            </a:r>
          </a:p>
        </p:txBody>
      </p:sp>
      <p:pic>
        <p:nvPicPr>
          <p:cNvPr id="73" name="Picture 72">
            <a:extLst>
              <a:ext uri="{FF2B5EF4-FFF2-40B4-BE49-F238E27FC236}">
                <a16:creationId xmlns:a16="http://schemas.microsoft.com/office/drawing/2014/main" id="{8BC78AF9-8DD3-68A5-1606-A267F4B5880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flipH="1">
            <a:off x="0" y="5754914"/>
            <a:ext cx="1069760" cy="1103086"/>
          </a:xfrm>
          <a:prstGeom prst="rect">
            <a:avLst/>
          </a:prstGeom>
        </p:spPr>
      </p:pic>
      <p:pic>
        <p:nvPicPr>
          <p:cNvPr id="74" name="Picture 73">
            <a:extLst>
              <a:ext uri="{FF2B5EF4-FFF2-40B4-BE49-F238E27FC236}">
                <a16:creationId xmlns:a16="http://schemas.microsoft.com/office/drawing/2014/main" id="{E2F4ACD1-D8C4-35A7-BD86-9F462A0851C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140002" y="5791275"/>
            <a:ext cx="1051998" cy="1066725"/>
          </a:xfrm>
          <a:prstGeom prst="rect">
            <a:avLst/>
          </a:prstGeom>
        </p:spPr>
      </p:pic>
      <p:grpSp>
        <p:nvGrpSpPr>
          <p:cNvPr id="75" name="Group 74">
            <a:extLst>
              <a:ext uri="{FF2B5EF4-FFF2-40B4-BE49-F238E27FC236}">
                <a16:creationId xmlns:a16="http://schemas.microsoft.com/office/drawing/2014/main" id="{68CDC209-6B81-9B55-D092-4B797B0B5729}"/>
              </a:ext>
            </a:extLst>
          </p:cNvPr>
          <p:cNvGrpSpPr/>
          <p:nvPr/>
        </p:nvGrpSpPr>
        <p:grpSpPr>
          <a:xfrm flipV="1">
            <a:off x="11139720" y="0"/>
            <a:ext cx="1052280" cy="1052288"/>
            <a:chOff x="11139721" y="5805713"/>
            <a:chExt cx="1052280" cy="1052288"/>
          </a:xfrm>
        </p:grpSpPr>
        <p:sp>
          <p:nvSpPr>
            <p:cNvPr id="76" name="Freeform: Shape 75">
              <a:extLst>
                <a:ext uri="{FF2B5EF4-FFF2-40B4-BE49-F238E27FC236}">
                  <a16:creationId xmlns:a16="http://schemas.microsoft.com/office/drawing/2014/main" id="{15FD6B2F-BECF-CC2E-78D3-004C2BB26120}"/>
                </a:ext>
              </a:extLst>
            </p:cNvPr>
            <p:cNvSpPr/>
            <p:nvPr/>
          </p:nvSpPr>
          <p:spPr>
            <a:xfrm>
              <a:off x="11139721" y="5805713"/>
              <a:ext cx="1052280" cy="1052288"/>
            </a:xfrm>
            <a:custGeom>
              <a:avLst/>
              <a:gdLst>
                <a:gd name="connsiteX0" fmla="*/ 1052280 w 1052280"/>
                <a:gd name="connsiteY0" fmla="*/ 0 h 1052288"/>
                <a:gd name="connsiteX1" fmla="*/ 1052280 w 1052280"/>
                <a:gd name="connsiteY1" fmla="*/ 1052288 h 1052288"/>
                <a:gd name="connsiteX2" fmla="*/ 0 w 1052280"/>
                <a:gd name="connsiteY2" fmla="*/ 1052288 h 1052288"/>
                <a:gd name="connsiteX3" fmla="*/ 1052280 w 1052280"/>
                <a:gd name="connsiteY3" fmla="*/ 0 h 1052288"/>
              </a:gdLst>
              <a:ahLst/>
              <a:cxnLst>
                <a:cxn ang="0">
                  <a:pos x="connsiteX0" y="connsiteY0"/>
                </a:cxn>
                <a:cxn ang="0">
                  <a:pos x="connsiteX1" y="connsiteY1"/>
                </a:cxn>
                <a:cxn ang="0">
                  <a:pos x="connsiteX2" y="connsiteY2"/>
                </a:cxn>
                <a:cxn ang="0">
                  <a:pos x="connsiteX3" y="connsiteY3"/>
                </a:cxn>
              </a:cxnLst>
              <a:rect l="l" t="t" r="r" b="b"/>
              <a:pathLst>
                <a:path w="1052280" h="1052288">
                  <a:moveTo>
                    <a:pt x="1052280" y="0"/>
                  </a:moveTo>
                  <a:lnTo>
                    <a:pt x="1052280" y="1052288"/>
                  </a:lnTo>
                  <a:lnTo>
                    <a:pt x="0" y="1052288"/>
                  </a:lnTo>
                  <a:cubicBezTo>
                    <a:pt x="581125" y="1052288"/>
                    <a:pt x="1052280" y="581130"/>
                    <a:pt x="1052280" y="0"/>
                  </a:cubicBezTo>
                  <a:close/>
                </a:path>
              </a:pathLst>
            </a:custGeom>
            <a:solidFill>
              <a:srgbClr val="8EDC43"/>
            </a:solidFill>
            <a:ln w="1788" cap="flat">
              <a:noFill/>
              <a:prstDash val="solid"/>
              <a:miter/>
            </a:ln>
          </p:spPr>
          <p:txBody>
            <a:bodyPr rtlCol="0" anchor="ctr"/>
            <a:lstStyle/>
            <a:p>
              <a:endParaRPr lang="en-US"/>
            </a:p>
          </p:txBody>
        </p:sp>
        <p:grpSp>
          <p:nvGrpSpPr>
            <p:cNvPr id="77" name="Group 76">
              <a:extLst>
                <a:ext uri="{FF2B5EF4-FFF2-40B4-BE49-F238E27FC236}">
                  <a16:creationId xmlns:a16="http://schemas.microsoft.com/office/drawing/2014/main" id="{1D999CCA-8EB1-5044-FE53-AE19FB57F521}"/>
                </a:ext>
              </a:extLst>
            </p:cNvPr>
            <p:cNvGrpSpPr/>
            <p:nvPr/>
          </p:nvGrpSpPr>
          <p:grpSpPr>
            <a:xfrm>
              <a:off x="11342613" y="6117099"/>
              <a:ext cx="490943" cy="497085"/>
              <a:chOff x="10732103" y="6210946"/>
              <a:chExt cx="1006277" cy="1018869"/>
            </a:xfrm>
          </p:grpSpPr>
          <p:sp>
            <p:nvSpPr>
              <p:cNvPr id="78" name="Freeform: Shape 77">
                <a:extLst>
                  <a:ext uri="{FF2B5EF4-FFF2-40B4-BE49-F238E27FC236}">
                    <a16:creationId xmlns:a16="http://schemas.microsoft.com/office/drawing/2014/main" id="{6274E7A6-AAD1-9EED-E781-46F2DAC51FFC}"/>
                  </a:ext>
                </a:extLst>
              </p:cNvPr>
              <p:cNvSpPr/>
              <p:nvPr/>
            </p:nvSpPr>
            <p:spPr>
              <a:xfrm>
                <a:off x="10738446" y="6777435"/>
                <a:ext cx="368617" cy="452380"/>
              </a:xfrm>
              <a:custGeom>
                <a:avLst/>
                <a:gdLst>
                  <a:gd name="connsiteX0" fmla="*/ 368618 w 368617"/>
                  <a:gd name="connsiteY0" fmla="*/ 257842 h 452380"/>
                  <a:gd name="connsiteX1" fmla="*/ 367951 w 368617"/>
                  <a:gd name="connsiteY1" fmla="*/ 245459 h 452380"/>
                  <a:gd name="connsiteX2" fmla="*/ 366808 w 368617"/>
                  <a:gd name="connsiteY2" fmla="*/ 241745 h 452380"/>
                  <a:gd name="connsiteX3" fmla="*/ 365284 w 368617"/>
                  <a:gd name="connsiteY3" fmla="*/ 238601 h 452380"/>
                  <a:gd name="connsiteX4" fmla="*/ 362426 w 368617"/>
                  <a:gd name="connsiteY4" fmla="*/ 228124 h 452380"/>
                  <a:gd name="connsiteX5" fmla="*/ 353854 w 368617"/>
                  <a:gd name="connsiteY5" fmla="*/ 222028 h 452380"/>
                  <a:gd name="connsiteX6" fmla="*/ 339281 w 368617"/>
                  <a:gd name="connsiteY6" fmla="*/ 213360 h 452380"/>
                  <a:gd name="connsiteX7" fmla="*/ 332708 w 368617"/>
                  <a:gd name="connsiteY7" fmla="*/ 210979 h 452380"/>
                  <a:gd name="connsiteX8" fmla="*/ 324517 w 368617"/>
                  <a:gd name="connsiteY8" fmla="*/ 208312 h 452380"/>
                  <a:gd name="connsiteX9" fmla="*/ 323183 w 368617"/>
                  <a:gd name="connsiteY9" fmla="*/ 206121 h 452380"/>
                  <a:gd name="connsiteX10" fmla="*/ 318707 w 368617"/>
                  <a:gd name="connsiteY10" fmla="*/ 205073 h 452380"/>
                  <a:gd name="connsiteX11" fmla="*/ 309944 w 368617"/>
                  <a:gd name="connsiteY11" fmla="*/ 202502 h 452380"/>
                  <a:gd name="connsiteX12" fmla="*/ 308800 w 368617"/>
                  <a:gd name="connsiteY12" fmla="*/ 202692 h 452380"/>
                  <a:gd name="connsiteX13" fmla="*/ 304705 w 368617"/>
                  <a:gd name="connsiteY13" fmla="*/ 203930 h 452380"/>
                  <a:gd name="connsiteX14" fmla="*/ 303086 w 368617"/>
                  <a:gd name="connsiteY14" fmla="*/ 202787 h 452380"/>
                  <a:gd name="connsiteX15" fmla="*/ 297370 w 368617"/>
                  <a:gd name="connsiteY15" fmla="*/ 199358 h 452380"/>
                  <a:gd name="connsiteX16" fmla="*/ 289274 w 368617"/>
                  <a:gd name="connsiteY16" fmla="*/ 197644 h 452380"/>
                  <a:gd name="connsiteX17" fmla="*/ 282797 w 368617"/>
                  <a:gd name="connsiteY17" fmla="*/ 197644 h 452380"/>
                  <a:gd name="connsiteX18" fmla="*/ 278701 w 368617"/>
                  <a:gd name="connsiteY18" fmla="*/ 195929 h 452380"/>
                  <a:gd name="connsiteX19" fmla="*/ 277940 w 368617"/>
                  <a:gd name="connsiteY19" fmla="*/ 200692 h 452380"/>
                  <a:gd name="connsiteX20" fmla="*/ 275558 w 368617"/>
                  <a:gd name="connsiteY20" fmla="*/ 195453 h 452380"/>
                  <a:gd name="connsiteX21" fmla="*/ 272606 w 368617"/>
                  <a:gd name="connsiteY21" fmla="*/ 198025 h 452380"/>
                  <a:gd name="connsiteX22" fmla="*/ 260223 w 368617"/>
                  <a:gd name="connsiteY22" fmla="*/ 197453 h 452380"/>
                  <a:gd name="connsiteX23" fmla="*/ 249555 w 368617"/>
                  <a:gd name="connsiteY23" fmla="*/ 197072 h 452380"/>
                  <a:gd name="connsiteX24" fmla="*/ 238411 w 368617"/>
                  <a:gd name="connsiteY24" fmla="*/ 199263 h 452380"/>
                  <a:gd name="connsiteX25" fmla="*/ 238316 w 368617"/>
                  <a:gd name="connsiteY25" fmla="*/ 198787 h 452380"/>
                  <a:gd name="connsiteX26" fmla="*/ 236982 w 368617"/>
                  <a:gd name="connsiteY26" fmla="*/ 195548 h 452380"/>
                  <a:gd name="connsiteX27" fmla="*/ 237744 w 368617"/>
                  <a:gd name="connsiteY27" fmla="*/ 192596 h 452380"/>
                  <a:gd name="connsiteX28" fmla="*/ 248031 w 368617"/>
                  <a:gd name="connsiteY28" fmla="*/ 178498 h 452380"/>
                  <a:gd name="connsiteX29" fmla="*/ 259175 w 368617"/>
                  <a:gd name="connsiteY29" fmla="*/ 160782 h 452380"/>
                  <a:gd name="connsiteX30" fmla="*/ 260699 w 368617"/>
                  <a:gd name="connsiteY30" fmla="*/ 159829 h 452380"/>
                  <a:gd name="connsiteX31" fmla="*/ 262604 w 368617"/>
                  <a:gd name="connsiteY31" fmla="*/ 157829 h 452380"/>
                  <a:gd name="connsiteX32" fmla="*/ 265747 w 368617"/>
                  <a:gd name="connsiteY32" fmla="*/ 153734 h 452380"/>
                  <a:gd name="connsiteX33" fmla="*/ 270986 w 368617"/>
                  <a:gd name="connsiteY33" fmla="*/ 147542 h 452380"/>
                  <a:gd name="connsiteX34" fmla="*/ 274320 w 368617"/>
                  <a:gd name="connsiteY34" fmla="*/ 143066 h 452380"/>
                  <a:gd name="connsiteX35" fmla="*/ 276416 w 368617"/>
                  <a:gd name="connsiteY35" fmla="*/ 136398 h 452380"/>
                  <a:gd name="connsiteX36" fmla="*/ 277654 w 368617"/>
                  <a:gd name="connsiteY36" fmla="*/ 134207 h 452380"/>
                  <a:gd name="connsiteX37" fmla="*/ 287084 w 368617"/>
                  <a:gd name="connsiteY37" fmla="*/ 125349 h 452380"/>
                  <a:gd name="connsiteX38" fmla="*/ 292322 w 368617"/>
                  <a:gd name="connsiteY38" fmla="*/ 114491 h 452380"/>
                  <a:gd name="connsiteX39" fmla="*/ 294418 w 368617"/>
                  <a:gd name="connsiteY39" fmla="*/ 112681 h 452380"/>
                  <a:gd name="connsiteX40" fmla="*/ 300133 w 368617"/>
                  <a:gd name="connsiteY40" fmla="*/ 102108 h 452380"/>
                  <a:gd name="connsiteX41" fmla="*/ 300895 w 368617"/>
                  <a:gd name="connsiteY41" fmla="*/ 100870 h 452380"/>
                  <a:gd name="connsiteX42" fmla="*/ 307372 w 368617"/>
                  <a:gd name="connsiteY42" fmla="*/ 90488 h 452380"/>
                  <a:gd name="connsiteX43" fmla="*/ 315373 w 368617"/>
                  <a:gd name="connsiteY43" fmla="*/ 72676 h 452380"/>
                  <a:gd name="connsiteX44" fmla="*/ 321564 w 368617"/>
                  <a:gd name="connsiteY44" fmla="*/ 32480 h 452380"/>
                  <a:gd name="connsiteX45" fmla="*/ 315182 w 368617"/>
                  <a:gd name="connsiteY45" fmla="*/ 22003 h 452380"/>
                  <a:gd name="connsiteX46" fmla="*/ 301371 w 368617"/>
                  <a:gd name="connsiteY46" fmla="*/ 18193 h 452380"/>
                  <a:gd name="connsiteX47" fmla="*/ 300799 w 368617"/>
                  <a:gd name="connsiteY47" fmla="*/ 15907 h 452380"/>
                  <a:gd name="connsiteX48" fmla="*/ 293751 w 368617"/>
                  <a:gd name="connsiteY48" fmla="*/ 21527 h 452380"/>
                  <a:gd name="connsiteX49" fmla="*/ 287465 w 368617"/>
                  <a:gd name="connsiteY49" fmla="*/ 26860 h 452380"/>
                  <a:gd name="connsiteX50" fmla="*/ 276606 w 368617"/>
                  <a:gd name="connsiteY50" fmla="*/ 36671 h 452380"/>
                  <a:gd name="connsiteX51" fmla="*/ 270796 w 368617"/>
                  <a:gd name="connsiteY51" fmla="*/ 38005 h 452380"/>
                  <a:gd name="connsiteX52" fmla="*/ 269367 w 368617"/>
                  <a:gd name="connsiteY52" fmla="*/ 39148 h 452380"/>
                  <a:gd name="connsiteX53" fmla="*/ 268129 w 368617"/>
                  <a:gd name="connsiteY53" fmla="*/ 41815 h 452380"/>
                  <a:gd name="connsiteX54" fmla="*/ 256794 w 368617"/>
                  <a:gd name="connsiteY54" fmla="*/ 52673 h 452380"/>
                  <a:gd name="connsiteX55" fmla="*/ 241173 w 368617"/>
                  <a:gd name="connsiteY55" fmla="*/ 69056 h 452380"/>
                  <a:gd name="connsiteX56" fmla="*/ 234696 w 368617"/>
                  <a:gd name="connsiteY56" fmla="*/ 76010 h 452380"/>
                  <a:gd name="connsiteX57" fmla="*/ 233934 w 368617"/>
                  <a:gd name="connsiteY57" fmla="*/ 76581 h 452380"/>
                  <a:gd name="connsiteX58" fmla="*/ 227838 w 368617"/>
                  <a:gd name="connsiteY58" fmla="*/ 82010 h 452380"/>
                  <a:gd name="connsiteX59" fmla="*/ 212408 w 368617"/>
                  <a:gd name="connsiteY59" fmla="*/ 101346 h 452380"/>
                  <a:gd name="connsiteX60" fmla="*/ 204216 w 368617"/>
                  <a:gd name="connsiteY60" fmla="*/ 110109 h 452380"/>
                  <a:gd name="connsiteX61" fmla="*/ 190976 w 368617"/>
                  <a:gd name="connsiteY61" fmla="*/ 125254 h 452380"/>
                  <a:gd name="connsiteX62" fmla="*/ 184975 w 368617"/>
                  <a:gd name="connsiteY62" fmla="*/ 129254 h 452380"/>
                  <a:gd name="connsiteX63" fmla="*/ 181451 w 368617"/>
                  <a:gd name="connsiteY63" fmla="*/ 125158 h 452380"/>
                  <a:gd name="connsiteX64" fmla="*/ 180499 w 368617"/>
                  <a:gd name="connsiteY64" fmla="*/ 123349 h 452380"/>
                  <a:gd name="connsiteX65" fmla="*/ 165068 w 368617"/>
                  <a:gd name="connsiteY65" fmla="*/ 94393 h 452380"/>
                  <a:gd name="connsiteX66" fmla="*/ 161925 w 368617"/>
                  <a:gd name="connsiteY66" fmla="*/ 89725 h 452380"/>
                  <a:gd name="connsiteX67" fmla="*/ 153162 w 368617"/>
                  <a:gd name="connsiteY67" fmla="*/ 75819 h 452380"/>
                  <a:gd name="connsiteX68" fmla="*/ 153734 w 368617"/>
                  <a:gd name="connsiteY68" fmla="*/ 74962 h 452380"/>
                  <a:gd name="connsiteX69" fmla="*/ 152876 w 368617"/>
                  <a:gd name="connsiteY69" fmla="*/ 72771 h 452380"/>
                  <a:gd name="connsiteX70" fmla="*/ 145637 w 368617"/>
                  <a:gd name="connsiteY70" fmla="*/ 62484 h 452380"/>
                  <a:gd name="connsiteX71" fmla="*/ 141161 w 368617"/>
                  <a:gd name="connsiteY71" fmla="*/ 53531 h 452380"/>
                  <a:gd name="connsiteX72" fmla="*/ 132016 w 368617"/>
                  <a:gd name="connsiteY72" fmla="*/ 35719 h 452380"/>
                  <a:gd name="connsiteX73" fmla="*/ 127921 w 368617"/>
                  <a:gd name="connsiteY73" fmla="*/ 26194 h 452380"/>
                  <a:gd name="connsiteX74" fmla="*/ 127064 w 368617"/>
                  <a:gd name="connsiteY74" fmla="*/ 22384 h 452380"/>
                  <a:gd name="connsiteX75" fmla="*/ 119729 w 368617"/>
                  <a:gd name="connsiteY75" fmla="*/ 4286 h 452380"/>
                  <a:gd name="connsiteX76" fmla="*/ 117824 w 368617"/>
                  <a:gd name="connsiteY76" fmla="*/ 0 h 452380"/>
                  <a:gd name="connsiteX77" fmla="*/ 113062 w 368617"/>
                  <a:gd name="connsiteY77" fmla="*/ 2477 h 452380"/>
                  <a:gd name="connsiteX78" fmla="*/ 105061 w 368617"/>
                  <a:gd name="connsiteY78" fmla="*/ 15811 h 452380"/>
                  <a:gd name="connsiteX79" fmla="*/ 102108 w 368617"/>
                  <a:gd name="connsiteY79" fmla="*/ 20383 h 452380"/>
                  <a:gd name="connsiteX80" fmla="*/ 97726 w 368617"/>
                  <a:gd name="connsiteY80" fmla="*/ 26765 h 452380"/>
                  <a:gd name="connsiteX81" fmla="*/ 95345 w 368617"/>
                  <a:gd name="connsiteY81" fmla="*/ 37433 h 452380"/>
                  <a:gd name="connsiteX82" fmla="*/ 100013 w 368617"/>
                  <a:gd name="connsiteY82" fmla="*/ 53340 h 452380"/>
                  <a:gd name="connsiteX83" fmla="*/ 102299 w 368617"/>
                  <a:gd name="connsiteY83" fmla="*/ 58293 h 452380"/>
                  <a:gd name="connsiteX84" fmla="*/ 103918 w 368617"/>
                  <a:gd name="connsiteY84" fmla="*/ 60008 h 452380"/>
                  <a:gd name="connsiteX85" fmla="*/ 105156 w 368617"/>
                  <a:gd name="connsiteY85" fmla="*/ 72866 h 452380"/>
                  <a:gd name="connsiteX86" fmla="*/ 107251 w 368617"/>
                  <a:gd name="connsiteY86" fmla="*/ 80581 h 452380"/>
                  <a:gd name="connsiteX87" fmla="*/ 108299 w 368617"/>
                  <a:gd name="connsiteY87" fmla="*/ 83820 h 452380"/>
                  <a:gd name="connsiteX88" fmla="*/ 110014 w 368617"/>
                  <a:gd name="connsiteY88" fmla="*/ 101156 h 452380"/>
                  <a:gd name="connsiteX89" fmla="*/ 112776 w 368617"/>
                  <a:gd name="connsiteY89" fmla="*/ 114586 h 452380"/>
                  <a:gd name="connsiteX90" fmla="*/ 118872 w 368617"/>
                  <a:gd name="connsiteY90" fmla="*/ 142780 h 452380"/>
                  <a:gd name="connsiteX91" fmla="*/ 123444 w 368617"/>
                  <a:gd name="connsiteY91" fmla="*/ 160401 h 452380"/>
                  <a:gd name="connsiteX92" fmla="*/ 128492 w 368617"/>
                  <a:gd name="connsiteY92" fmla="*/ 178308 h 452380"/>
                  <a:gd name="connsiteX93" fmla="*/ 128492 w 368617"/>
                  <a:gd name="connsiteY93" fmla="*/ 182594 h 452380"/>
                  <a:gd name="connsiteX94" fmla="*/ 124587 w 368617"/>
                  <a:gd name="connsiteY94" fmla="*/ 183166 h 452380"/>
                  <a:gd name="connsiteX95" fmla="*/ 115633 w 368617"/>
                  <a:gd name="connsiteY95" fmla="*/ 179261 h 452380"/>
                  <a:gd name="connsiteX96" fmla="*/ 110204 w 368617"/>
                  <a:gd name="connsiteY96" fmla="*/ 175641 h 452380"/>
                  <a:gd name="connsiteX97" fmla="*/ 99251 w 368617"/>
                  <a:gd name="connsiteY97" fmla="*/ 171641 h 452380"/>
                  <a:gd name="connsiteX98" fmla="*/ 89726 w 368617"/>
                  <a:gd name="connsiteY98" fmla="*/ 169926 h 452380"/>
                  <a:gd name="connsiteX99" fmla="*/ 88582 w 368617"/>
                  <a:gd name="connsiteY99" fmla="*/ 170879 h 452380"/>
                  <a:gd name="connsiteX100" fmla="*/ 88011 w 368617"/>
                  <a:gd name="connsiteY100" fmla="*/ 168497 h 452380"/>
                  <a:gd name="connsiteX101" fmla="*/ 87535 w 368617"/>
                  <a:gd name="connsiteY101" fmla="*/ 171641 h 452380"/>
                  <a:gd name="connsiteX102" fmla="*/ 79915 w 368617"/>
                  <a:gd name="connsiteY102" fmla="*/ 169164 h 452380"/>
                  <a:gd name="connsiteX103" fmla="*/ 66675 w 368617"/>
                  <a:gd name="connsiteY103" fmla="*/ 166306 h 452380"/>
                  <a:gd name="connsiteX104" fmla="*/ 64579 w 368617"/>
                  <a:gd name="connsiteY104" fmla="*/ 165354 h 452380"/>
                  <a:gd name="connsiteX105" fmla="*/ 49339 w 368617"/>
                  <a:gd name="connsiteY105" fmla="*/ 167164 h 452380"/>
                  <a:gd name="connsiteX106" fmla="*/ 48863 w 368617"/>
                  <a:gd name="connsiteY106" fmla="*/ 167069 h 452380"/>
                  <a:gd name="connsiteX107" fmla="*/ 34576 w 368617"/>
                  <a:gd name="connsiteY107" fmla="*/ 166402 h 452380"/>
                  <a:gd name="connsiteX108" fmla="*/ 28289 w 368617"/>
                  <a:gd name="connsiteY108" fmla="*/ 168402 h 452380"/>
                  <a:gd name="connsiteX109" fmla="*/ 21431 w 368617"/>
                  <a:gd name="connsiteY109" fmla="*/ 173450 h 452380"/>
                  <a:gd name="connsiteX110" fmla="*/ 18097 w 368617"/>
                  <a:gd name="connsiteY110" fmla="*/ 171260 h 452380"/>
                  <a:gd name="connsiteX111" fmla="*/ 11716 w 368617"/>
                  <a:gd name="connsiteY111" fmla="*/ 173927 h 452380"/>
                  <a:gd name="connsiteX112" fmla="*/ 9430 w 368617"/>
                  <a:gd name="connsiteY112" fmla="*/ 178022 h 452380"/>
                  <a:gd name="connsiteX113" fmla="*/ 6953 w 368617"/>
                  <a:gd name="connsiteY113" fmla="*/ 186404 h 452380"/>
                  <a:gd name="connsiteX114" fmla="*/ 7239 w 368617"/>
                  <a:gd name="connsiteY114" fmla="*/ 190310 h 452380"/>
                  <a:gd name="connsiteX115" fmla="*/ 1143 w 368617"/>
                  <a:gd name="connsiteY115" fmla="*/ 203264 h 452380"/>
                  <a:gd name="connsiteX116" fmla="*/ 0 w 368617"/>
                  <a:gd name="connsiteY116" fmla="*/ 216789 h 452380"/>
                  <a:gd name="connsiteX117" fmla="*/ 571 w 368617"/>
                  <a:gd name="connsiteY117" fmla="*/ 217646 h 452380"/>
                  <a:gd name="connsiteX118" fmla="*/ 10001 w 368617"/>
                  <a:gd name="connsiteY118" fmla="*/ 221742 h 452380"/>
                  <a:gd name="connsiteX119" fmla="*/ 27718 w 368617"/>
                  <a:gd name="connsiteY119" fmla="*/ 227743 h 452380"/>
                  <a:gd name="connsiteX120" fmla="*/ 51054 w 368617"/>
                  <a:gd name="connsiteY120" fmla="*/ 236982 h 452380"/>
                  <a:gd name="connsiteX121" fmla="*/ 52959 w 368617"/>
                  <a:gd name="connsiteY121" fmla="*/ 236792 h 452380"/>
                  <a:gd name="connsiteX122" fmla="*/ 60293 w 368617"/>
                  <a:gd name="connsiteY122" fmla="*/ 236220 h 452380"/>
                  <a:gd name="connsiteX123" fmla="*/ 65818 w 368617"/>
                  <a:gd name="connsiteY123" fmla="*/ 237649 h 452380"/>
                  <a:gd name="connsiteX124" fmla="*/ 79915 w 368617"/>
                  <a:gd name="connsiteY124" fmla="*/ 239363 h 452380"/>
                  <a:gd name="connsiteX125" fmla="*/ 97060 w 368617"/>
                  <a:gd name="connsiteY125" fmla="*/ 240030 h 452380"/>
                  <a:gd name="connsiteX126" fmla="*/ 104489 w 368617"/>
                  <a:gd name="connsiteY126" fmla="*/ 240030 h 452380"/>
                  <a:gd name="connsiteX127" fmla="*/ 110871 w 368617"/>
                  <a:gd name="connsiteY127" fmla="*/ 239744 h 452380"/>
                  <a:gd name="connsiteX128" fmla="*/ 116205 w 368617"/>
                  <a:gd name="connsiteY128" fmla="*/ 242125 h 452380"/>
                  <a:gd name="connsiteX129" fmla="*/ 120491 w 368617"/>
                  <a:gd name="connsiteY129" fmla="*/ 243078 h 452380"/>
                  <a:gd name="connsiteX130" fmla="*/ 123634 w 368617"/>
                  <a:gd name="connsiteY130" fmla="*/ 244412 h 452380"/>
                  <a:gd name="connsiteX131" fmla="*/ 133255 w 368617"/>
                  <a:gd name="connsiteY131" fmla="*/ 244412 h 452380"/>
                  <a:gd name="connsiteX132" fmla="*/ 128492 w 368617"/>
                  <a:gd name="connsiteY132" fmla="*/ 247745 h 452380"/>
                  <a:gd name="connsiteX133" fmla="*/ 121444 w 368617"/>
                  <a:gd name="connsiteY133" fmla="*/ 257270 h 452380"/>
                  <a:gd name="connsiteX134" fmla="*/ 112966 w 368617"/>
                  <a:gd name="connsiteY134" fmla="*/ 271082 h 452380"/>
                  <a:gd name="connsiteX135" fmla="*/ 105156 w 368617"/>
                  <a:gd name="connsiteY135" fmla="*/ 280702 h 452380"/>
                  <a:gd name="connsiteX136" fmla="*/ 96202 w 368617"/>
                  <a:gd name="connsiteY136" fmla="*/ 289465 h 452380"/>
                  <a:gd name="connsiteX137" fmla="*/ 86582 w 368617"/>
                  <a:gd name="connsiteY137" fmla="*/ 303371 h 452380"/>
                  <a:gd name="connsiteX138" fmla="*/ 81629 w 368617"/>
                  <a:gd name="connsiteY138" fmla="*/ 309658 h 452380"/>
                  <a:gd name="connsiteX139" fmla="*/ 74104 w 368617"/>
                  <a:gd name="connsiteY139" fmla="*/ 317468 h 452380"/>
                  <a:gd name="connsiteX140" fmla="*/ 72295 w 368617"/>
                  <a:gd name="connsiteY140" fmla="*/ 319088 h 452380"/>
                  <a:gd name="connsiteX141" fmla="*/ 64865 w 368617"/>
                  <a:gd name="connsiteY141" fmla="*/ 327184 h 452380"/>
                  <a:gd name="connsiteX142" fmla="*/ 62293 w 368617"/>
                  <a:gd name="connsiteY142" fmla="*/ 330898 h 452380"/>
                  <a:gd name="connsiteX143" fmla="*/ 55435 w 368617"/>
                  <a:gd name="connsiteY143" fmla="*/ 339185 h 452380"/>
                  <a:gd name="connsiteX144" fmla="*/ 52864 w 368617"/>
                  <a:gd name="connsiteY144" fmla="*/ 349758 h 452380"/>
                  <a:gd name="connsiteX145" fmla="*/ 51149 w 368617"/>
                  <a:gd name="connsiteY145" fmla="*/ 364903 h 452380"/>
                  <a:gd name="connsiteX146" fmla="*/ 50959 w 368617"/>
                  <a:gd name="connsiteY146" fmla="*/ 370046 h 452380"/>
                  <a:gd name="connsiteX147" fmla="*/ 51149 w 368617"/>
                  <a:gd name="connsiteY147" fmla="*/ 385953 h 452380"/>
                  <a:gd name="connsiteX148" fmla="*/ 50578 w 368617"/>
                  <a:gd name="connsiteY148" fmla="*/ 388620 h 452380"/>
                  <a:gd name="connsiteX149" fmla="*/ 50578 w 368617"/>
                  <a:gd name="connsiteY149" fmla="*/ 392621 h 452380"/>
                  <a:gd name="connsiteX150" fmla="*/ 64484 w 368617"/>
                  <a:gd name="connsiteY150" fmla="*/ 400241 h 452380"/>
                  <a:gd name="connsiteX151" fmla="*/ 66199 w 368617"/>
                  <a:gd name="connsiteY151" fmla="*/ 399479 h 452380"/>
                  <a:gd name="connsiteX152" fmla="*/ 74009 w 368617"/>
                  <a:gd name="connsiteY152" fmla="*/ 396621 h 452380"/>
                  <a:gd name="connsiteX153" fmla="*/ 81629 w 368617"/>
                  <a:gd name="connsiteY153" fmla="*/ 389573 h 452380"/>
                  <a:gd name="connsiteX154" fmla="*/ 83629 w 368617"/>
                  <a:gd name="connsiteY154" fmla="*/ 385763 h 452380"/>
                  <a:gd name="connsiteX155" fmla="*/ 88868 w 368617"/>
                  <a:gd name="connsiteY155" fmla="*/ 379095 h 452380"/>
                  <a:gd name="connsiteX156" fmla="*/ 90773 w 368617"/>
                  <a:gd name="connsiteY156" fmla="*/ 381476 h 452380"/>
                  <a:gd name="connsiteX157" fmla="*/ 103537 w 368617"/>
                  <a:gd name="connsiteY157" fmla="*/ 366903 h 452380"/>
                  <a:gd name="connsiteX158" fmla="*/ 107537 w 368617"/>
                  <a:gd name="connsiteY158" fmla="*/ 362426 h 452380"/>
                  <a:gd name="connsiteX159" fmla="*/ 117157 w 368617"/>
                  <a:gd name="connsiteY159" fmla="*/ 353568 h 452380"/>
                  <a:gd name="connsiteX160" fmla="*/ 127826 w 368617"/>
                  <a:gd name="connsiteY160" fmla="*/ 345377 h 452380"/>
                  <a:gd name="connsiteX161" fmla="*/ 129826 w 368617"/>
                  <a:gd name="connsiteY161" fmla="*/ 340043 h 452380"/>
                  <a:gd name="connsiteX162" fmla="*/ 133636 w 368617"/>
                  <a:gd name="connsiteY162" fmla="*/ 337375 h 452380"/>
                  <a:gd name="connsiteX163" fmla="*/ 138017 w 368617"/>
                  <a:gd name="connsiteY163" fmla="*/ 333756 h 452380"/>
                  <a:gd name="connsiteX164" fmla="*/ 146018 w 368617"/>
                  <a:gd name="connsiteY164" fmla="*/ 324612 h 452380"/>
                  <a:gd name="connsiteX165" fmla="*/ 147733 w 368617"/>
                  <a:gd name="connsiteY165" fmla="*/ 322421 h 452380"/>
                  <a:gd name="connsiteX166" fmla="*/ 160592 w 368617"/>
                  <a:gd name="connsiteY166" fmla="*/ 308134 h 452380"/>
                  <a:gd name="connsiteX167" fmla="*/ 167069 w 368617"/>
                  <a:gd name="connsiteY167" fmla="*/ 303657 h 452380"/>
                  <a:gd name="connsiteX168" fmla="*/ 171831 w 368617"/>
                  <a:gd name="connsiteY168" fmla="*/ 301181 h 452380"/>
                  <a:gd name="connsiteX169" fmla="*/ 173355 w 368617"/>
                  <a:gd name="connsiteY169" fmla="*/ 299085 h 452380"/>
                  <a:gd name="connsiteX170" fmla="*/ 176117 w 368617"/>
                  <a:gd name="connsiteY170" fmla="*/ 296037 h 452380"/>
                  <a:gd name="connsiteX171" fmla="*/ 179737 w 368617"/>
                  <a:gd name="connsiteY171" fmla="*/ 300800 h 452380"/>
                  <a:gd name="connsiteX172" fmla="*/ 184309 w 368617"/>
                  <a:gd name="connsiteY172" fmla="*/ 318897 h 452380"/>
                  <a:gd name="connsiteX173" fmla="*/ 189547 w 368617"/>
                  <a:gd name="connsiteY173" fmla="*/ 337375 h 452380"/>
                  <a:gd name="connsiteX174" fmla="*/ 192595 w 368617"/>
                  <a:gd name="connsiteY174" fmla="*/ 352139 h 452380"/>
                  <a:gd name="connsiteX175" fmla="*/ 196024 w 368617"/>
                  <a:gd name="connsiteY175" fmla="*/ 367094 h 452380"/>
                  <a:gd name="connsiteX176" fmla="*/ 198596 w 368617"/>
                  <a:gd name="connsiteY176" fmla="*/ 374523 h 452380"/>
                  <a:gd name="connsiteX177" fmla="*/ 201263 w 368617"/>
                  <a:gd name="connsiteY177" fmla="*/ 393859 h 452380"/>
                  <a:gd name="connsiteX178" fmla="*/ 204406 w 368617"/>
                  <a:gd name="connsiteY178" fmla="*/ 403098 h 452380"/>
                  <a:gd name="connsiteX179" fmla="*/ 207931 w 368617"/>
                  <a:gd name="connsiteY179" fmla="*/ 416243 h 452380"/>
                  <a:gd name="connsiteX180" fmla="*/ 211741 w 368617"/>
                  <a:gd name="connsiteY180" fmla="*/ 422053 h 452380"/>
                  <a:gd name="connsiteX181" fmla="*/ 212122 w 368617"/>
                  <a:gd name="connsiteY181" fmla="*/ 431864 h 452380"/>
                  <a:gd name="connsiteX182" fmla="*/ 223266 w 368617"/>
                  <a:gd name="connsiteY182" fmla="*/ 449580 h 452380"/>
                  <a:gd name="connsiteX183" fmla="*/ 228695 w 368617"/>
                  <a:gd name="connsiteY183" fmla="*/ 451580 h 452380"/>
                  <a:gd name="connsiteX184" fmla="*/ 228695 w 368617"/>
                  <a:gd name="connsiteY184" fmla="*/ 451580 h 452380"/>
                  <a:gd name="connsiteX185" fmla="*/ 233648 w 368617"/>
                  <a:gd name="connsiteY185" fmla="*/ 451580 h 452380"/>
                  <a:gd name="connsiteX186" fmla="*/ 241840 w 368617"/>
                  <a:gd name="connsiteY186" fmla="*/ 448913 h 452380"/>
                  <a:gd name="connsiteX187" fmla="*/ 244030 w 368617"/>
                  <a:gd name="connsiteY187" fmla="*/ 423386 h 452380"/>
                  <a:gd name="connsiteX188" fmla="*/ 240601 w 368617"/>
                  <a:gd name="connsiteY188" fmla="*/ 404622 h 452380"/>
                  <a:gd name="connsiteX189" fmla="*/ 237172 w 368617"/>
                  <a:gd name="connsiteY189" fmla="*/ 386620 h 452380"/>
                  <a:gd name="connsiteX190" fmla="*/ 236982 w 368617"/>
                  <a:gd name="connsiteY190" fmla="*/ 384620 h 452380"/>
                  <a:gd name="connsiteX191" fmla="*/ 232981 w 368617"/>
                  <a:gd name="connsiteY191" fmla="*/ 361855 h 452380"/>
                  <a:gd name="connsiteX192" fmla="*/ 232029 w 368617"/>
                  <a:gd name="connsiteY192" fmla="*/ 350044 h 452380"/>
                  <a:gd name="connsiteX193" fmla="*/ 223456 w 368617"/>
                  <a:gd name="connsiteY193" fmla="*/ 323279 h 452380"/>
                  <a:gd name="connsiteX194" fmla="*/ 212503 w 368617"/>
                  <a:gd name="connsiteY194" fmla="*/ 294037 h 452380"/>
                  <a:gd name="connsiteX195" fmla="*/ 212217 w 368617"/>
                  <a:gd name="connsiteY195" fmla="*/ 285655 h 452380"/>
                  <a:gd name="connsiteX196" fmla="*/ 222123 w 368617"/>
                  <a:gd name="connsiteY196" fmla="*/ 284988 h 452380"/>
                  <a:gd name="connsiteX197" fmla="*/ 234410 w 368617"/>
                  <a:gd name="connsiteY197" fmla="*/ 289560 h 452380"/>
                  <a:gd name="connsiteX198" fmla="*/ 249079 w 368617"/>
                  <a:gd name="connsiteY198" fmla="*/ 291179 h 452380"/>
                  <a:gd name="connsiteX199" fmla="*/ 267843 w 368617"/>
                  <a:gd name="connsiteY199" fmla="*/ 292227 h 452380"/>
                  <a:gd name="connsiteX200" fmla="*/ 272701 w 368617"/>
                  <a:gd name="connsiteY200" fmla="*/ 291560 h 452380"/>
                  <a:gd name="connsiteX201" fmla="*/ 282893 w 368617"/>
                  <a:gd name="connsiteY201" fmla="*/ 292798 h 452380"/>
                  <a:gd name="connsiteX202" fmla="*/ 283464 w 368617"/>
                  <a:gd name="connsiteY202" fmla="*/ 291179 h 452380"/>
                  <a:gd name="connsiteX203" fmla="*/ 283464 w 368617"/>
                  <a:gd name="connsiteY203" fmla="*/ 289179 h 452380"/>
                  <a:gd name="connsiteX204" fmla="*/ 285560 w 368617"/>
                  <a:gd name="connsiteY204" fmla="*/ 290132 h 452380"/>
                  <a:gd name="connsiteX205" fmla="*/ 288893 w 368617"/>
                  <a:gd name="connsiteY205" fmla="*/ 291656 h 452380"/>
                  <a:gd name="connsiteX206" fmla="*/ 309944 w 368617"/>
                  <a:gd name="connsiteY206" fmla="*/ 288893 h 452380"/>
                  <a:gd name="connsiteX207" fmla="*/ 322421 w 368617"/>
                  <a:gd name="connsiteY207" fmla="*/ 283083 h 452380"/>
                  <a:gd name="connsiteX208" fmla="*/ 324517 w 368617"/>
                  <a:gd name="connsiteY208" fmla="*/ 282797 h 452380"/>
                  <a:gd name="connsiteX209" fmla="*/ 333756 w 368617"/>
                  <a:gd name="connsiteY209" fmla="*/ 283940 h 452380"/>
                  <a:gd name="connsiteX210" fmla="*/ 341567 w 368617"/>
                  <a:gd name="connsiteY210" fmla="*/ 285941 h 452380"/>
                  <a:gd name="connsiteX211" fmla="*/ 345853 w 368617"/>
                  <a:gd name="connsiteY211" fmla="*/ 283940 h 452380"/>
                  <a:gd name="connsiteX212" fmla="*/ 346996 w 368617"/>
                  <a:gd name="connsiteY212" fmla="*/ 284988 h 452380"/>
                  <a:gd name="connsiteX213" fmla="*/ 346710 w 368617"/>
                  <a:gd name="connsiteY213" fmla="*/ 281750 h 452380"/>
                  <a:gd name="connsiteX214" fmla="*/ 361474 w 368617"/>
                  <a:gd name="connsiteY214" fmla="*/ 279559 h 452380"/>
                  <a:gd name="connsiteX215" fmla="*/ 363569 w 368617"/>
                  <a:gd name="connsiteY215" fmla="*/ 277749 h 452380"/>
                  <a:gd name="connsiteX216" fmla="*/ 366046 w 368617"/>
                  <a:gd name="connsiteY216" fmla="*/ 270129 h 452380"/>
                  <a:gd name="connsiteX217" fmla="*/ 366903 w 368617"/>
                  <a:gd name="connsiteY217" fmla="*/ 263271 h 452380"/>
                  <a:gd name="connsiteX218" fmla="*/ 367951 w 368617"/>
                  <a:gd name="connsiteY218" fmla="*/ 257556 h 452380"/>
                  <a:gd name="connsiteX219" fmla="*/ 155543 w 368617"/>
                  <a:gd name="connsiteY219" fmla="*/ 115348 h 452380"/>
                  <a:gd name="connsiteX220" fmla="*/ 157448 w 368617"/>
                  <a:gd name="connsiteY220" fmla="*/ 117729 h 452380"/>
                  <a:gd name="connsiteX221" fmla="*/ 156305 w 368617"/>
                  <a:gd name="connsiteY221" fmla="*/ 119158 h 452380"/>
                  <a:gd name="connsiteX222" fmla="*/ 154115 w 368617"/>
                  <a:gd name="connsiteY222" fmla="*/ 116586 h 452380"/>
                  <a:gd name="connsiteX223" fmla="*/ 155543 w 368617"/>
                  <a:gd name="connsiteY223" fmla="*/ 115348 h 452380"/>
                  <a:gd name="connsiteX224" fmla="*/ 158591 w 368617"/>
                  <a:gd name="connsiteY224" fmla="*/ 155543 h 452380"/>
                  <a:gd name="connsiteX225" fmla="*/ 155353 w 368617"/>
                  <a:gd name="connsiteY225" fmla="*/ 156877 h 452380"/>
                  <a:gd name="connsiteX226" fmla="*/ 149447 w 368617"/>
                  <a:gd name="connsiteY226" fmla="*/ 154591 h 452380"/>
                  <a:gd name="connsiteX227" fmla="*/ 141161 w 368617"/>
                  <a:gd name="connsiteY227" fmla="*/ 121920 h 452380"/>
                  <a:gd name="connsiteX228" fmla="*/ 141637 w 368617"/>
                  <a:gd name="connsiteY228" fmla="*/ 118491 h 452380"/>
                  <a:gd name="connsiteX229" fmla="*/ 143066 w 368617"/>
                  <a:gd name="connsiteY229" fmla="*/ 118491 h 452380"/>
                  <a:gd name="connsiteX230" fmla="*/ 151257 w 368617"/>
                  <a:gd name="connsiteY230" fmla="*/ 127921 h 452380"/>
                  <a:gd name="connsiteX231" fmla="*/ 151543 w 368617"/>
                  <a:gd name="connsiteY231" fmla="*/ 128683 h 452380"/>
                  <a:gd name="connsiteX232" fmla="*/ 156972 w 368617"/>
                  <a:gd name="connsiteY232" fmla="*/ 138303 h 452380"/>
                  <a:gd name="connsiteX233" fmla="*/ 163830 w 368617"/>
                  <a:gd name="connsiteY233" fmla="*/ 148876 h 452380"/>
                  <a:gd name="connsiteX234" fmla="*/ 158591 w 368617"/>
                  <a:gd name="connsiteY234" fmla="*/ 155543 h 452380"/>
                  <a:gd name="connsiteX235" fmla="*/ 228028 w 368617"/>
                  <a:gd name="connsiteY235" fmla="*/ 149257 h 452380"/>
                  <a:gd name="connsiteX236" fmla="*/ 218503 w 368617"/>
                  <a:gd name="connsiteY236" fmla="*/ 161735 h 452380"/>
                  <a:gd name="connsiteX237" fmla="*/ 206978 w 368617"/>
                  <a:gd name="connsiteY237" fmla="*/ 178689 h 452380"/>
                  <a:gd name="connsiteX238" fmla="*/ 206026 w 368617"/>
                  <a:gd name="connsiteY238" fmla="*/ 180404 h 452380"/>
                  <a:gd name="connsiteX239" fmla="*/ 189643 w 368617"/>
                  <a:gd name="connsiteY239" fmla="*/ 189548 h 452380"/>
                  <a:gd name="connsiteX240" fmla="*/ 185642 w 368617"/>
                  <a:gd name="connsiteY240" fmla="*/ 198025 h 452380"/>
                  <a:gd name="connsiteX241" fmla="*/ 182690 w 368617"/>
                  <a:gd name="connsiteY241" fmla="*/ 202597 h 452380"/>
                  <a:gd name="connsiteX242" fmla="*/ 180689 w 368617"/>
                  <a:gd name="connsiteY242" fmla="*/ 199168 h 452380"/>
                  <a:gd name="connsiteX243" fmla="*/ 176403 w 368617"/>
                  <a:gd name="connsiteY243" fmla="*/ 193453 h 452380"/>
                  <a:gd name="connsiteX244" fmla="*/ 182023 w 368617"/>
                  <a:gd name="connsiteY244" fmla="*/ 184404 h 452380"/>
                  <a:gd name="connsiteX245" fmla="*/ 184880 w 368617"/>
                  <a:gd name="connsiteY245" fmla="*/ 179261 h 452380"/>
                  <a:gd name="connsiteX246" fmla="*/ 186214 w 368617"/>
                  <a:gd name="connsiteY246" fmla="*/ 178879 h 452380"/>
                  <a:gd name="connsiteX247" fmla="*/ 188500 w 368617"/>
                  <a:gd name="connsiteY247" fmla="*/ 177641 h 452380"/>
                  <a:gd name="connsiteX248" fmla="*/ 194500 w 368617"/>
                  <a:gd name="connsiteY248" fmla="*/ 171736 h 452380"/>
                  <a:gd name="connsiteX249" fmla="*/ 207073 w 368617"/>
                  <a:gd name="connsiteY249" fmla="*/ 155829 h 452380"/>
                  <a:gd name="connsiteX250" fmla="*/ 218313 w 368617"/>
                  <a:gd name="connsiteY250" fmla="*/ 143542 h 452380"/>
                  <a:gd name="connsiteX251" fmla="*/ 229267 w 368617"/>
                  <a:gd name="connsiteY251" fmla="*/ 130588 h 452380"/>
                  <a:gd name="connsiteX252" fmla="*/ 240316 w 368617"/>
                  <a:gd name="connsiteY252" fmla="*/ 114871 h 452380"/>
                  <a:gd name="connsiteX253" fmla="*/ 249936 w 368617"/>
                  <a:gd name="connsiteY253" fmla="*/ 105346 h 452380"/>
                  <a:gd name="connsiteX254" fmla="*/ 262795 w 368617"/>
                  <a:gd name="connsiteY254" fmla="*/ 94107 h 452380"/>
                  <a:gd name="connsiteX255" fmla="*/ 272129 w 368617"/>
                  <a:gd name="connsiteY255" fmla="*/ 84201 h 452380"/>
                  <a:gd name="connsiteX256" fmla="*/ 275368 w 368617"/>
                  <a:gd name="connsiteY256" fmla="*/ 81153 h 452380"/>
                  <a:gd name="connsiteX257" fmla="*/ 278320 w 368617"/>
                  <a:gd name="connsiteY257" fmla="*/ 81820 h 452380"/>
                  <a:gd name="connsiteX258" fmla="*/ 277273 w 368617"/>
                  <a:gd name="connsiteY258" fmla="*/ 85916 h 452380"/>
                  <a:gd name="connsiteX259" fmla="*/ 266319 w 368617"/>
                  <a:gd name="connsiteY259" fmla="*/ 97917 h 452380"/>
                  <a:gd name="connsiteX260" fmla="*/ 256889 w 368617"/>
                  <a:gd name="connsiteY260" fmla="*/ 109728 h 452380"/>
                  <a:gd name="connsiteX261" fmla="*/ 247174 w 368617"/>
                  <a:gd name="connsiteY261" fmla="*/ 123349 h 452380"/>
                  <a:gd name="connsiteX262" fmla="*/ 245173 w 368617"/>
                  <a:gd name="connsiteY262" fmla="*/ 125730 h 452380"/>
                  <a:gd name="connsiteX263" fmla="*/ 242125 w 368617"/>
                  <a:gd name="connsiteY263" fmla="*/ 129635 h 452380"/>
                  <a:gd name="connsiteX264" fmla="*/ 241268 w 368617"/>
                  <a:gd name="connsiteY264" fmla="*/ 128397 h 452380"/>
                  <a:gd name="connsiteX265" fmla="*/ 240887 w 368617"/>
                  <a:gd name="connsiteY265" fmla="*/ 131921 h 452380"/>
                  <a:gd name="connsiteX266" fmla="*/ 228314 w 368617"/>
                  <a:gd name="connsiteY266" fmla="*/ 149257 h 452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Lst>
                <a:rect l="l" t="t" r="r" b="b"/>
                <a:pathLst>
                  <a:path w="368617" h="452380">
                    <a:moveTo>
                      <a:pt x="368618" y="257842"/>
                    </a:moveTo>
                    <a:cubicBezTo>
                      <a:pt x="366141" y="253746"/>
                      <a:pt x="367760" y="249555"/>
                      <a:pt x="367951" y="245459"/>
                    </a:cubicBezTo>
                    <a:cubicBezTo>
                      <a:pt x="367951" y="243935"/>
                      <a:pt x="369094" y="242030"/>
                      <a:pt x="366808" y="241745"/>
                    </a:cubicBezTo>
                    <a:cubicBezTo>
                      <a:pt x="364045" y="241459"/>
                      <a:pt x="364808" y="239649"/>
                      <a:pt x="365284" y="238601"/>
                    </a:cubicBezTo>
                    <a:cubicBezTo>
                      <a:pt x="367284" y="234220"/>
                      <a:pt x="364522" y="231267"/>
                      <a:pt x="362426" y="228124"/>
                    </a:cubicBezTo>
                    <a:cubicBezTo>
                      <a:pt x="360426" y="224981"/>
                      <a:pt x="357092" y="223742"/>
                      <a:pt x="353854" y="222028"/>
                    </a:cubicBezTo>
                    <a:cubicBezTo>
                      <a:pt x="348996" y="219361"/>
                      <a:pt x="343853" y="216884"/>
                      <a:pt x="339281" y="213360"/>
                    </a:cubicBezTo>
                    <a:cubicBezTo>
                      <a:pt x="337566" y="212027"/>
                      <a:pt x="335661" y="209550"/>
                      <a:pt x="332708" y="210979"/>
                    </a:cubicBezTo>
                    <a:cubicBezTo>
                      <a:pt x="330898" y="207169"/>
                      <a:pt x="327660" y="207931"/>
                      <a:pt x="324517" y="208312"/>
                    </a:cubicBezTo>
                    <a:cubicBezTo>
                      <a:pt x="324517" y="207359"/>
                      <a:pt x="324326" y="206502"/>
                      <a:pt x="323183" y="206121"/>
                    </a:cubicBezTo>
                    <a:cubicBezTo>
                      <a:pt x="321755" y="205740"/>
                      <a:pt x="320231" y="205264"/>
                      <a:pt x="318707" y="205073"/>
                    </a:cubicBezTo>
                    <a:cubicBezTo>
                      <a:pt x="315659" y="204788"/>
                      <a:pt x="311563" y="208121"/>
                      <a:pt x="309944" y="202502"/>
                    </a:cubicBezTo>
                    <a:cubicBezTo>
                      <a:pt x="309848" y="202025"/>
                      <a:pt x="308991" y="202692"/>
                      <a:pt x="308800" y="202692"/>
                    </a:cubicBezTo>
                    <a:cubicBezTo>
                      <a:pt x="307181" y="202406"/>
                      <a:pt x="305371" y="201168"/>
                      <a:pt x="304705" y="203930"/>
                    </a:cubicBezTo>
                    <a:cubicBezTo>
                      <a:pt x="304229" y="203549"/>
                      <a:pt x="303657" y="203073"/>
                      <a:pt x="303086" y="202787"/>
                    </a:cubicBezTo>
                    <a:cubicBezTo>
                      <a:pt x="301181" y="201644"/>
                      <a:pt x="299180" y="200692"/>
                      <a:pt x="297370" y="199358"/>
                    </a:cubicBezTo>
                    <a:cubicBezTo>
                      <a:pt x="294894" y="197644"/>
                      <a:pt x="291751" y="199549"/>
                      <a:pt x="289274" y="197644"/>
                    </a:cubicBezTo>
                    <a:cubicBezTo>
                      <a:pt x="287084" y="202406"/>
                      <a:pt x="284988" y="198501"/>
                      <a:pt x="282797" y="197644"/>
                    </a:cubicBezTo>
                    <a:cubicBezTo>
                      <a:pt x="281464" y="197072"/>
                      <a:pt x="280416" y="195263"/>
                      <a:pt x="278701" y="195929"/>
                    </a:cubicBezTo>
                    <a:cubicBezTo>
                      <a:pt x="276035" y="196977"/>
                      <a:pt x="279273" y="199263"/>
                      <a:pt x="277940" y="200692"/>
                    </a:cubicBezTo>
                    <a:cubicBezTo>
                      <a:pt x="274511" y="200596"/>
                      <a:pt x="275654" y="197739"/>
                      <a:pt x="275558" y="195453"/>
                    </a:cubicBezTo>
                    <a:cubicBezTo>
                      <a:pt x="274130" y="196691"/>
                      <a:pt x="272891" y="198215"/>
                      <a:pt x="272606" y="198025"/>
                    </a:cubicBezTo>
                    <a:cubicBezTo>
                      <a:pt x="268510" y="195548"/>
                      <a:pt x="263938" y="199073"/>
                      <a:pt x="260223" y="197453"/>
                    </a:cubicBezTo>
                    <a:cubicBezTo>
                      <a:pt x="256508" y="195739"/>
                      <a:pt x="253841" y="193643"/>
                      <a:pt x="249555" y="197072"/>
                    </a:cubicBezTo>
                    <a:cubicBezTo>
                      <a:pt x="246793" y="199168"/>
                      <a:pt x="241554" y="194881"/>
                      <a:pt x="238411" y="199263"/>
                    </a:cubicBezTo>
                    <a:cubicBezTo>
                      <a:pt x="238411" y="199073"/>
                      <a:pt x="238411" y="198882"/>
                      <a:pt x="238316" y="198787"/>
                    </a:cubicBezTo>
                    <a:cubicBezTo>
                      <a:pt x="240030" y="196787"/>
                      <a:pt x="237172" y="196787"/>
                      <a:pt x="236982" y="195548"/>
                    </a:cubicBezTo>
                    <a:cubicBezTo>
                      <a:pt x="237268" y="194596"/>
                      <a:pt x="237553" y="193548"/>
                      <a:pt x="237744" y="192596"/>
                    </a:cubicBezTo>
                    <a:cubicBezTo>
                      <a:pt x="238887" y="186309"/>
                      <a:pt x="245650" y="184118"/>
                      <a:pt x="248031" y="178498"/>
                    </a:cubicBezTo>
                    <a:cubicBezTo>
                      <a:pt x="250889" y="172117"/>
                      <a:pt x="259461" y="169259"/>
                      <a:pt x="259175" y="160782"/>
                    </a:cubicBezTo>
                    <a:cubicBezTo>
                      <a:pt x="259175" y="160496"/>
                      <a:pt x="260223" y="159829"/>
                      <a:pt x="260699" y="159829"/>
                    </a:cubicBezTo>
                    <a:cubicBezTo>
                      <a:pt x="262319" y="160020"/>
                      <a:pt x="262795" y="159639"/>
                      <a:pt x="262604" y="157829"/>
                    </a:cubicBezTo>
                    <a:cubicBezTo>
                      <a:pt x="262414" y="155639"/>
                      <a:pt x="264223" y="154019"/>
                      <a:pt x="265747" y="153734"/>
                    </a:cubicBezTo>
                    <a:cubicBezTo>
                      <a:pt x="269558" y="153067"/>
                      <a:pt x="269939" y="150114"/>
                      <a:pt x="270986" y="147542"/>
                    </a:cubicBezTo>
                    <a:cubicBezTo>
                      <a:pt x="271748" y="145733"/>
                      <a:pt x="271367" y="143161"/>
                      <a:pt x="274320" y="143066"/>
                    </a:cubicBezTo>
                    <a:cubicBezTo>
                      <a:pt x="274034" y="140589"/>
                      <a:pt x="279368" y="139827"/>
                      <a:pt x="276416" y="136398"/>
                    </a:cubicBezTo>
                    <a:cubicBezTo>
                      <a:pt x="276796" y="135636"/>
                      <a:pt x="277178" y="134969"/>
                      <a:pt x="277654" y="134207"/>
                    </a:cubicBezTo>
                    <a:cubicBezTo>
                      <a:pt x="280797" y="131254"/>
                      <a:pt x="284512" y="128683"/>
                      <a:pt x="287084" y="125349"/>
                    </a:cubicBezTo>
                    <a:cubicBezTo>
                      <a:pt x="289465" y="122206"/>
                      <a:pt x="292703" y="119158"/>
                      <a:pt x="292322" y="114491"/>
                    </a:cubicBezTo>
                    <a:cubicBezTo>
                      <a:pt x="294132" y="115157"/>
                      <a:pt x="294608" y="114300"/>
                      <a:pt x="294418" y="112681"/>
                    </a:cubicBezTo>
                    <a:cubicBezTo>
                      <a:pt x="299466" y="108871"/>
                      <a:pt x="300228" y="107347"/>
                      <a:pt x="300133" y="102108"/>
                    </a:cubicBezTo>
                    <a:cubicBezTo>
                      <a:pt x="300133" y="101727"/>
                      <a:pt x="300704" y="101251"/>
                      <a:pt x="300895" y="100870"/>
                    </a:cubicBezTo>
                    <a:cubicBezTo>
                      <a:pt x="302800" y="97250"/>
                      <a:pt x="305467" y="94107"/>
                      <a:pt x="307372" y="90488"/>
                    </a:cubicBezTo>
                    <a:cubicBezTo>
                      <a:pt x="310420" y="84677"/>
                      <a:pt x="313563" y="78867"/>
                      <a:pt x="315373" y="72676"/>
                    </a:cubicBezTo>
                    <a:cubicBezTo>
                      <a:pt x="319183" y="59627"/>
                      <a:pt x="322326" y="46292"/>
                      <a:pt x="321564" y="32480"/>
                    </a:cubicBezTo>
                    <a:cubicBezTo>
                      <a:pt x="321278" y="28099"/>
                      <a:pt x="319183" y="22003"/>
                      <a:pt x="315182" y="22003"/>
                    </a:cubicBezTo>
                    <a:cubicBezTo>
                      <a:pt x="309848" y="22003"/>
                      <a:pt x="306800" y="16288"/>
                      <a:pt x="301371" y="18193"/>
                    </a:cubicBezTo>
                    <a:cubicBezTo>
                      <a:pt x="300038" y="18669"/>
                      <a:pt x="301752" y="16478"/>
                      <a:pt x="300799" y="15907"/>
                    </a:cubicBezTo>
                    <a:cubicBezTo>
                      <a:pt x="297751" y="16955"/>
                      <a:pt x="298323" y="22098"/>
                      <a:pt x="293751" y="21527"/>
                    </a:cubicBezTo>
                    <a:cubicBezTo>
                      <a:pt x="290322" y="21050"/>
                      <a:pt x="290132" y="25241"/>
                      <a:pt x="287465" y="26860"/>
                    </a:cubicBezTo>
                    <a:cubicBezTo>
                      <a:pt x="283464" y="29242"/>
                      <a:pt x="277654" y="30671"/>
                      <a:pt x="276606" y="36671"/>
                    </a:cubicBezTo>
                    <a:cubicBezTo>
                      <a:pt x="274511" y="36100"/>
                      <a:pt x="274130" y="42863"/>
                      <a:pt x="270796" y="38005"/>
                    </a:cubicBezTo>
                    <a:cubicBezTo>
                      <a:pt x="270129" y="37052"/>
                      <a:pt x="269462" y="38291"/>
                      <a:pt x="269367" y="39148"/>
                    </a:cubicBezTo>
                    <a:cubicBezTo>
                      <a:pt x="269272" y="40196"/>
                      <a:pt x="269176" y="41243"/>
                      <a:pt x="268129" y="41815"/>
                    </a:cubicBezTo>
                    <a:cubicBezTo>
                      <a:pt x="263462" y="44482"/>
                      <a:pt x="261175" y="49625"/>
                      <a:pt x="256794" y="52673"/>
                    </a:cubicBezTo>
                    <a:cubicBezTo>
                      <a:pt x="250508" y="57055"/>
                      <a:pt x="247555" y="64865"/>
                      <a:pt x="241173" y="69056"/>
                    </a:cubicBezTo>
                    <a:cubicBezTo>
                      <a:pt x="238316" y="70961"/>
                      <a:pt x="235077" y="72009"/>
                      <a:pt x="234696" y="76010"/>
                    </a:cubicBezTo>
                    <a:cubicBezTo>
                      <a:pt x="234696" y="76200"/>
                      <a:pt x="234124" y="76581"/>
                      <a:pt x="233934" y="76581"/>
                    </a:cubicBezTo>
                    <a:cubicBezTo>
                      <a:pt x="229648" y="75724"/>
                      <a:pt x="228791" y="79915"/>
                      <a:pt x="227838" y="82010"/>
                    </a:cubicBezTo>
                    <a:cubicBezTo>
                      <a:pt x="224219" y="89725"/>
                      <a:pt x="217456" y="94869"/>
                      <a:pt x="212408" y="101346"/>
                    </a:cubicBezTo>
                    <a:cubicBezTo>
                      <a:pt x="210217" y="104204"/>
                      <a:pt x="208026" y="107823"/>
                      <a:pt x="204216" y="110109"/>
                    </a:cubicBezTo>
                    <a:cubicBezTo>
                      <a:pt x="198501" y="113538"/>
                      <a:pt x="192786" y="117729"/>
                      <a:pt x="190976" y="125254"/>
                    </a:cubicBezTo>
                    <a:cubicBezTo>
                      <a:pt x="190500" y="127445"/>
                      <a:pt x="187738" y="129064"/>
                      <a:pt x="184975" y="129254"/>
                    </a:cubicBezTo>
                    <a:cubicBezTo>
                      <a:pt x="182118" y="129445"/>
                      <a:pt x="181927" y="127159"/>
                      <a:pt x="181451" y="125158"/>
                    </a:cubicBezTo>
                    <a:cubicBezTo>
                      <a:pt x="181261" y="124492"/>
                      <a:pt x="180785" y="123920"/>
                      <a:pt x="180499" y="123349"/>
                    </a:cubicBezTo>
                    <a:cubicBezTo>
                      <a:pt x="175355" y="113729"/>
                      <a:pt x="170117" y="104108"/>
                      <a:pt x="165068" y="94393"/>
                    </a:cubicBezTo>
                    <a:cubicBezTo>
                      <a:pt x="164211" y="92678"/>
                      <a:pt x="163830" y="90964"/>
                      <a:pt x="161925" y="89725"/>
                    </a:cubicBezTo>
                    <a:cubicBezTo>
                      <a:pt x="156877" y="86487"/>
                      <a:pt x="158972" y="78677"/>
                      <a:pt x="153162" y="75819"/>
                    </a:cubicBezTo>
                    <a:cubicBezTo>
                      <a:pt x="153352" y="75533"/>
                      <a:pt x="153543" y="75248"/>
                      <a:pt x="153734" y="74962"/>
                    </a:cubicBezTo>
                    <a:cubicBezTo>
                      <a:pt x="154781" y="73723"/>
                      <a:pt x="153829" y="73343"/>
                      <a:pt x="152876" y="72771"/>
                    </a:cubicBezTo>
                    <a:cubicBezTo>
                      <a:pt x="148971" y="70390"/>
                      <a:pt x="145733" y="67437"/>
                      <a:pt x="145637" y="62484"/>
                    </a:cubicBezTo>
                    <a:cubicBezTo>
                      <a:pt x="145637" y="58674"/>
                      <a:pt x="142303" y="56674"/>
                      <a:pt x="141161" y="53531"/>
                    </a:cubicBezTo>
                    <a:cubicBezTo>
                      <a:pt x="138874" y="47149"/>
                      <a:pt x="135922" y="41148"/>
                      <a:pt x="132016" y="35719"/>
                    </a:cubicBezTo>
                    <a:cubicBezTo>
                      <a:pt x="129921" y="32766"/>
                      <a:pt x="126587" y="30575"/>
                      <a:pt x="127921" y="26194"/>
                    </a:cubicBezTo>
                    <a:cubicBezTo>
                      <a:pt x="128302" y="24956"/>
                      <a:pt x="128206" y="23527"/>
                      <a:pt x="127064" y="22384"/>
                    </a:cubicBezTo>
                    <a:cubicBezTo>
                      <a:pt x="121825" y="17526"/>
                      <a:pt x="120205" y="11049"/>
                      <a:pt x="119729" y="4286"/>
                    </a:cubicBezTo>
                    <a:cubicBezTo>
                      <a:pt x="119634" y="2477"/>
                      <a:pt x="119348" y="95"/>
                      <a:pt x="117824" y="0"/>
                    </a:cubicBezTo>
                    <a:cubicBezTo>
                      <a:pt x="116395" y="0"/>
                      <a:pt x="114205" y="572"/>
                      <a:pt x="113062" y="2477"/>
                    </a:cubicBezTo>
                    <a:cubicBezTo>
                      <a:pt x="110490" y="6953"/>
                      <a:pt x="107061" y="11144"/>
                      <a:pt x="105061" y="15811"/>
                    </a:cubicBezTo>
                    <a:cubicBezTo>
                      <a:pt x="104203" y="17812"/>
                      <a:pt x="101727" y="19431"/>
                      <a:pt x="102108" y="20383"/>
                    </a:cubicBezTo>
                    <a:cubicBezTo>
                      <a:pt x="104013" y="25146"/>
                      <a:pt x="100013" y="25527"/>
                      <a:pt x="97726" y="26765"/>
                    </a:cubicBezTo>
                    <a:cubicBezTo>
                      <a:pt x="92964" y="29432"/>
                      <a:pt x="92012" y="32957"/>
                      <a:pt x="95345" y="37433"/>
                    </a:cubicBezTo>
                    <a:cubicBezTo>
                      <a:pt x="98869" y="42101"/>
                      <a:pt x="101441" y="47054"/>
                      <a:pt x="100013" y="53340"/>
                    </a:cubicBezTo>
                    <a:cubicBezTo>
                      <a:pt x="99536" y="55340"/>
                      <a:pt x="99441" y="57626"/>
                      <a:pt x="102299" y="58293"/>
                    </a:cubicBezTo>
                    <a:cubicBezTo>
                      <a:pt x="103251" y="58483"/>
                      <a:pt x="103823" y="59055"/>
                      <a:pt x="103918" y="60008"/>
                    </a:cubicBezTo>
                    <a:cubicBezTo>
                      <a:pt x="104203" y="64294"/>
                      <a:pt x="106394" y="68485"/>
                      <a:pt x="105156" y="72866"/>
                    </a:cubicBezTo>
                    <a:cubicBezTo>
                      <a:pt x="104203" y="76105"/>
                      <a:pt x="105061" y="78296"/>
                      <a:pt x="107251" y="80581"/>
                    </a:cubicBezTo>
                    <a:cubicBezTo>
                      <a:pt x="108014" y="81344"/>
                      <a:pt x="108776" y="83248"/>
                      <a:pt x="108299" y="83820"/>
                    </a:cubicBezTo>
                    <a:cubicBezTo>
                      <a:pt x="103918" y="89916"/>
                      <a:pt x="111728" y="94679"/>
                      <a:pt x="110014" y="101156"/>
                    </a:cubicBezTo>
                    <a:cubicBezTo>
                      <a:pt x="109061" y="104680"/>
                      <a:pt x="112871" y="110585"/>
                      <a:pt x="112776" y="114586"/>
                    </a:cubicBezTo>
                    <a:cubicBezTo>
                      <a:pt x="112395" y="124682"/>
                      <a:pt x="119158" y="132779"/>
                      <a:pt x="118872" y="142780"/>
                    </a:cubicBezTo>
                    <a:cubicBezTo>
                      <a:pt x="118681" y="148781"/>
                      <a:pt x="122111" y="154496"/>
                      <a:pt x="123444" y="160401"/>
                    </a:cubicBezTo>
                    <a:cubicBezTo>
                      <a:pt x="124777" y="166497"/>
                      <a:pt x="127064" y="172307"/>
                      <a:pt x="128492" y="178308"/>
                    </a:cubicBezTo>
                    <a:cubicBezTo>
                      <a:pt x="128873" y="179832"/>
                      <a:pt x="129635" y="181546"/>
                      <a:pt x="128492" y="182594"/>
                    </a:cubicBezTo>
                    <a:cubicBezTo>
                      <a:pt x="127730" y="183261"/>
                      <a:pt x="126111" y="183547"/>
                      <a:pt x="124587" y="183166"/>
                    </a:cubicBezTo>
                    <a:cubicBezTo>
                      <a:pt x="121349" y="182309"/>
                      <a:pt x="120872" y="175165"/>
                      <a:pt x="115633" y="179261"/>
                    </a:cubicBezTo>
                    <a:cubicBezTo>
                      <a:pt x="114490" y="176879"/>
                      <a:pt x="112109" y="176784"/>
                      <a:pt x="110204" y="175641"/>
                    </a:cubicBezTo>
                    <a:cubicBezTo>
                      <a:pt x="106489" y="173546"/>
                      <a:pt x="100679" y="170021"/>
                      <a:pt x="99251" y="171641"/>
                    </a:cubicBezTo>
                    <a:cubicBezTo>
                      <a:pt x="94107" y="177546"/>
                      <a:pt x="92869" y="169926"/>
                      <a:pt x="89726" y="169926"/>
                    </a:cubicBezTo>
                    <a:cubicBezTo>
                      <a:pt x="89344" y="169926"/>
                      <a:pt x="88964" y="170593"/>
                      <a:pt x="88582" y="170879"/>
                    </a:cubicBezTo>
                    <a:cubicBezTo>
                      <a:pt x="88392" y="170021"/>
                      <a:pt x="88964" y="168307"/>
                      <a:pt x="88011" y="168497"/>
                    </a:cubicBezTo>
                    <a:cubicBezTo>
                      <a:pt x="86296" y="168878"/>
                      <a:pt x="86963" y="170498"/>
                      <a:pt x="87535" y="171641"/>
                    </a:cubicBezTo>
                    <a:cubicBezTo>
                      <a:pt x="84963" y="170879"/>
                      <a:pt x="82010" y="170688"/>
                      <a:pt x="79915" y="169164"/>
                    </a:cubicBezTo>
                    <a:cubicBezTo>
                      <a:pt x="75724" y="166116"/>
                      <a:pt x="71342" y="166116"/>
                      <a:pt x="66675" y="166306"/>
                    </a:cubicBezTo>
                    <a:cubicBezTo>
                      <a:pt x="66199" y="165640"/>
                      <a:pt x="65532" y="165259"/>
                      <a:pt x="64579" y="165354"/>
                    </a:cubicBezTo>
                    <a:cubicBezTo>
                      <a:pt x="59436" y="165830"/>
                      <a:pt x="54959" y="171736"/>
                      <a:pt x="49339" y="167164"/>
                    </a:cubicBezTo>
                    <a:cubicBezTo>
                      <a:pt x="49244" y="167164"/>
                      <a:pt x="48958" y="166973"/>
                      <a:pt x="48863" y="167069"/>
                    </a:cubicBezTo>
                    <a:cubicBezTo>
                      <a:pt x="44005" y="169354"/>
                      <a:pt x="39338" y="167259"/>
                      <a:pt x="34576" y="166402"/>
                    </a:cubicBezTo>
                    <a:cubicBezTo>
                      <a:pt x="31909" y="165164"/>
                      <a:pt x="30099" y="166973"/>
                      <a:pt x="28289" y="168402"/>
                    </a:cubicBezTo>
                    <a:cubicBezTo>
                      <a:pt x="25717" y="169736"/>
                      <a:pt x="22289" y="169926"/>
                      <a:pt x="21431" y="173450"/>
                    </a:cubicBezTo>
                    <a:cubicBezTo>
                      <a:pt x="21050" y="171641"/>
                      <a:pt x="20574" y="170212"/>
                      <a:pt x="18097" y="171260"/>
                    </a:cubicBezTo>
                    <a:cubicBezTo>
                      <a:pt x="16002" y="172212"/>
                      <a:pt x="12478" y="170117"/>
                      <a:pt x="11716" y="173927"/>
                    </a:cubicBezTo>
                    <a:cubicBezTo>
                      <a:pt x="11335" y="175641"/>
                      <a:pt x="11144" y="176784"/>
                      <a:pt x="9430" y="178022"/>
                    </a:cubicBezTo>
                    <a:cubicBezTo>
                      <a:pt x="6953" y="179927"/>
                      <a:pt x="4858" y="182690"/>
                      <a:pt x="6953" y="186404"/>
                    </a:cubicBezTo>
                    <a:cubicBezTo>
                      <a:pt x="7525" y="187452"/>
                      <a:pt x="7620" y="189167"/>
                      <a:pt x="7239" y="190310"/>
                    </a:cubicBezTo>
                    <a:cubicBezTo>
                      <a:pt x="5429" y="194691"/>
                      <a:pt x="3810" y="199358"/>
                      <a:pt x="1143" y="203264"/>
                    </a:cubicBezTo>
                    <a:cubicBezTo>
                      <a:pt x="-1905" y="207836"/>
                      <a:pt x="4096" y="212693"/>
                      <a:pt x="0" y="216789"/>
                    </a:cubicBezTo>
                    <a:cubicBezTo>
                      <a:pt x="0" y="216789"/>
                      <a:pt x="381" y="217265"/>
                      <a:pt x="571" y="217646"/>
                    </a:cubicBezTo>
                    <a:cubicBezTo>
                      <a:pt x="2572" y="221456"/>
                      <a:pt x="7239" y="220980"/>
                      <a:pt x="10001" y="221742"/>
                    </a:cubicBezTo>
                    <a:cubicBezTo>
                      <a:pt x="16097" y="223361"/>
                      <a:pt x="22384" y="222980"/>
                      <a:pt x="27718" y="227743"/>
                    </a:cubicBezTo>
                    <a:cubicBezTo>
                      <a:pt x="34290" y="233553"/>
                      <a:pt x="44767" y="230219"/>
                      <a:pt x="51054" y="236982"/>
                    </a:cubicBezTo>
                    <a:cubicBezTo>
                      <a:pt x="51340" y="237268"/>
                      <a:pt x="52673" y="237173"/>
                      <a:pt x="52959" y="236792"/>
                    </a:cubicBezTo>
                    <a:cubicBezTo>
                      <a:pt x="55245" y="234029"/>
                      <a:pt x="57817" y="236125"/>
                      <a:pt x="60293" y="236220"/>
                    </a:cubicBezTo>
                    <a:cubicBezTo>
                      <a:pt x="61817" y="237839"/>
                      <a:pt x="63627" y="237649"/>
                      <a:pt x="65818" y="237649"/>
                    </a:cubicBezTo>
                    <a:cubicBezTo>
                      <a:pt x="70485" y="237649"/>
                      <a:pt x="75248" y="238982"/>
                      <a:pt x="79915" y="239363"/>
                    </a:cubicBezTo>
                    <a:cubicBezTo>
                      <a:pt x="85534" y="239744"/>
                      <a:pt x="90964" y="242888"/>
                      <a:pt x="97060" y="240030"/>
                    </a:cubicBezTo>
                    <a:cubicBezTo>
                      <a:pt x="98489" y="239363"/>
                      <a:pt x="103251" y="237649"/>
                      <a:pt x="104489" y="240030"/>
                    </a:cubicBezTo>
                    <a:cubicBezTo>
                      <a:pt x="106870" y="244697"/>
                      <a:pt x="108490" y="243840"/>
                      <a:pt x="110871" y="239744"/>
                    </a:cubicBezTo>
                    <a:cubicBezTo>
                      <a:pt x="112109" y="242888"/>
                      <a:pt x="112871" y="246507"/>
                      <a:pt x="116205" y="242125"/>
                    </a:cubicBezTo>
                    <a:cubicBezTo>
                      <a:pt x="117919" y="239840"/>
                      <a:pt x="119063" y="242411"/>
                      <a:pt x="120491" y="243078"/>
                    </a:cubicBezTo>
                    <a:cubicBezTo>
                      <a:pt x="121539" y="243459"/>
                      <a:pt x="121920" y="245554"/>
                      <a:pt x="123634" y="244412"/>
                    </a:cubicBezTo>
                    <a:cubicBezTo>
                      <a:pt x="126778" y="248984"/>
                      <a:pt x="130016" y="242983"/>
                      <a:pt x="133255" y="244412"/>
                    </a:cubicBezTo>
                    <a:cubicBezTo>
                      <a:pt x="133636" y="248317"/>
                      <a:pt x="131350" y="248507"/>
                      <a:pt x="128492" y="247745"/>
                    </a:cubicBezTo>
                    <a:cubicBezTo>
                      <a:pt x="127826" y="252127"/>
                      <a:pt x="123253" y="253556"/>
                      <a:pt x="121444" y="257270"/>
                    </a:cubicBezTo>
                    <a:cubicBezTo>
                      <a:pt x="119158" y="262223"/>
                      <a:pt x="116872" y="267843"/>
                      <a:pt x="112966" y="271082"/>
                    </a:cubicBezTo>
                    <a:cubicBezTo>
                      <a:pt x="109538" y="273939"/>
                      <a:pt x="106680" y="276511"/>
                      <a:pt x="105156" y="280702"/>
                    </a:cubicBezTo>
                    <a:cubicBezTo>
                      <a:pt x="101917" y="283369"/>
                      <a:pt x="99441" y="287084"/>
                      <a:pt x="96202" y="289465"/>
                    </a:cubicBezTo>
                    <a:cubicBezTo>
                      <a:pt x="91250" y="293180"/>
                      <a:pt x="89440" y="298514"/>
                      <a:pt x="86582" y="303371"/>
                    </a:cubicBezTo>
                    <a:cubicBezTo>
                      <a:pt x="85153" y="305848"/>
                      <a:pt x="84201" y="307848"/>
                      <a:pt x="81629" y="309658"/>
                    </a:cubicBezTo>
                    <a:cubicBezTo>
                      <a:pt x="78867" y="311658"/>
                      <a:pt x="73533" y="311944"/>
                      <a:pt x="74104" y="317468"/>
                    </a:cubicBezTo>
                    <a:cubicBezTo>
                      <a:pt x="74104" y="317945"/>
                      <a:pt x="73057" y="318707"/>
                      <a:pt x="72295" y="319088"/>
                    </a:cubicBezTo>
                    <a:cubicBezTo>
                      <a:pt x="69056" y="321088"/>
                      <a:pt x="65913" y="322993"/>
                      <a:pt x="64865" y="327184"/>
                    </a:cubicBezTo>
                    <a:cubicBezTo>
                      <a:pt x="64579" y="328613"/>
                      <a:pt x="63437" y="330041"/>
                      <a:pt x="62293" y="330898"/>
                    </a:cubicBezTo>
                    <a:cubicBezTo>
                      <a:pt x="60293" y="332327"/>
                      <a:pt x="55912" y="337185"/>
                      <a:pt x="55435" y="339185"/>
                    </a:cubicBezTo>
                    <a:cubicBezTo>
                      <a:pt x="54578" y="342710"/>
                      <a:pt x="53530" y="346234"/>
                      <a:pt x="52864" y="349758"/>
                    </a:cubicBezTo>
                    <a:cubicBezTo>
                      <a:pt x="51911" y="354711"/>
                      <a:pt x="48958" y="359473"/>
                      <a:pt x="51149" y="364903"/>
                    </a:cubicBezTo>
                    <a:cubicBezTo>
                      <a:pt x="51721" y="366332"/>
                      <a:pt x="50864" y="368332"/>
                      <a:pt x="50959" y="370046"/>
                    </a:cubicBezTo>
                    <a:cubicBezTo>
                      <a:pt x="51244" y="375285"/>
                      <a:pt x="46006" y="380619"/>
                      <a:pt x="51149" y="385953"/>
                    </a:cubicBezTo>
                    <a:cubicBezTo>
                      <a:pt x="51911" y="386810"/>
                      <a:pt x="51530" y="388144"/>
                      <a:pt x="50578" y="388620"/>
                    </a:cubicBezTo>
                    <a:cubicBezTo>
                      <a:pt x="47625" y="389954"/>
                      <a:pt x="49816" y="391573"/>
                      <a:pt x="50578" y="392621"/>
                    </a:cubicBezTo>
                    <a:cubicBezTo>
                      <a:pt x="53912" y="397383"/>
                      <a:pt x="61341" y="394811"/>
                      <a:pt x="64484" y="400241"/>
                    </a:cubicBezTo>
                    <a:cubicBezTo>
                      <a:pt x="64484" y="400241"/>
                      <a:pt x="65913" y="399955"/>
                      <a:pt x="66199" y="399479"/>
                    </a:cubicBezTo>
                    <a:cubicBezTo>
                      <a:pt x="68199" y="396621"/>
                      <a:pt x="71342" y="397478"/>
                      <a:pt x="74009" y="396621"/>
                    </a:cubicBezTo>
                    <a:cubicBezTo>
                      <a:pt x="77343" y="395573"/>
                      <a:pt x="82582" y="395859"/>
                      <a:pt x="81629" y="389573"/>
                    </a:cubicBezTo>
                    <a:cubicBezTo>
                      <a:pt x="81439" y="388334"/>
                      <a:pt x="82772" y="385858"/>
                      <a:pt x="83629" y="385763"/>
                    </a:cubicBezTo>
                    <a:cubicBezTo>
                      <a:pt x="87820" y="385382"/>
                      <a:pt x="87439" y="381571"/>
                      <a:pt x="88868" y="379095"/>
                    </a:cubicBezTo>
                    <a:cubicBezTo>
                      <a:pt x="89630" y="380048"/>
                      <a:pt x="90297" y="380810"/>
                      <a:pt x="90773" y="381476"/>
                    </a:cubicBezTo>
                    <a:cubicBezTo>
                      <a:pt x="95155" y="376523"/>
                      <a:pt x="99346" y="371666"/>
                      <a:pt x="103537" y="366903"/>
                    </a:cubicBezTo>
                    <a:cubicBezTo>
                      <a:pt x="104870" y="365379"/>
                      <a:pt x="106013" y="362712"/>
                      <a:pt x="107537" y="362426"/>
                    </a:cubicBezTo>
                    <a:cubicBezTo>
                      <a:pt x="112776" y="361379"/>
                      <a:pt x="115824" y="357759"/>
                      <a:pt x="117157" y="353568"/>
                    </a:cubicBezTo>
                    <a:cubicBezTo>
                      <a:pt x="118967" y="347853"/>
                      <a:pt x="123253" y="346710"/>
                      <a:pt x="127826" y="345377"/>
                    </a:cubicBezTo>
                    <a:cubicBezTo>
                      <a:pt x="131731" y="344805"/>
                      <a:pt x="129159" y="341852"/>
                      <a:pt x="129826" y="340043"/>
                    </a:cubicBezTo>
                    <a:cubicBezTo>
                      <a:pt x="130874" y="338900"/>
                      <a:pt x="129445" y="334804"/>
                      <a:pt x="133636" y="337375"/>
                    </a:cubicBezTo>
                    <a:cubicBezTo>
                      <a:pt x="134779" y="338042"/>
                      <a:pt x="137065" y="335756"/>
                      <a:pt x="138017" y="333756"/>
                    </a:cubicBezTo>
                    <a:cubicBezTo>
                      <a:pt x="139827" y="329946"/>
                      <a:pt x="141161" y="325755"/>
                      <a:pt x="146018" y="324612"/>
                    </a:cubicBezTo>
                    <a:cubicBezTo>
                      <a:pt x="147066" y="324326"/>
                      <a:pt x="148590" y="324231"/>
                      <a:pt x="147733" y="322421"/>
                    </a:cubicBezTo>
                    <a:cubicBezTo>
                      <a:pt x="150304" y="316135"/>
                      <a:pt x="155639" y="312039"/>
                      <a:pt x="160592" y="308134"/>
                    </a:cubicBezTo>
                    <a:cubicBezTo>
                      <a:pt x="162401" y="306705"/>
                      <a:pt x="165735" y="306324"/>
                      <a:pt x="167069" y="303657"/>
                    </a:cubicBezTo>
                    <a:cubicBezTo>
                      <a:pt x="168116" y="301562"/>
                      <a:pt x="168688" y="299371"/>
                      <a:pt x="171831" y="301181"/>
                    </a:cubicBezTo>
                    <a:cubicBezTo>
                      <a:pt x="172402" y="301466"/>
                      <a:pt x="173545" y="300419"/>
                      <a:pt x="173355" y="299085"/>
                    </a:cubicBezTo>
                    <a:cubicBezTo>
                      <a:pt x="172974" y="296990"/>
                      <a:pt x="174784" y="296704"/>
                      <a:pt x="176117" y="296037"/>
                    </a:cubicBezTo>
                    <a:cubicBezTo>
                      <a:pt x="176308" y="298418"/>
                      <a:pt x="180118" y="298133"/>
                      <a:pt x="179737" y="300800"/>
                    </a:cubicBezTo>
                    <a:cubicBezTo>
                      <a:pt x="178689" y="307467"/>
                      <a:pt x="181737" y="313373"/>
                      <a:pt x="184309" y="318897"/>
                    </a:cubicBezTo>
                    <a:cubicBezTo>
                      <a:pt x="186976" y="324898"/>
                      <a:pt x="188214" y="331089"/>
                      <a:pt x="189547" y="337375"/>
                    </a:cubicBezTo>
                    <a:cubicBezTo>
                      <a:pt x="190595" y="342329"/>
                      <a:pt x="190405" y="347853"/>
                      <a:pt x="192595" y="352139"/>
                    </a:cubicBezTo>
                    <a:cubicBezTo>
                      <a:pt x="195072" y="356997"/>
                      <a:pt x="192595" y="362426"/>
                      <a:pt x="196024" y="367094"/>
                    </a:cubicBezTo>
                    <a:cubicBezTo>
                      <a:pt x="197263" y="368713"/>
                      <a:pt x="197072" y="372237"/>
                      <a:pt x="198596" y="374523"/>
                    </a:cubicBezTo>
                    <a:cubicBezTo>
                      <a:pt x="197834" y="381191"/>
                      <a:pt x="201549" y="387287"/>
                      <a:pt x="201263" y="393859"/>
                    </a:cubicBezTo>
                    <a:cubicBezTo>
                      <a:pt x="201073" y="397383"/>
                      <a:pt x="204121" y="399955"/>
                      <a:pt x="204406" y="403098"/>
                    </a:cubicBezTo>
                    <a:cubicBezTo>
                      <a:pt x="204883" y="407765"/>
                      <a:pt x="205740" y="412052"/>
                      <a:pt x="207931" y="416243"/>
                    </a:cubicBezTo>
                    <a:cubicBezTo>
                      <a:pt x="208978" y="418338"/>
                      <a:pt x="208502" y="421386"/>
                      <a:pt x="211741" y="422053"/>
                    </a:cubicBezTo>
                    <a:cubicBezTo>
                      <a:pt x="208693" y="425387"/>
                      <a:pt x="211360" y="428625"/>
                      <a:pt x="212122" y="431864"/>
                    </a:cubicBezTo>
                    <a:cubicBezTo>
                      <a:pt x="213931" y="438912"/>
                      <a:pt x="216884" y="445389"/>
                      <a:pt x="223266" y="449580"/>
                    </a:cubicBezTo>
                    <a:cubicBezTo>
                      <a:pt x="224790" y="450914"/>
                      <a:pt x="225838" y="453771"/>
                      <a:pt x="228695" y="451580"/>
                    </a:cubicBezTo>
                    <a:lnTo>
                      <a:pt x="228695" y="451580"/>
                    </a:lnTo>
                    <a:cubicBezTo>
                      <a:pt x="230315" y="450533"/>
                      <a:pt x="231934" y="449485"/>
                      <a:pt x="233648" y="451580"/>
                    </a:cubicBezTo>
                    <a:cubicBezTo>
                      <a:pt x="234220" y="452342"/>
                      <a:pt x="241554" y="449866"/>
                      <a:pt x="241840" y="448913"/>
                    </a:cubicBezTo>
                    <a:cubicBezTo>
                      <a:pt x="244602" y="440531"/>
                      <a:pt x="245173" y="431959"/>
                      <a:pt x="244030" y="423386"/>
                    </a:cubicBezTo>
                    <a:cubicBezTo>
                      <a:pt x="243173" y="417100"/>
                      <a:pt x="241745" y="410813"/>
                      <a:pt x="240601" y="404622"/>
                    </a:cubicBezTo>
                    <a:cubicBezTo>
                      <a:pt x="239459" y="398621"/>
                      <a:pt x="242221" y="391954"/>
                      <a:pt x="237172" y="386620"/>
                    </a:cubicBezTo>
                    <a:cubicBezTo>
                      <a:pt x="236792" y="386239"/>
                      <a:pt x="236982" y="385286"/>
                      <a:pt x="236982" y="384620"/>
                    </a:cubicBezTo>
                    <a:cubicBezTo>
                      <a:pt x="237268" y="376714"/>
                      <a:pt x="235172" y="369284"/>
                      <a:pt x="232981" y="361855"/>
                    </a:cubicBezTo>
                    <a:cubicBezTo>
                      <a:pt x="235077" y="357759"/>
                      <a:pt x="229648" y="354235"/>
                      <a:pt x="232029" y="350044"/>
                    </a:cubicBezTo>
                    <a:cubicBezTo>
                      <a:pt x="226409" y="342043"/>
                      <a:pt x="226123" y="332232"/>
                      <a:pt x="223456" y="323279"/>
                    </a:cubicBezTo>
                    <a:cubicBezTo>
                      <a:pt x="220409" y="313182"/>
                      <a:pt x="215360" y="304038"/>
                      <a:pt x="212503" y="294037"/>
                    </a:cubicBezTo>
                    <a:cubicBezTo>
                      <a:pt x="211741" y="291275"/>
                      <a:pt x="210217" y="287274"/>
                      <a:pt x="212217" y="285655"/>
                    </a:cubicBezTo>
                    <a:cubicBezTo>
                      <a:pt x="214694" y="283750"/>
                      <a:pt x="218885" y="288227"/>
                      <a:pt x="222123" y="284988"/>
                    </a:cubicBezTo>
                    <a:cubicBezTo>
                      <a:pt x="224599" y="290703"/>
                      <a:pt x="230695" y="290036"/>
                      <a:pt x="234410" y="289560"/>
                    </a:cubicBezTo>
                    <a:cubicBezTo>
                      <a:pt x="239649" y="288893"/>
                      <a:pt x="244030" y="291370"/>
                      <a:pt x="249079" y="291179"/>
                    </a:cubicBezTo>
                    <a:cubicBezTo>
                      <a:pt x="255175" y="290989"/>
                      <a:pt x="261556" y="292132"/>
                      <a:pt x="267843" y="292227"/>
                    </a:cubicBezTo>
                    <a:cubicBezTo>
                      <a:pt x="269367" y="292227"/>
                      <a:pt x="270891" y="290608"/>
                      <a:pt x="272701" y="291560"/>
                    </a:cubicBezTo>
                    <a:cubicBezTo>
                      <a:pt x="275939" y="293370"/>
                      <a:pt x="279749" y="290132"/>
                      <a:pt x="282893" y="292798"/>
                    </a:cubicBezTo>
                    <a:cubicBezTo>
                      <a:pt x="283083" y="292989"/>
                      <a:pt x="283750" y="291941"/>
                      <a:pt x="283464" y="291179"/>
                    </a:cubicBezTo>
                    <a:cubicBezTo>
                      <a:pt x="283178" y="290513"/>
                      <a:pt x="282131" y="289655"/>
                      <a:pt x="283464" y="289179"/>
                    </a:cubicBezTo>
                    <a:cubicBezTo>
                      <a:pt x="284226" y="288893"/>
                      <a:pt x="285179" y="289084"/>
                      <a:pt x="285560" y="290132"/>
                    </a:cubicBezTo>
                    <a:cubicBezTo>
                      <a:pt x="286226" y="291751"/>
                      <a:pt x="287179" y="291465"/>
                      <a:pt x="288893" y="291656"/>
                    </a:cubicBezTo>
                    <a:cubicBezTo>
                      <a:pt x="296132" y="292418"/>
                      <a:pt x="302419" y="287655"/>
                      <a:pt x="309944" y="288893"/>
                    </a:cubicBezTo>
                    <a:cubicBezTo>
                      <a:pt x="313468" y="289465"/>
                      <a:pt x="319849" y="288417"/>
                      <a:pt x="322421" y="283083"/>
                    </a:cubicBezTo>
                    <a:cubicBezTo>
                      <a:pt x="322802" y="282226"/>
                      <a:pt x="323755" y="281845"/>
                      <a:pt x="324517" y="282797"/>
                    </a:cubicBezTo>
                    <a:cubicBezTo>
                      <a:pt x="327184" y="286417"/>
                      <a:pt x="330803" y="284702"/>
                      <a:pt x="333756" y="283940"/>
                    </a:cubicBezTo>
                    <a:cubicBezTo>
                      <a:pt x="336995" y="283178"/>
                      <a:pt x="339376" y="283940"/>
                      <a:pt x="341567" y="285941"/>
                    </a:cubicBezTo>
                    <a:cubicBezTo>
                      <a:pt x="343567" y="286417"/>
                      <a:pt x="344615" y="285083"/>
                      <a:pt x="345853" y="283940"/>
                    </a:cubicBezTo>
                    <a:cubicBezTo>
                      <a:pt x="346043" y="284512"/>
                      <a:pt x="346139" y="285750"/>
                      <a:pt x="346996" y="284988"/>
                    </a:cubicBezTo>
                    <a:cubicBezTo>
                      <a:pt x="348234" y="284036"/>
                      <a:pt x="346424" y="282893"/>
                      <a:pt x="346710" y="281750"/>
                    </a:cubicBezTo>
                    <a:cubicBezTo>
                      <a:pt x="351282" y="278606"/>
                      <a:pt x="356807" y="282035"/>
                      <a:pt x="361474" y="279559"/>
                    </a:cubicBezTo>
                    <a:cubicBezTo>
                      <a:pt x="364331" y="281369"/>
                      <a:pt x="363093" y="278511"/>
                      <a:pt x="363569" y="277749"/>
                    </a:cubicBezTo>
                    <a:cubicBezTo>
                      <a:pt x="366617" y="275939"/>
                      <a:pt x="367665" y="273177"/>
                      <a:pt x="366046" y="270129"/>
                    </a:cubicBezTo>
                    <a:cubicBezTo>
                      <a:pt x="364522" y="267367"/>
                      <a:pt x="364236" y="265462"/>
                      <a:pt x="366903" y="263271"/>
                    </a:cubicBezTo>
                    <a:cubicBezTo>
                      <a:pt x="368522" y="262033"/>
                      <a:pt x="369094" y="259461"/>
                      <a:pt x="367951" y="257556"/>
                    </a:cubicBezTo>
                    <a:moveTo>
                      <a:pt x="155543" y="115348"/>
                    </a:moveTo>
                    <a:cubicBezTo>
                      <a:pt x="157067" y="115443"/>
                      <a:pt x="157734" y="116205"/>
                      <a:pt x="157448" y="117729"/>
                    </a:cubicBezTo>
                    <a:cubicBezTo>
                      <a:pt x="157353" y="118396"/>
                      <a:pt x="157163" y="119253"/>
                      <a:pt x="156305" y="119158"/>
                    </a:cubicBezTo>
                    <a:cubicBezTo>
                      <a:pt x="154876" y="118967"/>
                      <a:pt x="154495" y="117824"/>
                      <a:pt x="154115" y="116586"/>
                    </a:cubicBezTo>
                    <a:cubicBezTo>
                      <a:pt x="153638" y="115062"/>
                      <a:pt x="154876" y="115443"/>
                      <a:pt x="155543" y="115348"/>
                    </a:cubicBezTo>
                    <a:moveTo>
                      <a:pt x="158591" y="155543"/>
                    </a:moveTo>
                    <a:cubicBezTo>
                      <a:pt x="157544" y="156020"/>
                      <a:pt x="156305" y="156020"/>
                      <a:pt x="155353" y="156877"/>
                    </a:cubicBezTo>
                    <a:cubicBezTo>
                      <a:pt x="152305" y="159544"/>
                      <a:pt x="150876" y="158687"/>
                      <a:pt x="149447" y="154591"/>
                    </a:cubicBezTo>
                    <a:cubicBezTo>
                      <a:pt x="145733" y="143923"/>
                      <a:pt x="145923" y="132302"/>
                      <a:pt x="141161" y="121920"/>
                    </a:cubicBezTo>
                    <a:cubicBezTo>
                      <a:pt x="140779" y="121063"/>
                      <a:pt x="141446" y="119634"/>
                      <a:pt x="141637" y="118491"/>
                    </a:cubicBezTo>
                    <a:lnTo>
                      <a:pt x="143066" y="118491"/>
                    </a:lnTo>
                    <a:cubicBezTo>
                      <a:pt x="146399" y="121063"/>
                      <a:pt x="145733" y="127159"/>
                      <a:pt x="151257" y="127921"/>
                    </a:cubicBezTo>
                    <a:cubicBezTo>
                      <a:pt x="151352" y="127921"/>
                      <a:pt x="151543" y="128492"/>
                      <a:pt x="151543" y="128683"/>
                    </a:cubicBezTo>
                    <a:cubicBezTo>
                      <a:pt x="149543" y="134017"/>
                      <a:pt x="154305" y="136208"/>
                      <a:pt x="156972" y="138303"/>
                    </a:cubicBezTo>
                    <a:cubicBezTo>
                      <a:pt x="160782" y="141161"/>
                      <a:pt x="162877" y="144971"/>
                      <a:pt x="163830" y="148876"/>
                    </a:cubicBezTo>
                    <a:cubicBezTo>
                      <a:pt x="164306" y="150876"/>
                      <a:pt x="161449" y="154210"/>
                      <a:pt x="158591" y="155543"/>
                    </a:cubicBezTo>
                    <a:moveTo>
                      <a:pt x="228028" y="149257"/>
                    </a:moveTo>
                    <a:cubicBezTo>
                      <a:pt x="224504" y="153352"/>
                      <a:pt x="222409" y="159734"/>
                      <a:pt x="218503" y="161735"/>
                    </a:cubicBezTo>
                    <a:cubicBezTo>
                      <a:pt x="210979" y="165735"/>
                      <a:pt x="211169" y="173450"/>
                      <a:pt x="206978" y="178689"/>
                    </a:cubicBezTo>
                    <a:cubicBezTo>
                      <a:pt x="206597" y="179165"/>
                      <a:pt x="206216" y="180404"/>
                      <a:pt x="206026" y="180404"/>
                    </a:cubicBezTo>
                    <a:cubicBezTo>
                      <a:pt x="198120" y="178879"/>
                      <a:pt x="196596" y="188690"/>
                      <a:pt x="189643" y="189548"/>
                    </a:cubicBezTo>
                    <a:cubicBezTo>
                      <a:pt x="187643" y="189833"/>
                      <a:pt x="187928" y="195453"/>
                      <a:pt x="185642" y="198025"/>
                    </a:cubicBezTo>
                    <a:cubicBezTo>
                      <a:pt x="184499" y="199358"/>
                      <a:pt x="184499" y="201549"/>
                      <a:pt x="182690" y="202597"/>
                    </a:cubicBezTo>
                    <a:cubicBezTo>
                      <a:pt x="182690" y="201073"/>
                      <a:pt x="182690" y="199549"/>
                      <a:pt x="180689" y="199168"/>
                    </a:cubicBezTo>
                    <a:cubicBezTo>
                      <a:pt x="179451" y="197072"/>
                      <a:pt x="178498" y="194786"/>
                      <a:pt x="176403" y="193453"/>
                    </a:cubicBezTo>
                    <a:cubicBezTo>
                      <a:pt x="176403" y="189262"/>
                      <a:pt x="179642" y="187166"/>
                      <a:pt x="182023" y="184404"/>
                    </a:cubicBezTo>
                    <a:cubicBezTo>
                      <a:pt x="183261" y="182975"/>
                      <a:pt x="186309" y="182499"/>
                      <a:pt x="184880" y="179261"/>
                    </a:cubicBezTo>
                    <a:cubicBezTo>
                      <a:pt x="184404" y="178213"/>
                      <a:pt x="185356" y="178118"/>
                      <a:pt x="186214" y="178879"/>
                    </a:cubicBezTo>
                    <a:cubicBezTo>
                      <a:pt x="187547" y="180023"/>
                      <a:pt x="188023" y="178213"/>
                      <a:pt x="188500" y="177641"/>
                    </a:cubicBezTo>
                    <a:cubicBezTo>
                      <a:pt x="190310" y="175546"/>
                      <a:pt x="189643" y="170879"/>
                      <a:pt x="194500" y="171736"/>
                    </a:cubicBezTo>
                    <a:cubicBezTo>
                      <a:pt x="196787" y="165068"/>
                      <a:pt x="203740" y="162116"/>
                      <a:pt x="207073" y="155829"/>
                    </a:cubicBezTo>
                    <a:cubicBezTo>
                      <a:pt x="209550" y="151257"/>
                      <a:pt x="214408" y="147542"/>
                      <a:pt x="218313" y="143542"/>
                    </a:cubicBezTo>
                    <a:cubicBezTo>
                      <a:pt x="222314" y="139446"/>
                      <a:pt x="225552" y="134874"/>
                      <a:pt x="229267" y="130588"/>
                    </a:cubicBezTo>
                    <a:cubicBezTo>
                      <a:pt x="233553" y="125635"/>
                      <a:pt x="235553" y="119158"/>
                      <a:pt x="240316" y="114871"/>
                    </a:cubicBezTo>
                    <a:cubicBezTo>
                      <a:pt x="243649" y="111823"/>
                      <a:pt x="247078" y="108966"/>
                      <a:pt x="249936" y="105346"/>
                    </a:cubicBezTo>
                    <a:cubicBezTo>
                      <a:pt x="253460" y="100965"/>
                      <a:pt x="257461" y="96869"/>
                      <a:pt x="262795" y="94107"/>
                    </a:cubicBezTo>
                    <a:cubicBezTo>
                      <a:pt x="266795" y="92012"/>
                      <a:pt x="268224" y="86677"/>
                      <a:pt x="272129" y="84201"/>
                    </a:cubicBezTo>
                    <a:cubicBezTo>
                      <a:pt x="274511" y="84582"/>
                      <a:pt x="275749" y="83725"/>
                      <a:pt x="275368" y="81153"/>
                    </a:cubicBezTo>
                    <a:cubicBezTo>
                      <a:pt x="276320" y="81725"/>
                      <a:pt x="278035" y="79915"/>
                      <a:pt x="278320" y="81820"/>
                    </a:cubicBezTo>
                    <a:cubicBezTo>
                      <a:pt x="278511" y="83153"/>
                      <a:pt x="279083" y="85249"/>
                      <a:pt x="277273" y="85916"/>
                    </a:cubicBezTo>
                    <a:cubicBezTo>
                      <a:pt x="271653" y="88106"/>
                      <a:pt x="270034" y="94012"/>
                      <a:pt x="266319" y="97917"/>
                    </a:cubicBezTo>
                    <a:cubicBezTo>
                      <a:pt x="262890" y="101537"/>
                      <a:pt x="259651" y="105632"/>
                      <a:pt x="256889" y="109728"/>
                    </a:cubicBezTo>
                    <a:cubicBezTo>
                      <a:pt x="253651" y="114300"/>
                      <a:pt x="249841" y="118491"/>
                      <a:pt x="247174" y="123349"/>
                    </a:cubicBezTo>
                    <a:cubicBezTo>
                      <a:pt x="245936" y="123635"/>
                      <a:pt x="245459" y="124587"/>
                      <a:pt x="245173" y="125730"/>
                    </a:cubicBezTo>
                    <a:cubicBezTo>
                      <a:pt x="242888" y="126016"/>
                      <a:pt x="244793" y="129635"/>
                      <a:pt x="242125" y="129635"/>
                    </a:cubicBezTo>
                    <a:cubicBezTo>
                      <a:pt x="242125" y="128969"/>
                      <a:pt x="242125" y="128016"/>
                      <a:pt x="241268" y="128397"/>
                    </a:cubicBezTo>
                    <a:cubicBezTo>
                      <a:pt x="239363" y="129254"/>
                      <a:pt x="241268" y="130778"/>
                      <a:pt x="240887" y="131921"/>
                    </a:cubicBezTo>
                    <a:cubicBezTo>
                      <a:pt x="233744" y="135636"/>
                      <a:pt x="232886" y="143923"/>
                      <a:pt x="228314" y="149257"/>
                    </a:cubicBezTo>
                  </a:path>
                </a:pathLst>
              </a:custGeom>
              <a:solidFill>
                <a:schemeClr val="accent3"/>
              </a:solidFill>
              <a:ln w="9525"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8A8069C7-3F86-5A17-38ED-AAD689FDC004}"/>
                  </a:ext>
                </a:extLst>
              </p:cNvPr>
              <p:cNvSpPr/>
              <p:nvPr/>
            </p:nvSpPr>
            <p:spPr>
              <a:xfrm>
                <a:off x="11226339" y="6219846"/>
                <a:ext cx="512041" cy="776474"/>
              </a:xfrm>
              <a:custGeom>
                <a:avLst/>
                <a:gdLst>
                  <a:gd name="connsiteX0" fmla="*/ 468035 w 512041"/>
                  <a:gd name="connsiteY0" fmla="*/ 583116 h 776474"/>
                  <a:gd name="connsiteX1" fmla="*/ 467945 w 512041"/>
                  <a:gd name="connsiteY1" fmla="*/ 583143 h 776474"/>
                  <a:gd name="connsiteX2" fmla="*/ 468894 w 512041"/>
                  <a:gd name="connsiteY2" fmla="*/ 588831 h 776474"/>
                  <a:gd name="connsiteX3" fmla="*/ 467101 w 512041"/>
                  <a:gd name="connsiteY3" fmla="*/ 585493 h 776474"/>
                  <a:gd name="connsiteX4" fmla="*/ 468893 w 512041"/>
                  <a:gd name="connsiteY4" fmla="*/ 588831 h 776474"/>
                  <a:gd name="connsiteX5" fmla="*/ 468894 w 512041"/>
                  <a:gd name="connsiteY5" fmla="*/ 588831 h 776474"/>
                  <a:gd name="connsiteX6" fmla="*/ 468988 w 512041"/>
                  <a:gd name="connsiteY6" fmla="*/ 588831 h 776474"/>
                  <a:gd name="connsiteX7" fmla="*/ 468035 w 512041"/>
                  <a:gd name="connsiteY7" fmla="*/ 583116 h 776474"/>
                  <a:gd name="connsiteX8" fmla="*/ 457368 w 512041"/>
                  <a:gd name="connsiteY8" fmla="*/ 573019 h 776474"/>
                  <a:gd name="connsiteX9" fmla="*/ 449843 w 512041"/>
                  <a:gd name="connsiteY9" fmla="*/ 576162 h 776474"/>
                  <a:gd name="connsiteX10" fmla="*/ 449844 w 512041"/>
                  <a:gd name="connsiteY10" fmla="*/ 576163 h 776474"/>
                  <a:gd name="connsiteX11" fmla="*/ 453142 w 512041"/>
                  <a:gd name="connsiteY11" fmla="*/ 574128 h 776474"/>
                  <a:gd name="connsiteX12" fmla="*/ 457368 w 512041"/>
                  <a:gd name="connsiteY12" fmla="*/ 573020 h 776474"/>
                  <a:gd name="connsiteX13" fmla="*/ 251628 w 512041"/>
                  <a:gd name="connsiteY13" fmla="*/ 544349 h 776474"/>
                  <a:gd name="connsiteX14" fmla="*/ 250675 w 512041"/>
                  <a:gd name="connsiteY14" fmla="*/ 552255 h 776474"/>
                  <a:gd name="connsiteX15" fmla="*/ 250676 w 512041"/>
                  <a:gd name="connsiteY15" fmla="*/ 552253 h 776474"/>
                  <a:gd name="connsiteX16" fmla="*/ 50174 w 512041"/>
                  <a:gd name="connsiteY16" fmla="*/ 541301 h 776474"/>
                  <a:gd name="connsiteX17" fmla="*/ 51222 w 512041"/>
                  <a:gd name="connsiteY17" fmla="*/ 547111 h 776474"/>
                  <a:gd name="connsiteX18" fmla="*/ 50174 w 512041"/>
                  <a:gd name="connsiteY18" fmla="*/ 541301 h 776474"/>
                  <a:gd name="connsiteX19" fmla="*/ 447843 w 512041"/>
                  <a:gd name="connsiteY19" fmla="*/ 531204 h 776474"/>
                  <a:gd name="connsiteX20" fmla="*/ 447843 w 512041"/>
                  <a:gd name="connsiteY20" fmla="*/ 538443 h 776474"/>
                  <a:gd name="connsiteX21" fmla="*/ 447938 w 512041"/>
                  <a:gd name="connsiteY21" fmla="*/ 538090 h 776474"/>
                  <a:gd name="connsiteX22" fmla="*/ 447938 w 512041"/>
                  <a:gd name="connsiteY22" fmla="*/ 531653 h 776474"/>
                  <a:gd name="connsiteX23" fmla="*/ 373738 w 512041"/>
                  <a:gd name="connsiteY23" fmla="*/ 497391 h 776474"/>
                  <a:gd name="connsiteX24" fmla="*/ 371547 w 512041"/>
                  <a:gd name="connsiteY24" fmla="*/ 499581 h 776474"/>
                  <a:gd name="connsiteX25" fmla="*/ 372404 w 512041"/>
                  <a:gd name="connsiteY25" fmla="*/ 502534 h 776474"/>
                  <a:gd name="connsiteX26" fmla="*/ 372404 w 512041"/>
                  <a:gd name="connsiteY26" fmla="*/ 502629 h 776474"/>
                  <a:gd name="connsiteX27" fmla="*/ 374976 w 512041"/>
                  <a:gd name="connsiteY27" fmla="*/ 499391 h 776474"/>
                  <a:gd name="connsiteX28" fmla="*/ 374952 w 512041"/>
                  <a:gd name="connsiteY28" fmla="*/ 499351 h 776474"/>
                  <a:gd name="connsiteX29" fmla="*/ 372500 w 512041"/>
                  <a:gd name="connsiteY29" fmla="*/ 502439 h 776474"/>
                  <a:gd name="connsiteX30" fmla="*/ 371643 w 512041"/>
                  <a:gd name="connsiteY30" fmla="*/ 499486 h 776474"/>
                  <a:gd name="connsiteX31" fmla="*/ 373738 w 512041"/>
                  <a:gd name="connsiteY31" fmla="*/ 497391 h 776474"/>
                  <a:gd name="connsiteX32" fmla="*/ 359260 w 512041"/>
                  <a:gd name="connsiteY32" fmla="*/ 480341 h 776474"/>
                  <a:gd name="connsiteX33" fmla="*/ 357164 w 512041"/>
                  <a:gd name="connsiteY33" fmla="*/ 481674 h 776474"/>
                  <a:gd name="connsiteX34" fmla="*/ 361070 w 512041"/>
                  <a:gd name="connsiteY34" fmla="*/ 486532 h 776474"/>
                  <a:gd name="connsiteX35" fmla="*/ 361165 w 512041"/>
                  <a:gd name="connsiteY35" fmla="*/ 486532 h 776474"/>
                  <a:gd name="connsiteX36" fmla="*/ 357260 w 512041"/>
                  <a:gd name="connsiteY36" fmla="*/ 481675 h 776474"/>
                  <a:gd name="connsiteX37" fmla="*/ 359276 w 512041"/>
                  <a:gd name="connsiteY37" fmla="*/ 480391 h 776474"/>
                  <a:gd name="connsiteX38" fmla="*/ 351354 w 512041"/>
                  <a:gd name="connsiteY38" fmla="*/ 471959 h 776474"/>
                  <a:gd name="connsiteX39" fmla="*/ 348592 w 512041"/>
                  <a:gd name="connsiteY39" fmla="*/ 473769 h 776474"/>
                  <a:gd name="connsiteX40" fmla="*/ 351450 w 512041"/>
                  <a:gd name="connsiteY40" fmla="*/ 476817 h 776474"/>
                  <a:gd name="connsiteX41" fmla="*/ 351578 w 512041"/>
                  <a:gd name="connsiteY41" fmla="*/ 476750 h 776474"/>
                  <a:gd name="connsiteX42" fmla="*/ 348783 w 512041"/>
                  <a:gd name="connsiteY42" fmla="*/ 473769 h 776474"/>
                  <a:gd name="connsiteX43" fmla="*/ 351413 w 512041"/>
                  <a:gd name="connsiteY43" fmla="*/ 472045 h 776474"/>
                  <a:gd name="connsiteX44" fmla="*/ 76273 w 512041"/>
                  <a:gd name="connsiteY44" fmla="*/ 434145 h 776474"/>
                  <a:gd name="connsiteX45" fmla="*/ 87131 w 512041"/>
                  <a:gd name="connsiteY45" fmla="*/ 444242 h 776474"/>
                  <a:gd name="connsiteX46" fmla="*/ 87417 w 512041"/>
                  <a:gd name="connsiteY46" fmla="*/ 444242 h 776474"/>
                  <a:gd name="connsiteX47" fmla="*/ 87703 w 512041"/>
                  <a:gd name="connsiteY47" fmla="*/ 465482 h 776474"/>
                  <a:gd name="connsiteX48" fmla="*/ 80559 w 512041"/>
                  <a:gd name="connsiteY48" fmla="*/ 489199 h 776474"/>
                  <a:gd name="connsiteX49" fmla="*/ 76273 w 512041"/>
                  <a:gd name="connsiteY49" fmla="*/ 497772 h 776474"/>
                  <a:gd name="connsiteX50" fmla="*/ 76844 w 512041"/>
                  <a:gd name="connsiteY50" fmla="*/ 500629 h 776474"/>
                  <a:gd name="connsiteX51" fmla="*/ 73891 w 512041"/>
                  <a:gd name="connsiteY51" fmla="*/ 507488 h 776474"/>
                  <a:gd name="connsiteX52" fmla="*/ 71510 w 512041"/>
                  <a:gd name="connsiteY52" fmla="*/ 511202 h 776474"/>
                  <a:gd name="connsiteX53" fmla="*/ 63033 w 512041"/>
                  <a:gd name="connsiteY53" fmla="*/ 525299 h 776474"/>
                  <a:gd name="connsiteX54" fmla="*/ 50269 w 512041"/>
                  <a:gd name="connsiteY54" fmla="*/ 541206 h 776474"/>
                  <a:gd name="connsiteX55" fmla="*/ 49412 w 512041"/>
                  <a:gd name="connsiteY55" fmla="*/ 541587 h 776474"/>
                  <a:gd name="connsiteX56" fmla="*/ 32267 w 512041"/>
                  <a:gd name="connsiteY56" fmla="*/ 570257 h 776474"/>
                  <a:gd name="connsiteX57" fmla="*/ 29314 w 512041"/>
                  <a:gd name="connsiteY57" fmla="*/ 573686 h 776474"/>
                  <a:gd name="connsiteX58" fmla="*/ 21028 w 512041"/>
                  <a:gd name="connsiteY58" fmla="*/ 579497 h 776474"/>
                  <a:gd name="connsiteX59" fmla="*/ 9979 w 512041"/>
                  <a:gd name="connsiteY59" fmla="*/ 569400 h 776474"/>
                  <a:gd name="connsiteX60" fmla="*/ 11979 w 512041"/>
                  <a:gd name="connsiteY60" fmla="*/ 548064 h 776474"/>
                  <a:gd name="connsiteX61" fmla="*/ 15408 w 512041"/>
                  <a:gd name="connsiteY61" fmla="*/ 520061 h 776474"/>
                  <a:gd name="connsiteX62" fmla="*/ 26933 w 512041"/>
                  <a:gd name="connsiteY62" fmla="*/ 491581 h 776474"/>
                  <a:gd name="connsiteX63" fmla="*/ 37506 w 512041"/>
                  <a:gd name="connsiteY63" fmla="*/ 476626 h 776474"/>
                  <a:gd name="connsiteX64" fmla="*/ 54651 w 512041"/>
                  <a:gd name="connsiteY64" fmla="*/ 452623 h 776474"/>
                  <a:gd name="connsiteX65" fmla="*/ 65890 w 512041"/>
                  <a:gd name="connsiteY65" fmla="*/ 441479 h 776474"/>
                  <a:gd name="connsiteX66" fmla="*/ 76273 w 512041"/>
                  <a:gd name="connsiteY66" fmla="*/ 434145 h 776474"/>
                  <a:gd name="connsiteX67" fmla="*/ 337484 w 512041"/>
                  <a:gd name="connsiteY67" fmla="*/ 428358 h 776474"/>
                  <a:gd name="connsiteX68" fmla="*/ 340591 w 512041"/>
                  <a:gd name="connsiteY68" fmla="*/ 431668 h 776474"/>
                  <a:gd name="connsiteX69" fmla="*/ 348687 w 512041"/>
                  <a:gd name="connsiteY69" fmla="*/ 432906 h 776474"/>
                  <a:gd name="connsiteX70" fmla="*/ 350021 w 512041"/>
                  <a:gd name="connsiteY70" fmla="*/ 431859 h 776474"/>
                  <a:gd name="connsiteX71" fmla="*/ 363260 w 512041"/>
                  <a:gd name="connsiteY71" fmla="*/ 440431 h 776474"/>
                  <a:gd name="connsiteX72" fmla="*/ 370214 w 512041"/>
                  <a:gd name="connsiteY72" fmla="*/ 448623 h 776474"/>
                  <a:gd name="connsiteX73" fmla="*/ 381453 w 512041"/>
                  <a:gd name="connsiteY73" fmla="*/ 462720 h 776474"/>
                  <a:gd name="connsiteX74" fmla="*/ 383739 w 512041"/>
                  <a:gd name="connsiteY74" fmla="*/ 465482 h 776474"/>
                  <a:gd name="connsiteX75" fmla="*/ 410600 w 512041"/>
                  <a:gd name="connsiteY75" fmla="*/ 489009 h 776474"/>
                  <a:gd name="connsiteX76" fmla="*/ 414314 w 512041"/>
                  <a:gd name="connsiteY76" fmla="*/ 496248 h 776474"/>
                  <a:gd name="connsiteX77" fmla="*/ 422220 w 512041"/>
                  <a:gd name="connsiteY77" fmla="*/ 502058 h 776474"/>
                  <a:gd name="connsiteX78" fmla="*/ 428602 w 512041"/>
                  <a:gd name="connsiteY78" fmla="*/ 507487 h 776474"/>
                  <a:gd name="connsiteX79" fmla="*/ 454796 w 512041"/>
                  <a:gd name="connsiteY79" fmla="*/ 529395 h 776474"/>
                  <a:gd name="connsiteX80" fmla="*/ 458987 w 512041"/>
                  <a:gd name="connsiteY80" fmla="*/ 535586 h 776474"/>
                  <a:gd name="connsiteX81" fmla="*/ 466893 w 512041"/>
                  <a:gd name="connsiteY81" fmla="*/ 542730 h 776474"/>
                  <a:gd name="connsiteX82" fmla="*/ 466797 w 512041"/>
                  <a:gd name="connsiteY82" fmla="*/ 542730 h 776474"/>
                  <a:gd name="connsiteX83" fmla="*/ 469560 w 512041"/>
                  <a:gd name="connsiteY83" fmla="*/ 543777 h 776474"/>
                  <a:gd name="connsiteX84" fmla="*/ 478989 w 512041"/>
                  <a:gd name="connsiteY84" fmla="*/ 582354 h 776474"/>
                  <a:gd name="connsiteX85" fmla="*/ 476227 w 512041"/>
                  <a:gd name="connsiteY85" fmla="*/ 600832 h 776474"/>
                  <a:gd name="connsiteX86" fmla="*/ 473274 w 512041"/>
                  <a:gd name="connsiteY86" fmla="*/ 602642 h 776474"/>
                  <a:gd name="connsiteX87" fmla="*/ 445461 w 512041"/>
                  <a:gd name="connsiteY87" fmla="*/ 596070 h 776474"/>
                  <a:gd name="connsiteX88" fmla="*/ 433269 w 512041"/>
                  <a:gd name="connsiteY88" fmla="*/ 591117 h 776474"/>
                  <a:gd name="connsiteX89" fmla="*/ 417362 w 512041"/>
                  <a:gd name="connsiteY89" fmla="*/ 577305 h 776474"/>
                  <a:gd name="connsiteX90" fmla="*/ 414886 w 512041"/>
                  <a:gd name="connsiteY90" fmla="*/ 574734 h 776474"/>
                  <a:gd name="connsiteX91" fmla="*/ 405171 w 512041"/>
                  <a:gd name="connsiteY91" fmla="*/ 568257 h 776474"/>
                  <a:gd name="connsiteX92" fmla="*/ 390121 w 512041"/>
                  <a:gd name="connsiteY92" fmla="*/ 554350 h 776474"/>
                  <a:gd name="connsiteX93" fmla="*/ 378215 w 512041"/>
                  <a:gd name="connsiteY93" fmla="*/ 542634 h 776474"/>
                  <a:gd name="connsiteX94" fmla="*/ 355545 w 512041"/>
                  <a:gd name="connsiteY94" fmla="*/ 511297 h 776474"/>
                  <a:gd name="connsiteX95" fmla="*/ 337924 w 512041"/>
                  <a:gd name="connsiteY95" fmla="*/ 491390 h 776474"/>
                  <a:gd name="connsiteX96" fmla="*/ 329447 w 512041"/>
                  <a:gd name="connsiteY96" fmla="*/ 472054 h 776474"/>
                  <a:gd name="connsiteX97" fmla="*/ 331066 w 512041"/>
                  <a:gd name="connsiteY97" fmla="*/ 468244 h 776474"/>
                  <a:gd name="connsiteX98" fmla="*/ 330971 w 512041"/>
                  <a:gd name="connsiteY98" fmla="*/ 465958 h 776474"/>
                  <a:gd name="connsiteX99" fmla="*/ 329733 w 512041"/>
                  <a:gd name="connsiteY99" fmla="*/ 463101 h 776474"/>
                  <a:gd name="connsiteX100" fmla="*/ 331542 w 512041"/>
                  <a:gd name="connsiteY100" fmla="*/ 440336 h 776474"/>
                  <a:gd name="connsiteX101" fmla="*/ 334304 w 512041"/>
                  <a:gd name="connsiteY101" fmla="*/ 431478 h 776474"/>
                  <a:gd name="connsiteX102" fmla="*/ 337484 w 512041"/>
                  <a:gd name="connsiteY102" fmla="*/ 428358 h 776474"/>
                  <a:gd name="connsiteX103" fmla="*/ 307445 w 512041"/>
                  <a:gd name="connsiteY103" fmla="*/ 252503 h 776474"/>
                  <a:gd name="connsiteX104" fmla="*/ 307540 w 512041"/>
                  <a:gd name="connsiteY104" fmla="*/ 252503 h 776474"/>
                  <a:gd name="connsiteX105" fmla="*/ 307505 w 512041"/>
                  <a:gd name="connsiteY105" fmla="*/ 252555 h 776474"/>
                  <a:gd name="connsiteX106" fmla="*/ 307444 w 512041"/>
                  <a:gd name="connsiteY106" fmla="*/ 252218 h 776474"/>
                  <a:gd name="connsiteX107" fmla="*/ 305920 w 512041"/>
                  <a:gd name="connsiteY107" fmla="*/ 254599 h 776474"/>
                  <a:gd name="connsiteX108" fmla="*/ 306068 w 512041"/>
                  <a:gd name="connsiteY108" fmla="*/ 254711 h 776474"/>
                  <a:gd name="connsiteX109" fmla="*/ 307505 w 512041"/>
                  <a:gd name="connsiteY109" fmla="*/ 252555 h 776474"/>
                  <a:gd name="connsiteX110" fmla="*/ 309672 w 512041"/>
                  <a:gd name="connsiteY110" fmla="*/ 254452 h 776474"/>
                  <a:gd name="connsiteX111" fmla="*/ 309730 w 512041"/>
                  <a:gd name="connsiteY111" fmla="*/ 254218 h 776474"/>
                  <a:gd name="connsiteX112" fmla="*/ 307444 w 512041"/>
                  <a:gd name="connsiteY112" fmla="*/ 252218 h 776474"/>
                  <a:gd name="connsiteX113" fmla="*/ 227148 w 512041"/>
                  <a:gd name="connsiteY113" fmla="*/ 202307 h 776474"/>
                  <a:gd name="connsiteX114" fmla="*/ 225625 w 512041"/>
                  <a:gd name="connsiteY114" fmla="*/ 207641 h 776474"/>
                  <a:gd name="connsiteX115" fmla="*/ 215528 w 512041"/>
                  <a:gd name="connsiteY115" fmla="*/ 246122 h 776474"/>
                  <a:gd name="connsiteX116" fmla="*/ 206860 w 512041"/>
                  <a:gd name="connsiteY116" fmla="*/ 272982 h 776474"/>
                  <a:gd name="connsiteX117" fmla="*/ 198383 w 512041"/>
                  <a:gd name="connsiteY117" fmla="*/ 290699 h 776474"/>
                  <a:gd name="connsiteX118" fmla="*/ 196192 w 512041"/>
                  <a:gd name="connsiteY118" fmla="*/ 294128 h 776474"/>
                  <a:gd name="connsiteX119" fmla="*/ 182667 w 512041"/>
                  <a:gd name="connsiteY119" fmla="*/ 305367 h 776474"/>
                  <a:gd name="connsiteX120" fmla="*/ 182667 w 512041"/>
                  <a:gd name="connsiteY120" fmla="*/ 311844 h 776474"/>
                  <a:gd name="connsiteX121" fmla="*/ 192382 w 512041"/>
                  <a:gd name="connsiteY121" fmla="*/ 324131 h 776474"/>
                  <a:gd name="connsiteX122" fmla="*/ 204003 w 512041"/>
                  <a:gd name="connsiteY122" fmla="*/ 363946 h 776474"/>
                  <a:gd name="connsiteX123" fmla="*/ 215528 w 512041"/>
                  <a:gd name="connsiteY123" fmla="*/ 439384 h 776474"/>
                  <a:gd name="connsiteX124" fmla="*/ 222100 w 512041"/>
                  <a:gd name="connsiteY124" fmla="*/ 409475 h 776474"/>
                  <a:gd name="connsiteX125" fmla="*/ 221148 w 512041"/>
                  <a:gd name="connsiteY125" fmla="*/ 389282 h 776474"/>
                  <a:gd name="connsiteX126" fmla="*/ 228958 w 512041"/>
                  <a:gd name="connsiteY126" fmla="*/ 363184 h 776474"/>
                  <a:gd name="connsiteX127" fmla="*/ 239626 w 512041"/>
                  <a:gd name="connsiteY127" fmla="*/ 328037 h 776474"/>
                  <a:gd name="connsiteX128" fmla="*/ 243627 w 512041"/>
                  <a:gd name="connsiteY128" fmla="*/ 318512 h 776474"/>
                  <a:gd name="connsiteX129" fmla="*/ 252390 w 512041"/>
                  <a:gd name="connsiteY129" fmla="*/ 311177 h 776474"/>
                  <a:gd name="connsiteX130" fmla="*/ 260677 w 512041"/>
                  <a:gd name="connsiteY130" fmla="*/ 304891 h 776474"/>
                  <a:gd name="connsiteX131" fmla="*/ 265820 w 512041"/>
                  <a:gd name="connsiteY131" fmla="*/ 313368 h 776474"/>
                  <a:gd name="connsiteX132" fmla="*/ 271630 w 512041"/>
                  <a:gd name="connsiteY132" fmla="*/ 308034 h 776474"/>
                  <a:gd name="connsiteX133" fmla="*/ 273345 w 512041"/>
                  <a:gd name="connsiteY133" fmla="*/ 306891 h 776474"/>
                  <a:gd name="connsiteX134" fmla="*/ 279155 w 512041"/>
                  <a:gd name="connsiteY134" fmla="*/ 304986 h 776474"/>
                  <a:gd name="connsiteX135" fmla="*/ 292490 w 512041"/>
                  <a:gd name="connsiteY135" fmla="*/ 300605 h 776474"/>
                  <a:gd name="connsiteX136" fmla="*/ 292490 w 512041"/>
                  <a:gd name="connsiteY136" fmla="*/ 300509 h 776474"/>
                  <a:gd name="connsiteX137" fmla="*/ 306587 w 512041"/>
                  <a:gd name="connsiteY137" fmla="*/ 296795 h 776474"/>
                  <a:gd name="connsiteX138" fmla="*/ 290109 w 512041"/>
                  <a:gd name="connsiteY138" fmla="*/ 283650 h 776474"/>
                  <a:gd name="connsiteX139" fmla="*/ 271249 w 512041"/>
                  <a:gd name="connsiteY139" fmla="*/ 268220 h 776474"/>
                  <a:gd name="connsiteX140" fmla="*/ 264391 w 512041"/>
                  <a:gd name="connsiteY140" fmla="*/ 262505 h 776474"/>
                  <a:gd name="connsiteX141" fmla="*/ 256485 w 512041"/>
                  <a:gd name="connsiteY141" fmla="*/ 256504 h 776474"/>
                  <a:gd name="connsiteX142" fmla="*/ 241817 w 512041"/>
                  <a:gd name="connsiteY142" fmla="*/ 238216 h 776474"/>
                  <a:gd name="connsiteX143" fmla="*/ 239341 w 512041"/>
                  <a:gd name="connsiteY143" fmla="*/ 228881 h 776474"/>
                  <a:gd name="connsiteX144" fmla="*/ 237912 w 512041"/>
                  <a:gd name="connsiteY144" fmla="*/ 226595 h 776474"/>
                  <a:gd name="connsiteX145" fmla="*/ 230673 w 512041"/>
                  <a:gd name="connsiteY145" fmla="*/ 218273 h 776474"/>
                  <a:gd name="connsiteX146" fmla="*/ 227460 w 512041"/>
                  <a:gd name="connsiteY146" fmla="*/ 207822 h 776474"/>
                  <a:gd name="connsiteX147" fmla="*/ 227435 w 512041"/>
                  <a:gd name="connsiteY147" fmla="*/ 207831 h 776474"/>
                  <a:gd name="connsiteX148" fmla="*/ 227435 w 512041"/>
                  <a:gd name="connsiteY148" fmla="*/ 207739 h 776474"/>
                  <a:gd name="connsiteX149" fmla="*/ 227434 w 512041"/>
                  <a:gd name="connsiteY149" fmla="*/ 207736 h 776474"/>
                  <a:gd name="connsiteX150" fmla="*/ 225625 w 512041"/>
                  <a:gd name="connsiteY150" fmla="*/ 207736 h 776474"/>
                  <a:gd name="connsiteX151" fmla="*/ 227149 w 512041"/>
                  <a:gd name="connsiteY151" fmla="*/ 202402 h 776474"/>
                  <a:gd name="connsiteX152" fmla="*/ 230893 w 512041"/>
                  <a:gd name="connsiteY152" fmla="*/ 206520 h 776474"/>
                  <a:gd name="connsiteX153" fmla="*/ 230958 w 512041"/>
                  <a:gd name="connsiteY153" fmla="*/ 206498 h 776474"/>
                  <a:gd name="connsiteX154" fmla="*/ 227148 w 512041"/>
                  <a:gd name="connsiteY154" fmla="*/ 202307 h 776474"/>
                  <a:gd name="connsiteX155" fmla="*/ 369030 w 512041"/>
                  <a:gd name="connsiteY155" fmla="*/ 114657 h 776474"/>
                  <a:gd name="connsiteX156" fmla="*/ 369595 w 512041"/>
                  <a:gd name="connsiteY156" fmla="*/ 117844 h 776474"/>
                  <a:gd name="connsiteX157" fmla="*/ 372426 w 512041"/>
                  <a:gd name="connsiteY157" fmla="*/ 120014 h 776474"/>
                  <a:gd name="connsiteX158" fmla="*/ 370977 w 512041"/>
                  <a:gd name="connsiteY158" fmla="*/ 112010 h 776474"/>
                  <a:gd name="connsiteX159" fmla="*/ 370662 w 512041"/>
                  <a:gd name="connsiteY159" fmla="*/ 112270 h 776474"/>
                  <a:gd name="connsiteX160" fmla="*/ 372693 w 512041"/>
                  <a:gd name="connsiteY160" fmla="*/ 120219 h 776474"/>
                  <a:gd name="connsiteX161" fmla="*/ 373167 w 512041"/>
                  <a:gd name="connsiteY161" fmla="*/ 120582 h 776474"/>
                  <a:gd name="connsiteX162" fmla="*/ 370977 w 512041"/>
                  <a:gd name="connsiteY162" fmla="*/ 112010 h 776474"/>
                  <a:gd name="connsiteX163" fmla="*/ 442402 w 512041"/>
                  <a:gd name="connsiteY163" fmla="*/ 19082 h 776474"/>
                  <a:gd name="connsiteX164" fmla="*/ 449844 w 512041"/>
                  <a:gd name="connsiteY164" fmla="*/ 19427 h 776474"/>
                  <a:gd name="connsiteX165" fmla="*/ 450606 w 512041"/>
                  <a:gd name="connsiteY165" fmla="*/ 27333 h 776474"/>
                  <a:gd name="connsiteX166" fmla="*/ 444129 w 512041"/>
                  <a:gd name="connsiteY166" fmla="*/ 67052 h 776474"/>
                  <a:gd name="connsiteX167" fmla="*/ 434889 w 512041"/>
                  <a:gd name="connsiteY167" fmla="*/ 85530 h 776474"/>
                  <a:gd name="connsiteX168" fmla="*/ 417649 w 512041"/>
                  <a:gd name="connsiteY168" fmla="*/ 108200 h 776474"/>
                  <a:gd name="connsiteX169" fmla="*/ 403552 w 512041"/>
                  <a:gd name="connsiteY169" fmla="*/ 116963 h 776474"/>
                  <a:gd name="connsiteX170" fmla="*/ 390408 w 512041"/>
                  <a:gd name="connsiteY170" fmla="*/ 127440 h 776474"/>
                  <a:gd name="connsiteX171" fmla="*/ 369262 w 512041"/>
                  <a:gd name="connsiteY171" fmla="*/ 132298 h 776474"/>
                  <a:gd name="connsiteX172" fmla="*/ 369548 w 512041"/>
                  <a:gd name="connsiteY172" fmla="*/ 132298 h 776474"/>
                  <a:gd name="connsiteX173" fmla="*/ 361547 w 512041"/>
                  <a:gd name="connsiteY173" fmla="*/ 129536 h 776474"/>
                  <a:gd name="connsiteX174" fmla="*/ 366690 w 512041"/>
                  <a:gd name="connsiteY174" fmla="*/ 107914 h 776474"/>
                  <a:gd name="connsiteX175" fmla="*/ 376406 w 512041"/>
                  <a:gd name="connsiteY175" fmla="*/ 96484 h 776474"/>
                  <a:gd name="connsiteX176" fmla="*/ 376787 w 512041"/>
                  <a:gd name="connsiteY176" fmla="*/ 93531 h 776474"/>
                  <a:gd name="connsiteX177" fmla="*/ 376787 w 512041"/>
                  <a:gd name="connsiteY177" fmla="*/ 84578 h 776474"/>
                  <a:gd name="connsiteX178" fmla="*/ 397075 w 512041"/>
                  <a:gd name="connsiteY178" fmla="*/ 53717 h 776474"/>
                  <a:gd name="connsiteX179" fmla="*/ 405362 w 512041"/>
                  <a:gd name="connsiteY179" fmla="*/ 50193 h 776474"/>
                  <a:gd name="connsiteX180" fmla="*/ 410220 w 512041"/>
                  <a:gd name="connsiteY180" fmla="*/ 45621 h 776474"/>
                  <a:gd name="connsiteX181" fmla="*/ 417363 w 512041"/>
                  <a:gd name="connsiteY181" fmla="*/ 41144 h 776474"/>
                  <a:gd name="connsiteX182" fmla="*/ 419268 w 512041"/>
                  <a:gd name="connsiteY182" fmla="*/ 39239 h 776474"/>
                  <a:gd name="connsiteX183" fmla="*/ 435747 w 512041"/>
                  <a:gd name="connsiteY183" fmla="*/ 20094 h 776474"/>
                  <a:gd name="connsiteX184" fmla="*/ 442402 w 512041"/>
                  <a:gd name="connsiteY184" fmla="*/ 19082 h 776474"/>
                  <a:gd name="connsiteX185" fmla="*/ 78559 w 512041"/>
                  <a:gd name="connsiteY185" fmla="*/ 12568 h 776474"/>
                  <a:gd name="connsiteX186" fmla="*/ 84560 w 512041"/>
                  <a:gd name="connsiteY186" fmla="*/ 22569 h 776474"/>
                  <a:gd name="connsiteX187" fmla="*/ 86465 w 512041"/>
                  <a:gd name="connsiteY187" fmla="*/ 26284 h 776474"/>
                  <a:gd name="connsiteX188" fmla="*/ 86465 w 512041"/>
                  <a:gd name="connsiteY188" fmla="*/ 26570 h 776474"/>
                  <a:gd name="connsiteX189" fmla="*/ 86560 w 512041"/>
                  <a:gd name="connsiteY189" fmla="*/ 26570 h 776474"/>
                  <a:gd name="connsiteX190" fmla="*/ 87036 w 512041"/>
                  <a:gd name="connsiteY190" fmla="*/ 36762 h 776474"/>
                  <a:gd name="connsiteX191" fmla="*/ 87036 w 512041"/>
                  <a:gd name="connsiteY191" fmla="*/ 32672 h 776474"/>
                  <a:gd name="connsiteX192" fmla="*/ 86751 w 512041"/>
                  <a:gd name="connsiteY192" fmla="*/ 26571 h 776474"/>
                  <a:gd name="connsiteX193" fmla="*/ 86751 w 512041"/>
                  <a:gd name="connsiteY193" fmla="*/ 26570 h 776474"/>
                  <a:gd name="connsiteX194" fmla="*/ 86756 w 512041"/>
                  <a:gd name="connsiteY194" fmla="*/ 26577 h 776474"/>
                  <a:gd name="connsiteX195" fmla="*/ 86878 w 512041"/>
                  <a:gd name="connsiteY195" fmla="*/ 26730 h 776474"/>
                  <a:gd name="connsiteX196" fmla="*/ 86774 w 512041"/>
                  <a:gd name="connsiteY196" fmla="*/ 26522 h 776474"/>
                  <a:gd name="connsiteX197" fmla="*/ 86750 w 512041"/>
                  <a:gd name="connsiteY197" fmla="*/ 26570 h 776474"/>
                  <a:gd name="connsiteX198" fmla="*/ 86750 w 512041"/>
                  <a:gd name="connsiteY198" fmla="*/ 26474 h 776474"/>
                  <a:gd name="connsiteX199" fmla="*/ 86655 w 512041"/>
                  <a:gd name="connsiteY199" fmla="*/ 26284 h 776474"/>
                  <a:gd name="connsiteX200" fmla="*/ 86560 w 512041"/>
                  <a:gd name="connsiteY200" fmla="*/ 26284 h 776474"/>
                  <a:gd name="connsiteX201" fmla="*/ 87132 w 512041"/>
                  <a:gd name="connsiteY201" fmla="*/ 21807 h 776474"/>
                  <a:gd name="connsiteX202" fmla="*/ 89989 w 512041"/>
                  <a:gd name="connsiteY202" fmla="*/ 23427 h 776474"/>
                  <a:gd name="connsiteX203" fmla="*/ 94180 w 512041"/>
                  <a:gd name="connsiteY203" fmla="*/ 30761 h 776474"/>
                  <a:gd name="connsiteX204" fmla="*/ 112087 w 512041"/>
                  <a:gd name="connsiteY204" fmla="*/ 53145 h 776474"/>
                  <a:gd name="connsiteX205" fmla="*/ 120564 w 512041"/>
                  <a:gd name="connsiteY205" fmla="*/ 66861 h 776474"/>
                  <a:gd name="connsiteX206" fmla="*/ 126565 w 512041"/>
                  <a:gd name="connsiteY206" fmla="*/ 72385 h 776474"/>
                  <a:gd name="connsiteX207" fmla="*/ 124851 w 512041"/>
                  <a:gd name="connsiteY207" fmla="*/ 113152 h 776474"/>
                  <a:gd name="connsiteX208" fmla="*/ 123422 w 512041"/>
                  <a:gd name="connsiteY208" fmla="*/ 119153 h 776474"/>
                  <a:gd name="connsiteX209" fmla="*/ 124374 w 512041"/>
                  <a:gd name="connsiteY209" fmla="*/ 126582 h 776474"/>
                  <a:gd name="connsiteX210" fmla="*/ 111135 w 512041"/>
                  <a:gd name="connsiteY210" fmla="*/ 126487 h 776474"/>
                  <a:gd name="connsiteX211" fmla="*/ 99895 w 512041"/>
                  <a:gd name="connsiteY211" fmla="*/ 118200 h 776474"/>
                  <a:gd name="connsiteX212" fmla="*/ 93704 w 512041"/>
                  <a:gd name="connsiteY212" fmla="*/ 110676 h 776474"/>
                  <a:gd name="connsiteX213" fmla="*/ 93609 w 512041"/>
                  <a:gd name="connsiteY213" fmla="*/ 110676 h 776474"/>
                  <a:gd name="connsiteX214" fmla="*/ 74273 w 512041"/>
                  <a:gd name="connsiteY214" fmla="*/ 88387 h 776474"/>
                  <a:gd name="connsiteX215" fmla="*/ 59985 w 512041"/>
                  <a:gd name="connsiteY215" fmla="*/ 50478 h 776474"/>
                  <a:gd name="connsiteX216" fmla="*/ 68844 w 512041"/>
                  <a:gd name="connsiteY216" fmla="*/ 19236 h 776474"/>
                  <a:gd name="connsiteX217" fmla="*/ 78559 w 512041"/>
                  <a:gd name="connsiteY217" fmla="*/ 12568 h 776474"/>
                  <a:gd name="connsiteX218" fmla="*/ 236197 w 512041"/>
                  <a:gd name="connsiteY218" fmla="*/ 1043 h 776474"/>
                  <a:gd name="connsiteX219" fmla="*/ 251914 w 512041"/>
                  <a:gd name="connsiteY219" fmla="*/ 25999 h 776474"/>
                  <a:gd name="connsiteX220" fmla="*/ 248199 w 512041"/>
                  <a:gd name="connsiteY220" fmla="*/ 28761 h 776474"/>
                  <a:gd name="connsiteX221" fmla="*/ 249627 w 512041"/>
                  <a:gd name="connsiteY221" fmla="*/ 39239 h 776474"/>
                  <a:gd name="connsiteX222" fmla="*/ 252295 w 512041"/>
                  <a:gd name="connsiteY222" fmla="*/ 42287 h 776474"/>
                  <a:gd name="connsiteX223" fmla="*/ 247151 w 512041"/>
                  <a:gd name="connsiteY223" fmla="*/ 45335 h 776474"/>
                  <a:gd name="connsiteX224" fmla="*/ 250675 w 512041"/>
                  <a:gd name="connsiteY224" fmla="*/ 57050 h 776474"/>
                  <a:gd name="connsiteX225" fmla="*/ 255057 w 512041"/>
                  <a:gd name="connsiteY225" fmla="*/ 82387 h 776474"/>
                  <a:gd name="connsiteX226" fmla="*/ 256771 w 512041"/>
                  <a:gd name="connsiteY226" fmla="*/ 93055 h 776474"/>
                  <a:gd name="connsiteX227" fmla="*/ 267249 w 512041"/>
                  <a:gd name="connsiteY227" fmla="*/ 131345 h 776474"/>
                  <a:gd name="connsiteX228" fmla="*/ 269630 w 512041"/>
                  <a:gd name="connsiteY228" fmla="*/ 135441 h 776474"/>
                  <a:gd name="connsiteX229" fmla="*/ 281250 w 512041"/>
                  <a:gd name="connsiteY229" fmla="*/ 156206 h 776474"/>
                  <a:gd name="connsiteX230" fmla="*/ 297824 w 512041"/>
                  <a:gd name="connsiteY230" fmla="*/ 177446 h 776474"/>
                  <a:gd name="connsiteX231" fmla="*/ 316493 w 512041"/>
                  <a:gd name="connsiteY231" fmla="*/ 192877 h 776474"/>
                  <a:gd name="connsiteX232" fmla="*/ 336019 w 512041"/>
                  <a:gd name="connsiteY232" fmla="*/ 206307 h 776474"/>
                  <a:gd name="connsiteX233" fmla="*/ 343639 w 512041"/>
                  <a:gd name="connsiteY233" fmla="*/ 213546 h 776474"/>
                  <a:gd name="connsiteX234" fmla="*/ 345925 w 512041"/>
                  <a:gd name="connsiteY234" fmla="*/ 214880 h 776474"/>
                  <a:gd name="connsiteX235" fmla="*/ 366214 w 512041"/>
                  <a:gd name="connsiteY235" fmla="*/ 220785 h 776474"/>
                  <a:gd name="connsiteX236" fmla="*/ 373738 w 512041"/>
                  <a:gd name="connsiteY236" fmla="*/ 223071 h 776474"/>
                  <a:gd name="connsiteX237" fmla="*/ 384978 w 512041"/>
                  <a:gd name="connsiteY237" fmla="*/ 231072 h 776474"/>
                  <a:gd name="connsiteX238" fmla="*/ 399170 w 512041"/>
                  <a:gd name="connsiteY238" fmla="*/ 235168 h 776474"/>
                  <a:gd name="connsiteX239" fmla="*/ 412696 w 512041"/>
                  <a:gd name="connsiteY239" fmla="*/ 238787 h 776474"/>
                  <a:gd name="connsiteX240" fmla="*/ 425364 w 512041"/>
                  <a:gd name="connsiteY240" fmla="*/ 239073 h 776474"/>
                  <a:gd name="connsiteX241" fmla="*/ 443175 w 512041"/>
                  <a:gd name="connsiteY241" fmla="*/ 243550 h 776474"/>
                  <a:gd name="connsiteX242" fmla="*/ 466131 w 512041"/>
                  <a:gd name="connsiteY242" fmla="*/ 246693 h 776474"/>
                  <a:gd name="connsiteX243" fmla="*/ 484419 w 512041"/>
                  <a:gd name="connsiteY243" fmla="*/ 247741 h 776474"/>
                  <a:gd name="connsiteX244" fmla="*/ 503278 w 512041"/>
                  <a:gd name="connsiteY244" fmla="*/ 268029 h 776474"/>
                  <a:gd name="connsiteX245" fmla="*/ 505755 w 512041"/>
                  <a:gd name="connsiteY245" fmla="*/ 284603 h 776474"/>
                  <a:gd name="connsiteX246" fmla="*/ 512041 w 512041"/>
                  <a:gd name="connsiteY246" fmla="*/ 288698 h 776474"/>
                  <a:gd name="connsiteX247" fmla="*/ 511851 w 512041"/>
                  <a:gd name="connsiteY247" fmla="*/ 288794 h 776474"/>
                  <a:gd name="connsiteX248" fmla="*/ 511851 w 512041"/>
                  <a:gd name="connsiteY248" fmla="*/ 290699 h 776474"/>
                  <a:gd name="connsiteX249" fmla="*/ 509470 w 512041"/>
                  <a:gd name="connsiteY249" fmla="*/ 311082 h 776474"/>
                  <a:gd name="connsiteX250" fmla="*/ 510898 w 512041"/>
                  <a:gd name="connsiteY250" fmla="*/ 315464 h 776474"/>
                  <a:gd name="connsiteX251" fmla="*/ 505183 w 512041"/>
                  <a:gd name="connsiteY251" fmla="*/ 328322 h 776474"/>
                  <a:gd name="connsiteX252" fmla="*/ 505945 w 512041"/>
                  <a:gd name="connsiteY252" fmla="*/ 343277 h 776474"/>
                  <a:gd name="connsiteX253" fmla="*/ 474798 w 512041"/>
                  <a:gd name="connsiteY253" fmla="*/ 366041 h 776474"/>
                  <a:gd name="connsiteX254" fmla="*/ 440699 w 512041"/>
                  <a:gd name="connsiteY254" fmla="*/ 367946 h 776474"/>
                  <a:gd name="connsiteX255" fmla="*/ 423078 w 512041"/>
                  <a:gd name="connsiteY255" fmla="*/ 374138 h 776474"/>
                  <a:gd name="connsiteX256" fmla="*/ 412124 w 512041"/>
                  <a:gd name="connsiteY256" fmla="*/ 374138 h 776474"/>
                  <a:gd name="connsiteX257" fmla="*/ 404885 w 512041"/>
                  <a:gd name="connsiteY257" fmla="*/ 374995 h 776474"/>
                  <a:gd name="connsiteX258" fmla="*/ 365928 w 512041"/>
                  <a:gd name="connsiteY258" fmla="*/ 388901 h 776474"/>
                  <a:gd name="connsiteX259" fmla="*/ 330114 w 512041"/>
                  <a:gd name="connsiteY259" fmla="*/ 395664 h 776474"/>
                  <a:gd name="connsiteX260" fmla="*/ 326304 w 512041"/>
                  <a:gd name="connsiteY260" fmla="*/ 396045 h 776474"/>
                  <a:gd name="connsiteX261" fmla="*/ 300015 w 512041"/>
                  <a:gd name="connsiteY261" fmla="*/ 401189 h 776474"/>
                  <a:gd name="connsiteX262" fmla="*/ 289442 w 512041"/>
                  <a:gd name="connsiteY262" fmla="*/ 401284 h 776474"/>
                  <a:gd name="connsiteX263" fmla="*/ 265534 w 512041"/>
                  <a:gd name="connsiteY263" fmla="*/ 417667 h 776474"/>
                  <a:gd name="connsiteX264" fmla="*/ 262200 w 512041"/>
                  <a:gd name="connsiteY264" fmla="*/ 460625 h 776474"/>
                  <a:gd name="connsiteX265" fmla="*/ 262772 w 512041"/>
                  <a:gd name="connsiteY265" fmla="*/ 481484 h 776474"/>
                  <a:gd name="connsiteX266" fmla="*/ 260105 w 512041"/>
                  <a:gd name="connsiteY266" fmla="*/ 544445 h 776474"/>
                  <a:gd name="connsiteX267" fmla="*/ 253152 w 512041"/>
                  <a:gd name="connsiteY267" fmla="*/ 577115 h 776474"/>
                  <a:gd name="connsiteX268" fmla="*/ 249627 w 512041"/>
                  <a:gd name="connsiteY268" fmla="*/ 620073 h 776474"/>
                  <a:gd name="connsiteX269" fmla="*/ 246008 w 512041"/>
                  <a:gd name="connsiteY269" fmla="*/ 648553 h 776474"/>
                  <a:gd name="connsiteX270" fmla="*/ 244865 w 512041"/>
                  <a:gd name="connsiteY270" fmla="*/ 674842 h 776474"/>
                  <a:gd name="connsiteX271" fmla="*/ 245056 w 512041"/>
                  <a:gd name="connsiteY271" fmla="*/ 714561 h 776474"/>
                  <a:gd name="connsiteX272" fmla="*/ 242674 w 512041"/>
                  <a:gd name="connsiteY272" fmla="*/ 765425 h 776474"/>
                  <a:gd name="connsiteX273" fmla="*/ 234673 w 512041"/>
                  <a:gd name="connsiteY273" fmla="*/ 776474 h 776474"/>
                  <a:gd name="connsiteX274" fmla="*/ 223339 w 512041"/>
                  <a:gd name="connsiteY274" fmla="*/ 776474 h 776474"/>
                  <a:gd name="connsiteX275" fmla="*/ 223148 w 512041"/>
                  <a:gd name="connsiteY275" fmla="*/ 776474 h 776474"/>
                  <a:gd name="connsiteX276" fmla="*/ 213719 w 512041"/>
                  <a:gd name="connsiteY276" fmla="*/ 776474 h 776474"/>
                  <a:gd name="connsiteX277" fmla="*/ 213528 w 512041"/>
                  <a:gd name="connsiteY277" fmla="*/ 776474 h 776474"/>
                  <a:gd name="connsiteX278" fmla="*/ 207718 w 512041"/>
                  <a:gd name="connsiteY278" fmla="*/ 776474 h 776474"/>
                  <a:gd name="connsiteX279" fmla="*/ 196383 w 512041"/>
                  <a:gd name="connsiteY279" fmla="*/ 757614 h 776474"/>
                  <a:gd name="connsiteX280" fmla="*/ 193144 w 512041"/>
                  <a:gd name="connsiteY280" fmla="*/ 750375 h 776474"/>
                  <a:gd name="connsiteX281" fmla="*/ 187620 w 512041"/>
                  <a:gd name="connsiteY281" fmla="*/ 723419 h 776474"/>
                  <a:gd name="connsiteX282" fmla="*/ 185620 w 512041"/>
                  <a:gd name="connsiteY282" fmla="*/ 719038 h 776474"/>
                  <a:gd name="connsiteX283" fmla="*/ 178857 w 512041"/>
                  <a:gd name="connsiteY283" fmla="*/ 663602 h 776474"/>
                  <a:gd name="connsiteX284" fmla="*/ 181238 w 512041"/>
                  <a:gd name="connsiteY284" fmla="*/ 654744 h 776474"/>
                  <a:gd name="connsiteX285" fmla="*/ 180667 w 512041"/>
                  <a:gd name="connsiteY285" fmla="*/ 574639 h 776474"/>
                  <a:gd name="connsiteX286" fmla="*/ 184286 w 512041"/>
                  <a:gd name="connsiteY286" fmla="*/ 558065 h 776474"/>
                  <a:gd name="connsiteX287" fmla="*/ 180762 w 512041"/>
                  <a:gd name="connsiteY287" fmla="*/ 537110 h 776474"/>
                  <a:gd name="connsiteX288" fmla="*/ 179428 w 512041"/>
                  <a:gd name="connsiteY288" fmla="*/ 508821 h 776474"/>
                  <a:gd name="connsiteX289" fmla="*/ 178095 w 512041"/>
                  <a:gd name="connsiteY289" fmla="*/ 487580 h 776474"/>
                  <a:gd name="connsiteX290" fmla="*/ 174380 w 512041"/>
                  <a:gd name="connsiteY290" fmla="*/ 458624 h 776474"/>
                  <a:gd name="connsiteX291" fmla="*/ 170856 w 512041"/>
                  <a:gd name="connsiteY291" fmla="*/ 419858 h 776474"/>
                  <a:gd name="connsiteX292" fmla="*/ 164760 w 512041"/>
                  <a:gd name="connsiteY292" fmla="*/ 397950 h 776474"/>
                  <a:gd name="connsiteX293" fmla="*/ 151901 w 512041"/>
                  <a:gd name="connsiteY293" fmla="*/ 379853 h 776474"/>
                  <a:gd name="connsiteX294" fmla="*/ 144091 w 512041"/>
                  <a:gd name="connsiteY294" fmla="*/ 371661 h 776474"/>
                  <a:gd name="connsiteX295" fmla="*/ 110848 w 512041"/>
                  <a:gd name="connsiteY295" fmla="*/ 364327 h 776474"/>
                  <a:gd name="connsiteX296" fmla="*/ 86941 w 512041"/>
                  <a:gd name="connsiteY296" fmla="*/ 364041 h 776474"/>
                  <a:gd name="connsiteX297" fmla="*/ 74272 w 512041"/>
                  <a:gd name="connsiteY297" fmla="*/ 361565 h 776474"/>
                  <a:gd name="connsiteX298" fmla="*/ 59032 w 512041"/>
                  <a:gd name="connsiteY298" fmla="*/ 360803 h 776474"/>
                  <a:gd name="connsiteX299" fmla="*/ 41792 w 512041"/>
                  <a:gd name="connsiteY299" fmla="*/ 361184 h 776474"/>
                  <a:gd name="connsiteX300" fmla="*/ 38649 w 512041"/>
                  <a:gd name="connsiteY300" fmla="*/ 361374 h 776474"/>
                  <a:gd name="connsiteX301" fmla="*/ 32362 w 512041"/>
                  <a:gd name="connsiteY301" fmla="*/ 361946 h 776474"/>
                  <a:gd name="connsiteX302" fmla="*/ 19408 w 512041"/>
                  <a:gd name="connsiteY302" fmla="*/ 361374 h 776474"/>
                  <a:gd name="connsiteX303" fmla="*/ 930 w 512041"/>
                  <a:gd name="connsiteY303" fmla="*/ 347563 h 776474"/>
                  <a:gd name="connsiteX304" fmla="*/ 1501 w 512041"/>
                  <a:gd name="connsiteY304" fmla="*/ 329465 h 776474"/>
                  <a:gd name="connsiteX305" fmla="*/ 7216 w 512041"/>
                  <a:gd name="connsiteY305" fmla="*/ 322417 h 776474"/>
                  <a:gd name="connsiteX306" fmla="*/ 8740 w 512041"/>
                  <a:gd name="connsiteY306" fmla="*/ 320417 h 776474"/>
                  <a:gd name="connsiteX307" fmla="*/ 14836 w 512041"/>
                  <a:gd name="connsiteY307" fmla="*/ 311844 h 776474"/>
                  <a:gd name="connsiteX308" fmla="*/ 7216 w 512041"/>
                  <a:gd name="connsiteY308" fmla="*/ 296509 h 776474"/>
                  <a:gd name="connsiteX309" fmla="*/ 15408 w 512041"/>
                  <a:gd name="connsiteY309" fmla="*/ 280126 h 776474"/>
                  <a:gd name="connsiteX310" fmla="*/ 30743 w 512041"/>
                  <a:gd name="connsiteY310" fmla="*/ 274316 h 776474"/>
                  <a:gd name="connsiteX311" fmla="*/ 48460 w 512041"/>
                  <a:gd name="connsiteY311" fmla="*/ 269839 h 776474"/>
                  <a:gd name="connsiteX312" fmla="*/ 58556 w 512041"/>
                  <a:gd name="connsiteY312" fmla="*/ 274887 h 776474"/>
                  <a:gd name="connsiteX313" fmla="*/ 60937 w 512041"/>
                  <a:gd name="connsiteY313" fmla="*/ 274030 h 776474"/>
                  <a:gd name="connsiteX314" fmla="*/ 70558 w 512041"/>
                  <a:gd name="connsiteY314" fmla="*/ 268410 h 776474"/>
                  <a:gd name="connsiteX315" fmla="*/ 78749 w 512041"/>
                  <a:gd name="connsiteY315" fmla="*/ 265362 h 776474"/>
                  <a:gd name="connsiteX316" fmla="*/ 106086 w 512041"/>
                  <a:gd name="connsiteY316" fmla="*/ 257361 h 776474"/>
                  <a:gd name="connsiteX317" fmla="*/ 124564 w 512041"/>
                  <a:gd name="connsiteY317" fmla="*/ 253075 h 776474"/>
                  <a:gd name="connsiteX318" fmla="*/ 137233 w 512041"/>
                  <a:gd name="connsiteY318" fmla="*/ 243836 h 776474"/>
                  <a:gd name="connsiteX319" fmla="*/ 169332 w 512041"/>
                  <a:gd name="connsiteY319" fmla="*/ 232310 h 776474"/>
                  <a:gd name="connsiteX320" fmla="*/ 173999 w 512041"/>
                  <a:gd name="connsiteY320" fmla="*/ 226976 h 776474"/>
                  <a:gd name="connsiteX321" fmla="*/ 183905 w 512041"/>
                  <a:gd name="connsiteY321" fmla="*/ 222595 h 776474"/>
                  <a:gd name="connsiteX322" fmla="*/ 186191 w 512041"/>
                  <a:gd name="connsiteY322" fmla="*/ 221833 h 776474"/>
                  <a:gd name="connsiteX323" fmla="*/ 204955 w 512041"/>
                  <a:gd name="connsiteY323" fmla="*/ 177351 h 776474"/>
                  <a:gd name="connsiteX324" fmla="*/ 208003 w 512041"/>
                  <a:gd name="connsiteY324" fmla="*/ 105056 h 776474"/>
                  <a:gd name="connsiteX325" fmla="*/ 203241 w 512041"/>
                  <a:gd name="connsiteY325" fmla="*/ 70766 h 776474"/>
                  <a:gd name="connsiteX326" fmla="*/ 207813 w 512041"/>
                  <a:gd name="connsiteY326" fmla="*/ 52669 h 776474"/>
                  <a:gd name="connsiteX327" fmla="*/ 210194 w 512041"/>
                  <a:gd name="connsiteY327" fmla="*/ 39905 h 776474"/>
                  <a:gd name="connsiteX328" fmla="*/ 227720 w 512041"/>
                  <a:gd name="connsiteY328" fmla="*/ 2567 h 776474"/>
                  <a:gd name="connsiteX329" fmla="*/ 236197 w 512041"/>
                  <a:gd name="connsiteY329" fmla="*/ 1043 h 776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Lst>
                <a:rect l="l" t="t" r="r" b="b"/>
                <a:pathLst>
                  <a:path w="512041" h="776474">
                    <a:moveTo>
                      <a:pt x="468035" y="583116"/>
                    </a:moveTo>
                    <a:lnTo>
                      <a:pt x="467945" y="583143"/>
                    </a:lnTo>
                    <a:lnTo>
                      <a:pt x="468894" y="588831"/>
                    </a:lnTo>
                    <a:lnTo>
                      <a:pt x="467101" y="585493"/>
                    </a:lnTo>
                    <a:lnTo>
                      <a:pt x="468893" y="588831"/>
                    </a:lnTo>
                    <a:lnTo>
                      <a:pt x="468894" y="588831"/>
                    </a:lnTo>
                    <a:lnTo>
                      <a:pt x="468988" y="588831"/>
                    </a:lnTo>
                    <a:cubicBezTo>
                      <a:pt x="470322" y="586640"/>
                      <a:pt x="470036" y="584735"/>
                      <a:pt x="468035" y="583116"/>
                    </a:cubicBezTo>
                    <a:close/>
                    <a:moveTo>
                      <a:pt x="457368" y="573019"/>
                    </a:moveTo>
                    <a:cubicBezTo>
                      <a:pt x="455748" y="576924"/>
                      <a:pt x="450224" y="571019"/>
                      <a:pt x="449843" y="576162"/>
                    </a:cubicBezTo>
                    <a:lnTo>
                      <a:pt x="449844" y="576163"/>
                    </a:lnTo>
                    <a:lnTo>
                      <a:pt x="453142" y="574128"/>
                    </a:lnTo>
                    <a:lnTo>
                      <a:pt x="457368" y="573020"/>
                    </a:lnTo>
                    <a:close/>
                    <a:moveTo>
                      <a:pt x="251628" y="544349"/>
                    </a:moveTo>
                    <a:cubicBezTo>
                      <a:pt x="249056" y="546350"/>
                      <a:pt x="250580" y="549207"/>
                      <a:pt x="250675" y="552255"/>
                    </a:cubicBezTo>
                    <a:lnTo>
                      <a:pt x="250676" y="552253"/>
                    </a:lnTo>
                    <a:close/>
                    <a:moveTo>
                      <a:pt x="50174" y="541301"/>
                    </a:moveTo>
                    <a:cubicBezTo>
                      <a:pt x="57032" y="541968"/>
                      <a:pt x="49983" y="545397"/>
                      <a:pt x="51222" y="547111"/>
                    </a:cubicBezTo>
                    <a:cubicBezTo>
                      <a:pt x="49317" y="545397"/>
                      <a:pt x="50460" y="543206"/>
                      <a:pt x="50174" y="541301"/>
                    </a:cubicBezTo>
                    <a:close/>
                    <a:moveTo>
                      <a:pt x="447843" y="531204"/>
                    </a:moveTo>
                    <a:cubicBezTo>
                      <a:pt x="446509" y="534062"/>
                      <a:pt x="446033" y="536157"/>
                      <a:pt x="447843" y="538443"/>
                    </a:cubicBezTo>
                    <a:lnTo>
                      <a:pt x="447938" y="538090"/>
                    </a:lnTo>
                    <a:lnTo>
                      <a:pt x="447938" y="531653"/>
                    </a:lnTo>
                    <a:close/>
                    <a:moveTo>
                      <a:pt x="373738" y="497391"/>
                    </a:moveTo>
                    <a:cubicBezTo>
                      <a:pt x="372119" y="497010"/>
                      <a:pt x="371547" y="498248"/>
                      <a:pt x="371547" y="499581"/>
                    </a:cubicBezTo>
                    <a:cubicBezTo>
                      <a:pt x="371547" y="500343"/>
                      <a:pt x="372024" y="501201"/>
                      <a:pt x="372404" y="502534"/>
                    </a:cubicBezTo>
                    <a:lnTo>
                      <a:pt x="372404" y="502629"/>
                    </a:lnTo>
                    <a:cubicBezTo>
                      <a:pt x="373548" y="501296"/>
                      <a:pt x="374500" y="500439"/>
                      <a:pt x="374976" y="499391"/>
                    </a:cubicBezTo>
                    <a:lnTo>
                      <a:pt x="374952" y="499351"/>
                    </a:lnTo>
                    <a:lnTo>
                      <a:pt x="372500" y="502439"/>
                    </a:lnTo>
                    <a:cubicBezTo>
                      <a:pt x="372024" y="501105"/>
                      <a:pt x="371643" y="500343"/>
                      <a:pt x="371643" y="499486"/>
                    </a:cubicBezTo>
                    <a:lnTo>
                      <a:pt x="373738" y="497391"/>
                    </a:lnTo>
                    <a:close/>
                    <a:moveTo>
                      <a:pt x="359260" y="480341"/>
                    </a:moveTo>
                    <a:cubicBezTo>
                      <a:pt x="358879" y="480150"/>
                      <a:pt x="357164" y="481103"/>
                      <a:pt x="357164" y="481674"/>
                    </a:cubicBezTo>
                    <a:cubicBezTo>
                      <a:pt x="356783" y="484532"/>
                      <a:pt x="359070" y="485389"/>
                      <a:pt x="361070" y="486532"/>
                    </a:cubicBezTo>
                    <a:lnTo>
                      <a:pt x="361165" y="486532"/>
                    </a:lnTo>
                    <a:cubicBezTo>
                      <a:pt x="359165" y="485485"/>
                      <a:pt x="356879" y="484532"/>
                      <a:pt x="357260" y="481675"/>
                    </a:cubicBezTo>
                    <a:lnTo>
                      <a:pt x="359276" y="480391"/>
                    </a:lnTo>
                    <a:close/>
                    <a:moveTo>
                      <a:pt x="351354" y="471959"/>
                    </a:moveTo>
                    <a:cubicBezTo>
                      <a:pt x="350116" y="472054"/>
                      <a:pt x="348592" y="471864"/>
                      <a:pt x="348592" y="473769"/>
                    </a:cubicBezTo>
                    <a:cubicBezTo>
                      <a:pt x="348687" y="475483"/>
                      <a:pt x="349830" y="476817"/>
                      <a:pt x="351450" y="476817"/>
                    </a:cubicBezTo>
                    <a:lnTo>
                      <a:pt x="351578" y="476750"/>
                    </a:lnTo>
                    <a:lnTo>
                      <a:pt x="348783" y="473769"/>
                    </a:lnTo>
                    <a:lnTo>
                      <a:pt x="351413" y="472045"/>
                    </a:lnTo>
                    <a:close/>
                    <a:moveTo>
                      <a:pt x="76273" y="434145"/>
                    </a:moveTo>
                    <a:cubicBezTo>
                      <a:pt x="79225" y="438431"/>
                      <a:pt x="88655" y="436907"/>
                      <a:pt x="87131" y="444242"/>
                    </a:cubicBezTo>
                    <a:lnTo>
                      <a:pt x="87417" y="444242"/>
                    </a:lnTo>
                    <a:cubicBezTo>
                      <a:pt x="85988" y="451290"/>
                      <a:pt x="94656" y="456910"/>
                      <a:pt x="87703" y="465482"/>
                    </a:cubicBezTo>
                    <a:cubicBezTo>
                      <a:pt x="83035" y="471102"/>
                      <a:pt x="82940" y="481198"/>
                      <a:pt x="80559" y="489199"/>
                    </a:cubicBezTo>
                    <a:cubicBezTo>
                      <a:pt x="79511" y="492438"/>
                      <a:pt x="83988" y="497677"/>
                      <a:pt x="76273" y="497772"/>
                    </a:cubicBezTo>
                    <a:cubicBezTo>
                      <a:pt x="75511" y="497772"/>
                      <a:pt x="75796" y="499487"/>
                      <a:pt x="76844" y="500629"/>
                    </a:cubicBezTo>
                    <a:cubicBezTo>
                      <a:pt x="80464" y="504725"/>
                      <a:pt x="80273" y="507297"/>
                      <a:pt x="73891" y="507488"/>
                    </a:cubicBezTo>
                    <a:cubicBezTo>
                      <a:pt x="72463" y="507583"/>
                      <a:pt x="71320" y="509393"/>
                      <a:pt x="71510" y="511202"/>
                    </a:cubicBezTo>
                    <a:cubicBezTo>
                      <a:pt x="72177" y="517679"/>
                      <a:pt x="65224" y="519870"/>
                      <a:pt x="63033" y="525299"/>
                    </a:cubicBezTo>
                    <a:cubicBezTo>
                      <a:pt x="60842" y="530538"/>
                      <a:pt x="56080" y="537110"/>
                      <a:pt x="50269" y="541206"/>
                    </a:cubicBezTo>
                    <a:cubicBezTo>
                      <a:pt x="49984" y="541301"/>
                      <a:pt x="49412" y="541492"/>
                      <a:pt x="49412" y="541587"/>
                    </a:cubicBezTo>
                    <a:cubicBezTo>
                      <a:pt x="49888" y="554922"/>
                      <a:pt x="39316" y="561494"/>
                      <a:pt x="32267" y="570257"/>
                    </a:cubicBezTo>
                    <a:cubicBezTo>
                      <a:pt x="31315" y="571496"/>
                      <a:pt x="29124" y="572734"/>
                      <a:pt x="29314" y="573686"/>
                    </a:cubicBezTo>
                    <a:cubicBezTo>
                      <a:pt x="30648" y="581687"/>
                      <a:pt x="24838" y="579497"/>
                      <a:pt x="21028" y="579497"/>
                    </a:cubicBezTo>
                    <a:cubicBezTo>
                      <a:pt x="14360" y="579687"/>
                      <a:pt x="11503" y="575591"/>
                      <a:pt x="9979" y="569400"/>
                    </a:cubicBezTo>
                    <a:cubicBezTo>
                      <a:pt x="8169" y="561971"/>
                      <a:pt x="11979" y="555303"/>
                      <a:pt x="11979" y="548064"/>
                    </a:cubicBezTo>
                    <a:cubicBezTo>
                      <a:pt x="12074" y="538634"/>
                      <a:pt x="11693" y="528252"/>
                      <a:pt x="15408" y="520061"/>
                    </a:cubicBezTo>
                    <a:cubicBezTo>
                      <a:pt x="19599" y="510726"/>
                      <a:pt x="21885" y="500629"/>
                      <a:pt x="26933" y="491581"/>
                    </a:cubicBezTo>
                    <a:cubicBezTo>
                      <a:pt x="29981" y="486151"/>
                      <a:pt x="34172" y="479103"/>
                      <a:pt x="37506" y="476626"/>
                    </a:cubicBezTo>
                    <a:cubicBezTo>
                      <a:pt x="46459" y="469864"/>
                      <a:pt x="45221" y="455672"/>
                      <a:pt x="54651" y="452623"/>
                    </a:cubicBezTo>
                    <a:cubicBezTo>
                      <a:pt x="61985" y="450338"/>
                      <a:pt x="61890" y="444337"/>
                      <a:pt x="65890" y="441479"/>
                    </a:cubicBezTo>
                    <a:cubicBezTo>
                      <a:pt x="69319" y="439098"/>
                      <a:pt x="73891" y="438241"/>
                      <a:pt x="76273" y="434145"/>
                    </a:cubicBezTo>
                    <a:close/>
                    <a:moveTo>
                      <a:pt x="337484" y="428358"/>
                    </a:moveTo>
                    <a:cubicBezTo>
                      <a:pt x="338639" y="428048"/>
                      <a:pt x="339782" y="428810"/>
                      <a:pt x="340591" y="431668"/>
                    </a:cubicBezTo>
                    <a:cubicBezTo>
                      <a:pt x="342496" y="438526"/>
                      <a:pt x="345163" y="437955"/>
                      <a:pt x="348687" y="432906"/>
                    </a:cubicBezTo>
                    <a:cubicBezTo>
                      <a:pt x="349068" y="432430"/>
                      <a:pt x="350021" y="431859"/>
                      <a:pt x="350021" y="431859"/>
                    </a:cubicBezTo>
                    <a:cubicBezTo>
                      <a:pt x="353831" y="435954"/>
                      <a:pt x="361737" y="434335"/>
                      <a:pt x="363260" y="440431"/>
                    </a:cubicBezTo>
                    <a:cubicBezTo>
                      <a:pt x="364308" y="444908"/>
                      <a:pt x="367071" y="446622"/>
                      <a:pt x="370214" y="448623"/>
                    </a:cubicBezTo>
                    <a:cubicBezTo>
                      <a:pt x="375548" y="452052"/>
                      <a:pt x="380977" y="455385"/>
                      <a:pt x="381453" y="462720"/>
                    </a:cubicBezTo>
                    <a:cubicBezTo>
                      <a:pt x="381453" y="463672"/>
                      <a:pt x="382787" y="465387"/>
                      <a:pt x="383739" y="465482"/>
                    </a:cubicBezTo>
                    <a:cubicBezTo>
                      <a:pt x="398027" y="467292"/>
                      <a:pt x="399265" y="483865"/>
                      <a:pt x="410600" y="489009"/>
                    </a:cubicBezTo>
                    <a:cubicBezTo>
                      <a:pt x="413362" y="490247"/>
                      <a:pt x="413172" y="493771"/>
                      <a:pt x="414314" y="496248"/>
                    </a:cubicBezTo>
                    <a:cubicBezTo>
                      <a:pt x="415553" y="498819"/>
                      <a:pt x="414124" y="507011"/>
                      <a:pt x="422220" y="502058"/>
                    </a:cubicBezTo>
                    <a:cubicBezTo>
                      <a:pt x="425078" y="500248"/>
                      <a:pt x="426316" y="505677"/>
                      <a:pt x="428602" y="507487"/>
                    </a:cubicBezTo>
                    <a:cubicBezTo>
                      <a:pt x="437651" y="514440"/>
                      <a:pt x="447366" y="520632"/>
                      <a:pt x="454796" y="529395"/>
                    </a:cubicBezTo>
                    <a:cubicBezTo>
                      <a:pt x="456415" y="531300"/>
                      <a:pt x="458225" y="533300"/>
                      <a:pt x="458987" y="535586"/>
                    </a:cubicBezTo>
                    <a:cubicBezTo>
                      <a:pt x="460320" y="539682"/>
                      <a:pt x="459939" y="545111"/>
                      <a:pt x="466893" y="542730"/>
                    </a:cubicBezTo>
                    <a:lnTo>
                      <a:pt x="466797" y="542730"/>
                    </a:lnTo>
                    <a:cubicBezTo>
                      <a:pt x="468035" y="542349"/>
                      <a:pt x="469083" y="541872"/>
                      <a:pt x="469560" y="543777"/>
                    </a:cubicBezTo>
                    <a:cubicBezTo>
                      <a:pt x="472608" y="556636"/>
                      <a:pt x="475846" y="569495"/>
                      <a:pt x="478989" y="582354"/>
                    </a:cubicBezTo>
                    <a:cubicBezTo>
                      <a:pt x="478132" y="588545"/>
                      <a:pt x="477370" y="594736"/>
                      <a:pt x="476227" y="600832"/>
                    </a:cubicBezTo>
                    <a:cubicBezTo>
                      <a:pt x="476037" y="601594"/>
                      <a:pt x="474036" y="602928"/>
                      <a:pt x="473274" y="602642"/>
                    </a:cubicBezTo>
                    <a:cubicBezTo>
                      <a:pt x="464321" y="599403"/>
                      <a:pt x="454415" y="600642"/>
                      <a:pt x="445461" y="596070"/>
                    </a:cubicBezTo>
                    <a:cubicBezTo>
                      <a:pt x="441842" y="594260"/>
                      <a:pt x="436031" y="594165"/>
                      <a:pt x="433269" y="591117"/>
                    </a:cubicBezTo>
                    <a:cubicBezTo>
                      <a:pt x="428507" y="585783"/>
                      <a:pt x="419363" y="585687"/>
                      <a:pt x="417362" y="577305"/>
                    </a:cubicBezTo>
                    <a:cubicBezTo>
                      <a:pt x="417077" y="576258"/>
                      <a:pt x="415077" y="574638"/>
                      <a:pt x="414886" y="574734"/>
                    </a:cubicBezTo>
                    <a:cubicBezTo>
                      <a:pt x="406218" y="580639"/>
                      <a:pt x="407837" y="571114"/>
                      <a:pt x="405171" y="568257"/>
                    </a:cubicBezTo>
                    <a:cubicBezTo>
                      <a:pt x="400503" y="563208"/>
                      <a:pt x="394979" y="559208"/>
                      <a:pt x="390121" y="554350"/>
                    </a:cubicBezTo>
                    <a:cubicBezTo>
                      <a:pt x="386216" y="550445"/>
                      <a:pt x="380501" y="547397"/>
                      <a:pt x="378215" y="542634"/>
                    </a:cubicBezTo>
                    <a:cubicBezTo>
                      <a:pt x="372500" y="530728"/>
                      <a:pt x="363451" y="521489"/>
                      <a:pt x="355545" y="511297"/>
                    </a:cubicBezTo>
                    <a:cubicBezTo>
                      <a:pt x="350211" y="504439"/>
                      <a:pt x="342877" y="499296"/>
                      <a:pt x="337924" y="491390"/>
                    </a:cubicBezTo>
                    <a:cubicBezTo>
                      <a:pt x="334019" y="485199"/>
                      <a:pt x="333257" y="478055"/>
                      <a:pt x="329447" y="472054"/>
                    </a:cubicBezTo>
                    <a:cubicBezTo>
                      <a:pt x="328685" y="470911"/>
                      <a:pt x="328875" y="468720"/>
                      <a:pt x="331066" y="468244"/>
                    </a:cubicBezTo>
                    <a:cubicBezTo>
                      <a:pt x="336210" y="467196"/>
                      <a:pt x="334019" y="466625"/>
                      <a:pt x="330971" y="465958"/>
                    </a:cubicBezTo>
                    <a:cubicBezTo>
                      <a:pt x="329352" y="465577"/>
                      <a:pt x="328875" y="464244"/>
                      <a:pt x="329733" y="463101"/>
                    </a:cubicBezTo>
                    <a:cubicBezTo>
                      <a:pt x="335352" y="455862"/>
                      <a:pt x="330399" y="447861"/>
                      <a:pt x="331542" y="440336"/>
                    </a:cubicBezTo>
                    <a:cubicBezTo>
                      <a:pt x="332018" y="437288"/>
                      <a:pt x="332781" y="434049"/>
                      <a:pt x="334304" y="431478"/>
                    </a:cubicBezTo>
                    <a:cubicBezTo>
                      <a:pt x="335162" y="430049"/>
                      <a:pt x="336329" y="428667"/>
                      <a:pt x="337484" y="428358"/>
                    </a:cubicBezTo>
                    <a:close/>
                    <a:moveTo>
                      <a:pt x="307445" y="252503"/>
                    </a:moveTo>
                    <a:lnTo>
                      <a:pt x="307540" y="252503"/>
                    </a:lnTo>
                    <a:lnTo>
                      <a:pt x="307505" y="252555"/>
                    </a:lnTo>
                    <a:close/>
                    <a:moveTo>
                      <a:pt x="307444" y="252218"/>
                    </a:moveTo>
                    <a:cubicBezTo>
                      <a:pt x="306873" y="252408"/>
                      <a:pt x="306492" y="253551"/>
                      <a:pt x="305920" y="254599"/>
                    </a:cubicBezTo>
                    <a:lnTo>
                      <a:pt x="306068" y="254711"/>
                    </a:lnTo>
                    <a:lnTo>
                      <a:pt x="307505" y="252555"/>
                    </a:lnTo>
                    <a:lnTo>
                      <a:pt x="309672" y="254452"/>
                    </a:lnTo>
                    <a:lnTo>
                      <a:pt x="309730" y="254218"/>
                    </a:lnTo>
                    <a:cubicBezTo>
                      <a:pt x="309825" y="252789"/>
                      <a:pt x="308873" y="251837"/>
                      <a:pt x="307444" y="252218"/>
                    </a:cubicBezTo>
                    <a:close/>
                    <a:moveTo>
                      <a:pt x="227148" y="202307"/>
                    </a:moveTo>
                    <a:cubicBezTo>
                      <a:pt x="224005" y="202783"/>
                      <a:pt x="225625" y="205640"/>
                      <a:pt x="225625" y="207641"/>
                    </a:cubicBezTo>
                    <a:cubicBezTo>
                      <a:pt x="222291" y="220404"/>
                      <a:pt x="219433" y="233453"/>
                      <a:pt x="215528" y="246122"/>
                    </a:cubicBezTo>
                    <a:cubicBezTo>
                      <a:pt x="212766" y="255170"/>
                      <a:pt x="212194" y="264981"/>
                      <a:pt x="206860" y="272982"/>
                    </a:cubicBezTo>
                    <a:cubicBezTo>
                      <a:pt x="203146" y="278602"/>
                      <a:pt x="200955" y="284698"/>
                      <a:pt x="198383" y="290699"/>
                    </a:cubicBezTo>
                    <a:cubicBezTo>
                      <a:pt x="197812" y="292032"/>
                      <a:pt x="198193" y="294509"/>
                      <a:pt x="196192" y="294128"/>
                    </a:cubicBezTo>
                    <a:cubicBezTo>
                      <a:pt x="187048" y="292223"/>
                      <a:pt x="189048" y="303653"/>
                      <a:pt x="182667" y="305367"/>
                    </a:cubicBezTo>
                    <a:cubicBezTo>
                      <a:pt x="180857" y="305939"/>
                      <a:pt x="181619" y="309082"/>
                      <a:pt x="182667" y="311844"/>
                    </a:cubicBezTo>
                    <a:cubicBezTo>
                      <a:pt x="184762" y="317273"/>
                      <a:pt x="190763" y="319559"/>
                      <a:pt x="192382" y="324131"/>
                    </a:cubicBezTo>
                    <a:cubicBezTo>
                      <a:pt x="197050" y="337181"/>
                      <a:pt x="201812" y="350420"/>
                      <a:pt x="204003" y="363946"/>
                    </a:cubicBezTo>
                    <a:cubicBezTo>
                      <a:pt x="208003" y="388425"/>
                      <a:pt x="208479" y="413476"/>
                      <a:pt x="215528" y="439384"/>
                    </a:cubicBezTo>
                    <a:cubicBezTo>
                      <a:pt x="217909" y="428525"/>
                      <a:pt x="220291" y="419000"/>
                      <a:pt x="222100" y="409475"/>
                    </a:cubicBezTo>
                    <a:cubicBezTo>
                      <a:pt x="223434" y="402713"/>
                      <a:pt x="225529" y="395759"/>
                      <a:pt x="221148" y="389282"/>
                    </a:cubicBezTo>
                    <a:cubicBezTo>
                      <a:pt x="233816" y="383567"/>
                      <a:pt x="216385" y="368899"/>
                      <a:pt x="228958" y="363184"/>
                    </a:cubicBezTo>
                    <a:cubicBezTo>
                      <a:pt x="226958" y="349754"/>
                      <a:pt x="232673" y="338609"/>
                      <a:pt x="239626" y="328037"/>
                    </a:cubicBezTo>
                    <a:cubicBezTo>
                      <a:pt x="241627" y="324989"/>
                      <a:pt x="243627" y="320798"/>
                      <a:pt x="243627" y="318512"/>
                    </a:cubicBezTo>
                    <a:cubicBezTo>
                      <a:pt x="243627" y="311463"/>
                      <a:pt x="248008" y="310606"/>
                      <a:pt x="252390" y="311177"/>
                    </a:cubicBezTo>
                    <a:cubicBezTo>
                      <a:pt x="258010" y="311939"/>
                      <a:pt x="260581" y="310130"/>
                      <a:pt x="260677" y="304891"/>
                    </a:cubicBezTo>
                    <a:cubicBezTo>
                      <a:pt x="265248" y="305843"/>
                      <a:pt x="262486" y="311082"/>
                      <a:pt x="265820" y="313368"/>
                    </a:cubicBezTo>
                    <a:cubicBezTo>
                      <a:pt x="266011" y="304700"/>
                      <a:pt x="266106" y="304510"/>
                      <a:pt x="271630" y="308034"/>
                    </a:cubicBezTo>
                    <a:cubicBezTo>
                      <a:pt x="273821" y="309463"/>
                      <a:pt x="273345" y="307463"/>
                      <a:pt x="273345" y="306891"/>
                    </a:cubicBezTo>
                    <a:cubicBezTo>
                      <a:pt x="273726" y="301367"/>
                      <a:pt x="277536" y="303462"/>
                      <a:pt x="279155" y="304986"/>
                    </a:cubicBezTo>
                    <a:cubicBezTo>
                      <a:pt x="285823" y="311177"/>
                      <a:pt x="287346" y="301081"/>
                      <a:pt x="292490" y="300605"/>
                    </a:cubicBezTo>
                    <a:lnTo>
                      <a:pt x="292490" y="300509"/>
                    </a:lnTo>
                    <a:cubicBezTo>
                      <a:pt x="296110" y="300128"/>
                      <a:pt x="301063" y="297080"/>
                      <a:pt x="306587" y="296795"/>
                    </a:cubicBezTo>
                    <a:cubicBezTo>
                      <a:pt x="302587" y="289460"/>
                      <a:pt x="295633" y="287555"/>
                      <a:pt x="290109" y="283650"/>
                    </a:cubicBezTo>
                    <a:cubicBezTo>
                      <a:pt x="283632" y="278983"/>
                      <a:pt x="278774" y="272030"/>
                      <a:pt x="271249" y="268220"/>
                    </a:cubicBezTo>
                    <a:cubicBezTo>
                      <a:pt x="268773" y="266981"/>
                      <a:pt x="269440" y="261171"/>
                      <a:pt x="264391" y="262505"/>
                    </a:cubicBezTo>
                    <a:cubicBezTo>
                      <a:pt x="264391" y="257075"/>
                      <a:pt x="257629" y="260314"/>
                      <a:pt x="256485" y="256504"/>
                    </a:cubicBezTo>
                    <a:cubicBezTo>
                      <a:pt x="254009" y="248408"/>
                      <a:pt x="244484" y="246217"/>
                      <a:pt x="241817" y="238216"/>
                    </a:cubicBezTo>
                    <a:cubicBezTo>
                      <a:pt x="240769" y="235168"/>
                      <a:pt x="231625" y="234596"/>
                      <a:pt x="239341" y="228881"/>
                    </a:cubicBezTo>
                    <a:cubicBezTo>
                      <a:pt x="240864" y="227738"/>
                      <a:pt x="238960" y="227167"/>
                      <a:pt x="237912" y="226595"/>
                    </a:cubicBezTo>
                    <a:cubicBezTo>
                      <a:pt x="233959" y="224690"/>
                      <a:pt x="231983" y="221666"/>
                      <a:pt x="230673" y="218273"/>
                    </a:cubicBezTo>
                    <a:lnTo>
                      <a:pt x="227460" y="207822"/>
                    </a:lnTo>
                    <a:lnTo>
                      <a:pt x="227435" y="207831"/>
                    </a:lnTo>
                    <a:lnTo>
                      <a:pt x="227435" y="207739"/>
                    </a:lnTo>
                    <a:lnTo>
                      <a:pt x="227434" y="207736"/>
                    </a:lnTo>
                    <a:lnTo>
                      <a:pt x="225625" y="207736"/>
                    </a:lnTo>
                    <a:cubicBezTo>
                      <a:pt x="225625" y="205736"/>
                      <a:pt x="224006" y="202878"/>
                      <a:pt x="227149" y="202402"/>
                    </a:cubicBezTo>
                    <a:lnTo>
                      <a:pt x="230893" y="206520"/>
                    </a:lnTo>
                    <a:lnTo>
                      <a:pt x="230958" y="206498"/>
                    </a:lnTo>
                    <a:cubicBezTo>
                      <a:pt x="230958" y="204021"/>
                      <a:pt x="229435" y="201926"/>
                      <a:pt x="227148" y="202307"/>
                    </a:cubicBezTo>
                    <a:close/>
                    <a:moveTo>
                      <a:pt x="369030" y="114657"/>
                    </a:moveTo>
                    <a:lnTo>
                      <a:pt x="369595" y="117844"/>
                    </a:lnTo>
                    <a:lnTo>
                      <a:pt x="372426" y="120014"/>
                    </a:lnTo>
                    <a:close/>
                    <a:moveTo>
                      <a:pt x="370977" y="112010"/>
                    </a:moveTo>
                    <a:lnTo>
                      <a:pt x="370662" y="112270"/>
                    </a:lnTo>
                    <a:lnTo>
                      <a:pt x="372693" y="120219"/>
                    </a:lnTo>
                    <a:lnTo>
                      <a:pt x="373167" y="120582"/>
                    </a:lnTo>
                    <a:cubicBezTo>
                      <a:pt x="374691" y="116391"/>
                      <a:pt x="372215" y="114391"/>
                      <a:pt x="370977" y="112010"/>
                    </a:cubicBezTo>
                    <a:close/>
                    <a:moveTo>
                      <a:pt x="442402" y="19082"/>
                    </a:moveTo>
                    <a:cubicBezTo>
                      <a:pt x="444867" y="19784"/>
                      <a:pt x="447462" y="20713"/>
                      <a:pt x="449844" y="19427"/>
                    </a:cubicBezTo>
                    <a:cubicBezTo>
                      <a:pt x="450225" y="19236"/>
                      <a:pt x="450415" y="24094"/>
                      <a:pt x="450606" y="27333"/>
                    </a:cubicBezTo>
                    <a:cubicBezTo>
                      <a:pt x="453273" y="40763"/>
                      <a:pt x="445748" y="53431"/>
                      <a:pt x="444129" y="67052"/>
                    </a:cubicBezTo>
                    <a:cubicBezTo>
                      <a:pt x="443462" y="72767"/>
                      <a:pt x="436699" y="80006"/>
                      <a:pt x="434889" y="85530"/>
                    </a:cubicBezTo>
                    <a:cubicBezTo>
                      <a:pt x="431460" y="95913"/>
                      <a:pt x="422031" y="99818"/>
                      <a:pt x="417649" y="108200"/>
                    </a:cubicBezTo>
                    <a:cubicBezTo>
                      <a:pt x="414696" y="113724"/>
                      <a:pt x="408029" y="113248"/>
                      <a:pt x="403552" y="116963"/>
                    </a:cubicBezTo>
                    <a:cubicBezTo>
                      <a:pt x="398313" y="121249"/>
                      <a:pt x="398123" y="121059"/>
                      <a:pt x="390408" y="127440"/>
                    </a:cubicBezTo>
                    <a:cubicBezTo>
                      <a:pt x="385359" y="131631"/>
                      <a:pt x="376596" y="136013"/>
                      <a:pt x="369262" y="132298"/>
                    </a:cubicBezTo>
                    <a:lnTo>
                      <a:pt x="369548" y="132298"/>
                    </a:lnTo>
                    <a:cubicBezTo>
                      <a:pt x="366690" y="130869"/>
                      <a:pt x="360880" y="134489"/>
                      <a:pt x="361547" y="129536"/>
                    </a:cubicBezTo>
                    <a:cubicBezTo>
                      <a:pt x="362404" y="122297"/>
                      <a:pt x="360975" y="114201"/>
                      <a:pt x="366690" y="107914"/>
                    </a:cubicBezTo>
                    <a:cubicBezTo>
                      <a:pt x="370024" y="104199"/>
                      <a:pt x="376025" y="102866"/>
                      <a:pt x="376406" y="96484"/>
                    </a:cubicBezTo>
                    <a:cubicBezTo>
                      <a:pt x="376501" y="95627"/>
                      <a:pt x="380883" y="95817"/>
                      <a:pt x="376787" y="93531"/>
                    </a:cubicBezTo>
                    <a:cubicBezTo>
                      <a:pt x="372215" y="91055"/>
                      <a:pt x="375072" y="86578"/>
                      <a:pt x="376787" y="84578"/>
                    </a:cubicBezTo>
                    <a:cubicBezTo>
                      <a:pt x="384978" y="75243"/>
                      <a:pt x="388407" y="62670"/>
                      <a:pt x="397075" y="53717"/>
                    </a:cubicBezTo>
                    <a:cubicBezTo>
                      <a:pt x="398885" y="51812"/>
                      <a:pt x="400218" y="46954"/>
                      <a:pt x="405362" y="50193"/>
                    </a:cubicBezTo>
                    <a:cubicBezTo>
                      <a:pt x="407267" y="51336"/>
                      <a:pt x="409172" y="47907"/>
                      <a:pt x="410220" y="45621"/>
                    </a:cubicBezTo>
                    <a:cubicBezTo>
                      <a:pt x="411553" y="42573"/>
                      <a:pt x="410791" y="36000"/>
                      <a:pt x="417363" y="41144"/>
                    </a:cubicBezTo>
                    <a:cubicBezTo>
                      <a:pt x="417459" y="41144"/>
                      <a:pt x="419268" y="39810"/>
                      <a:pt x="419268" y="39239"/>
                    </a:cubicBezTo>
                    <a:cubicBezTo>
                      <a:pt x="418316" y="27237"/>
                      <a:pt x="430222" y="26475"/>
                      <a:pt x="435747" y="20094"/>
                    </a:cubicBezTo>
                    <a:cubicBezTo>
                      <a:pt x="437604" y="17903"/>
                      <a:pt x="439938" y="18379"/>
                      <a:pt x="442402" y="19082"/>
                    </a:cubicBezTo>
                    <a:close/>
                    <a:moveTo>
                      <a:pt x="78559" y="12568"/>
                    </a:moveTo>
                    <a:cubicBezTo>
                      <a:pt x="82845" y="13521"/>
                      <a:pt x="84941" y="17712"/>
                      <a:pt x="84560" y="22569"/>
                    </a:cubicBezTo>
                    <a:cubicBezTo>
                      <a:pt x="84465" y="24093"/>
                      <a:pt x="84560" y="25808"/>
                      <a:pt x="86465" y="26284"/>
                    </a:cubicBezTo>
                    <a:lnTo>
                      <a:pt x="86465" y="26570"/>
                    </a:lnTo>
                    <a:lnTo>
                      <a:pt x="86560" y="26570"/>
                    </a:lnTo>
                    <a:cubicBezTo>
                      <a:pt x="86179" y="29713"/>
                      <a:pt x="84369" y="32856"/>
                      <a:pt x="87036" y="36762"/>
                    </a:cubicBezTo>
                    <a:lnTo>
                      <a:pt x="87036" y="32672"/>
                    </a:lnTo>
                    <a:lnTo>
                      <a:pt x="86751" y="26571"/>
                    </a:lnTo>
                    <a:lnTo>
                      <a:pt x="86751" y="26570"/>
                    </a:lnTo>
                    <a:lnTo>
                      <a:pt x="86756" y="26577"/>
                    </a:lnTo>
                    <a:lnTo>
                      <a:pt x="86878" y="26730"/>
                    </a:lnTo>
                    <a:lnTo>
                      <a:pt x="86774" y="26522"/>
                    </a:lnTo>
                    <a:lnTo>
                      <a:pt x="86750" y="26570"/>
                    </a:lnTo>
                    <a:lnTo>
                      <a:pt x="86750" y="26474"/>
                    </a:lnTo>
                    <a:lnTo>
                      <a:pt x="86655" y="26284"/>
                    </a:lnTo>
                    <a:lnTo>
                      <a:pt x="86560" y="26284"/>
                    </a:lnTo>
                    <a:lnTo>
                      <a:pt x="87132" y="21807"/>
                    </a:lnTo>
                    <a:cubicBezTo>
                      <a:pt x="88084" y="22379"/>
                      <a:pt x="89418" y="22665"/>
                      <a:pt x="89989" y="23427"/>
                    </a:cubicBezTo>
                    <a:cubicBezTo>
                      <a:pt x="91608" y="25713"/>
                      <a:pt x="93418" y="28094"/>
                      <a:pt x="94180" y="30761"/>
                    </a:cubicBezTo>
                    <a:cubicBezTo>
                      <a:pt x="96942" y="40857"/>
                      <a:pt x="105420" y="46572"/>
                      <a:pt x="112087" y="53145"/>
                    </a:cubicBezTo>
                    <a:cubicBezTo>
                      <a:pt x="116373" y="57336"/>
                      <a:pt x="120755" y="60288"/>
                      <a:pt x="120564" y="66861"/>
                    </a:cubicBezTo>
                    <a:cubicBezTo>
                      <a:pt x="120469" y="70861"/>
                      <a:pt x="125898" y="69528"/>
                      <a:pt x="126565" y="72385"/>
                    </a:cubicBezTo>
                    <a:cubicBezTo>
                      <a:pt x="129708" y="86101"/>
                      <a:pt x="132756" y="100008"/>
                      <a:pt x="124851" y="113152"/>
                    </a:cubicBezTo>
                    <a:cubicBezTo>
                      <a:pt x="123517" y="115343"/>
                      <a:pt x="123136" y="117057"/>
                      <a:pt x="123422" y="119153"/>
                    </a:cubicBezTo>
                    <a:cubicBezTo>
                      <a:pt x="123803" y="121629"/>
                      <a:pt x="131709" y="123344"/>
                      <a:pt x="124374" y="126582"/>
                    </a:cubicBezTo>
                    <a:cubicBezTo>
                      <a:pt x="120088" y="128487"/>
                      <a:pt x="115326" y="133917"/>
                      <a:pt x="111135" y="126487"/>
                    </a:cubicBezTo>
                    <a:cubicBezTo>
                      <a:pt x="108658" y="121915"/>
                      <a:pt x="103610" y="121058"/>
                      <a:pt x="99895" y="118200"/>
                    </a:cubicBezTo>
                    <a:cubicBezTo>
                      <a:pt x="97038" y="116010"/>
                      <a:pt x="95609" y="113438"/>
                      <a:pt x="93704" y="110676"/>
                    </a:cubicBezTo>
                    <a:lnTo>
                      <a:pt x="93609" y="110676"/>
                    </a:lnTo>
                    <a:cubicBezTo>
                      <a:pt x="87894" y="102675"/>
                      <a:pt x="80940" y="95626"/>
                      <a:pt x="74273" y="88387"/>
                    </a:cubicBezTo>
                    <a:cubicBezTo>
                      <a:pt x="64367" y="77624"/>
                      <a:pt x="55128" y="66003"/>
                      <a:pt x="59985" y="50478"/>
                    </a:cubicBezTo>
                    <a:cubicBezTo>
                      <a:pt x="63224" y="40191"/>
                      <a:pt x="64653" y="29332"/>
                      <a:pt x="68844" y="19236"/>
                    </a:cubicBezTo>
                    <a:cubicBezTo>
                      <a:pt x="70844" y="14283"/>
                      <a:pt x="74178" y="11616"/>
                      <a:pt x="78559" y="12568"/>
                    </a:cubicBezTo>
                    <a:close/>
                    <a:moveTo>
                      <a:pt x="236197" y="1043"/>
                    </a:moveTo>
                    <a:cubicBezTo>
                      <a:pt x="247818" y="6187"/>
                      <a:pt x="246865" y="17712"/>
                      <a:pt x="251914" y="25999"/>
                    </a:cubicBezTo>
                    <a:cubicBezTo>
                      <a:pt x="252961" y="27713"/>
                      <a:pt x="253342" y="32952"/>
                      <a:pt x="248199" y="28761"/>
                    </a:cubicBezTo>
                    <a:cubicBezTo>
                      <a:pt x="245532" y="32666"/>
                      <a:pt x="250389" y="35619"/>
                      <a:pt x="249627" y="39239"/>
                    </a:cubicBezTo>
                    <a:cubicBezTo>
                      <a:pt x="254962" y="36381"/>
                      <a:pt x="252104" y="40286"/>
                      <a:pt x="252295" y="42287"/>
                    </a:cubicBezTo>
                    <a:cubicBezTo>
                      <a:pt x="252771" y="47525"/>
                      <a:pt x="248104" y="42287"/>
                      <a:pt x="247151" y="45335"/>
                    </a:cubicBezTo>
                    <a:cubicBezTo>
                      <a:pt x="251342" y="48192"/>
                      <a:pt x="251342" y="51907"/>
                      <a:pt x="250675" y="57050"/>
                    </a:cubicBezTo>
                    <a:cubicBezTo>
                      <a:pt x="249532" y="65623"/>
                      <a:pt x="251533" y="74291"/>
                      <a:pt x="255057" y="82387"/>
                    </a:cubicBezTo>
                    <a:cubicBezTo>
                      <a:pt x="256581" y="85911"/>
                      <a:pt x="256009" y="89721"/>
                      <a:pt x="256771" y="93055"/>
                    </a:cubicBezTo>
                    <a:cubicBezTo>
                      <a:pt x="259724" y="105914"/>
                      <a:pt x="263629" y="118582"/>
                      <a:pt x="267249" y="131345"/>
                    </a:cubicBezTo>
                    <a:cubicBezTo>
                      <a:pt x="267725" y="132869"/>
                      <a:pt x="268677" y="134298"/>
                      <a:pt x="269630" y="135441"/>
                    </a:cubicBezTo>
                    <a:cubicBezTo>
                      <a:pt x="274773" y="141632"/>
                      <a:pt x="280965" y="146395"/>
                      <a:pt x="281250" y="156206"/>
                    </a:cubicBezTo>
                    <a:cubicBezTo>
                      <a:pt x="281536" y="165921"/>
                      <a:pt x="291728" y="171350"/>
                      <a:pt x="297824" y="177446"/>
                    </a:cubicBezTo>
                    <a:cubicBezTo>
                      <a:pt x="303158" y="182780"/>
                      <a:pt x="308492" y="189734"/>
                      <a:pt x="316493" y="192877"/>
                    </a:cubicBezTo>
                    <a:cubicBezTo>
                      <a:pt x="323923" y="195734"/>
                      <a:pt x="328685" y="202973"/>
                      <a:pt x="336019" y="206307"/>
                    </a:cubicBezTo>
                    <a:cubicBezTo>
                      <a:pt x="339163" y="207736"/>
                      <a:pt x="343639" y="208688"/>
                      <a:pt x="343639" y="213546"/>
                    </a:cubicBezTo>
                    <a:cubicBezTo>
                      <a:pt x="343639" y="215927"/>
                      <a:pt x="344973" y="215165"/>
                      <a:pt x="345925" y="214880"/>
                    </a:cubicBezTo>
                    <a:cubicBezTo>
                      <a:pt x="352879" y="212403"/>
                      <a:pt x="360213" y="215070"/>
                      <a:pt x="366214" y="220785"/>
                    </a:cubicBezTo>
                    <a:cubicBezTo>
                      <a:pt x="366975" y="221452"/>
                      <a:pt x="371071" y="222595"/>
                      <a:pt x="373738" y="223071"/>
                    </a:cubicBezTo>
                    <a:cubicBezTo>
                      <a:pt x="378882" y="224024"/>
                      <a:pt x="381644" y="226976"/>
                      <a:pt x="384978" y="231072"/>
                    </a:cubicBezTo>
                    <a:cubicBezTo>
                      <a:pt x="387550" y="234215"/>
                      <a:pt x="394217" y="234215"/>
                      <a:pt x="399170" y="235168"/>
                    </a:cubicBezTo>
                    <a:cubicBezTo>
                      <a:pt x="403742" y="236025"/>
                      <a:pt x="408314" y="234787"/>
                      <a:pt x="412696" y="238787"/>
                    </a:cubicBezTo>
                    <a:cubicBezTo>
                      <a:pt x="413934" y="240026"/>
                      <a:pt x="421077" y="242883"/>
                      <a:pt x="425364" y="239073"/>
                    </a:cubicBezTo>
                    <a:cubicBezTo>
                      <a:pt x="429841" y="246122"/>
                      <a:pt x="437365" y="243550"/>
                      <a:pt x="443175" y="243550"/>
                    </a:cubicBezTo>
                    <a:cubicBezTo>
                      <a:pt x="451272" y="243550"/>
                      <a:pt x="458987" y="247741"/>
                      <a:pt x="466131" y="246693"/>
                    </a:cubicBezTo>
                    <a:cubicBezTo>
                      <a:pt x="472703" y="245741"/>
                      <a:pt x="478227" y="246788"/>
                      <a:pt x="484419" y="247741"/>
                    </a:cubicBezTo>
                    <a:cubicBezTo>
                      <a:pt x="496611" y="249455"/>
                      <a:pt x="499849" y="259361"/>
                      <a:pt x="503278" y="268029"/>
                    </a:cubicBezTo>
                    <a:cubicBezTo>
                      <a:pt x="505183" y="272792"/>
                      <a:pt x="507279" y="278507"/>
                      <a:pt x="505755" y="284603"/>
                    </a:cubicBezTo>
                    <a:cubicBezTo>
                      <a:pt x="504517" y="289841"/>
                      <a:pt x="509279" y="288222"/>
                      <a:pt x="512041" y="288698"/>
                    </a:cubicBezTo>
                    <a:lnTo>
                      <a:pt x="511851" y="288794"/>
                    </a:lnTo>
                    <a:lnTo>
                      <a:pt x="511851" y="290699"/>
                    </a:lnTo>
                    <a:cubicBezTo>
                      <a:pt x="507469" y="297080"/>
                      <a:pt x="509470" y="304224"/>
                      <a:pt x="509470" y="311082"/>
                    </a:cubicBezTo>
                    <a:cubicBezTo>
                      <a:pt x="509470" y="312320"/>
                      <a:pt x="510898" y="313749"/>
                      <a:pt x="510898" y="315464"/>
                    </a:cubicBezTo>
                    <a:cubicBezTo>
                      <a:pt x="510803" y="320512"/>
                      <a:pt x="509660" y="325179"/>
                      <a:pt x="505183" y="328322"/>
                    </a:cubicBezTo>
                    <a:cubicBezTo>
                      <a:pt x="510517" y="332990"/>
                      <a:pt x="508803" y="339657"/>
                      <a:pt x="505945" y="343277"/>
                    </a:cubicBezTo>
                    <a:cubicBezTo>
                      <a:pt x="497849" y="353564"/>
                      <a:pt x="488800" y="363279"/>
                      <a:pt x="474798" y="366041"/>
                    </a:cubicBezTo>
                    <a:cubicBezTo>
                      <a:pt x="463559" y="368327"/>
                      <a:pt x="452034" y="366803"/>
                      <a:pt x="440699" y="367946"/>
                    </a:cubicBezTo>
                    <a:cubicBezTo>
                      <a:pt x="433746" y="368613"/>
                      <a:pt x="430602" y="376043"/>
                      <a:pt x="423078" y="374138"/>
                    </a:cubicBezTo>
                    <a:cubicBezTo>
                      <a:pt x="420125" y="373471"/>
                      <a:pt x="415934" y="375662"/>
                      <a:pt x="412124" y="374138"/>
                    </a:cubicBezTo>
                    <a:cubicBezTo>
                      <a:pt x="409552" y="373090"/>
                      <a:pt x="407266" y="374614"/>
                      <a:pt x="404885" y="374995"/>
                    </a:cubicBezTo>
                    <a:cubicBezTo>
                      <a:pt x="390883" y="376995"/>
                      <a:pt x="379072" y="384806"/>
                      <a:pt x="365928" y="388901"/>
                    </a:cubicBezTo>
                    <a:cubicBezTo>
                      <a:pt x="354307" y="392521"/>
                      <a:pt x="342115" y="393569"/>
                      <a:pt x="330114" y="395664"/>
                    </a:cubicBezTo>
                    <a:cubicBezTo>
                      <a:pt x="328780" y="395855"/>
                      <a:pt x="327447" y="396521"/>
                      <a:pt x="326304" y="396045"/>
                    </a:cubicBezTo>
                    <a:cubicBezTo>
                      <a:pt x="316398" y="392045"/>
                      <a:pt x="308302" y="397283"/>
                      <a:pt x="300015" y="401189"/>
                    </a:cubicBezTo>
                    <a:cubicBezTo>
                      <a:pt x="296205" y="402903"/>
                      <a:pt x="293538" y="403189"/>
                      <a:pt x="289442" y="401284"/>
                    </a:cubicBezTo>
                    <a:cubicBezTo>
                      <a:pt x="279536" y="396521"/>
                      <a:pt x="266296" y="406904"/>
                      <a:pt x="265534" y="417667"/>
                    </a:cubicBezTo>
                    <a:cubicBezTo>
                      <a:pt x="264391" y="432050"/>
                      <a:pt x="263439" y="446337"/>
                      <a:pt x="262200" y="460625"/>
                    </a:cubicBezTo>
                    <a:cubicBezTo>
                      <a:pt x="261534" y="467768"/>
                      <a:pt x="264868" y="475007"/>
                      <a:pt x="262772" y="481484"/>
                    </a:cubicBezTo>
                    <a:cubicBezTo>
                      <a:pt x="256104" y="502344"/>
                      <a:pt x="260296" y="523490"/>
                      <a:pt x="260105" y="544445"/>
                    </a:cubicBezTo>
                    <a:cubicBezTo>
                      <a:pt x="260105" y="556065"/>
                      <a:pt x="253437" y="565685"/>
                      <a:pt x="253152" y="577115"/>
                    </a:cubicBezTo>
                    <a:cubicBezTo>
                      <a:pt x="252771" y="591498"/>
                      <a:pt x="249627" y="605595"/>
                      <a:pt x="249627" y="620073"/>
                    </a:cubicBezTo>
                    <a:cubicBezTo>
                      <a:pt x="249627" y="629693"/>
                      <a:pt x="247437" y="639123"/>
                      <a:pt x="246008" y="648553"/>
                    </a:cubicBezTo>
                    <a:cubicBezTo>
                      <a:pt x="244675" y="657125"/>
                      <a:pt x="245818" y="666079"/>
                      <a:pt x="244865" y="674842"/>
                    </a:cubicBezTo>
                    <a:cubicBezTo>
                      <a:pt x="243436" y="687986"/>
                      <a:pt x="247151" y="701417"/>
                      <a:pt x="245056" y="714561"/>
                    </a:cubicBezTo>
                    <a:cubicBezTo>
                      <a:pt x="242293" y="731516"/>
                      <a:pt x="244294" y="748470"/>
                      <a:pt x="242674" y="765425"/>
                    </a:cubicBezTo>
                    <a:cubicBezTo>
                      <a:pt x="242103" y="771140"/>
                      <a:pt x="238674" y="773711"/>
                      <a:pt x="234673" y="776474"/>
                    </a:cubicBezTo>
                    <a:lnTo>
                      <a:pt x="223339" y="776474"/>
                    </a:lnTo>
                    <a:lnTo>
                      <a:pt x="223148" y="776474"/>
                    </a:lnTo>
                    <a:lnTo>
                      <a:pt x="213719" y="776474"/>
                    </a:lnTo>
                    <a:lnTo>
                      <a:pt x="213528" y="776474"/>
                    </a:lnTo>
                    <a:lnTo>
                      <a:pt x="207718" y="776474"/>
                    </a:lnTo>
                    <a:cubicBezTo>
                      <a:pt x="208384" y="767615"/>
                      <a:pt x="199907" y="764091"/>
                      <a:pt x="196383" y="757614"/>
                    </a:cubicBezTo>
                    <a:cubicBezTo>
                      <a:pt x="195049" y="755328"/>
                      <a:pt x="193144" y="752185"/>
                      <a:pt x="193144" y="750375"/>
                    </a:cubicBezTo>
                    <a:cubicBezTo>
                      <a:pt x="193525" y="740755"/>
                      <a:pt x="188668" y="732468"/>
                      <a:pt x="187620" y="723419"/>
                    </a:cubicBezTo>
                    <a:cubicBezTo>
                      <a:pt x="187334" y="721229"/>
                      <a:pt x="185334" y="720657"/>
                      <a:pt x="185620" y="719038"/>
                    </a:cubicBezTo>
                    <a:cubicBezTo>
                      <a:pt x="189144" y="699893"/>
                      <a:pt x="179904" y="682271"/>
                      <a:pt x="178857" y="663602"/>
                    </a:cubicBezTo>
                    <a:cubicBezTo>
                      <a:pt x="178666" y="659983"/>
                      <a:pt x="181714" y="658649"/>
                      <a:pt x="181238" y="654744"/>
                    </a:cubicBezTo>
                    <a:cubicBezTo>
                      <a:pt x="178190" y="628074"/>
                      <a:pt x="182571" y="601309"/>
                      <a:pt x="180667" y="574639"/>
                    </a:cubicBezTo>
                    <a:cubicBezTo>
                      <a:pt x="180190" y="568638"/>
                      <a:pt x="175237" y="561875"/>
                      <a:pt x="184286" y="558065"/>
                    </a:cubicBezTo>
                    <a:cubicBezTo>
                      <a:pt x="180000" y="551684"/>
                      <a:pt x="182191" y="544064"/>
                      <a:pt x="180762" y="537110"/>
                    </a:cubicBezTo>
                    <a:cubicBezTo>
                      <a:pt x="178952" y="527871"/>
                      <a:pt x="177619" y="518918"/>
                      <a:pt x="179428" y="508821"/>
                    </a:cubicBezTo>
                    <a:cubicBezTo>
                      <a:pt x="180381" y="503392"/>
                      <a:pt x="180095" y="495010"/>
                      <a:pt x="178095" y="487580"/>
                    </a:cubicBezTo>
                    <a:cubicBezTo>
                      <a:pt x="175714" y="478627"/>
                      <a:pt x="174666" y="468245"/>
                      <a:pt x="174380" y="458624"/>
                    </a:cubicBezTo>
                    <a:cubicBezTo>
                      <a:pt x="173999" y="445575"/>
                      <a:pt x="170189" y="432907"/>
                      <a:pt x="170856" y="419858"/>
                    </a:cubicBezTo>
                    <a:cubicBezTo>
                      <a:pt x="158759" y="415667"/>
                      <a:pt x="170475" y="404999"/>
                      <a:pt x="164760" y="397950"/>
                    </a:cubicBezTo>
                    <a:cubicBezTo>
                      <a:pt x="160188" y="392426"/>
                      <a:pt x="157140" y="384996"/>
                      <a:pt x="151901" y="379853"/>
                    </a:cubicBezTo>
                    <a:cubicBezTo>
                      <a:pt x="149234" y="377186"/>
                      <a:pt x="150472" y="370232"/>
                      <a:pt x="144091" y="371661"/>
                    </a:cubicBezTo>
                    <a:cubicBezTo>
                      <a:pt x="131613" y="374614"/>
                      <a:pt x="121897" y="362612"/>
                      <a:pt x="110848" y="364327"/>
                    </a:cubicBezTo>
                    <a:cubicBezTo>
                      <a:pt x="102562" y="365660"/>
                      <a:pt x="95132" y="360136"/>
                      <a:pt x="86941" y="364041"/>
                    </a:cubicBezTo>
                    <a:cubicBezTo>
                      <a:pt x="83607" y="365565"/>
                      <a:pt x="78749" y="365375"/>
                      <a:pt x="74272" y="361565"/>
                    </a:cubicBezTo>
                    <a:cubicBezTo>
                      <a:pt x="71224" y="358993"/>
                      <a:pt x="64271" y="361088"/>
                      <a:pt x="59032" y="360803"/>
                    </a:cubicBezTo>
                    <a:cubicBezTo>
                      <a:pt x="53222" y="360517"/>
                      <a:pt x="47507" y="362993"/>
                      <a:pt x="41792" y="361184"/>
                    </a:cubicBezTo>
                    <a:cubicBezTo>
                      <a:pt x="40649" y="360803"/>
                      <a:pt x="39887" y="360136"/>
                      <a:pt x="38649" y="361374"/>
                    </a:cubicBezTo>
                    <a:cubicBezTo>
                      <a:pt x="35887" y="363946"/>
                      <a:pt x="33886" y="360898"/>
                      <a:pt x="32362" y="361946"/>
                    </a:cubicBezTo>
                    <a:cubicBezTo>
                      <a:pt x="27219" y="365375"/>
                      <a:pt x="23599" y="359850"/>
                      <a:pt x="19408" y="361374"/>
                    </a:cubicBezTo>
                    <a:cubicBezTo>
                      <a:pt x="11312" y="364422"/>
                      <a:pt x="2168" y="356135"/>
                      <a:pt x="930" y="347563"/>
                    </a:cubicBezTo>
                    <a:cubicBezTo>
                      <a:pt x="-23" y="341181"/>
                      <a:pt x="-785" y="335466"/>
                      <a:pt x="1501" y="329465"/>
                    </a:cubicBezTo>
                    <a:cubicBezTo>
                      <a:pt x="2644" y="326322"/>
                      <a:pt x="-499" y="320131"/>
                      <a:pt x="7216" y="322417"/>
                    </a:cubicBezTo>
                    <a:cubicBezTo>
                      <a:pt x="7502" y="322512"/>
                      <a:pt x="8835" y="320607"/>
                      <a:pt x="8740" y="320417"/>
                    </a:cubicBezTo>
                    <a:cubicBezTo>
                      <a:pt x="1120" y="310606"/>
                      <a:pt x="14836" y="316130"/>
                      <a:pt x="14836" y="311844"/>
                    </a:cubicBezTo>
                    <a:cubicBezTo>
                      <a:pt x="3406" y="308225"/>
                      <a:pt x="3883" y="308320"/>
                      <a:pt x="7216" y="296509"/>
                    </a:cubicBezTo>
                    <a:cubicBezTo>
                      <a:pt x="9026" y="290318"/>
                      <a:pt x="13884" y="286317"/>
                      <a:pt x="15408" y="280126"/>
                    </a:cubicBezTo>
                    <a:cubicBezTo>
                      <a:pt x="17503" y="271839"/>
                      <a:pt x="25885" y="277554"/>
                      <a:pt x="30743" y="274316"/>
                    </a:cubicBezTo>
                    <a:cubicBezTo>
                      <a:pt x="35887" y="270887"/>
                      <a:pt x="42840" y="275840"/>
                      <a:pt x="48460" y="269839"/>
                    </a:cubicBezTo>
                    <a:cubicBezTo>
                      <a:pt x="52365" y="265648"/>
                      <a:pt x="59032" y="269553"/>
                      <a:pt x="58556" y="274887"/>
                    </a:cubicBezTo>
                    <a:cubicBezTo>
                      <a:pt x="59508" y="274601"/>
                      <a:pt x="60842" y="274506"/>
                      <a:pt x="60937" y="274030"/>
                    </a:cubicBezTo>
                    <a:cubicBezTo>
                      <a:pt x="62271" y="268791"/>
                      <a:pt x="64557" y="266505"/>
                      <a:pt x="70558" y="268410"/>
                    </a:cubicBezTo>
                    <a:cubicBezTo>
                      <a:pt x="71986" y="268886"/>
                      <a:pt x="75891" y="267934"/>
                      <a:pt x="78749" y="265362"/>
                    </a:cubicBezTo>
                    <a:cubicBezTo>
                      <a:pt x="86179" y="258695"/>
                      <a:pt x="96846" y="259838"/>
                      <a:pt x="106086" y="257361"/>
                    </a:cubicBezTo>
                    <a:cubicBezTo>
                      <a:pt x="112182" y="255742"/>
                      <a:pt x="118564" y="254980"/>
                      <a:pt x="124564" y="253075"/>
                    </a:cubicBezTo>
                    <a:cubicBezTo>
                      <a:pt x="129612" y="251456"/>
                      <a:pt x="136185" y="251265"/>
                      <a:pt x="137233" y="243836"/>
                    </a:cubicBezTo>
                    <a:cubicBezTo>
                      <a:pt x="151329" y="249836"/>
                      <a:pt x="155997" y="229167"/>
                      <a:pt x="169332" y="232310"/>
                    </a:cubicBezTo>
                    <a:cubicBezTo>
                      <a:pt x="170379" y="232596"/>
                      <a:pt x="172380" y="228881"/>
                      <a:pt x="173999" y="226976"/>
                    </a:cubicBezTo>
                    <a:cubicBezTo>
                      <a:pt x="176571" y="224024"/>
                      <a:pt x="177428" y="217166"/>
                      <a:pt x="183905" y="222595"/>
                    </a:cubicBezTo>
                    <a:cubicBezTo>
                      <a:pt x="184286" y="222881"/>
                      <a:pt x="186096" y="222309"/>
                      <a:pt x="186191" y="221833"/>
                    </a:cubicBezTo>
                    <a:cubicBezTo>
                      <a:pt x="190477" y="206212"/>
                      <a:pt x="202574" y="194115"/>
                      <a:pt x="204955" y="177351"/>
                    </a:cubicBezTo>
                    <a:cubicBezTo>
                      <a:pt x="208384" y="153253"/>
                      <a:pt x="209908" y="128964"/>
                      <a:pt x="208003" y="105056"/>
                    </a:cubicBezTo>
                    <a:cubicBezTo>
                      <a:pt x="207146" y="93912"/>
                      <a:pt x="207908" y="81720"/>
                      <a:pt x="203241" y="70766"/>
                    </a:cubicBezTo>
                    <a:cubicBezTo>
                      <a:pt x="210289" y="66194"/>
                      <a:pt x="202574" y="57812"/>
                      <a:pt x="207813" y="52669"/>
                    </a:cubicBezTo>
                    <a:cubicBezTo>
                      <a:pt x="211623" y="48859"/>
                      <a:pt x="208098" y="43525"/>
                      <a:pt x="210194" y="39905"/>
                    </a:cubicBezTo>
                    <a:cubicBezTo>
                      <a:pt x="217147" y="27904"/>
                      <a:pt x="217433" y="12854"/>
                      <a:pt x="227720" y="2567"/>
                    </a:cubicBezTo>
                    <a:cubicBezTo>
                      <a:pt x="229816" y="472"/>
                      <a:pt x="231244" y="-1147"/>
                      <a:pt x="236197" y="1043"/>
                    </a:cubicBezTo>
                    <a:close/>
                  </a:path>
                </a:pathLst>
              </a:custGeom>
              <a:solidFill>
                <a:schemeClr val="accent4"/>
              </a:solidFill>
              <a:ln w="9525"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DC47A1DD-DE31-726E-77D8-7520229CAB4D}"/>
                  </a:ext>
                </a:extLst>
              </p:cNvPr>
              <p:cNvSpPr/>
              <p:nvPr/>
            </p:nvSpPr>
            <p:spPr>
              <a:xfrm>
                <a:off x="10732103" y="6210946"/>
                <a:ext cx="382260" cy="413371"/>
              </a:xfrm>
              <a:custGeom>
                <a:avLst/>
                <a:gdLst>
                  <a:gd name="connsiteX0" fmla="*/ 33115 w 382260"/>
                  <a:gd name="connsiteY0" fmla="*/ 204794 h 413370"/>
                  <a:gd name="connsiteX1" fmla="*/ 45879 w 382260"/>
                  <a:gd name="connsiteY1" fmla="*/ 200889 h 413370"/>
                  <a:gd name="connsiteX2" fmla="*/ 56642 w 382260"/>
                  <a:gd name="connsiteY2" fmla="*/ 194602 h 413370"/>
                  <a:gd name="connsiteX3" fmla="*/ 78264 w 382260"/>
                  <a:gd name="connsiteY3" fmla="*/ 180029 h 413370"/>
                  <a:gd name="connsiteX4" fmla="*/ 97409 w 382260"/>
                  <a:gd name="connsiteY4" fmla="*/ 165456 h 413370"/>
                  <a:gd name="connsiteX5" fmla="*/ 124555 w 382260"/>
                  <a:gd name="connsiteY5" fmla="*/ 139929 h 413370"/>
                  <a:gd name="connsiteX6" fmla="*/ 148463 w 382260"/>
                  <a:gd name="connsiteY6" fmla="*/ 111925 h 413370"/>
                  <a:gd name="connsiteX7" fmla="*/ 160179 w 382260"/>
                  <a:gd name="connsiteY7" fmla="*/ 91923 h 413370"/>
                  <a:gd name="connsiteX8" fmla="*/ 162560 w 382260"/>
                  <a:gd name="connsiteY8" fmla="*/ 87541 h 413370"/>
                  <a:gd name="connsiteX9" fmla="*/ 166751 w 382260"/>
                  <a:gd name="connsiteY9" fmla="*/ 77064 h 413370"/>
                  <a:gd name="connsiteX10" fmla="*/ 167513 w 382260"/>
                  <a:gd name="connsiteY10" fmla="*/ 74397 h 413370"/>
                  <a:gd name="connsiteX11" fmla="*/ 173228 w 382260"/>
                  <a:gd name="connsiteY11" fmla="*/ 54299 h 413370"/>
                  <a:gd name="connsiteX12" fmla="*/ 175609 w 382260"/>
                  <a:gd name="connsiteY12" fmla="*/ 28772 h 413370"/>
                  <a:gd name="connsiteX13" fmla="*/ 175609 w 382260"/>
                  <a:gd name="connsiteY13" fmla="*/ 7055 h 413370"/>
                  <a:gd name="connsiteX14" fmla="*/ 176371 w 382260"/>
                  <a:gd name="connsiteY14" fmla="*/ 4864 h 413370"/>
                  <a:gd name="connsiteX15" fmla="*/ 177419 w 382260"/>
                  <a:gd name="connsiteY15" fmla="*/ 2293 h 413370"/>
                  <a:gd name="connsiteX16" fmla="*/ 180086 w 382260"/>
                  <a:gd name="connsiteY16" fmla="*/ 7 h 413370"/>
                  <a:gd name="connsiteX17" fmla="*/ 187325 w 382260"/>
                  <a:gd name="connsiteY17" fmla="*/ 7817 h 413370"/>
                  <a:gd name="connsiteX18" fmla="*/ 188373 w 382260"/>
                  <a:gd name="connsiteY18" fmla="*/ 27629 h 413370"/>
                  <a:gd name="connsiteX19" fmla="*/ 195802 w 382260"/>
                  <a:gd name="connsiteY19" fmla="*/ 56490 h 413370"/>
                  <a:gd name="connsiteX20" fmla="*/ 204089 w 382260"/>
                  <a:gd name="connsiteY20" fmla="*/ 75635 h 413370"/>
                  <a:gd name="connsiteX21" fmla="*/ 208852 w 382260"/>
                  <a:gd name="connsiteY21" fmla="*/ 90494 h 413370"/>
                  <a:gd name="connsiteX22" fmla="*/ 225997 w 382260"/>
                  <a:gd name="connsiteY22" fmla="*/ 117926 h 413370"/>
                  <a:gd name="connsiteX23" fmla="*/ 249428 w 382260"/>
                  <a:gd name="connsiteY23" fmla="*/ 144406 h 413370"/>
                  <a:gd name="connsiteX24" fmla="*/ 263620 w 382260"/>
                  <a:gd name="connsiteY24" fmla="*/ 156312 h 413370"/>
                  <a:gd name="connsiteX25" fmla="*/ 274765 w 382260"/>
                  <a:gd name="connsiteY25" fmla="*/ 164599 h 413370"/>
                  <a:gd name="connsiteX26" fmla="*/ 298196 w 382260"/>
                  <a:gd name="connsiteY26" fmla="*/ 178029 h 413370"/>
                  <a:gd name="connsiteX27" fmla="*/ 319342 w 382260"/>
                  <a:gd name="connsiteY27" fmla="*/ 188506 h 413370"/>
                  <a:gd name="connsiteX28" fmla="*/ 345726 w 382260"/>
                  <a:gd name="connsiteY28" fmla="*/ 199079 h 413370"/>
                  <a:gd name="connsiteX29" fmla="*/ 377635 w 382260"/>
                  <a:gd name="connsiteY29" fmla="*/ 210509 h 413370"/>
                  <a:gd name="connsiteX30" fmla="*/ 381730 w 382260"/>
                  <a:gd name="connsiteY30" fmla="*/ 215843 h 413370"/>
                  <a:gd name="connsiteX31" fmla="*/ 379635 w 382260"/>
                  <a:gd name="connsiteY31" fmla="*/ 220987 h 413370"/>
                  <a:gd name="connsiteX32" fmla="*/ 375730 w 382260"/>
                  <a:gd name="connsiteY32" fmla="*/ 226321 h 413370"/>
                  <a:gd name="connsiteX33" fmla="*/ 370110 w 382260"/>
                  <a:gd name="connsiteY33" fmla="*/ 229273 h 413370"/>
                  <a:gd name="connsiteX34" fmla="*/ 355060 w 382260"/>
                  <a:gd name="connsiteY34" fmla="*/ 232607 h 413370"/>
                  <a:gd name="connsiteX35" fmla="*/ 346964 w 382260"/>
                  <a:gd name="connsiteY35" fmla="*/ 236608 h 413370"/>
                  <a:gd name="connsiteX36" fmla="*/ 322961 w 382260"/>
                  <a:gd name="connsiteY36" fmla="*/ 246990 h 413370"/>
                  <a:gd name="connsiteX37" fmla="*/ 288671 w 382260"/>
                  <a:gd name="connsiteY37" fmla="*/ 265849 h 413370"/>
                  <a:gd name="connsiteX38" fmla="*/ 267907 w 382260"/>
                  <a:gd name="connsiteY38" fmla="*/ 279946 h 413370"/>
                  <a:gd name="connsiteX39" fmla="*/ 237998 w 382260"/>
                  <a:gd name="connsiteY39" fmla="*/ 307855 h 413370"/>
                  <a:gd name="connsiteX40" fmla="*/ 225330 w 382260"/>
                  <a:gd name="connsiteY40" fmla="*/ 322714 h 413370"/>
                  <a:gd name="connsiteX41" fmla="*/ 200660 w 382260"/>
                  <a:gd name="connsiteY41" fmla="*/ 364814 h 413370"/>
                  <a:gd name="connsiteX42" fmla="*/ 187135 w 382260"/>
                  <a:gd name="connsiteY42" fmla="*/ 398628 h 413370"/>
                  <a:gd name="connsiteX43" fmla="*/ 186277 w 382260"/>
                  <a:gd name="connsiteY43" fmla="*/ 402724 h 413370"/>
                  <a:gd name="connsiteX44" fmla="*/ 181896 w 382260"/>
                  <a:gd name="connsiteY44" fmla="*/ 412725 h 413370"/>
                  <a:gd name="connsiteX45" fmla="*/ 179896 w 382260"/>
                  <a:gd name="connsiteY45" fmla="*/ 413011 h 413370"/>
                  <a:gd name="connsiteX46" fmla="*/ 176086 w 382260"/>
                  <a:gd name="connsiteY46" fmla="*/ 412439 h 413370"/>
                  <a:gd name="connsiteX47" fmla="*/ 175038 w 382260"/>
                  <a:gd name="connsiteY47" fmla="*/ 411391 h 413370"/>
                  <a:gd name="connsiteX48" fmla="*/ 175038 w 382260"/>
                  <a:gd name="connsiteY48" fmla="*/ 403771 h 413370"/>
                  <a:gd name="connsiteX49" fmla="*/ 173800 w 382260"/>
                  <a:gd name="connsiteY49" fmla="*/ 383769 h 413370"/>
                  <a:gd name="connsiteX50" fmla="*/ 170275 w 382260"/>
                  <a:gd name="connsiteY50" fmla="*/ 371386 h 413370"/>
                  <a:gd name="connsiteX51" fmla="*/ 165703 w 382260"/>
                  <a:gd name="connsiteY51" fmla="*/ 352527 h 413370"/>
                  <a:gd name="connsiteX52" fmla="*/ 152749 w 382260"/>
                  <a:gd name="connsiteY52" fmla="*/ 321285 h 413370"/>
                  <a:gd name="connsiteX53" fmla="*/ 122269 w 382260"/>
                  <a:gd name="connsiteY53" fmla="*/ 274041 h 413370"/>
                  <a:gd name="connsiteX54" fmla="*/ 97219 w 382260"/>
                  <a:gd name="connsiteY54" fmla="*/ 253276 h 413370"/>
                  <a:gd name="connsiteX55" fmla="*/ 85027 w 382260"/>
                  <a:gd name="connsiteY55" fmla="*/ 247276 h 413370"/>
                  <a:gd name="connsiteX56" fmla="*/ 76359 w 382260"/>
                  <a:gd name="connsiteY56" fmla="*/ 242418 h 413370"/>
                  <a:gd name="connsiteX57" fmla="*/ 74930 w 382260"/>
                  <a:gd name="connsiteY57" fmla="*/ 242418 h 413370"/>
                  <a:gd name="connsiteX58" fmla="*/ 71977 w 382260"/>
                  <a:gd name="connsiteY58" fmla="*/ 242799 h 413370"/>
                  <a:gd name="connsiteX59" fmla="*/ 63119 w 382260"/>
                  <a:gd name="connsiteY59" fmla="*/ 240322 h 413370"/>
                  <a:gd name="connsiteX60" fmla="*/ 61119 w 382260"/>
                  <a:gd name="connsiteY60" fmla="*/ 237465 h 413370"/>
                  <a:gd name="connsiteX61" fmla="*/ 58071 w 382260"/>
                  <a:gd name="connsiteY61" fmla="*/ 234512 h 413370"/>
                  <a:gd name="connsiteX62" fmla="*/ 42164 w 382260"/>
                  <a:gd name="connsiteY62" fmla="*/ 232417 h 413370"/>
                  <a:gd name="connsiteX63" fmla="*/ 38640 w 382260"/>
                  <a:gd name="connsiteY63" fmla="*/ 230607 h 413370"/>
                  <a:gd name="connsiteX64" fmla="*/ 34544 w 382260"/>
                  <a:gd name="connsiteY64" fmla="*/ 229940 h 413370"/>
                  <a:gd name="connsiteX65" fmla="*/ 30448 w 382260"/>
                  <a:gd name="connsiteY65" fmla="*/ 230321 h 413370"/>
                  <a:gd name="connsiteX66" fmla="*/ 27305 w 382260"/>
                  <a:gd name="connsiteY66" fmla="*/ 231274 h 413370"/>
                  <a:gd name="connsiteX67" fmla="*/ 25114 w 382260"/>
                  <a:gd name="connsiteY67" fmla="*/ 232321 h 413370"/>
                  <a:gd name="connsiteX68" fmla="*/ 17685 w 382260"/>
                  <a:gd name="connsiteY68" fmla="*/ 231845 h 413370"/>
                  <a:gd name="connsiteX69" fmla="*/ 13494 w 382260"/>
                  <a:gd name="connsiteY69" fmla="*/ 229750 h 413370"/>
                  <a:gd name="connsiteX70" fmla="*/ 9874 w 382260"/>
                  <a:gd name="connsiteY70" fmla="*/ 230607 h 413370"/>
                  <a:gd name="connsiteX71" fmla="*/ 6541 w 382260"/>
                  <a:gd name="connsiteY71" fmla="*/ 228130 h 413370"/>
                  <a:gd name="connsiteX72" fmla="*/ 2826 w 382260"/>
                  <a:gd name="connsiteY72" fmla="*/ 226416 h 413370"/>
                  <a:gd name="connsiteX73" fmla="*/ 64 w 382260"/>
                  <a:gd name="connsiteY73" fmla="*/ 224320 h 413370"/>
                  <a:gd name="connsiteX74" fmla="*/ 1778 w 382260"/>
                  <a:gd name="connsiteY74" fmla="*/ 222034 h 413370"/>
                  <a:gd name="connsiteX75" fmla="*/ 7017 w 382260"/>
                  <a:gd name="connsiteY75" fmla="*/ 211938 h 413370"/>
                  <a:gd name="connsiteX76" fmla="*/ 10732 w 382260"/>
                  <a:gd name="connsiteY76" fmla="*/ 209366 h 413370"/>
                  <a:gd name="connsiteX77" fmla="*/ 28448 w 382260"/>
                  <a:gd name="connsiteY77" fmla="*/ 206699 h 413370"/>
                  <a:gd name="connsiteX78" fmla="*/ 32544 w 382260"/>
                  <a:gd name="connsiteY78" fmla="*/ 205175 h 41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382260" h="413370">
                    <a:moveTo>
                      <a:pt x="33115" y="204794"/>
                    </a:moveTo>
                    <a:cubicBezTo>
                      <a:pt x="36830" y="201937"/>
                      <a:pt x="41593" y="202032"/>
                      <a:pt x="45879" y="200889"/>
                    </a:cubicBezTo>
                    <a:cubicBezTo>
                      <a:pt x="50260" y="199651"/>
                      <a:pt x="52927" y="196507"/>
                      <a:pt x="56642" y="194602"/>
                    </a:cubicBezTo>
                    <a:cubicBezTo>
                      <a:pt x="64357" y="190697"/>
                      <a:pt x="71215" y="185173"/>
                      <a:pt x="78264" y="180029"/>
                    </a:cubicBezTo>
                    <a:cubicBezTo>
                      <a:pt x="84741" y="175362"/>
                      <a:pt x="91980" y="171171"/>
                      <a:pt x="97409" y="165456"/>
                    </a:cubicBezTo>
                    <a:cubicBezTo>
                      <a:pt x="105982" y="156407"/>
                      <a:pt x="115888" y="148882"/>
                      <a:pt x="124555" y="139929"/>
                    </a:cubicBezTo>
                    <a:cubicBezTo>
                      <a:pt x="133128" y="131071"/>
                      <a:pt x="141129" y="121736"/>
                      <a:pt x="148463" y="111925"/>
                    </a:cubicBezTo>
                    <a:cubicBezTo>
                      <a:pt x="153035" y="105829"/>
                      <a:pt x="157798" y="99448"/>
                      <a:pt x="160179" y="91923"/>
                    </a:cubicBezTo>
                    <a:cubicBezTo>
                      <a:pt x="160655" y="90399"/>
                      <a:pt x="161322" y="88494"/>
                      <a:pt x="162560" y="87541"/>
                    </a:cubicBezTo>
                    <a:cubicBezTo>
                      <a:pt x="166180" y="84779"/>
                      <a:pt x="166275" y="80874"/>
                      <a:pt x="166751" y="77064"/>
                    </a:cubicBezTo>
                    <a:cubicBezTo>
                      <a:pt x="166846" y="76111"/>
                      <a:pt x="166846" y="75254"/>
                      <a:pt x="167513" y="74397"/>
                    </a:cubicBezTo>
                    <a:cubicBezTo>
                      <a:pt x="172371" y="68491"/>
                      <a:pt x="171704" y="61157"/>
                      <a:pt x="173228" y="54299"/>
                    </a:cubicBezTo>
                    <a:cubicBezTo>
                      <a:pt x="175228" y="45727"/>
                      <a:pt x="174752" y="37249"/>
                      <a:pt x="175609" y="28772"/>
                    </a:cubicBezTo>
                    <a:cubicBezTo>
                      <a:pt x="176276" y="21628"/>
                      <a:pt x="177991" y="14294"/>
                      <a:pt x="175609" y="7055"/>
                    </a:cubicBezTo>
                    <a:cubicBezTo>
                      <a:pt x="175228" y="5912"/>
                      <a:pt x="175324" y="4960"/>
                      <a:pt x="176371" y="4864"/>
                    </a:cubicBezTo>
                    <a:cubicBezTo>
                      <a:pt x="178943" y="4674"/>
                      <a:pt x="178276" y="4102"/>
                      <a:pt x="177419" y="2293"/>
                    </a:cubicBezTo>
                    <a:cubicBezTo>
                      <a:pt x="176752" y="769"/>
                      <a:pt x="178467" y="102"/>
                      <a:pt x="180086" y="7"/>
                    </a:cubicBezTo>
                    <a:cubicBezTo>
                      <a:pt x="184372" y="-184"/>
                      <a:pt x="188468" y="3721"/>
                      <a:pt x="187325" y="7817"/>
                    </a:cubicBezTo>
                    <a:cubicBezTo>
                      <a:pt x="185325" y="14675"/>
                      <a:pt x="187611" y="21152"/>
                      <a:pt x="188373" y="27629"/>
                    </a:cubicBezTo>
                    <a:cubicBezTo>
                      <a:pt x="189516" y="37535"/>
                      <a:pt x="192850" y="47060"/>
                      <a:pt x="195802" y="56490"/>
                    </a:cubicBezTo>
                    <a:cubicBezTo>
                      <a:pt x="197898" y="63062"/>
                      <a:pt x="200279" y="69539"/>
                      <a:pt x="204089" y="75635"/>
                    </a:cubicBezTo>
                    <a:cubicBezTo>
                      <a:pt x="206566" y="79636"/>
                      <a:pt x="206470" y="85732"/>
                      <a:pt x="208852" y="90494"/>
                    </a:cubicBezTo>
                    <a:cubicBezTo>
                      <a:pt x="213900" y="100114"/>
                      <a:pt x="219710" y="109163"/>
                      <a:pt x="225997" y="117926"/>
                    </a:cubicBezTo>
                    <a:cubicBezTo>
                      <a:pt x="232855" y="127546"/>
                      <a:pt x="241618" y="135547"/>
                      <a:pt x="249428" y="144406"/>
                    </a:cubicBezTo>
                    <a:cubicBezTo>
                      <a:pt x="253524" y="148978"/>
                      <a:pt x="258382" y="153169"/>
                      <a:pt x="263620" y="156312"/>
                    </a:cubicBezTo>
                    <a:cubicBezTo>
                      <a:pt x="267621" y="158788"/>
                      <a:pt x="271336" y="161646"/>
                      <a:pt x="274765" y="164599"/>
                    </a:cubicBezTo>
                    <a:cubicBezTo>
                      <a:pt x="281718" y="170695"/>
                      <a:pt x="290386" y="173647"/>
                      <a:pt x="298196" y="178029"/>
                    </a:cubicBezTo>
                    <a:cubicBezTo>
                      <a:pt x="305054" y="181839"/>
                      <a:pt x="311817" y="185935"/>
                      <a:pt x="319342" y="188506"/>
                    </a:cubicBezTo>
                    <a:cubicBezTo>
                      <a:pt x="328390" y="191459"/>
                      <a:pt x="336963" y="195650"/>
                      <a:pt x="345726" y="199079"/>
                    </a:cubicBezTo>
                    <a:cubicBezTo>
                      <a:pt x="356203" y="203175"/>
                      <a:pt x="367252" y="205842"/>
                      <a:pt x="377635" y="210509"/>
                    </a:cubicBezTo>
                    <a:cubicBezTo>
                      <a:pt x="380206" y="211652"/>
                      <a:pt x="380302" y="214129"/>
                      <a:pt x="381730" y="215843"/>
                    </a:cubicBezTo>
                    <a:cubicBezTo>
                      <a:pt x="383254" y="217558"/>
                      <a:pt x="381159" y="219177"/>
                      <a:pt x="379635" y="220987"/>
                    </a:cubicBezTo>
                    <a:cubicBezTo>
                      <a:pt x="378397" y="222511"/>
                      <a:pt x="376968" y="224511"/>
                      <a:pt x="375730" y="226321"/>
                    </a:cubicBezTo>
                    <a:cubicBezTo>
                      <a:pt x="374396" y="228321"/>
                      <a:pt x="372205" y="229083"/>
                      <a:pt x="370110" y="229273"/>
                    </a:cubicBezTo>
                    <a:cubicBezTo>
                      <a:pt x="364966" y="229845"/>
                      <a:pt x="360204" y="231845"/>
                      <a:pt x="355060" y="232607"/>
                    </a:cubicBezTo>
                    <a:cubicBezTo>
                      <a:pt x="352298" y="232988"/>
                      <a:pt x="349726" y="235274"/>
                      <a:pt x="346964" y="236608"/>
                    </a:cubicBezTo>
                    <a:cubicBezTo>
                      <a:pt x="339154" y="240418"/>
                      <a:pt x="330676" y="242894"/>
                      <a:pt x="322961" y="246990"/>
                    </a:cubicBezTo>
                    <a:cubicBezTo>
                      <a:pt x="311436" y="253086"/>
                      <a:pt x="299625" y="258610"/>
                      <a:pt x="288671" y="265849"/>
                    </a:cubicBezTo>
                    <a:cubicBezTo>
                      <a:pt x="281718" y="270517"/>
                      <a:pt x="274479" y="274803"/>
                      <a:pt x="267907" y="279946"/>
                    </a:cubicBezTo>
                    <a:cubicBezTo>
                      <a:pt x="257143" y="288328"/>
                      <a:pt x="245904" y="296234"/>
                      <a:pt x="237998" y="307855"/>
                    </a:cubicBezTo>
                    <a:cubicBezTo>
                      <a:pt x="234379" y="313189"/>
                      <a:pt x="229045" y="317284"/>
                      <a:pt x="225330" y="322714"/>
                    </a:cubicBezTo>
                    <a:cubicBezTo>
                      <a:pt x="215995" y="336144"/>
                      <a:pt x="207423" y="349765"/>
                      <a:pt x="200660" y="364814"/>
                    </a:cubicBezTo>
                    <a:cubicBezTo>
                      <a:pt x="195707" y="375958"/>
                      <a:pt x="191897" y="387484"/>
                      <a:pt x="187135" y="398628"/>
                    </a:cubicBezTo>
                    <a:cubicBezTo>
                      <a:pt x="186563" y="399866"/>
                      <a:pt x="186182" y="401390"/>
                      <a:pt x="186277" y="402724"/>
                    </a:cubicBezTo>
                    <a:cubicBezTo>
                      <a:pt x="186658" y="406915"/>
                      <a:pt x="183515" y="409486"/>
                      <a:pt x="181896" y="412725"/>
                    </a:cubicBezTo>
                    <a:cubicBezTo>
                      <a:pt x="181515" y="413582"/>
                      <a:pt x="180562" y="413487"/>
                      <a:pt x="179896" y="413011"/>
                    </a:cubicBezTo>
                    <a:cubicBezTo>
                      <a:pt x="178753" y="412058"/>
                      <a:pt x="177895" y="410629"/>
                      <a:pt x="176086" y="412439"/>
                    </a:cubicBezTo>
                    <a:cubicBezTo>
                      <a:pt x="175038" y="413582"/>
                      <a:pt x="175133" y="411868"/>
                      <a:pt x="175038" y="411391"/>
                    </a:cubicBezTo>
                    <a:cubicBezTo>
                      <a:pt x="174371" y="408820"/>
                      <a:pt x="174847" y="406438"/>
                      <a:pt x="175038" y="403771"/>
                    </a:cubicBezTo>
                    <a:cubicBezTo>
                      <a:pt x="175705" y="397199"/>
                      <a:pt x="180181" y="390436"/>
                      <a:pt x="173800" y="383769"/>
                    </a:cubicBezTo>
                    <a:cubicBezTo>
                      <a:pt x="171133" y="381007"/>
                      <a:pt x="171514" y="375577"/>
                      <a:pt x="170275" y="371386"/>
                    </a:cubicBezTo>
                    <a:cubicBezTo>
                      <a:pt x="168370" y="365195"/>
                      <a:pt x="168085" y="358718"/>
                      <a:pt x="165703" y="352527"/>
                    </a:cubicBezTo>
                    <a:cubicBezTo>
                      <a:pt x="161608" y="341954"/>
                      <a:pt x="156940" y="331762"/>
                      <a:pt x="152749" y="321285"/>
                    </a:cubicBezTo>
                    <a:cubicBezTo>
                      <a:pt x="145606" y="303473"/>
                      <a:pt x="134842" y="288138"/>
                      <a:pt x="122269" y="274041"/>
                    </a:cubicBezTo>
                    <a:cubicBezTo>
                      <a:pt x="115126" y="265945"/>
                      <a:pt x="107029" y="258610"/>
                      <a:pt x="97219" y="253276"/>
                    </a:cubicBezTo>
                    <a:cubicBezTo>
                      <a:pt x="93218" y="251086"/>
                      <a:pt x="89313" y="248609"/>
                      <a:pt x="85027" y="247276"/>
                    </a:cubicBezTo>
                    <a:cubicBezTo>
                      <a:pt x="81693" y="246228"/>
                      <a:pt x="78454" y="245466"/>
                      <a:pt x="76359" y="242418"/>
                    </a:cubicBezTo>
                    <a:cubicBezTo>
                      <a:pt x="75978" y="241846"/>
                      <a:pt x="75406" y="240703"/>
                      <a:pt x="74930" y="242418"/>
                    </a:cubicBezTo>
                    <a:cubicBezTo>
                      <a:pt x="74168" y="244799"/>
                      <a:pt x="72835" y="243085"/>
                      <a:pt x="71977" y="242799"/>
                    </a:cubicBezTo>
                    <a:cubicBezTo>
                      <a:pt x="69120" y="241561"/>
                      <a:pt x="66358" y="240418"/>
                      <a:pt x="63119" y="240322"/>
                    </a:cubicBezTo>
                    <a:cubicBezTo>
                      <a:pt x="61595" y="240322"/>
                      <a:pt x="61786" y="238513"/>
                      <a:pt x="61119" y="237465"/>
                    </a:cubicBezTo>
                    <a:cubicBezTo>
                      <a:pt x="60357" y="236227"/>
                      <a:pt x="59881" y="234131"/>
                      <a:pt x="58071" y="234512"/>
                    </a:cubicBezTo>
                    <a:cubicBezTo>
                      <a:pt x="52451" y="235655"/>
                      <a:pt x="47498" y="233083"/>
                      <a:pt x="42164" y="232417"/>
                    </a:cubicBezTo>
                    <a:cubicBezTo>
                      <a:pt x="40640" y="232226"/>
                      <a:pt x="39402" y="232798"/>
                      <a:pt x="38640" y="230607"/>
                    </a:cubicBezTo>
                    <a:cubicBezTo>
                      <a:pt x="38259" y="229559"/>
                      <a:pt x="35687" y="228797"/>
                      <a:pt x="34544" y="229940"/>
                    </a:cubicBezTo>
                    <a:cubicBezTo>
                      <a:pt x="33020" y="231369"/>
                      <a:pt x="31687" y="231178"/>
                      <a:pt x="30448" y="230321"/>
                    </a:cubicBezTo>
                    <a:cubicBezTo>
                      <a:pt x="28734" y="229178"/>
                      <a:pt x="27877" y="228988"/>
                      <a:pt x="27305" y="231274"/>
                    </a:cubicBezTo>
                    <a:cubicBezTo>
                      <a:pt x="27115" y="232131"/>
                      <a:pt x="25591" y="233083"/>
                      <a:pt x="25114" y="232321"/>
                    </a:cubicBezTo>
                    <a:cubicBezTo>
                      <a:pt x="22733" y="229178"/>
                      <a:pt x="20352" y="230607"/>
                      <a:pt x="17685" y="231845"/>
                    </a:cubicBezTo>
                    <a:cubicBezTo>
                      <a:pt x="15589" y="232798"/>
                      <a:pt x="14065" y="232131"/>
                      <a:pt x="13494" y="229750"/>
                    </a:cubicBezTo>
                    <a:cubicBezTo>
                      <a:pt x="12065" y="228988"/>
                      <a:pt x="11208" y="230607"/>
                      <a:pt x="9874" y="230607"/>
                    </a:cubicBezTo>
                    <a:cubicBezTo>
                      <a:pt x="8922" y="229654"/>
                      <a:pt x="5398" y="232607"/>
                      <a:pt x="6541" y="228130"/>
                    </a:cubicBezTo>
                    <a:cubicBezTo>
                      <a:pt x="7017" y="226225"/>
                      <a:pt x="4064" y="227273"/>
                      <a:pt x="2826" y="226416"/>
                    </a:cubicBezTo>
                    <a:cubicBezTo>
                      <a:pt x="1873" y="225749"/>
                      <a:pt x="445" y="225940"/>
                      <a:pt x="64" y="224320"/>
                    </a:cubicBezTo>
                    <a:cubicBezTo>
                      <a:pt x="-317" y="222701"/>
                      <a:pt x="1111" y="222415"/>
                      <a:pt x="1778" y="222034"/>
                    </a:cubicBezTo>
                    <a:cubicBezTo>
                      <a:pt x="5874" y="219939"/>
                      <a:pt x="6160" y="215367"/>
                      <a:pt x="7017" y="211938"/>
                    </a:cubicBezTo>
                    <a:cubicBezTo>
                      <a:pt x="7874" y="208890"/>
                      <a:pt x="9779" y="209080"/>
                      <a:pt x="10732" y="209366"/>
                    </a:cubicBezTo>
                    <a:cubicBezTo>
                      <a:pt x="17018" y="210795"/>
                      <a:pt x="22733" y="209080"/>
                      <a:pt x="28448" y="206699"/>
                    </a:cubicBezTo>
                    <a:cubicBezTo>
                      <a:pt x="29782" y="206032"/>
                      <a:pt x="32068" y="208033"/>
                      <a:pt x="32544" y="205175"/>
                    </a:cubicBezTo>
                  </a:path>
                </a:pathLst>
              </a:custGeom>
              <a:solidFill>
                <a:srgbClr val="4FE2F3"/>
              </a:solidFill>
              <a:ln w="9525" cap="flat">
                <a:noFill/>
                <a:prstDash val="solid"/>
                <a:miter/>
              </a:ln>
            </p:spPr>
            <p:txBody>
              <a:bodyPr rtlCol="0" anchor="ctr"/>
              <a:lstStyle/>
              <a:p>
                <a:endParaRPr lang="en-US"/>
              </a:p>
            </p:txBody>
          </p:sp>
        </p:grpSp>
      </p:grpSp>
      <p:sp>
        <p:nvSpPr>
          <p:cNvPr id="81" name="Rectangle: Rounded Corners 80">
            <a:extLst>
              <a:ext uri="{FF2B5EF4-FFF2-40B4-BE49-F238E27FC236}">
                <a16:creationId xmlns:a16="http://schemas.microsoft.com/office/drawing/2014/main" id="{E06B10EC-42BB-E956-5950-E424545F2F3C}"/>
              </a:ext>
            </a:extLst>
          </p:cNvPr>
          <p:cNvSpPr>
            <a:spLocks/>
          </p:cNvSpPr>
          <p:nvPr/>
        </p:nvSpPr>
        <p:spPr>
          <a:xfrm>
            <a:off x="596899" y="2855349"/>
            <a:ext cx="5361941" cy="2739205"/>
          </a:xfrm>
          <a:prstGeom prst="roundRect">
            <a:avLst>
              <a:gd name="adj" fmla="val 4422"/>
            </a:avLst>
          </a:prstGeom>
          <a:solidFill>
            <a:schemeClr val="bg1">
              <a:alpha val="1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 name="Rectangle: Rounded Corners 81">
            <a:extLst>
              <a:ext uri="{FF2B5EF4-FFF2-40B4-BE49-F238E27FC236}">
                <a16:creationId xmlns:a16="http://schemas.microsoft.com/office/drawing/2014/main" id="{AA48BF2C-1BB1-46C6-6806-E37EEA17BD6F}"/>
              </a:ext>
            </a:extLst>
          </p:cNvPr>
          <p:cNvSpPr>
            <a:spLocks/>
          </p:cNvSpPr>
          <p:nvPr/>
        </p:nvSpPr>
        <p:spPr>
          <a:xfrm>
            <a:off x="6233160" y="2855349"/>
            <a:ext cx="5361940" cy="2739205"/>
          </a:xfrm>
          <a:prstGeom prst="roundRect">
            <a:avLst>
              <a:gd name="adj" fmla="val 4422"/>
            </a:avLst>
          </a:prstGeom>
          <a:solidFill>
            <a:schemeClr val="bg1">
              <a:alpha val="1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89" name="Group 88">
            <a:extLst>
              <a:ext uri="{FF2B5EF4-FFF2-40B4-BE49-F238E27FC236}">
                <a16:creationId xmlns:a16="http://schemas.microsoft.com/office/drawing/2014/main" id="{318302A7-D1BC-6810-9CED-9E2E6D291EAB}"/>
              </a:ext>
            </a:extLst>
          </p:cNvPr>
          <p:cNvGrpSpPr>
            <a:grpSpLocks/>
          </p:cNvGrpSpPr>
          <p:nvPr/>
        </p:nvGrpSpPr>
        <p:grpSpPr>
          <a:xfrm>
            <a:off x="7937858" y="1881014"/>
            <a:ext cx="1952544" cy="1952542"/>
            <a:chOff x="7883317" y="2059427"/>
            <a:chExt cx="1519518" cy="1519516"/>
          </a:xfrm>
        </p:grpSpPr>
        <p:sp>
          <p:nvSpPr>
            <p:cNvPr id="57" name="Oval 56">
              <a:extLst>
                <a:ext uri="{FF2B5EF4-FFF2-40B4-BE49-F238E27FC236}">
                  <a16:creationId xmlns:a16="http://schemas.microsoft.com/office/drawing/2014/main" id="{990CD553-32A1-8BE4-D0C6-12637395D69D}"/>
                </a:ext>
              </a:extLst>
            </p:cNvPr>
            <p:cNvSpPr/>
            <p:nvPr/>
          </p:nvSpPr>
          <p:spPr>
            <a:xfrm>
              <a:off x="7883317" y="2059427"/>
              <a:ext cx="1519518" cy="1519516"/>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b="1">
                <a:solidFill>
                  <a:schemeClr val="accent5"/>
                </a:solidFill>
              </a:endParaRPr>
            </a:p>
          </p:txBody>
        </p:sp>
        <p:pic>
          <p:nvPicPr>
            <p:cNvPr id="85" name="Picture 84" descr="A person leaning against a wall&#10;&#10;Description automatically generated">
              <a:extLst>
                <a:ext uri="{FF2B5EF4-FFF2-40B4-BE49-F238E27FC236}">
                  <a16:creationId xmlns:a16="http://schemas.microsoft.com/office/drawing/2014/main" id="{FFBB1D71-2965-1E84-4E62-0B0D3F701007}"/>
                </a:ext>
              </a:extLst>
            </p:cNvPr>
            <p:cNvPicPr>
              <a:picLocks/>
            </p:cNvPicPr>
            <p:nvPr/>
          </p:nvPicPr>
          <p:blipFill rotWithShape="1">
            <a:blip r:embed="rId5" cstate="screen">
              <a:extLst>
                <a:ext uri="{28A0092B-C50C-407E-A947-70E740481C1C}">
                  <a14:useLocalDpi xmlns:a14="http://schemas.microsoft.com/office/drawing/2010/main"/>
                </a:ext>
              </a:extLst>
            </a:blip>
            <a:srcRect l="17374" t="4006" r="22142" b="50179"/>
            <a:stretch/>
          </p:blipFill>
          <p:spPr>
            <a:xfrm>
              <a:off x="7975564" y="2151673"/>
              <a:ext cx="1335024" cy="1335024"/>
            </a:xfrm>
            <a:prstGeom prst="ellipse">
              <a:avLst/>
            </a:prstGeom>
          </p:spPr>
        </p:pic>
      </p:grpSp>
      <p:grpSp>
        <p:nvGrpSpPr>
          <p:cNvPr id="88" name="Group 87">
            <a:extLst>
              <a:ext uri="{FF2B5EF4-FFF2-40B4-BE49-F238E27FC236}">
                <a16:creationId xmlns:a16="http://schemas.microsoft.com/office/drawing/2014/main" id="{D4157041-1E2A-BB40-F1AF-1D8D62DB6BA9}"/>
              </a:ext>
            </a:extLst>
          </p:cNvPr>
          <p:cNvGrpSpPr>
            <a:grpSpLocks/>
          </p:cNvGrpSpPr>
          <p:nvPr/>
        </p:nvGrpSpPr>
        <p:grpSpPr>
          <a:xfrm>
            <a:off x="2301597" y="1881014"/>
            <a:ext cx="1952544" cy="1952542"/>
            <a:chOff x="2497296" y="2059427"/>
            <a:chExt cx="1519518" cy="1519516"/>
          </a:xfrm>
        </p:grpSpPr>
        <p:sp>
          <p:nvSpPr>
            <p:cNvPr id="56" name="Oval 55">
              <a:extLst>
                <a:ext uri="{FF2B5EF4-FFF2-40B4-BE49-F238E27FC236}">
                  <a16:creationId xmlns:a16="http://schemas.microsoft.com/office/drawing/2014/main" id="{CE4B7283-D764-0A50-B5C8-BA330A9806C2}"/>
                </a:ext>
              </a:extLst>
            </p:cNvPr>
            <p:cNvSpPr/>
            <p:nvPr/>
          </p:nvSpPr>
          <p:spPr>
            <a:xfrm>
              <a:off x="2497296" y="2059427"/>
              <a:ext cx="1519518" cy="1519516"/>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b="1">
                <a:solidFill>
                  <a:schemeClr val="accent5"/>
                </a:solidFill>
              </a:endParaRPr>
            </a:p>
          </p:txBody>
        </p:sp>
        <p:pic>
          <p:nvPicPr>
            <p:cNvPr id="86" name="Picture 85" descr="A person smiling at camera&#10;&#10;Description automatically generated">
              <a:extLst>
                <a:ext uri="{FF2B5EF4-FFF2-40B4-BE49-F238E27FC236}">
                  <a16:creationId xmlns:a16="http://schemas.microsoft.com/office/drawing/2014/main" id="{9933D5AF-41BA-201E-B536-CB14B219752E}"/>
                </a:ext>
              </a:extLst>
            </p:cNvPr>
            <p:cNvPicPr>
              <a:picLocks/>
            </p:cNvPicPr>
            <p:nvPr/>
          </p:nvPicPr>
          <p:blipFill rotWithShape="1">
            <a:blip r:embed="rId6" cstate="screen">
              <a:extLst>
                <a:ext uri="{28A0092B-C50C-407E-A947-70E740481C1C}">
                  <a14:useLocalDpi xmlns:a14="http://schemas.microsoft.com/office/drawing/2010/main"/>
                </a:ext>
              </a:extLst>
            </a:blip>
            <a:srcRect l="2537" t="1133" r="5555" b="4936"/>
            <a:stretch/>
          </p:blipFill>
          <p:spPr>
            <a:xfrm>
              <a:off x="2589543" y="2151673"/>
              <a:ext cx="1335024" cy="1335024"/>
            </a:xfrm>
            <a:prstGeom prst="ellipse">
              <a:avLst/>
            </a:prstGeom>
          </p:spPr>
        </p:pic>
      </p:grpSp>
      <p:sp>
        <p:nvSpPr>
          <p:cNvPr id="11" name="TextBox 10">
            <a:extLst>
              <a:ext uri="{FF2B5EF4-FFF2-40B4-BE49-F238E27FC236}">
                <a16:creationId xmlns:a16="http://schemas.microsoft.com/office/drawing/2014/main" id="{361E9FDC-DA4F-4D81-9DAB-D91ED145598F}"/>
              </a:ext>
            </a:extLst>
          </p:cNvPr>
          <p:cNvSpPr txBox="1"/>
          <p:nvPr/>
        </p:nvSpPr>
        <p:spPr>
          <a:xfrm>
            <a:off x="783588" y="3999295"/>
            <a:ext cx="4988562" cy="1100301"/>
          </a:xfrm>
          <a:prstGeom prst="rect">
            <a:avLst/>
          </a:prstGeom>
          <a:noFill/>
          <a:effectLst/>
        </p:spPr>
        <p:txBody>
          <a:bodyPr wrap="square" lIns="0" tIns="0" rIns="0" bIns="0" rtlCol="0">
            <a:spAutoFit/>
          </a:bodyPr>
          <a:lstStyle/>
          <a:p>
            <a:pPr marL="0" marR="0" lvl="0" indent="0" algn="ctr" defTabSz="914400" rtl="0" eaLnBrk="1" fontAlgn="auto" latinLnBrk="0" hangingPunct="1">
              <a:spcBef>
                <a:spcPts val="0"/>
              </a:spcBef>
              <a:spcAft>
                <a:spcPts val="300"/>
              </a:spcAft>
              <a:buClrTx/>
              <a:buSzTx/>
              <a:buFontTx/>
              <a:buNone/>
              <a:tabLst/>
              <a:defRPr/>
            </a:pPr>
            <a:r>
              <a:rPr kumimoji="0" lang="en-US" sz="2800" b="1" i="0" u="none" strike="noStrike" kern="1200" cap="none" normalizeH="0" baseline="0" noProof="0">
                <a:ln>
                  <a:noFill/>
                </a:ln>
                <a:solidFill>
                  <a:schemeClr val="accent4"/>
                </a:solidFill>
                <a:effectLst/>
                <a:uLnTx/>
                <a:uFillTx/>
                <a:ea typeface="+mj-ea"/>
                <a:cs typeface="+mj-cs"/>
              </a:rPr>
              <a:t>Shanna Parra</a:t>
            </a:r>
          </a:p>
          <a:p>
            <a:pPr marL="0" marR="0" lvl="0" indent="0" algn="ctr" defTabSz="914400" rtl="0" eaLnBrk="1" fontAlgn="auto" latinLnBrk="0" hangingPunct="1">
              <a:spcBef>
                <a:spcPts val="200"/>
              </a:spcBef>
              <a:spcAft>
                <a:spcPts val="200"/>
              </a:spcAft>
              <a:buClrTx/>
              <a:buSzTx/>
              <a:buFontTx/>
              <a:buNone/>
              <a:tabLst/>
              <a:defRPr/>
            </a:pPr>
            <a:r>
              <a:rPr kumimoji="0" lang="en-US" sz="1800" b="1" i="0" u="none" strike="noStrike" kern="1200" cap="none" normalizeH="0" baseline="0" noProof="0">
                <a:ln>
                  <a:noFill/>
                </a:ln>
                <a:solidFill>
                  <a:srgbClr val="FFFFFF"/>
                </a:solidFill>
                <a:effectLst/>
                <a:uLnTx/>
                <a:uFillTx/>
                <a:ea typeface="+mj-ea"/>
                <a:cs typeface="+mj-cs"/>
              </a:rPr>
              <a:t>Director Commercial Sustainability</a:t>
            </a:r>
          </a:p>
          <a:p>
            <a:pPr marL="0" marR="0" lvl="0" indent="0" algn="ctr" defTabSz="914400" rtl="0" eaLnBrk="1" fontAlgn="auto" latinLnBrk="0" hangingPunct="1">
              <a:spcBef>
                <a:spcPts val="200"/>
              </a:spcBef>
              <a:spcAft>
                <a:spcPts val="200"/>
              </a:spcAft>
              <a:buClrTx/>
              <a:buSzTx/>
              <a:buFontTx/>
              <a:buNone/>
              <a:tabLst/>
              <a:defRPr/>
            </a:pPr>
            <a:r>
              <a:rPr kumimoji="0" lang="en-US" sz="1800" b="1" i="0" u="none" strike="noStrike" kern="1200" cap="none" normalizeH="0" baseline="0" noProof="0">
                <a:ln>
                  <a:noFill/>
                </a:ln>
                <a:solidFill>
                  <a:srgbClr val="FFFFFF"/>
                </a:solidFill>
                <a:effectLst/>
                <a:uLnTx/>
                <a:uFillTx/>
                <a:ea typeface="+mj-ea"/>
                <a:cs typeface="+mj-cs"/>
              </a:rPr>
              <a:t>Email: </a:t>
            </a:r>
            <a:r>
              <a:rPr kumimoji="0" lang="en-US" sz="1800" b="1" i="0" u="none" strike="noStrike" kern="1200" cap="none" normalizeH="0" baseline="0" noProof="0">
                <a:ln>
                  <a:noFill/>
                </a:ln>
                <a:solidFill>
                  <a:schemeClr val="accent6"/>
                </a:solidFill>
                <a:effectLst/>
                <a:uLnTx/>
                <a:uFillTx/>
                <a:ea typeface="+mj-ea"/>
                <a:cs typeface="+mj-cs"/>
                <a:hlinkClick r:id="rId7">
                  <a:extLst>
                    <a:ext uri="{A12FA001-AC4F-418D-AE19-62706E023703}">
                      <ahyp:hlinkClr xmlns:ahyp="http://schemas.microsoft.com/office/drawing/2018/hyperlinkcolor" val="tx"/>
                    </a:ext>
                  </a:extLst>
                </a:hlinkClick>
              </a:rPr>
              <a:t>shanna.parra@pepsico.com</a:t>
            </a:r>
            <a:endParaRPr kumimoji="0" lang="en-US" sz="1800" b="1" i="0" u="none" strike="noStrike" kern="1200" cap="none" normalizeH="0" baseline="0" noProof="0">
              <a:ln>
                <a:noFill/>
              </a:ln>
              <a:solidFill>
                <a:schemeClr val="accent6"/>
              </a:solidFill>
              <a:effectLst/>
              <a:uLnTx/>
              <a:uFillTx/>
              <a:ea typeface="+mj-ea"/>
              <a:cs typeface="+mj-cs"/>
            </a:endParaRPr>
          </a:p>
        </p:txBody>
      </p:sp>
      <p:sp>
        <p:nvSpPr>
          <p:cNvPr id="12" name="TextBox 11">
            <a:extLst>
              <a:ext uri="{FF2B5EF4-FFF2-40B4-BE49-F238E27FC236}">
                <a16:creationId xmlns:a16="http://schemas.microsoft.com/office/drawing/2014/main" id="{B4139B90-3FE8-170E-6F0E-E837766F723D}"/>
              </a:ext>
            </a:extLst>
          </p:cNvPr>
          <p:cNvSpPr txBox="1"/>
          <p:nvPr/>
        </p:nvSpPr>
        <p:spPr>
          <a:xfrm>
            <a:off x="6419849" y="3999295"/>
            <a:ext cx="4988562" cy="1100301"/>
          </a:xfrm>
          <a:prstGeom prst="rect">
            <a:avLst/>
          </a:prstGeom>
          <a:noFill/>
          <a:effectLst/>
        </p:spPr>
        <p:txBody>
          <a:bodyPr wrap="square" lIns="0" tIns="0" rIns="0" bIns="0" rtlCol="0">
            <a:spAutoFit/>
          </a:bodyPr>
          <a:lstStyle/>
          <a:p>
            <a:pPr algn="ctr">
              <a:spcAft>
                <a:spcPts val="300"/>
              </a:spcAft>
              <a:defRPr/>
            </a:pPr>
            <a:r>
              <a:rPr lang="en-US" sz="2800" b="1">
                <a:solidFill>
                  <a:schemeClr val="accent4"/>
                </a:solidFill>
                <a:effectLst/>
                <a:ea typeface="+mj-ea"/>
                <a:cs typeface="+mj-cs"/>
              </a:rPr>
              <a:t>Catherine Walton</a:t>
            </a:r>
          </a:p>
          <a:p>
            <a:pPr marL="0" marR="0" lvl="0" indent="0" algn="ctr" defTabSz="914400" rtl="0" eaLnBrk="1" fontAlgn="auto" latinLnBrk="0" hangingPunct="1">
              <a:spcBef>
                <a:spcPts val="200"/>
              </a:spcBef>
              <a:spcAft>
                <a:spcPts val="200"/>
              </a:spcAft>
              <a:buClrTx/>
              <a:buSzTx/>
              <a:buFontTx/>
              <a:buNone/>
              <a:tabLst/>
              <a:defRPr/>
            </a:pPr>
            <a:r>
              <a:rPr kumimoji="0" lang="en-US" b="1" i="0" u="none" strike="noStrike" kern="1200" cap="none" normalizeH="0" baseline="0" noProof="0">
                <a:ln>
                  <a:noFill/>
                </a:ln>
                <a:solidFill>
                  <a:srgbClr val="FFFFFF"/>
                </a:solidFill>
                <a:uLnTx/>
                <a:uFillTx/>
                <a:ea typeface="+mj-ea"/>
                <a:cs typeface="+mj-cs"/>
              </a:rPr>
              <a:t>Senior Manager Commercial Sustainability</a:t>
            </a:r>
          </a:p>
          <a:p>
            <a:pPr marL="0" marR="0" lvl="0" indent="0" algn="ctr" defTabSz="914400" rtl="0" eaLnBrk="1" fontAlgn="auto" latinLnBrk="0" hangingPunct="1">
              <a:spcBef>
                <a:spcPts val="200"/>
              </a:spcBef>
              <a:spcAft>
                <a:spcPts val="200"/>
              </a:spcAft>
              <a:buClrTx/>
              <a:buSzTx/>
              <a:buFontTx/>
              <a:buNone/>
              <a:tabLst/>
              <a:defRPr/>
            </a:pPr>
            <a:r>
              <a:rPr kumimoji="0" lang="en-US" b="1" i="0" u="none" strike="noStrike" kern="1200" cap="none" normalizeH="0" baseline="0" noProof="0">
                <a:ln>
                  <a:noFill/>
                </a:ln>
                <a:solidFill>
                  <a:srgbClr val="FFFFFF"/>
                </a:solidFill>
                <a:uLnTx/>
                <a:uFillTx/>
                <a:ea typeface="+mj-ea"/>
                <a:cs typeface="+mj-cs"/>
              </a:rPr>
              <a:t>Email: </a:t>
            </a:r>
            <a:r>
              <a:rPr kumimoji="0" lang="en-US" b="1" i="0" u="none" strike="noStrike" kern="1200" cap="none" normalizeH="0" baseline="0" noProof="0">
                <a:ln>
                  <a:noFill/>
                </a:ln>
                <a:solidFill>
                  <a:schemeClr val="accent6"/>
                </a:solidFill>
                <a:uLnTx/>
                <a:uFillTx/>
                <a:ea typeface="+mj-ea"/>
                <a:cs typeface="+mj-cs"/>
                <a:hlinkClick r:id="rId8">
                  <a:extLst>
                    <a:ext uri="{A12FA001-AC4F-418D-AE19-62706E023703}">
                      <ahyp:hlinkClr xmlns:ahyp="http://schemas.microsoft.com/office/drawing/2018/hyperlinkcolor" val="tx"/>
                    </a:ext>
                  </a:extLst>
                </a:hlinkClick>
              </a:rPr>
              <a:t>catherine.walton@pepsico.com</a:t>
            </a:r>
            <a:endParaRPr kumimoji="0" lang="en-US" b="1" i="0" u="none" strike="noStrike" kern="1200" cap="none" normalizeH="0" baseline="0" noProof="0">
              <a:ln>
                <a:noFill/>
              </a:ln>
              <a:solidFill>
                <a:schemeClr val="accent6"/>
              </a:solidFill>
              <a:uLnTx/>
              <a:uFillTx/>
              <a:ea typeface="+mj-ea"/>
              <a:cs typeface="+mj-cs"/>
            </a:endParaRPr>
          </a:p>
        </p:txBody>
      </p:sp>
      <p:pic>
        <p:nvPicPr>
          <p:cNvPr id="13" name="Picture 12">
            <a:extLst>
              <a:ext uri="{FF2B5EF4-FFF2-40B4-BE49-F238E27FC236}">
                <a16:creationId xmlns:a16="http://schemas.microsoft.com/office/drawing/2014/main" id="{FA6F432F-5D2F-CF10-7748-659091639F1B}"/>
              </a:ext>
            </a:extLst>
          </p:cNvPr>
          <p:cNvPicPr>
            <a:picLocks noChangeAspect="1"/>
          </p:cNvPicPr>
          <p:nvPr/>
        </p:nvPicPr>
        <p:blipFill>
          <a:blip r:embed="rId9"/>
          <a:stretch>
            <a:fillRect/>
          </a:stretch>
        </p:blipFill>
        <p:spPr>
          <a:xfrm flipH="1" flipV="1">
            <a:off x="0" y="0"/>
            <a:ext cx="2261365" cy="1449421"/>
          </a:xfrm>
          <a:prstGeom prst="rect">
            <a:avLst/>
          </a:prstGeom>
        </p:spPr>
      </p:pic>
      <p:pic>
        <p:nvPicPr>
          <p:cNvPr id="2" name="Picture 1">
            <a:extLst>
              <a:ext uri="{FF2B5EF4-FFF2-40B4-BE49-F238E27FC236}">
                <a16:creationId xmlns:a16="http://schemas.microsoft.com/office/drawing/2014/main" id="{0C0B6B4A-E5D8-5450-CA20-DC6D253FBD4E}"/>
              </a:ext>
            </a:extLst>
          </p:cNvPr>
          <p:cNvPicPr>
            <a:picLocks noChangeAspect="1"/>
          </p:cNvPicPr>
          <p:nvPr/>
        </p:nvPicPr>
        <p:blipFill>
          <a:blip r:embed="rId10"/>
          <a:stretch>
            <a:fillRect/>
          </a:stretch>
        </p:blipFill>
        <p:spPr>
          <a:xfrm>
            <a:off x="292823" y="6592472"/>
            <a:ext cx="2324100" cy="107950"/>
          </a:xfrm>
          <a:prstGeom prst="rect">
            <a:avLst/>
          </a:prstGeom>
        </p:spPr>
      </p:pic>
      <p:sp>
        <p:nvSpPr>
          <p:cNvPr id="4" name="TextBox 3">
            <a:extLst>
              <a:ext uri="{FF2B5EF4-FFF2-40B4-BE49-F238E27FC236}">
                <a16:creationId xmlns:a16="http://schemas.microsoft.com/office/drawing/2014/main" id="{F37D71BA-BD7C-85E7-696C-BDC23FB46B57}"/>
              </a:ext>
            </a:extLst>
          </p:cNvPr>
          <p:cNvSpPr txBox="1"/>
          <p:nvPr/>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mj-lt"/>
                <a:ea typeface="+mj-ea"/>
                <a:cs typeface="+mj-cs"/>
              </a:rPr>
              <a:pPr algn="r"/>
              <a:t>8</a:t>
            </a:fld>
            <a:endParaRPr lang="en-US" sz="700" spc="300">
              <a:solidFill>
                <a:schemeClr val="accent5"/>
              </a:solidFill>
              <a:latin typeface="+mj-lt"/>
              <a:ea typeface="+mj-ea"/>
              <a:cs typeface="+mj-cs"/>
            </a:endParaRPr>
          </a:p>
        </p:txBody>
      </p:sp>
    </p:spTree>
    <p:extLst>
      <p:ext uri="{BB962C8B-B14F-4D97-AF65-F5344CB8AC3E}">
        <p14:creationId xmlns:p14="http://schemas.microsoft.com/office/powerpoint/2010/main" val="19550924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pep+">
      <a:dk1>
        <a:srgbClr val="000000"/>
      </a:dk1>
      <a:lt1>
        <a:srgbClr val="FFFFFF"/>
      </a:lt1>
      <a:dk2>
        <a:srgbClr val="44546A"/>
      </a:dk2>
      <a:lt2>
        <a:srgbClr val="E7E6E6"/>
      </a:lt2>
      <a:accent1>
        <a:srgbClr val="00C041"/>
      </a:accent1>
      <a:accent2>
        <a:srgbClr val="00A651"/>
      </a:accent2>
      <a:accent3>
        <a:srgbClr val="8EDB43"/>
      </a:accent3>
      <a:accent4>
        <a:srgbClr val="FFC62C"/>
      </a:accent4>
      <a:accent5>
        <a:srgbClr val="0065E5"/>
      </a:accent5>
      <a:accent6>
        <a:srgbClr val="4FE2F3"/>
      </a:accent6>
      <a:hlink>
        <a:srgbClr val="797979"/>
      </a:hlink>
      <a:folHlink>
        <a:srgbClr val="A9A9A9"/>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odaStream Professional Template">
  <a:themeElements>
    <a:clrScheme name="SodaStream Professional template">
      <a:dk1>
        <a:sysClr val="windowText" lastClr="000000"/>
      </a:dk1>
      <a:lt1>
        <a:sysClr val="window" lastClr="FFFFFF"/>
      </a:lt1>
      <a:dk2>
        <a:srgbClr val="818285"/>
      </a:dk2>
      <a:lt2>
        <a:srgbClr val="E7E6E6"/>
      </a:lt2>
      <a:accent1>
        <a:srgbClr val="BDBEC0"/>
      </a:accent1>
      <a:accent2>
        <a:srgbClr val="00AEEF"/>
      </a:accent2>
      <a:accent3>
        <a:srgbClr val="FBF1AB"/>
      </a:accent3>
      <a:accent4>
        <a:srgbClr val="D3E090"/>
      </a:accent4>
      <a:accent5>
        <a:srgbClr val="FAA47B"/>
      </a:accent5>
      <a:accent6>
        <a:srgbClr val="EA4B59"/>
      </a:accent6>
      <a:hlink>
        <a:srgbClr val="E7E6E6"/>
      </a:hlink>
      <a:folHlink>
        <a:srgbClr val="92D050"/>
      </a:folHlink>
    </a:clrScheme>
    <a:fontScheme name="SodaStream professional template">
      <a:majorFont>
        <a:latin typeface="Avenir Next LT Pro Demi"/>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PepsiCo Positive Template ">
  <a:themeElements>
    <a:clrScheme name="pep+ Color Palette">
      <a:dk1>
        <a:sysClr val="windowText" lastClr="000000"/>
      </a:dk1>
      <a:lt1>
        <a:sysClr val="window" lastClr="FFFFFF"/>
      </a:lt1>
      <a:dk2>
        <a:srgbClr val="44546A"/>
      </a:dk2>
      <a:lt2>
        <a:srgbClr val="E7E6E6"/>
      </a:lt2>
      <a:accent1>
        <a:srgbClr val="0065E5"/>
      </a:accent1>
      <a:accent2>
        <a:srgbClr val="143DCF"/>
      </a:accent2>
      <a:accent3>
        <a:srgbClr val="4FE2F3"/>
      </a:accent3>
      <a:accent4>
        <a:srgbClr val="00A651"/>
      </a:accent4>
      <a:accent5>
        <a:srgbClr val="8EDB43"/>
      </a:accent5>
      <a:accent6>
        <a:srgbClr val="FFC72C"/>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Office Theme">
  <a:themeElements>
    <a:clrScheme name="Custom 2">
      <a:dk1>
        <a:srgbClr val="000000"/>
      </a:dk1>
      <a:lt1>
        <a:srgbClr val="FFFFFF"/>
      </a:lt1>
      <a:dk2>
        <a:srgbClr val="004C97"/>
      </a:dk2>
      <a:lt2>
        <a:srgbClr val="EFEFEF"/>
      </a:lt2>
      <a:accent1>
        <a:srgbClr val="01A7DF"/>
      </a:accent1>
      <a:accent2>
        <a:srgbClr val="4FE1F2"/>
      </a:accent2>
      <a:accent3>
        <a:srgbClr val="8BD843"/>
      </a:accent3>
      <a:accent4>
        <a:srgbClr val="00AB42"/>
      </a:accent4>
      <a:accent5>
        <a:srgbClr val="00A351"/>
      </a:accent5>
      <a:accent6>
        <a:srgbClr val="FFC107"/>
      </a:accent6>
      <a:hlink>
        <a:srgbClr val="004C97"/>
      </a:hlink>
      <a:folHlink>
        <a:srgbClr val="954F72"/>
      </a:folHlink>
    </a:clrScheme>
    <a:fontScheme name="Pep ESG 22">
      <a:majorFont>
        <a:latin typeface="Fibra One"/>
        <a:ea typeface=""/>
        <a:cs typeface=""/>
      </a:majorFont>
      <a:minorFont>
        <a:latin typeface="Fibra On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sz="12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A39D8254A486D47BDA1D12EE80FBE24" ma:contentTypeVersion="7" ma:contentTypeDescription="Create a new document." ma:contentTypeScope="" ma:versionID="c6b3173c810d59a80c918d32f6eea627">
  <xsd:schema xmlns:xsd="http://www.w3.org/2001/XMLSchema" xmlns:xs="http://www.w3.org/2001/XMLSchema" xmlns:p="http://schemas.microsoft.com/office/2006/metadata/properties" xmlns:ns2="7f5b135c-cfae-40d3-8ca1-70614c99b4b6" xmlns:ns3="e857c35d-03fd-423e-b114-9dc0e2c72e52" targetNamespace="http://schemas.microsoft.com/office/2006/metadata/properties" ma:root="true" ma:fieldsID="c2a5ef088a08c453a59e1e6789b9adb3" ns2:_="" ns3:_="">
    <xsd:import namespace="7f5b135c-cfae-40d3-8ca1-70614c99b4b6"/>
    <xsd:import namespace="e857c35d-03fd-423e-b114-9dc0e2c72e5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f5b135c-cfae-40d3-8ca1-70614c99b4b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BillingMetadata" ma:index="14"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857c35d-03fd-423e-b114-9dc0e2c72e52"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e857c35d-03fd-423e-b114-9dc0e2c72e52">
      <UserInfo>
        <DisplayName>Jani, Victoria {PEP}</DisplayName>
        <AccountId>28</AccountId>
        <AccountType/>
      </UserInfo>
      <UserInfo>
        <DisplayName>Walton, Catherine {PEP}</DisplayName>
        <AccountId>9</AccountId>
        <AccountType/>
      </UserInfo>
      <UserInfo>
        <DisplayName>Melnicoff, Matt {PEP}</DisplayName>
        <AccountId>14</AccountId>
        <AccountType/>
      </UserInfo>
      <UserInfo>
        <DisplayName>Wise, Paige {PEP}</DisplayName>
        <AccountId>187</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5B67B39-585C-47EB-A5D9-099E9078658A}">
  <ds:schemaRefs>
    <ds:schemaRef ds:uri="7f5b135c-cfae-40d3-8ca1-70614c99b4b6"/>
    <ds:schemaRef ds:uri="e857c35d-03fd-423e-b114-9dc0e2c72e5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6E741FD-624B-477A-9BF6-82CBDA985F57}">
  <ds:schemaRefs>
    <ds:schemaRef ds:uri="http://purl.org/dc/elements/1.1/"/>
    <ds:schemaRef ds:uri="http://schemas.microsoft.com/office/2006/metadata/properties"/>
    <ds:schemaRef ds:uri="http://purl.org/dc/terms/"/>
    <ds:schemaRef ds:uri="7f5b135c-cfae-40d3-8ca1-70614c99b4b6"/>
    <ds:schemaRef ds:uri="http://schemas.microsoft.com/office/infopath/2007/PartnerControls"/>
    <ds:schemaRef ds:uri="http://schemas.microsoft.com/office/2006/documentManagement/types"/>
    <ds:schemaRef ds:uri="http://schemas.openxmlformats.org/package/2006/metadata/core-properties"/>
    <ds:schemaRef ds:uri="e857c35d-03fd-423e-b114-9dc0e2c72e52"/>
    <ds:schemaRef ds:uri="http://www.w3.org/XML/1998/namespace"/>
    <ds:schemaRef ds:uri="http://purl.org/dc/dcmitype/"/>
  </ds:schemaRefs>
</ds:datastoreItem>
</file>

<file path=customXml/itemProps3.xml><?xml version="1.0" encoding="utf-8"?>
<ds:datastoreItem xmlns:ds="http://schemas.openxmlformats.org/officeDocument/2006/customXml" ds:itemID="{14FCF79C-FF8C-40E8-BAAE-AC41127B8C3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429</TotalTime>
  <Words>1021</Words>
  <Application>Microsoft Office PowerPoint</Application>
  <PresentationFormat>Widescreen</PresentationFormat>
  <Paragraphs>120</Paragraphs>
  <Slides>8</Slides>
  <Notes>8</Notes>
  <HiddenSlides>0</HiddenSlides>
  <MMClips>0</MMClips>
  <ScaleCrop>false</ScaleCrop>
  <HeadingPairs>
    <vt:vector size="8" baseType="variant">
      <vt:variant>
        <vt:lpstr>Fonts Used</vt:lpstr>
      </vt:variant>
      <vt:variant>
        <vt:i4>21</vt:i4>
      </vt:variant>
      <vt:variant>
        <vt:lpstr>Theme</vt:lpstr>
      </vt:variant>
      <vt:variant>
        <vt:i4>4</vt:i4>
      </vt:variant>
      <vt:variant>
        <vt:lpstr>Embedded OLE Servers</vt:lpstr>
      </vt:variant>
      <vt:variant>
        <vt:i4>1</vt:i4>
      </vt:variant>
      <vt:variant>
        <vt:lpstr>Slide Titles</vt:lpstr>
      </vt:variant>
      <vt:variant>
        <vt:i4>8</vt:i4>
      </vt:variant>
    </vt:vector>
  </HeadingPairs>
  <TitlesOfParts>
    <vt:vector size="34" baseType="lpstr">
      <vt:lpstr>Arial</vt:lpstr>
      <vt:lpstr>Avenir Next LT Pro</vt:lpstr>
      <vt:lpstr>Calibri</vt:lpstr>
      <vt:lpstr>Century Gothic</vt:lpstr>
      <vt:lpstr>Courier New</vt:lpstr>
      <vt:lpstr>Fibra One</vt:lpstr>
      <vt:lpstr>Fibra One Bold</vt:lpstr>
      <vt:lpstr>Fibra One Heavy</vt:lpstr>
      <vt:lpstr>Fibra One Light</vt:lpstr>
      <vt:lpstr>Fibra One SemiBold</vt:lpstr>
      <vt:lpstr>Fibra One UltraBold</vt:lpstr>
      <vt:lpstr>Georgia</vt:lpstr>
      <vt:lpstr>Helvetica Neue</vt:lpstr>
      <vt:lpstr>Leelawadee</vt:lpstr>
      <vt:lpstr>Montserrat</vt:lpstr>
      <vt:lpstr>Poppins</vt:lpstr>
      <vt:lpstr>Poppins SemiBold</vt:lpstr>
      <vt:lpstr>Segoe UI</vt:lpstr>
      <vt:lpstr>Times New Roman</vt:lpstr>
      <vt:lpstr>Wingdings</vt:lpstr>
      <vt:lpstr>Wingdings 2</vt:lpstr>
      <vt:lpstr>Office Theme</vt:lpstr>
      <vt:lpstr>SodaStream Professional Template</vt:lpstr>
      <vt:lpstr>PepsiCo Positive Template </vt:lpstr>
      <vt:lpstr>4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 and introduction guide to how to use this deck as a valuable sell and capability resource</dc:title>
  <dc:creator>Walton, Catherine {PEP}</dc:creator>
  <cp:lastModifiedBy>Melnicoff, Matt {PEP}</cp:lastModifiedBy>
  <cp:revision>3</cp:revision>
  <dcterms:created xsi:type="dcterms:W3CDTF">2020-09-30T06:22:14Z</dcterms:created>
  <dcterms:modified xsi:type="dcterms:W3CDTF">2025-04-08T21:37:03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1827600</vt:r8>
  </property>
  <property fmtid="{D5CDD505-2E9C-101B-9397-08002B2CF9AE}" pid="3" name="ComplianceAssetId">
    <vt:lpwstr/>
  </property>
  <property fmtid="{D5CDD505-2E9C-101B-9397-08002B2CF9AE}" pid="4" name="_ExtendedDescription">
    <vt:lpwstr/>
  </property>
  <property fmtid="{D5CDD505-2E9C-101B-9397-08002B2CF9AE}" pid="5" name="_dlc_policyId">
    <vt:lpwstr>0x010100423F792D533AE0488D9601B7B1810673|-369733750</vt:lpwstr>
  </property>
  <property fmtid="{D5CDD505-2E9C-101B-9397-08002B2CF9AE}" pid="6" name="MediaServiceImageTags">
    <vt:lpwstr/>
  </property>
  <property fmtid="{D5CDD505-2E9C-101B-9397-08002B2CF9AE}" pid="7" name="ItemRetentionFormula">
    <vt:lpwstr>&lt;formula offset="7" unit="days" /&gt;</vt:lpwstr>
  </property>
  <property fmtid="{D5CDD505-2E9C-101B-9397-08002B2CF9AE}" pid="8" name="_dlc_LastRun">
    <vt:lpwstr>02/18/2024 05:21:18</vt:lpwstr>
  </property>
  <property fmtid="{D5CDD505-2E9C-101B-9397-08002B2CF9AE}" pid="9" name="_dlc_ItemStageId">
    <vt:lpwstr>1</vt:lpwstr>
  </property>
  <property fmtid="{D5CDD505-2E9C-101B-9397-08002B2CF9AE}" pid="10" name="ContentTypeId">
    <vt:lpwstr>0x0101005A39D8254A486D47BDA1D12EE80FBE24</vt:lpwstr>
  </property>
  <property fmtid="{D5CDD505-2E9C-101B-9397-08002B2CF9AE}" pid="11" name="MSIP_Label_58532329-be11-4890-9a1f-358987518ed8_Enabled">
    <vt:lpwstr>True</vt:lpwstr>
  </property>
  <property fmtid="{D5CDD505-2E9C-101B-9397-08002B2CF9AE}" pid="12" name="MSIP_Label_58532329-be11-4890-9a1f-358987518ed8_SiteId">
    <vt:lpwstr>42cc3295-cd0e-449c-b98e-5ce5b560c1d3</vt:lpwstr>
  </property>
  <property fmtid="{D5CDD505-2E9C-101B-9397-08002B2CF9AE}" pid="13" name="MSIP_Label_58532329-be11-4890-9a1f-358987518ed8_SetDate">
    <vt:lpwstr>2024-03-14T02:04:19Z</vt:lpwstr>
  </property>
  <property fmtid="{D5CDD505-2E9C-101B-9397-08002B2CF9AE}" pid="14" name="MSIP_Label_58532329-be11-4890-9a1f-358987518ed8_Name">
    <vt:lpwstr>Internal</vt:lpwstr>
  </property>
  <property fmtid="{D5CDD505-2E9C-101B-9397-08002B2CF9AE}" pid="15" name="MSIP_Label_58532329-be11-4890-9a1f-358987518ed8_ActionId">
    <vt:lpwstr>ff849e73-a057-4fd7-a12a-b59e3694e0e1</vt:lpwstr>
  </property>
  <property fmtid="{D5CDD505-2E9C-101B-9397-08002B2CF9AE}" pid="16" name="MSIP_Label_58532329-be11-4890-9a1f-358987518ed8_Removed">
    <vt:lpwstr>False</vt:lpwstr>
  </property>
  <property fmtid="{D5CDD505-2E9C-101B-9397-08002B2CF9AE}" pid="17" name="MSIP_Label_58532329-be11-4890-9a1f-358987518ed8_Extended_MSFT_Method">
    <vt:lpwstr>Standard</vt:lpwstr>
  </property>
  <property fmtid="{D5CDD505-2E9C-101B-9397-08002B2CF9AE}" pid="18" name="Sensitivity">
    <vt:lpwstr>Internal</vt:lpwstr>
  </property>
</Properties>
</file>